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xml" ContentType="application/vnd.openxmlformats-officedocument.presentationml.notesSlide+xml"/>
  <Override PartName="/ppt/charts/chart4.xml" ContentType="application/vnd.openxmlformats-officedocument.drawingml.chart+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2.xml" ContentType="application/vnd.openxmlformats-officedocument.presentationml.notesSlide+xml"/>
  <Override PartName="/ppt/charts/chart5.xml" ContentType="application/vnd.openxmlformats-officedocument.drawingml.chart+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3.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4.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5.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notesSlides/notesSlide6.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notesSlides/notesSlide7.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notesSlides/notesSlide8.xml" ContentType="application/vnd.openxmlformats-officedocument.presentationml.notesSlide+xml"/>
  <Override PartName="/ppt/charts/chart17.xml" ContentType="application/vnd.openxmlformats-officedocument.drawingml.chart+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notesSlides/notesSlide9.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notesSlides/notesSlide10.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notesSlides/notesSlide11.xml" ContentType="application/vnd.openxmlformats-officedocument.presentationml.notesSlide+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charts/chart47.xml" ContentType="application/vnd.openxmlformats-officedocument.drawingml.chart+xml"/>
  <Override PartName="/ppt/charts/chart48.xml" ContentType="application/vnd.openxmlformats-officedocument.drawingml.chart+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charts/chart49.xml" ContentType="application/vnd.openxmlformats-officedocument.drawingml.chart+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charts/chart50.xml" ContentType="application/vnd.openxmlformats-officedocument.drawingml.chart+xml"/>
  <Override PartName="/ppt/charts/chart51.xml" ContentType="application/vnd.openxmlformats-officedocument.drawingml.chart+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charts/chart55.xml" ContentType="application/vnd.openxmlformats-officedocument.drawingml.chart+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7" r:id="rId1"/>
  </p:sldMasterIdLst>
  <p:notesMasterIdLst>
    <p:notesMasterId r:id="rId39"/>
  </p:notesMasterIdLst>
  <p:handoutMasterIdLst>
    <p:handoutMasterId r:id="rId40"/>
  </p:handoutMasterIdLst>
  <p:sldIdLst>
    <p:sldId id="327" r:id="rId2"/>
    <p:sldId id="324" r:id="rId3"/>
    <p:sldId id="311" r:id="rId4"/>
    <p:sldId id="328" r:id="rId5"/>
    <p:sldId id="329" r:id="rId6"/>
    <p:sldId id="330" r:id="rId7"/>
    <p:sldId id="331" r:id="rId8"/>
    <p:sldId id="332" r:id="rId9"/>
    <p:sldId id="333" r:id="rId10"/>
    <p:sldId id="334" r:id="rId11"/>
    <p:sldId id="335" r:id="rId12"/>
    <p:sldId id="336" r:id="rId13"/>
    <p:sldId id="337" r:id="rId14"/>
    <p:sldId id="338" r:id="rId15"/>
    <p:sldId id="339" r:id="rId16"/>
    <p:sldId id="340" r:id="rId17"/>
    <p:sldId id="341" r:id="rId18"/>
    <p:sldId id="342" r:id="rId19"/>
    <p:sldId id="343" r:id="rId20"/>
    <p:sldId id="344" r:id="rId21"/>
    <p:sldId id="345" r:id="rId22"/>
    <p:sldId id="346" r:id="rId23"/>
    <p:sldId id="347" r:id="rId24"/>
    <p:sldId id="348" r:id="rId25"/>
    <p:sldId id="349" r:id="rId26"/>
    <p:sldId id="350" r:id="rId27"/>
    <p:sldId id="351" r:id="rId28"/>
    <p:sldId id="352" r:id="rId29"/>
    <p:sldId id="353" r:id="rId30"/>
    <p:sldId id="354" r:id="rId31"/>
    <p:sldId id="355" r:id="rId32"/>
    <p:sldId id="356" r:id="rId33"/>
    <p:sldId id="357" r:id="rId34"/>
    <p:sldId id="358" r:id="rId35"/>
    <p:sldId id="359" r:id="rId36"/>
    <p:sldId id="360" r:id="rId37"/>
    <p:sldId id="322" r:id="rId38"/>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71B8"/>
    <a:srgbClr val="5ABAF3"/>
    <a:srgbClr val="316EA9"/>
    <a:srgbClr val="296AA6"/>
    <a:srgbClr val="0C1330"/>
    <a:srgbClr val="328EE1"/>
    <a:srgbClr val="328BD9"/>
    <a:srgbClr val="276AA5"/>
    <a:srgbClr val="53A0CC"/>
    <a:srgbClr val="81DD5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DF7D6B-EB0F-4B53-B080-BB8D6F5C3D93}" v="373" dt="2024-05-10T16:15:07.277"/>
    <p1510:client id="{F9CD2FDA-8B17-4783-8A7C-5D57B6AFEF2E}" v="370" dt="2024-05-10T15:30:35.450"/>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77" autoAdjust="0"/>
    <p:restoredTop sz="93099" autoAdjust="0"/>
  </p:normalViewPr>
  <p:slideViewPr>
    <p:cSldViewPr snapToGrid="0">
      <p:cViewPr>
        <p:scale>
          <a:sx n="125" d="100"/>
          <a:sy n="125" d="100"/>
        </p:scale>
        <p:origin x="972" y="204"/>
      </p:cViewPr>
      <p:guideLst/>
    </p:cSldViewPr>
  </p:slideViewPr>
  <p:outlineViewPr>
    <p:cViewPr>
      <p:scale>
        <a:sx n="33" d="100"/>
        <a:sy n="33" d="100"/>
      </p:scale>
      <p:origin x="0" y="0"/>
    </p:cViewPr>
  </p:outlineViewPr>
  <p:notesTextViewPr>
    <p:cViewPr>
      <p:scale>
        <a:sx n="85" d="100"/>
        <a:sy n="85" d="100"/>
      </p:scale>
      <p:origin x="0" y="0"/>
    </p:cViewPr>
  </p:notesTextViewPr>
  <p:notesViewPr>
    <p:cSldViewPr snapToGrid="0" showGuides="1">
      <p:cViewPr varScale="1">
        <p:scale>
          <a:sx n="140" d="100"/>
          <a:sy n="140" d="100"/>
        </p:scale>
        <p:origin x="4160" y="19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microsoft.com/office/2015/10/relationships/revisionInfo" Target="revisionInfo.xml"/><Relationship Id="rId20" Type="http://schemas.openxmlformats.org/officeDocument/2006/relationships/slide" Target="slides/slide19.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niero Facchetti" userId="f2c6c99af91c4974" providerId="LiveId" clId="{F9CD2FDA-8B17-4783-8A7C-5D57B6AFEF2E}"/>
    <pc:docChg chg="undo custSel addSld modSld modMainMaster">
      <pc:chgData name="Veniero Facchetti" userId="f2c6c99af91c4974" providerId="LiveId" clId="{F9CD2FDA-8B17-4783-8A7C-5D57B6AFEF2E}" dt="2024-05-10T15:30:35.450" v="526" actId="1036"/>
      <pc:docMkLst>
        <pc:docMk/>
      </pc:docMkLst>
      <pc:sldChg chg="addSp delSp modSp mod">
        <pc:chgData name="Veniero Facchetti" userId="f2c6c99af91c4974" providerId="LiveId" clId="{F9CD2FDA-8B17-4783-8A7C-5D57B6AFEF2E}" dt="2024-05-10T14:15:23.748" v="31"/>
        <pc:sldMkLst>
          <pc:docMk/>
          <pc:sldMk cId="2962966828" sldId="311"/>
        </pc:sldMkLst>
        <pc:spChg chg="mod">
          <ac:chgData name="Veniero Facchetti" userId="f2c6c99af91c4974" providerId="LiveId" clId="{F9CD2FDA-8B17-4783-8A7C-5D57B6AFEF2E}" dt="2024-05-10T14:15:05.111" v="24" actId="2710"/>
          <ac:spMkLst>
            <pc:docMk/>
            <pc:sldMk cId="2962966828" sldId="311"/>
            <ac:spMk id="2" creationId="{B4A09DF2-88ED-C382-F37D-22EE2E867C53}"/>
          </ac:spMkLst>
        </pc:spChg>
        <pc:spChg chg="del">
          <ac:chgData name="Veniero Facchetti" userId="f2c6c99af91c4974" providerId="LiveId" clId="{F9CD2FDA-8B17-4783-8A7C-5D57B6AFEF2E}" dt="2024-05-10T14:15:08.397" v="25" actId="478"/>
          <ac:spMkLst>
            <pc:docMk/>
            <pc:sldMk cId="2962966828" sldId="311"/>
            <ac:spMk id="3" creationId="{E5615A9F-1EB3-14E0-94A3-9CC7B6A5579E}"/>
          </ac:spMkLst>
        </pc:spChg>
        <pc:spChg chg="del">
          <ac:chgData name="Veniero Facchetti" userId="f2c6c99af91c4974" providerId="LiveId" clId="{F9CD2FDA-8B17-4783-8A7C-5D57B6AFEF2E}" dt="2024-05-10T14:15:11.185" v="27" actId="478"/>
          <ac:spMkLst>
            <pc:docMk/>
            <pc:sldMk cId="2962966828" sldId="311"/>
            <ac:spMk id="4" creationId="{B1D97684-EBE4-DD0F-79EB-0C2FC7CCB40D}"/>
          </ac:spMkLst>
        </pc:spChg>
        <pc:spChg chg="add mod">
          <ac:chgData name="Veniero Facchetti" userId="f2c6c99af91c4974" providerId="LiveId" clId="{F9CD2FDA-8B17-4783-8A7C-5D57B6AFEF2E}" dt="2024-05-10T14:14:35.028" v="16"/>
          <ac:spMkLst>
            <pc:docMk/>
            <pc:sldMk cId="2962966828" sldId="311"/>
            <ac:spMk id="5" creationId="{3606424B-E70A-C939-7850-C77398728711}"/>
          </ac:spMkLst>
        </pc:spChg>
        <pc:spChg chg="add del mod">
          <ac:chgData name="Veniero Facchetti" userId="f2c6c99af91c4974" providerId="LiveId" clId="{F9CD2FDA-8B17-4783-8A7C-5D57B6AFEF2E}" dt="2024-05-10T14:15:09.862" v="26" actId="478"/>
          <ac:spMkLst>
            <pc:docMk/>
            <pc:sldMk cId="2962966828" sldId="311"/>
            <ac:spMk id="7" creationId="{2050BF78-14F1-3F1A-0FBB-5DA1407668F5}"/>
          </ac:spMkLst>
        </pc:spChg>
        <pc:spChg chg="add del mod">
          <ac:chgData name="Veniero Facchetti" userId="f2c6c99af91c4974" providerId="LiveId" clId="{F9CD2FDA-8B17-4783-8A7C-5D57B6AFEF2E}" dt="2024-05-10T14:15:14.091" v="28" actId="478"/>
          <ac:spMkLst>
            <pc:docMk/>
            <pc:sldMk cId="2962966828" sldId="311"/>
            <ac:spMk id="9" creationId="{D15203C3-B757-927F-B638-7BB51FF43715}"/>
          </ac:spMkLst>
        </pc:spChg>
        <pc:spChg chg="add mod">
          <ac:chgData name="Veniero Facchetti" userId="f2c6c99af91c4974" providerId="LiveId" clId="{F9CD2FDA-8B17-4783-8A7C-5D57B6AFEF2E}" dt="2024-05-10T14:15:19.781" v="30" actId="207"/>
          <ac:spMkLst>
            <pc:docMk/>
            <pc:sldMk cId="2962966828" sldId="311"/>
            <ac:spMk id="10" creationId="{56C7FBB8-C46F-5C17-CECF-F109DEF563E0}"/>
          </ac:spMkLst>
        </pc:spChg>
        <pc:spChg chg="add mod">
          <ac:chgData name="Veniero Facchetti" userId="f2c6c99af91c4974" providerId="LiveId" clId="{F9CD2FDA-8B17-4783-8A7C-5D57B6AFEF2E}" dt="2024-05-10T14:15:23.748" v="31"/>
          <ac:spMkLst>
            <pc:docMk/>
            <pc:sldMk cId="2962966828" sldId="311"/>
            <ac:spMk id="11" creationId="{8C585271-CBBB-44AB-656B-8E40476C8A19}"/>
          </ac:spMkLst>
        </pc:spChg>
      </pc:sldChg>
      <pc:sldChg chg="addSp delSp modSp mod">
        <pc:chgData name="Veniero Facchetti" userId="f2c6c99af91c4974" providerId="LiveId" clId="{F9CD2FDA-8B17-4783-8A7C-5D57B6AFEF2E}" dt="2024-05-10T14:14:15.001" v="15" actId="2711"/>
        <pc:sldMkLst>
          <pc:docMk/>
          <pc:sldMk cId="4024510751" sldId="324"/>
        </pc:sldMkLst>
        <pc:spChg chg="mod">
          <ac:chgData name="Veniero Facchetti" userId="f2c6c99af91c4974" providerId="LiveId" clId="{F9CD2FDA-8B17-4783-8A7C-5D57B6AFEF2E}" dt="2024-05-10T14:13:32.201" v="5" actId="14100"/>
          <ac:spMkLst>
            <pc:docMk/>
            <pc:sldMk cId="4024510751" sldId="324"/>
            <ac:spMk id="2" creationId="{60BEEFAC-B87D-48F6-D21D-02E165BC31C0}"/>
          </ac:spMkLst>
        </pc:spChg>
        <pc:spChg chg="del">
          <ac:chgData name="Veniero Facchetti" userId="f2c6c99af91c4974" providerId="LiveId" clId="{F9CD2FDA-8B17-4783-8A7C-5D57B6AFEF2E}" dt="2024-05-10T14:13:44.130" v="6" actId="478"/>
          <ac:spMkLst>
            <pc:docMk/>
            <pc:sldMk cId="4024510751" sldId="324"/>
            <ac:spMk id="3" creationId="{802ABAE3-4ECC-B940-6E4B-A24D333AE2AA}"/>
          </ac:spMkLst>
        </pc:spChg>
        <pc:spChg chg="mod">
          <ac:chgData name="Veniero Facchetti" userId="f2c6c99af91c4974" providerId="LiveId" clId="{F9CD2FDA-8B17-4783-8A7C-5D57B6AFEF2E}" dt="2024-05-10T14:14:15.001" v="15" actId="2711"/>
          <ac:spMkLst>
            <pc:docMk/>
            <pc:sldMk cId="4024510751" sldId="324"/>
            <ac:spMk id="6" creationId="{02101DC7-1DBB-4FF0-3502-EE3388345414}"/>
          </ac:spMkLst>
        </pc:spChg>
        <pc:spChg chg="add del mod">
          <ac:chgData name="Veniero Facchetti" userId="f2c6c99af91c4974" providerId="LiveId" clId="{F9CD2FDA-8B17-4783-8A7C-5D57B6AFEF2E}" dt="2024-05-10T14:13:49.057" v="7" actId="478"/>
          <ac:spMkLst>
            <pc:docMk/>
            <pc:sldMk cId="4024510751" sldId="324"/>
            <ac:spMk id="7" creationId="{06CCE142-E448-548F-D7E7-24A5706BE18D}"/>
          </ac:spMkLst>
        </pc:spChg>
      </pc:sldChg>
      <pc:sldChg chg="addSp delSp modSp new mod modClrScheme chgLayout">
        <pc:chgData name="Veniero Facchetti" userId="f2c6c99af91c4974" providerId="LiveId" clId="{F9CD2FDA-8B17-4783-8A7C-5D57B6AFEF2E}" dt="2024-05-10T14:16:11.011" v="43" actId="478"/>
        <pc:sldMkLst>
          <pc:docMk/>
          <pc:sldMk cId="2145323674" sldId="328"/>
        </pc:sldMkLst>
        <pc:spChg chg="del mod ord">
          <ac:chgData name="Veniero Facchetti" userId="f2c6c99af91c4974" providerId="LiveId" clId="{F9CD2FDA-8B17-4783-8A7C-5D57B6AFEF2E}" dt="2024-05-10T14:15:37.073" v="33" actId="700"/>
          <ac:spMkLst>
            <pc:docMk/>
            <pc:sldMk cId="2145323674" sldId="328"/>
            <ac:spMk id="2" creationId="{57DBCD8A-95B0-646F-0282-632916F4D87E}"/>
          </ac:spMkLst>
        </pc:spChg>
        <pc:spChg chg="del mod ord">
          <ac:chgData name="Veniero Facchetti" userId="f2c6c99af91c4974" providerId="LiveId" clId="{F9CD2FDA-8B17-4783-8A7C-5D57B6AFEF2E}" dt="2024-05-10T14:15:37.073" v="33" actId="700"/>
          <ac:spMkLst>
            <pc:docMk/>
            <pc:sldMk cId="2145323674" sldId="328"/>
            <ac:spMk id="3" creationId="{2A87BB1B-BB65-C73D-7ECE-BECC93195211}"/>
          </ac:spMkLst>
        </pc:spChg>
        <pc:spChg chg="del mod ord">
          <ac:chgData name="Veniero Facchetti" userId="f2c6c99af91c4974" providerId="LiveId" clId="{F9CD2FDA-8B17-4783-8A7C-5D57B6AFEF2E}" dt="2024-05-10T14:15:37.073" v="33" actId="700"/>
          <ac:spMkLst>
            <pc:docMk/>
            <pc:sldMk cId="2145323674" sldId="328"/>
            <ac:spMk id="4" creationId="{08B92F41-5E5E-59F9-D8DE-2FDBB0204276}"/>
          </ac:spMkLst>
        </pc:spChg>
        <pc:spChg chg="add mod ord">
          <ac:chgData name="Veniero Facchetti" userId="f2c6c99af91c4974" providerId="LiveId" clId="{F9CD2FDA-8B17-4783-8A7C-5D57B6AFEF2E}" dt="2024-05-10T14:16:05.582" v="41" actId="11"/>
          <ac:spMkLst>
            <pc:docMk/>
            <pc:sldMk cId="2145323674" sldId="328"/>
            <ac:spMk id="5" creationId="{C0DBB4F0-08FB-C36B-A6E2-DE00F305EE7A}"/>
          </ac:spMkLst>
        </pc:spChg>
        <pc:spChg chg="add del mod ord">
          <ac:chgData name="Veniero Facchetti" userId="f2c6c99af91c4974" providerId="LiveId" clId="{F9CD2FDA-8B17-4783-8A7C-5D57B6AFEF2E}" dt="2024-05-10T14:16:09.435" v="42" actId="478"/>
          <ac:spMkLst>
            <pc:docMk/>
            <pc:sldMk cId="2145323674" sldId="328"/>
            <ac:spMk id="6" creationId="{11DE9030-FDFA-8AC5-F1D3-5ED0A470DE19}"/>
          </ac:spMkLst>
        </pc:spChg>
        <pc:spChg chg="add del mod ord">
          <ac:chgData name="Veniero Facchetti" userId="f2c6c99af91c4974" providerId="LiveId" clId="{F9CD2FDA-8B17-4783-8A7C-5D57B6AFEF2E}" dt="2024-05-10T14:16:11.011" v="43" actId="478"/>
          <ac:spMkLst>
            <pc:docMk/>
            <pc:sldMk cId="2145323674" sldId="328"/>
            <ac:spMk id="7" creationId="{B9FC1172-CE04-6910-088F-89E73CFA0EF7}"/>
          </ac:spMkLst>
        </pc:spChg>
      </pc:sldChg>
      <pc:sldChg chg="addSp delSp modSp new mod modClrScheme chgLayout">
        <pc:chgData name="Veniero Facchetti" userId="f2c6c99af91c4974" providerId="LiveId" clId="{F9CD2FDA-8B17-4783-8A7C-5D57B6AFEF2E}" dt="2024-05-10T14:20:26.066" v="92" actId="1076"/>
        <pc:sldMkLst>
          <pc:docMk/>
          <pc:sldMk cId="1020217584" sldId="329"/>
        </pc:sldMkLst>
        <pc:spChg chg="del mod ord">
          <ac:chgData name="Veniero Facchetti" userId="f2c6c99af91c4974" providerId="LiveId" clId="{F9CD2FDA-8B17-4783-8A7C-5D57B6AFEF2E}" dt="2024-05-10T14:16:34.371" v="45" actId="700"/>
          <ac:spMkLst>
            <pc:docMk/>
            <pc:sldMk cId="1020217584" sldId="329"/>
            <ac:spMk id="2" creationId="{C10DA9CC-7F38-E669-3FB3-2AB36152551B}"/>
          </ac:spMkLst>
        </pc:spChg>
        <pc:spChg chg="del mod ord">
          <ac:chgData name="Veniero Facchetti" userId="f2c6c99af91c4974" providerId="LiveId" clId="{F9CD2FDA-8B17-4783-8A7C-5D57B6AFEF2E}" dt="2024-05-10T14:16:34.371" v="45" actId="700"/>
          <ac:spMkLst>
            <pc:docMk/>
            <pc:sldMk cId="1020217584" sldId="329"/>
            <ac:spMk id="3" creationId="{2D619744-65D2-30AA-7184-F2A86B8C37DF}"/>
          </ac:spMkLst>
        </pc:spChg>
        <pc:spChg chg="del mod ord">
          <ac:chgData name="Veniero Facchetti" userId="f2c6c99af91c4974" providerId="LiveId" clId="{F9CD2FDA-8B17-4783-8A7C-5D57B6AFEF2E}" dt="2024-05-10T14:16:40.864" v="48" actId="478"/>
          <ac:spMkLst>
            <pc:docMk/>
            <pc:sldMk cId="1020217584" sldId="329"/>
            <ac:spMk id="4" creationId="{3C67A898-6042-2B76-5E62-6D76593BCF5A}"/>
          </ac:spMkLst>
        </pc:spChg>
        <pc:spChg chg="del mod ord">
          <ac:chgData name="Veniero Facchetti" userId="f2c6c99af91c4974" providerId="LiveId" clId="{F9CD2FDA-8B17-4783-8A7C-5D57B6AFEF2E}" dt="2024-05-10T14:16:34.371" v="45" actId="700"/>
          <ac:spMkLst>
            <pc:docMk/>
            <pc:sldMk cId="1020217584" sldId="329"/>
            <ac:spMk id="5" creationId="{C79BA3DC-97B7-E0DA-9D4D-4A645160921D}"/>
          </ac:spMkLst>
        </pc:spChg>
        <pc:spChg chg="add mod ord">
          <ac:chgData name="Veniero Facchetti" userId="f2c6c99af91c4974" providerId="LiveId" clId="{F9CD2FDA-8B17-4783-8A7C-5D57B6AFEF2E}" dt="2024-05-10T14:19:49.155" v="88" actId="403"/>
          <ac:spMkLst>
            <pc:docMk/>
            <pc:sldMk cId="1020217584" sldId="329"/>
            <ac:spMk id="6" creationId="{C57A0B68-948F-CBED-97A5-A01371066D12}"/>
          </ac:spMkLst>
        </pc:spChg>
        <pc:spChg chg="add del mod ord">
          <ac:chgData name="Veniero Facchetti" userId="f2c6c99af91c4974" providerId="LiveId" clId="{F9CD2FDA-8B17-4783-8A7C-5D57B6AFEF2E}" dt="2024-05-10T14:16:39.339" v="47" actId="478"/>
          <ac:spMkLst>
            <pc:docMk/>
            <pc:sldMk cId="1020217584" sldId="329"/>
            <ac:spMk id="7" creationId="{2EA18F97-72AE-9C85-1962-CDD87EC0CBAE}"/>
          </ac:spMkLst>
        </pc:spChg>
        <pc:spChg chg="add del mod ord">
          <ac:chgData name="Veniero Facchetti" userId="f2c6c99af91c4974" providerId="LiveId" clId="{F9CD2FDA-8B17-4783-8A7C-5D57B6AFEF2E}" dt="2024-05-10T14:16:37.508" v="46" actId="478"/>
          <ac:spMkLst>
            <pc:docMk/>
            <pc:sldMk cId="1020217584" sldId="329"/>
            <ac:spMk id="8" creationId="{8A382956-00D4-CCA2-A30D-DC8C4393C3F1}"/>
          </ac:spMkLst>
        </pc:spChg>
        <pc:spChg chg="add mod">
          <ac:chgData name="Veniero Facchetti" userId="f2c6c99af91c4974" providerId="LiveId" clId="{F9CD2FDA-8B17-4783-8A7C-5D57B6AFEF2E}" dt="2024-05-10T14:20:16.635" v="91" actId="1076"/>
          <ac:spMkLst>
            <pc:docMk/>
            <pc:sldMk cId="1020217584" sldId="329"/>
            <ac:spMk id="9" creationId="{E58AE750-00A2-3A24-B1B1-4A27D1D337A4}"/>
          </ac:spMkLst>
        </pc:spChg>
        <pc:spChg chg="add mod">
          <ac:chgData name="Veniero Facchetti" userId="f2c6c99af91c4974" providerId="LiveId" clId="{F9CD2FDA-8B17-4783-8A7C-5D57B6AFEF2E}" dt="2024-05-10T14:20:26.066" v="92" actId="1076"/>
          <ac:spMkLst>
            <pc:docMk/>
            <pc:sldMk cId="1020217584" sldId="329"/>
            <ac:spMk id="10" creationId="{FFE55206-8FC6-CF88-4B83-C048F8526BDB}"/>
          </ac:spMkLst>
        </pc:spChg>
        <pc:spChg chg="add mod">
          <ac:chgData name="Veniero Facchetti" userId="f2c6c99af91c4974" providerId="LiveId" clId="{F9CD2FDA-8B17-4783-8A7C-5D57B6AFEF2E}" dt="2024-05-10T14:20:26.066" v="92" actId="1076"/>
          <ac:spMkLst>
            <pc:docMk/>
            <pc:sldMk cId="1020217584" sldId="329"/>
            <ac:spMk id="11" creationId="{6C551F66-277C-7305-3E50-E5C40F02E7E2}"/>
          </ac:spMkLst>
        </pc:spChg>
        <pc:spChg chg="add mod">
          <ac:chgData name="Veniero Facchetti" userId="f2c6c99af91c4974" providerId="LiveId" clId="{F9CD2FDA-8B17-4783-8A7C-5D57B6AFEF2E}" dt="2024-05-10T14:20:26.066" v="92" actId="1076"/>
          <ac:spMkLst>
            <pc:docMk/>
            <pc:sldMk cId="1020217584" sldId="329"/>
            <ac:spMk id="12" creationId="{E4DC9391-3D16-3C39-33B8-4D7154AADA93}"/>
          </ac:spMkLst>
        </pc:spChg>
        <pc:spChg chg="add mod">
          <ac:chgData name="Veniero Facchetti" userId="f2c6c99af91c4974" providerId="LiveId" clId="{F9CD2FDA-8B17-4783-8A7C-5D57B6AFEF2E}" dt="2024-05-10T14:20:26.066" v="92" actId="1076"/>
          <ac:spMkLst>
            <pc:docMk/>
            <pc:sldMk cId="1020217584" sldId="329"/>
            <ac:spMk id="13" creationId="{578B8A0A-38B4-7DD1-3D68-1D18C551CC67}"/>
          </ac:spMkLst>
        </pc:spChg>
        <pc:spChg chg="add mod">
          <ac:chgData name="Veniero Facchetti" userId="f2c6c99af91c4974" providerId="LiveId" clId="{F9CD2FDA-8B17-4783-8A7C-5D57B6AFEF2E}" dt="2024-05-10T14:18:22.685" v="67" actId="404"/>
          <ac:spMkLst>
            <pc:docMk/>
            <pc:sldMk cId="1020217584" sldId="329"/>
            <ac:spMk id="14" creationId="{8778674B-4265-6A1B-02CA-04C72886E112}"/>
          </ac:spMkLst>
        </pc:spChg>
        <pc:spChg chg="add mod">
          <ac:chgData name="Veniero Facchetti" userId="f2c6c99af91c4974" providerId="LiveId" clId="{F9CD2FDA-8B17-4783-8A7C-5D57B6AFEF2E}" dt="2024-05-10T14:18:22.685" v="67" actId="404"/>
          <ac:spMkLst>
            <pc:docMk/>
            <pc:sldMk cId="1020217584" sldId="329"/>
            <ac:spMk id="15" creationId="{86EDADDC-535E-8D48-72DC-FC65E42883D6}"/>
          </ac:spMkLst>
        </pc:spChg>
        <pc:spChg chg="add mod">
          <ac:chgData name="Veniero Facchetti" userId="f2c6c99af91c4974" providerId="LiveId" clId="{F9CD2FDA-8B17-4783-8A7C-5D57B6AFEF2E}" dt="2024-05-10T14:20:16.635" v="91" actId="1076"/>
          <ac:spMkLst>
            <pc:docMk/>
            <pc:sldMk cId="1020217584" sldId="329"/>
            <ac:spMk id="17" creationId="{C1215095-123A-8B0D-283F-06A4DC29BB41}"/>
          </ac:spMkLst>
        </pc:spChg>
        <pc:spChg chg="add mod">
          <ac:chgData name="Veniero Facchetti" userId="f2c6c99af91c4974" providerId="LiveId" clId="{F9CD2FDA-8B17-4783-8A7C-5D57B6AFEF2E}" dt="2024-05-10T14:20:16.635" v="91" actId="1076"/>
          <ac:spMkLst>
            <pc:docMk/>
            <pc:sldMk cId="1020217584" sldId="329"/>
            <ac:spMk id="18" creationId="{62B35F4E-985F-12A6-879F-C9AF736F34FD}"/>
          </ac:spMkLst>
        </pc:spChg>
        <pc:spChg chg="add mod">
          <ac:chgData name="Veniero Facchetti" userId="f2c6c99af91c4974" providerId="LiveId" clId="{F9CD2FDA-8B17-4783-8A7C-5D57B6AFEF2E}" dt="2024-05-10T14:20:16.635" v="91" actId="1076"/>
          <ac:spMkLst>
            <pc:docMk/>
            <pc:sldMk cId="1020217584" sldId="329"/>
            <ac:spMk id="19" creationId="{AE083B84-0DA3-F6DA-914C-D17678043821}"/>
          </ac:spMkLst>
        </pc:spChg>
        <pc:spChg chg="add mod">
          <ac:chgData name="Veniero Facchetti" userId="f2c6c99af91c4974" providerId="LiveId" clId="{F9CD2FDA-8B17-4783-8A7C-5D57B6AFEF2E}" dt="2024-05-10T14:20:16.635" v="91" actId="1076"/>
          <ac:spMkLst>
            <pc:docMk/>
            <pc:sldMk cId="1020217584" sldId="329"/>
            <ac:spMk id="20" creationId="{0A614699-F92F-8062-08D1-4EF34E99D2AD}"/>
          </ac:spMkLst>
        </pc:spChg>
        <pc:spChg chg="add mod">
          <ac:chgData name="Veniero Facchetti" userId="f2c6c99af91c4974" providerId="LiveId" clId="{F9CD2FDA-8B17-4783-8A7C-5D57B6AFEF2E}" dt="2024-05-10T14:20:16.635" v="91" actId="1076"/>
          <ac:spMkLst>
            <pc:docMk/>
            <pc:sldMk cId="1020217584" sldId="329"/>
            <ac:spMk id="21" creationId="{E04A4ACA-9F38-389E-FC74-94EF8F5C6EDF}"/>
          </ac:spMkLst>
        </pc:spChg>
        <pc:spChg chg="add mod">
          <ac:chgData name="Veniero Facchetti" userId="f2c6c99af91c4974" providerId="LiveId" clId="{F9CD2FDA-8B17-4783-8A7C-5D57B6AFEF2E}" dt="2024-05-10T14:20:16.635" v="91" actId="1076"/>
          <ac:spMkLst>
            <pc:docMk/>
            <pc:sldMk cId="1020217584" sldId="329"/>
            <ac:spMk id="22" creationId="{3FF14DB3-0C0D-F65C-2868-1D136C4123AB}"/>
          </ac:spMkLst>
        </pc:spChg>
        <pc:spChg chg="add mod">
          <ac:chgData name="Veniero Facchetti" userId="f2c6c99af91c4974" providerId="LiveId" clId="{F9CD2FDA-8B17-4783-8A7C-5D57B6AFEF2E}" dt="2024-05-10T14:20:16.635" v="91" actId="1076"/>
          <ac:spMkLst>
            <pc:docMk/>
            <pc:sldMk cId="1020217584" sldId="329"/>
            <ac:spMk id="23" creationId="{88FA9BA2-4C8B-5053-DCB1-29097FD13038}"/>
          </ac:spMkLst>
        </pc:spChg>
        <pc:spChg chg="add mod">
          <ac:chgData name="Veniero Facchetti" userId="f2c6c99af91c4974" providerId="LiveId" clId="{F9CD2FDA-8B17-4783-8A7C-5D57B6AFEF2E}" dt="2024-05-10T14:20:16.635" v="91" actId="1076"/>
          <ac:spMkLst>
            <pc:docMk/>
            <pc:sldMk cId="1020217584" sldId="329"/>
            <ac:spMk id="24" creationId="{A3BD980E-E512-A778-0ED9-F5E2E648A9DF}"/>
          </ac:spMkLst>
        </pc:spChg>
        <pc:spChg chg="add mod">
          <ac:chgData name="Veniero Facchetti" userId="f2c6c99af91c4974" providerId="LiveId" clId="{F9CD2FDA-8B17-4783-8A7C-5D57B6AFEF2E}" dt="2024-05-10T14:20:16.635" v="91" actId="1076"/>
          <ac:spMkLst>
            <pc:docMk/>
            <pc:sldMk cId="1020217584" sldId="329"/>
            <ac:spMk id="25" creationId="{9A338D59-FD35-3E0D-6669-EB1A2B7FE1BE}"/>
          </ac:spMkLst>
        </pc:spChg>
        <pc:spChg chg="add mod">
          <ac:chgData name="Veniero Facchetti" userId="f2c6c99af91c4974" providerId="LiveId" clId="{F9CD2FDA-8B17-4783-8A7C-5D57B6AFEF2E}" dt="2024-05-10T14:20:16.635" v="91" actId="1076"/>
          <ac:spMkLst>
            <pc:docMk/>
            <pc:sldMk cId="1020217584" sldId="329"/>
            <ac:spMk id="26" creationId="{B3A78BED-C673-AA98-4B77-28198547E2B1}"/>
          </ac:spMkLst>
        </pc:spChg>
        <pc:spChg chg="add mod">
          <ac:chgData name="Veniero Facchetti" userId="f2c6c99af91c4974" providerId="LiveId" clId="{F9CD2FDA-8B17-4783-8A7C-5D57B6AFEF2E}" dt="2024-05-10T14:20:16.635" v="91" actId="1076"/>
          <ac:spMkLst>
            <pc:docMk/>
            <pc:sldMk cId="1020217584" sldId="329"/>
            <ac:spMk id="27" creationId="{82F924F9-5F2E-61B6-D61D-D990B3BBFDA5}"/>
          </ac:spMkLst>
        </pc:spChg>
        <pc:spChg chg="add mod">
          <ac:chgData name="Veniero Facchetti" userId="f2c6c99af91c4974" providerId="LiveId" clId="{F9CD2FDA-8B17-4783-8A7C-5D57B6AFEF2E}" dt="2024-05-10T14:20:16.635" v="91" actId="1076"/>
          <ac:spMkLst>
            <pc:docMk/>
            <pc:sldMk cId="1020217584" sldId="329"/>
            <ac:spMk id="28" creationId="{DF5F5C0B-5110-9057-67C0-0C66E4CCD6B4}"/>
          </ac:spMkLst>
        </pc:spChg>
        <pc:spChg chg="add mod">
          <ac:chgData name="Veniero Facchetti" userId="f2c6c99af91c4974" providerId="LiveId" clId="{F9CD2FDA-8B17-4783-8A7C-5D57B6AFEF2E}" dt="2024-05-10T14:20:16.635" v="91" actId="1076"/>
          <ac:spMkLst>
            <pc:docMk/>
            <pc:sldMk cId="1020217584" sldId="329"/>
            <ac:spMk id="30" creationId="{194647DB-792E-EC86-C413-D190ACA9A226}"/>
          </ac:spMkLst>
        </pc:spChg>
        <pc:spChg chg="add mod">
          <ac:chgData name="Veniero Facchetti" userId="f2c6c99af91c4974" providerId="LiveId" clId="{F9CD2FDA-8B17-4783-8A7C-5D57B6AFEF2E}" dt="2024-05-10T14:20:16.635" v="91" actId="1076"/>
          <ac:spMkLst>
            <pc:docMk/>
            <pc:sldMk cId="1020217584" sldId="329"/>
            <ac:spMk id="31" creationId="{0246BA0B-D632-A1B9-759B-7E37C6001BF4}"/>
          </ac:spMkLst>
        </pc:spChg>
        <pc:spChg chg="add mod">
          <ac:chgData name="Veniero Facchetti" userId="f2c6c99af91c4974" providerId="LiveId" clId="{F9CD2FDA-8B17-4783-8A7C-5D57B6AFEF2E}" dt="2024-05-10T14:20:16.635" v="91" actId="1076"/>
          <ac:spMkLst>
            <pc:docMk/>
            <pc:sldMk cId="1020217584" sldId="329"/>
            <ac:spMk id="32" creationId="{2E853969-0BD8-10DE-7AEE-B281F28E4341}"/>
          </ac:spMkLst>
        </pc:spChg>
        <pc:spChg chg="add mod">
          <ac:chgData name="Veniero Facchetti" userId="f2c6c99af91c4974" providerId="LiveId" clId="{F9CD2FDA-8B17-4783-8A7C-5D57B6AFEF2E}" dt="2024-05-10T14:20:16.635" v="91" actId="1076"/>
          <ac:spMkLst>
            <pc:docMk/>
            <pc:sldMk cId="1020217584" sldId="329"/>
            <ac:spMk id="33" creationId="{B1DC41B3-9EFA-B5D8-2310-EBBE2C9FDD52}"/>
          </ac:spMkLst>
        </pc:spChg>
        <pc:spChg chg="add mod">
          <ac:chgData name="Veniero Facchetti" userId="f2c6c99af91c4974" providerId="LiveId" clId="{F9CD2FDA-8B17-4783-8A7C-5D57B6AFEF2E}" dt="2024-05-10T14:20:16.635" v="91" actId="1076"/>
          <ac:spMkLst>
            <pc:docMk/>
            <pc:sldMk cId="1020217584" sldId="329"/>
            <ac:spMk id="34" creationId="{F7724C0D-89C8-8F90-DC62-35538E4F6D49}"/>
          </ac:spMkLst>
        </pc:spChg>
        <pc:spChg chg="add mod">
          <ac:chgData name="Veniero Facchetti" userId="f2c6c99af91c4974" providerId="LiveId" clId="{F9CD2FDA-8B17-4783-8A7C-5D57B6AFEF2E}" dt="2024-05-10T14:20:16.635" v="91" actId="1076"/>
          <ac:spMkLst>
            <pc:docMk/>
            <pc:sldMk cId="1020217584" sldId="329"/>
            <ac:spMk id="35" creationId="{5EA7E975-43F8-D83C-B4A2-DCCE62FADE45}"/>
          </ac:spMkLst>
        </pc:spChg>
        <pc:spChg chg="add mod">
          <ac:chgData name="Veniero Facchetti" userId="f2c6c99af91c4974" providerId="LiveId" clId="{F9CD2FDA-8B17-4783-8A7C-5D57B6AFEF2E}" dt="2024-05-10T14:20:16.635" v="91" actId="1076"/>
          <ac:spMkLst>
            <pc:docMk/>
            <pc:sldMk cId="1020217584" sldId="329"/>
            <ac:spMk id="36" creationId="{044A8092-8CA3-DCFC-1676-F1E699F930F3}"/>
          </ac:spMkLst>
        </pc:spChg>
        <pc:spChg chg="add mod">
          <ac:chgData name="Veniero Facchetti" userId="f2c6c99af91c4974" providerId="LiveId" clId="{F9CD2FDA-8B17-4783-8A7C-5D57B6AFEF2E}" dt="2024-05-10T14:20:16.635" v="91" actId="1076"/>
          <ac:spMkLst>
            <pc:docMk/>
            <pc:sldMk cId="1020217584" sldId="329"/>
            <ac:spMk id="37" creationId="{D482E43F-306D-846A-5757-BAA3B741344B}"/>
          </ac:spMkLst>
        </pc:spChg>
        <pc:spChg chg="add mod">
          <ac:chgData name="Veniero Facchetti" userId="f2c6c99af91c4974" providerId="LiveId" clId="{F9CD2FDA-8B17-4783-8A7C-5D57B6AFEF2E}" dt="2024-05-10T14:20:16.635" v="91" actId="1076"/>
          <ac:spMkLst>
            <pc:docMk/>
            <pc:sldMk cId="1020217584" sldId="329"/>
            <ac:spMk id="38" creationId="{16BCBA3A-C859-7574-414D-FF241D3C70E8}"/>
          </ac:spMkLst>
        </pc:spChg>
        <pc:spChg chg="add mod">
          <ac:chgData name="Veniero Facchetti" userId="f2c6c99af91c4974" providerId="LiveId" clId="{F9CD2FDA-8B17-4783-8A7C-5D57B6AFEF2E}" dt="2024-05-10T14:20:16.635" v="91" actId="1076"/>
          <ac:spMkLst>
            <pc:docMk/>
            <pc:sldMk cId="1020217584" sldId="329"/>
            <ac:spMk id="39" creationId="{0E61CD4B-0033-D91D-7234-9A5EA898D483}"/>
          </ac:spMkLst>
        </pc:spChg>
        <pc:spChg chg="add mod">
          <ac:chgData name="Veniero Facchetti" userId="f2c6c99af91c4974" providerId="LiveId" clId="{F9CD2FDA-8B17-4783-8A7C-5D57B6AFEF2E}" dt="2024-05-10T14:20:16.635" v="91" actId="1076"/>
          <ac:spMkLst>
            <pc:docMk/>
            <pc:sldMk cId="1020217584" sldId="329"/>
            <ac:spMk id="40" creationId="{95B5DC9F-11CE-376F-38B4-22BDFAAAD842}"/>
          </ac:spMkLst>
        </pc:spChg>
        <pc:spChg chg="add mod">
          <ac:chgData name="Veniero Facchetti" userId="f2c6c99af91c4974" providerId="LiveId" clId="{F9CD2FDA-8B17-4783-8A7C-5D57B6AFEF2E}" dt="2024-05-10T14:20:16.635" v="91" actId="1076"/>
          <ac:spMkLst>
            <pc:docMk/>
            <pc:sldMk cId="1020217584" sldId="329"/>
            <ac:spMk id="41" creationId="{6502E427-C4C5-02D3-3870-8ED6F89DA49F}"/>
          </ac:spMkLst>
        </pc:spChg>
        <pc:spChg chg="add mod">
          <ac:chgData name="Veniero Facchetti" userId="f2c6c99af91c4974" providerId="LiveId" clId="{F9CD2FDA-8B17-4783-8A7C-5D57B6AFEF2E}" dt="2024-05-10T14:20:16.635" v="91" actId="1076"/>
          <ac:spMkLst>
            <pc:docMk/>
            <pc:sldMk cId="1020217584" sldId="329"/>
            <ac:spMk id="42" creationId="{81EFF30B-5477-1AC0-C2FB-DF6D92A93BFB}"/>
          </ac:spMkLst>
        </pc:spChg>
        <pc:spChg chg="add mod">
          <ac:chgData name="Veniero Facchetti" userId="f2c6c99af91c4974" providerId="LiveId" clId="{F9CD2FDA-8B17-4783-8A7C-5D57B6AFEF2E}" dt="2024-05-10T14:18:22.685" v="67" actId="404"/>
          <ac:spMkLst>
            <pc:docMk/>
            <pc:sldMk cId="1020217584" sldId="329"/>
            <ac:spMk id="51" creationId="{A9B3D995-E1A0-F06F-1DFD-D3CA18447164}"/>
          </ac:spMkLst>
        </pc:spChg>
        <pc:spChg chg="add mod">
          <ac:chgData name="Veniero Facchetti" userId="f2c6c99af91c4974" providerId="LiveId" clId="{F9CD2FDA-8B17-4783-8A7C-5D57B6AFEF2E}" dt="2024-05-10T14:18:22.685" v="67" actId="404"/>
          <ac:spMkLst>
            <pc:docMk/>
            <pc:sldMk cId="1020217584" sldId="329"/>
            <ac:spMk id="52" creationId="{9C2EA79C-CCAE-1B23-BDDB-59CB2CEB5977}"/>
          </ac:spMkLst>
        </pc:spChg>
        <pc:spChg chg="add mod">
          <ac:chgData name="Veniero Facchetti" userId="f2c6c99af91c4974" providerId="LiveId" clId="{F9CD2FDA-8B17-4783-8A7C-5D57B6AFEF2E}" dt="2024-05-10T14:18:22.685" v="67" actId="404"/>
          <ac:spMkLst>
            <pc:docMk/>
            <pc:sldMk cId="1020217584" sldId="329"/>
            <ac:spMk id="53" creationId="{711B09FE-1E3E-5B39-CFAB-EB3326D74E8B}"/>
          </ac:spMkLst>
        </pc:spChg>
        <pc:spChg chg="add mod">
          <ac:chgData name="Veniero Facchetti" userId="f2c6c99af91c4974" providerId="LiveId" clId="{F9CD2FDA-8B17-4783-8A7C-5D57B6AFEF2E}" dt="2024-05-10T14:18:22.685" v="67" actId="404"/>
          <ac:spMkLst>
            <pc:docMk/>
            <pc:sldMk cId="1020217584" sldId="329"/>
            <ac:spMk id="54" creationId="{2975B801-941C-9AA1-79EB-44F485F93CA3}"/>
          </ac:spMkLst>
        </pc:spChg>
        <pc:spChg chg="add mod">
          <ac:chgData name="Veniero Facchetti" userId="f2c6c99af91c4974" providerId="LiveId" clId="{F9CD2FDA-8B17-4783-8A7C-5D57B6AFEF2E}" dt="2024-05-10T14:18:22.685" v="67" actId="404"/>
          <ac:spMkLst>
            <pc:docMk/>
            <pc:sldMk cId="1020217584" sldId="329"/>
            <ac:spMk id="55" creationId="{5D1DE17E-5BC9-7A26-2D27-E4EBFFBB1732}"/>
          </ac:spMkLst>
        </pc:spChg>
        <pc:spChg chg="add mod">
          <ac:chgData name="Veniero Facchetti" userId="f2c6c99af91c4974" providerId="LiveId" clId="{F9CD2FDA-8B17-4783-8A7C-5D57B6AFEF2E}" dt="2024-05-10T14:18:22.685" v="67" actId="404"/>
          <ac:spMkLst>
            <pc:docMk/>
            <pc:sldMk cId="1020217584" sldId="329"/>
            <ac:spMk id="56" creationId="{FEC48566-E0C5-3896-BDC3-81BA17091AC5}"/>
          </ac:spMkLst>
        </pc:spChg>
        <pc:spChg chg="add mod">
          <ac:chgData name="Veniero Facchetti" userId="f2c6c99af91c4974" providerId="LiveId" clId="{F9CD2FDA-8B17-4783-8A7C-5D57B6AFEF2E}" dt="2024-05-10T14:18:22.685" v="67" actId="404"/>
          <ac:spMkLst>
            <pc:docMk/>
            <pc:sldMk cId="1020217584" sldId="329"/>
            <ac:spMk id="57" creationId="{74562352-3E6E-51AD-F2D0-81080572437F}"/>
          </ac:spMkLst>
        </pc:spChg>
        <pc:spChg chg="add mod">
          <ac:chgData name="Veniero Facchetti" userId="f2c6c99af91c4974" providerId="LiveId" clId="{F9CD2FDA-8B17-4783-8A7C-5D57B6AFEF2E}" dt="2024-05-10T14:18:22.685" v="67" actId="404"/>
          <ac:spMkLst>
            <pc:docMk/>
            <pc:sldMk cId="1020217584" sldId="329"/>
            <ac:spMk id="60" creationId="{8A6A5F90-9CBB-338A-5D5F-397F660CEA16}"/>
          </ac:spMkLst>
        </pc:spChg>
        <pc:spChg chg="add mod">
          <ac:chgData name="Veniero Facchetti" userId="f2c6c99af91c4974" providerId="LiveId" clId="{F9CD2FDA-8B17-4783-8A7C-5D57B6AFEF2E}" dt="2024-05-10T14:18:22.685" v="67" actId="404"/>
          <ac:spMkLst>
            <pc:docMk/>
            <pc:sldMk cId="1020217584" sldId="329"/>
            <ac:spMk id="61" creationId="{4FCA48AF-31EF-4B1C-BF92-6F596FBF251E}"/>
          </ac:spMkLst>
        </pc:spChg>
        <pc:spChg chg="add mod">
          <ac:chgData name="Veniero Facchetti" userId="f2c6c99af91c4974" providerId="LiveId" clId="{F9CD2FDA-8B17-4783-8A7C-5D57B6AFEF2E}" dt="2024-05-10T14:18:22.685" v="67" actId="404"/>
          <ac:spMkLst>
            <pc:docMk/>
            <pc:sldMk cId="1020217584" sldId="329"/>
            <ac:spMk id="62" creationId="{467141C6-B789-2D71-3427-150282E8F10C}"/>
          </ac:spMkLst>
        </pc:spChg>
        <pc:spChg chg="add mod">
          <ac:chgData name="Veniero Facchetti" userId="f2c6c99af91c4974" providerId="LiveId" clId="{F9CD2FDA-8B17-4783-8A7C-5D57B6AFEF2E}" dt="2024-05-10T14:18:22.685" v="67" actId="404"/>
          <ac:spMkLst>
            <pc:docMk/>
            <pc:sldMk cId="1020217584" sldId="329"/>
            <ac:spMk id="63" creationId="{A4F2BDEE-9BA2-A478-0F40-C8B8E4412CAB}"/>
          </ac:spMkLst>
        </pc:spChg>
        <pc:spChg chg="add mod">
          <ac:chgData name="Veniero Facchetti" userId="f2c6c99af91c4974" providerId="LiveId" clId="{F9CD2FDA-8B17-4783-8A7C-5D57B6AFEF2E}" dt="2024-05-10T14:18:22.685" v="67" actId="404"/>
          <ac:spMkLst>
            <pc:docMk/>
            <pc:sldMk cId="1020217584" sldId="329"/>
            <ac:spMk id="66" creationId="{383EF178-54AD-03AC-A753-FEBC4F643C6A}"/>
          </ac:spMkLst>
        </pc:spChg>
        <pc:spChg chg="add mod">
          <ac:chgData name="Veniero Facchetti" userId="f2c6c99af91c4974" providerId="LiveId" clId="{F9CD2FDA-8B17-4783-8A7C-5D57B6AFEF2E}" dt="2024-05-10T14:18:22.685" v="67" actId="404"/>
          <ac:spMkLst>
            <pc:docMk/>
            <pc:sldMk cId="1020217584" sldId="329"/>
            <ac:spMk id="67" creationId="{3CE7C611-93F0-4367-6663-E0F01B1F2D88}"/>
          </ac:spMkLst>
        </pc:spChg>
        <pc:graphicFrameChg chg="add mod">
          <ac:chgData name="Veniero Facchetti" userId="f2c6c99af91c4974" providerId="LiveId" clId="{F9CD2FDA-8B17-4783-8A7C-5D57B6AFEF2E}" dt="2024-05-10T14:20:16.635" v="91" actId="1076"/>
          <ac:graphicFrameMkLst>
            <pc:docMk/>
            <pc:sldMk cId="1020217584" sldId="329"/>
            <ac:graphicFrameMk id="16" creationId="{C656C37C-8112-B046-52AD-90B20878AF25}"/>
          </ac:graphicFrameMkLst>
        </pc:graphicFrameChg>
        <pc:graphicFrameChg chg="add mod">
          <ac:chgData name="Veniero Facchetti" userId="f2c6c99af91c4974" providerId="LiveId" clId="{F9CD2FDA-8B17-4783-8A7C-5D57B6AFEF2E}" dt="2024-05-10T14:20:16.635" v="91" actId="1076"/>
          <ac:graphicFrameMkLst>
            <pc:docMk/>
            <pc:sldMk cId="1020217584" sldId="329"/>
            <ac:graphicFrameMk id="29" creationId="{C81320EA-E826-6635-BBE8-072585ECCDB9}"/>
          </ac:graphicFrameMkLst>
        </pc:graphicFrameChg>
        <pc:graphicFrameChg chg="add mod">
          <ac:chgData name="Veniero Facchetti" userId="f2c6c99af91c4974" providerId="LiveId" clId="{F9CD2FDA-8B17-4783-8A7C-5D57B6AFEF2E}" dt="2024-05-10T14:19:55.722" v="89" actId="14100"/>
          <ac:graphicFrameMkLst>
            <pc:docMk/>
            <pc:sldMk cId="1020217584" sldId="329"/>
            <ac:graphicFrameMk id="50" creationId="{3C9CC746-2E5D-2442-B233-C19DE779EECA}"/>
          </ac:graphicFrameMkLst>
        </pc:graphicFrameChg>
        <pc:cxnChg chg="add mod">
          <ac:chgData name="Veniero Facchetti" userId="f2c6c99af91c4974" providerId="LiveId" clId="{F9CD2FDA-8B17-4783-8A7C-5D57B6AFEF2E}" dt="2024-05-10T14:18:22.685" v="67" actId="404"/>
          <ac:cxnSpMkLst>
            <pc:docMk/>
            <pc:sldMk cId="1020217584" sldId="329"/>
            <ac:cxnSpMk id="43" creationId="{8CE0764D-76B1-3F7D-38F8-12EBEC39C5F1}"/>
          </ac:cxnSpMkLst>
        </pc:cxnChg>
        <pc:cxnChg chg="add mod">
          <ac:chgData name="Veniero Facchetti" userId="f2c6c99af91c4974" providerId="LiveId" clId="{F9CD2FDA-8B17-4783-8A7C-5D57B6AFEF2E}" dt="2024-05-10T14:18:22.685" v="67" actId="404"/>
          <ac:cxnSpMkLst>
            <pc:docMk/>
            <pc:sldMk cId="1020217584" sldId="329"/>
            <ac:cxnSpMk id="44" creationId="{D1EEDDF9-C6AF-758F-37BC-3721721A9B86}"/>
          </ac:cxnSpMkLst>
        </pc:cxnChg>
        <pc:cxnChg chg="add mod">
          <ac:chgData name="Veniero Facchetti" userId="f2c6c99af91c4974" providerId="LiveId" clId="{F9CD2FDA-8B17-4783-8A7C-5D57B6AFEF2E}" dt="2024-05-10T14:18:22.685" v="67" actId="404"/>
          <ac:cxnSpMkLst>
            <pc:docMk/>
            <pc:sldMk cId="1020217584" sldId="329"/>
            <ac:cxnSpMk id="45" creationId="{36DD0844-ED9C-9992-8231-A50CD769DCB0}"/>
          </ac:cxnSpMkLst>
        </pc:cxnChg>
        <pc:cxnChg chg="add mod">
          <ac:chgData name="Veniero Facchetti" userId="f2c6c99af91c4974" providerId="LiveId" clId="{F9CD2FDA-8B17-4783-8A7C-5D57B6AFEF2E}" dt="2024-05-10T14:18:22.685" v="67" actId="404"/>
          <ac:cxnSpMkLst>
            <pc:docMk/>
            <pc:sldMk cId="1020217584" sldId="329"/>
            <ac:cxnSpMk id="46" creationId="{7E8272DE-4921-E075-BDE9-1628DA65BE9D}"/>
          </ac:cxnSpMkLst>
        </pc:cxnChg>
        <pc:cxnChg chg="add mod">
          <ac:chgData name="Veniero Facchetti" userId="f2c6c99af91c4974" providerId="LiveId" clId="{F9CD2FDA-8B17-4783-8A7C-5D57B6AFEF2E}" dt="2024-05-10T14:18:22.685" v="67" actId="404"/>
          <ac:cxnSpMkLst>
            <pc:docMk/>
            <pc:sldMk cId="1020217584" sldId="329"/>
            <ac:cxnSpMk id="47" creationId="{36927B86-D67C-16E7-4E61-085438285DF3}"/>
          </ac:cxnSpMkLst>
        </pc:cxnChg>
        <pc:cxnChg chg="add mod">
          <ac:chgData name="Veniero Facchetti" userId="f2c6c99af91c4974" providerId="LiveId" clId="{F9CD2FDA-8B17-4783-8A7C-5D57B6AFEF2E}" dt="2024-05-10T14:18:22.685" v="67" actId="404"/>
          <ac:cxnSpMkLst>
            <pc:docMk/>
            <pc:sldMk cId="1020217584" sldId="329"/>
            <ac:cxnSpMk id="48" creationId="{4022AD86-CB41-2C1F-0B29-8BDA07A54E1C}"/>
          </ac:cxnSpMkLst>
        </pc:cxnChg>
        <pc:cxnChg chg="add mod">
          <ac:chgData name="Veniero Facchetti" userId="f2c6c99af91c4974" providerId="LiveId" clId="{F9CD2FDA-8B17-4783-8A7C-5D57B6AFEF2E}" dt="2024-05-10T14:18:22.685" v="67" actId="404"/>
          <ac:cxnSpMkLst>
            <pc:docMk/>
            <pc:sldMk cId="1020217584" sldId="329"/>
            <ac:cxnSpMk id="49" creationId="{29D90D1C-0378-D7AC-1FEE-7D5613E9C8C9}"/>
          </ac:cxnSpMkLst>
        </pc:cxnChg>
        <pc:cxnChg chg="add mod">
          <ac:chgData name="Veniero Facchetti" userId="f2c6c99af91c4974" providerId="LiveId" clId="{F9CD2FDA-8B17-4783-8A7C-5D57B6AFEF2E}" dt="2024-05-10T14:18:22.685" v="67" actId="404"/>
          <ac:cxnSpMkLst>
            <pc:docMk/>
            <pc:sldMk cId="1020217584" sldId="329"/>
            <ac:cxnSpMk id="58" creationId="{92B31CB7-7BCB-94A1-56B3-7036D7F958A4}"/>
          </ac:cxnSpMkLst>
        </pc:cxnChg>
        <pc:cxnChg chg="add mod">
          <ac:chgData name="Veniero Facchetti" userId="f2c6c99af91c4974" providerId="LiveId" clId="{F9CD2FDA-8B17-4783-8A7C-5D57B6AFEF2E}" dt="2024-05-10T14:18:22.685" v="67" actId="404"/>
          <ac:cxnSpMkLst>
            <pc:docMk/>
            <pc:sldMk cId="1020217584" sldId="329"/>
            <ac:cxnSpMk id="59" creationId="{8AD50789-0857-F748-C218-8C1B6B0CF511}"/>
          </ac:cxnSpMkLst>
        </pc:cxnChg>
        <pc:cxnChg chg="add mod">
          <ac:chgData name="Veniero Facchetti" userId="f2c6c99af91c4974" providerId="LiveId" clId="{F9CD2FDA-8B17-4783-8A7C-5D57B6AFEF2E}" dt="2024-05-10T14:18:22.685" v="67" actId="404"/>
          <ac:cxnSpMkLst>
            <pc:docMk/>
            <pc:sldMk cId="1020217584" sldId="329"/>
            <ac:cxnSpMk id="64" creationId="{AE8B9629-E383-3ABA-A0BF-6B58AEC61DB6}"/>
          </ac:cxnSpMkLst>
        </pc:cxnChg>
        <pc:cxnChg chg="add mod">
          <ac:chgData name="Veniero Facchetti" userId="f2c6c99af91c4974" providerId="LiveId" clId="{F9CD2FDA-8B17-4783-8A7C-5D57B6AFEF2E}" dt="2024-05-10T14:18:22.685" v="67" actId="404"/>
          <ac:cxnSpMkLst>
            <pc:docMk/>
            <pc:sldMk cId="1020217584" sldId="329"/>
            <ac:cxnSpMk id="65" creationId="{0B4EF12A-2ADB-C7AB-CC42-29981D83BA6B}"/>
          </ac:cxnSpMkLst>
        </pc:cxnChg>
      </pc:sldChg>
      <pc:sldChg chg="addSp delSp modSp add mod">
        <pc:chgData name="Veniero Facchetti" userId="f2c6c99af91c4974" providerId="LiveId" clId="{F9CD2FDA-8B17-4783-8A7C-5D57B6AFEF2E}" dt="2024-05-10T14:23:31.691" v="131" actId="14100"/>
        <pc:sldMkLst>
          <pc:docMk/>
          <pc:sldMk cId="702343998" sldId="330"/>
        </pc:sldMkLst>
        <pc:spChg chg="mod">
          <ac:chgData name="Veniero Facchetti" userId="f2c6c99af91c4974" providerId="LiveId" clId="{F9CD2FDA-8B17-4783-8A7C-5D57B6AFEF2E}" dt="2024-05-10T14:21:21.752" v="110" actId="1076"/>
          <ac:spMkLst>
            <pc:docMk/>
            <pc:sldMk cId="702343998" sldId="330"/>
            <ac:spMk id="5" creationId="{AECFEB1D-7928-1E7B-7BCE-392246DF4F6B}"/>
          </ac:spMkLst>
        </pc:spChg>
        <pc:spChg chg="mod">
          <ac:chgData name="Veniero Facchetti" userId="f2c6c99af91c4974" providerId="LiveId" clId="{F9CD2FDA-8B17-4783-8A7C-5D57B6AFEF2E}" dt="2024-05-10T14:21:05.099" v="107" actId="404"/>
          <ac:spMkLst>
            <pc:docMk/>
            <pc:sldMk cId="702343998" sldId="330"/>
            <ac:spMk id="6" creationId="{C57A0B68-948F-CBED-97A5-A01371066D12}"/>
          </ac:spMkLst>
        </pc:spChg>
        <pc:spChg chg="del">
          <ac:chgData name="Veniero Facchetti" userId="f2c6c99af91c4974" providerId="LiveId" clId="{F9CD2FDA-8B17-4783-8A7C-5D57B6AFEF2E}" dt="2024-05-10T14:21:08.881" v="108" actId="478"/>
          <ac:spMkLst>
            <pc:docMk/>
            <pc:sldMk cId="702343998" sldId="330"/>
            <ac:spMk id="9" creationId="{E58AE750-00A2-3A24-B1B1-4A27D1D337A4}"/>
          </ac:spMkLst>
        </pc:spChg>
        <pc:spChg chg="del">
          <ac:chgData name="Veniero Facchetti" userId="f2c6c99af91c4974" providerId="LiveId" clId="{F9CD2FDA-8B17-4783-8A7C-5D57B6AFEF2E}" dt="2024-05-10T14:21:08.881" v="108" actId="478"/>
          <ac:spMkLst>
            <pc:docMk/>
            <pc:sldMk cId="702343998" sldId="330"/>
            <ac:spMk id="10" creationId="{FFE55206-8FC6-CF88-4B83-C048F8526BDB}"/>
          </ac:spMkLst>
        </pc:spChg>
        <pc:spChg chg="del">
          <ac:chgData name="Veniero Facchetti" userId="f2c6c99af91c4974" providerId="LiveId" clId="{F9CD2FDA-8B17-4783-8A7C-5D57B6AFEF2E}" dt="2024-05-10T14:21:08.881" v="108" actId="478"/>
          <ac:spMkLst>
            <pc:docMk/>
            <pc:sldMk cId="702343998" sldId="330"/>
            <ac:spMk id="11" creationId="{6C551F66-277C-7305-3E50-E5C40F02E7E2}"/>
          </ac:spMkLst>
        </pc:spChg>
        <pc:spChg chg="del">
          <ac:chgData name="Veniero Facchetti" userId="f2c6c99af91c4974" providerId="LiveId" clId="{F9CD2FDA-8B17-4783-8A7C-5D57B6AFEF2E}" dt="2024-05-10T14:21:08.881" v="108" actId="478"/>
          <ac:spMkLst>
            <pc:docMk/>
            <pc:sldMk cId="702343998" sldId="330"/>
            <ac:spMk id="12" creationId="{E4DC9391-3D16-3C39-33B8-4D7154AADA93}"/>
          </ac:spMkLst>
        </pc:spChg>
        <pc:spChg chg="del">
          <ac:chgData name="Veniero Facchetti" userId="f2c6c99af91c4974" providerId="LiveId" clId="{F9CD2FDA-8B17-4783-8A7C-5D57B6AFEF2E}" dt="2024-05-10T14:21:08.881" v="108" actId="478"/>
          <ac:spMkLst>
            <pc:docMk/>
            <pc:sldMk cId="702343998" sldId="330"/>
            <ac:spMk id="13" creationId="{578B8A0A-38B4-7DD1-3D68-1D18C551CC67}"/>
          </ac:spMkLst>
        </pc:spChg>
        <pc:spChg chg="del">
          <ac:chgData name="Veniero Facchetti" userId="f2c6c99af91c4974" providerId="LiveId" clId="{F9CD2FDA-8B17-4783-8A7C-5D57B6AFEF2E}" dt="2024-05-10T14:21:08.881" v="108" actId="478"/>
          <ac:spMkLst>
            <pc:docMk/>
            <pc:sldMk cId="702343998" sldId="330"/>
            <ac:spMk id="14" creationId="{8778674B-4265-6A1B-02CA-04C72886E112}"/>
          </ac:spMkLst>
        </pc:spChg>
        <pc:spChg chg="del">
          <ac:chgData name="Veniero Facchetti" userId="f2c6c99af91c4974" providerId="LiveId" clId="{F9CD2FDA-8B17-4783-8A7C-5D57B6AFEF2E}" dt="2024-05-10T14:21:08.881" v="108" actId="478"/>
          <ac:spMkLst>
            <pc:docMk/>
            <pc:sldMk cId="702343998" sldId="330"/>
            <ac:spMk id="15" creationId="{86EDADDC-535E-8D48-72DC-FC65E42883D6}"/>
          </ac:spMkLst>
        </pc:spChg>
        <pc:spChg chg="del">
          <ac:chgData name="Veniero Facchetti" userId="f2c6c99af91c4974" providerId="LiveId" clId="{F9CD2FDA-8B17-4783-8A7C-5D57B6AFEF2E}" dt="2024-05-10T14:21:08.881" v="108" actId="478"/>
          <ac:spMkLst>
            <pc:docMk/>
            <pc:sldMk cId="702343998" sldId="330"/>
            <ac:spMk id="17" creationId="{C1215095-123A-8B0D-283F-06A4DC29BB41}"/>
          </ac:spMkLst>
        </pc:spChg>
        <pc:spChg chg="del">
          <ac:chgData name="Veniero Facchetti" userId="f2c6c99af91c4974" providerId="LiveId" clId="{F9CD2FDA-8B17-4783-8A7C-5D57B6AFEF2E}" dt="2024-05-10T14:21:08.881" v="108" actId="478"/>
          <ac:spMkLst>
            <pc:docMk/>
            <pc:sldMk cId="702343998" sldId="330"/>
            <ac:spMk id="18" creationId="{62B35F4E-985F-12A6-879F-C9AF736F34FD}"/>
          </ac:spMkLst>
        </pc:spChg>
        <pc:spChg chg="del">
          <ac:chgData name="Veniero Facchetti" userId="f2c6c99af91c4974" providerId="LiveId" clId="{F9CD2FDA-8B17-4783-8A7C-5D57B6AFEF2E}" dt="2024-05-10T14:21:08.881" v="108" actId="478"/>
          <ac:spMkLst>
            <pc:docMk/>
            <pc:sldMk cId="702343998" sldId="330"/>
            <ac:spMk id="19" creationId="{AE083B84-0DA3-F6DA-914C-D17678043821}"/>
          </ac:spMkLst>
        </pc:spChg>
        <pc:spChg chg="del">
          <ac:chgData name="Veniero Facchetti" userId="f2c6c99af91c4974" providerId="LiveId" clId="{F9CD2FDA-8B17-4783-8A7C-5D57B6AFEF2E}" dt="2024-05-10T14:21:08.881" v="108" actId="478"/>
          <ac:spMkLst>
            <pc:docMk/>
            <pc:sldMk cId="702343998" sldId="330"/>
            <ac:spMk id="20" creationId="{0A614699-F92F-8062-08D1-4EF34E99D2AD}"/>
          </ac:spMkLst>
        </pc:spChg>
        <pc:spChg chg="del">
          <ac:chgData name="Veniero Facchetti" userId="f2c6c99af91c4974" providerId="LiveId" clId="{F9CD2FDA-8B17-4783-8A7C-5D57B6AFEF2E}" dt="2024-05-10T14:21:08.881" v="108" actId="478"/>
          <ac:spMkLst>
            <pc:docMk/>
            <pc:sldMk cId="702343998" sldId="330"/>
            <ac:spMk id="21" creationId="{E04A4ACA-9F38-389E-FC74-94EF8F5C6EDF}"/>
          </ac:spMkLst>
        </pc:spChg>
        <pc:spChg chg="del">
          <ac:chgData name="Veniero Facchetti" userId="f2c6c99af91c4974" providerId="LiveId" clId="{F9CD2FDA-8B17-4783-8A7C-5D57B6AFEF2E}" dt="2024-05-10T14:21:08.881" v="108" actId="478"/>
          <ac:spMkLst>
            <pc:docMk/>
            <pc:sldMk cId="702343998" sldId="330"/>
            <ac:spMk id="22" creationId="{3FF14DB3-0C0D-F65C-2868-1D136C4123AB}"/>
          </ac:spMkLst>
        </pc:spChg>
        <pc:spChg chg="del">
          <ac:chgData name="Veniero Facchetti" userId="f2c6c99af91c4974" providerId="LiveId" clId="{F9CD2FDA-8B17-4783-8A7C-5D57B6AFEF2E}" dt="2024-05-10T14:21:08.881" v="108" actId="478"/>
          <ac:spMkLst>
            <pc:docMk/>
            <pc:sldMk cId="702343998" sldId="330"/>
            <ac:spMk id="23" creationId="{88FA9BA2-4C8B-5053-DCB1-29097FD13038}"/>
          </ac:spMkLst>
        </pc:spChg>
        <pc:spChg chg="del">
          <ac:chgData name="Veniero Facchetti" userId="f2c6c99af91c4974" providerId="LiveId" clId="{F9CD2FDA-8B17-4783-8A7C-5D57B6AFEF2E}" dt="2024-05-10T14:21:08.881" v="108" actId="478"/>
          <ac:spMkLst>
            <pc:docMk/>
            <pc:sldMk cId="702343998" sldId="330"/>
            <ac:spMk id="24" creationId="{A3BD980E-E512-A778-0ED9-F5E2E648A9DF}"/>
          </ac:spMkLst>
        </pc:spChg>
        <pc:spChg chg="del">
          <ac:chgData name="Veniero Facchetti" userId="f2c6c99af91c4974" providerId="LiveId" clId="{F9CD2FDA-8B17-4783-8A7C-5D57B6AFEF2E}" dt="2024-05-10T14:21:08.881" v="108" actId="478"/>
          <ac:spMkLst>
            <pc:docMk/>
            <pc:sldMk cId="702343998" sldId="330"/>
            <ac:spMk id="25" creationId="{9A338D59-FD35-3E0D-6669-EB1A2B7FE1BE}"/>
          </ac:spMkLst>
        </pc:spChg>
        <pc:spChg chg="del">
          <ac:chgData name="Veniero Facchetti" userId="f2c6c99af91c4974" providerId="LiveId" clId="{F9CD2FDA-8B17-4783-8A7C-5D57B6AFEF2E}" dt="2024-05-10T14:21:08.881" v="108" actId="478"/>
          <ac:spMkLst>
            <pc:docMk/>
            <pc:sldMk cId="702343998" sldId="330"/>
            <ac:spMk id="26" creationId="{B3A78BED-C673-AA98-4B77-28198547E2B1}"/>
          </ac:spMkLst>
        </pc:spChg>
        <pc:spChg chg="del">
          <ac:chgData name="Veniero Facchetti" userId="f2c6c99af91c4974" providerId="LiveId" clId="{F9CD2FDA-8B17-4783-8A7C-5D57B6AFEF2E}" dt="2024-05-10T14:21:08.881" v="108" actId="478"/>
          <ac:spMkLst>
            <pc:docMk/>
            <pc:sldMk cId="702343998" sldId="330"/>
            <ac:spMk id="27" creationId="{82F924F9-5F2E-61B6-D61D-D990B3BBFDA5}"/>
          </ac:spMkLst>
        </pc:spChg>
        <pc:spChg chg="del">
          <ac:chgData name="Veniero Facchetti" userId="f2c6c99af91c4974" providerId="LiveId" clId="{F9CD2FDA-8B17-4783-8A7C-5D57B6AFEF2E}" dt="2024-05-10T14:21:08.881" v="108" actId="478"/>
          <ac:spMkLst>
            <pc:docMk/>
            <pc:sldMk cId="702343998" sldId="330"/>
            <ac:spMk id="28" creationId="{DF5F5C0B-5110-9057-67C0-0C66E4CCD6B4}"/>
          </ac:spMkLst>
        </pc:spChg>
        <pc:spChg chg="del">
          <ac:chgData name="Veniero Facchetti" userId="f2c6c99af91c4974" providerId="LiveId" clId="{F9CD2FDA-8B17-4783-8A7C-5D57B6AFEF2E}" dt="2024-05-10T14:21:08.881" v="108" actId="478"/>
          <ac:spMkLst>
            <pc:docMk/>
            <pc:sldMk cId="702343998" sldId="330"/>
            <ac:spMk id="30" creationId="{194647DB-792E-EC86-C413-D190ACA9A226}"/>
          </ac:spMkLst>
        </pc:spChg>
        <pc:spChg chg="del">
          <ac:chgData name="Veniero Facchetti" userId="f2c6c99af91c4974" providerId="LiveId" clId="{F9CD2FDA-8B17-4783-8A7C-5D57B6AFEF2E}" dt="2024-05-10T14:21:08.881" v="108" actId="478"/>
          <ac:spMkLst>
            <pc:docMk/>
            <pc:sldMk cId="702343998" sldId="330"/>
            <ac:spMk id="31" creationId="{0246BA0B-D632-A1B9-759B-7E37C6001BF4}"/>
          </ac:spMkLst>
        </pc:spChg>
        <pc:spChg chg="del">
          <ac:chgData name="Veniero Facchetti" userId="f2c6c99af91c4974" providerId="LiveId" clId="{F9CD2FDA-8B17-4783-8A7C-5D57B6AFEF2E}" dt="2024-05-10T14:21:08.881" v="108" actId="478"/>
          <ac:spMkLst>
            <pc:docMk/>
            <pc:sldMk cId="702343998" sldId="330"/>
            <ac:spMk id="32" creationId="{2E853969-0BD8-10DE-7AEE-B281F28E4341}"/>
          </ac:spMkLst>
        </pc:spChg>
        <pc:spChg chg="del">
          <ac:chgData name="Veniero Facchetti" userId="f2c6c99af91c4974" providerId="LiveId" clId="{F9CD2FDA-8B17-4783-8A7C-5D57B6AFEF2E}" dt="2024-05-10T14:21:08.881" v="108" actId="478"/>
          <ac:spMkLst>
            <pc:docMk/>
            <pc:sldMk cId="702343998" sldId="330"/>
            <ac:spMk id="33" creationId="{B1DC41B3-9EFA-B5D8-2310-EBBE2C9FDD52}"/>
          </ac:spMkLst>
        </pc:spChg>
        <pc:spChg chg="del">
          <ac:chgData name="Veniero Facchetti" userId="f2c6c99af91c4974" providerId="LiveId" clId="{F9CD2FDA-8B17-4783-8A7C-5D57B6AFEF2E}" dt="2024-05-10T14:21:08.881" v="108" actId="478"/>
          <ac:spMkLst>
            <pc:docMk/>
            <pc:sldMk cId="702343998" sldId="330"/>
            <ac:spMk id="34" creationId="{F7724C0D-89C8-8F90-DC62-35538E4F6D49}"/>
          </ac:spMkLst>
        </pc:spChg>
        <pc:spChg chg="del">
          <ac:chgData name="Veniero Facchetti" userId="f2c6c99af91c4974" providerId="LiveId" clId="{F9CD2FDA-8B17-4783-8A7C-5D57B6AFEF2E}" dt="2024-05-10T14:21:08.881" v="108" actId="478"/>
          <ac:spMkLst>
            <pc:docMk/>
            <pc:sldMk cId="702343998" sldId="330"/>
            <ac:spMk id="35" creationId="{5EA7E975-43F8-D83C-B4A2-DCCE62FADE45}"/>
          </ac:spMkLst>
        </pc:spChg>
        <pc:spChg chg="del">
          <ac:chgData name="Veniero Facchetti" userId="f2c6c99af91c4974" providerId="LiveId" clId="{F9CD2FDA-8B17-4783-8A7C-5D57B6AFEF2E}" dt="2024-05-10T14:21:08.881" v="108" actId="478"/>
          <ac:spMkLst>
            <pc:docMk/>
            <pc:sldMk cId="702343998" sldId="330"/>
            <ac:spMk id="36" creationId="{044A8092-8CA3-DCFC-1676-F1E699F930F3}"/>
          </ac:spMkLst>
        </pc:spChg>
        <pc:spChg chg="del">
          <ac:chgData name="Veniero Facchetti" userId="f2c6c99af91c4974" providerId="LiveId" clId="{F9CD2FDA-8B17-4783-8A7C-5D57B6AFEF2E}" dt="2024-05-10T14:21:08.881" v="108" actId="478"/>
          <ac:spMkLst>
            <pc:docMk/>
            <pc:sldMk cId="702343998" sldId="330"/>
            <ac:spMk id="37" creationId="{D482E43F-306D-846A-5757-BAA3B741344B}"/>
          </ac:spMkLst>
        </pc:spChg>
        <pc:spChg chg="del">
          <ac:chgData name="Veniero Facchetti" userId="f2c6c99af91c4974" providerId="LiveId" clId="{F9CD2FDA-8B17-4783-8A7C-5D57B6AFEF2E}" dt="2024-05-10T14:21:08.881" v="108" actId="478"/>
          <ac:spMkLst>
            <pc:docMk/>
            <pc:sldMk cId="702343998" sldId="330"/>
            <ac:spMk id="38" creationId="{16BCBA3A-C859-7574-414D-FF241D3C70E8}"/>
          </ac:spMkLst>
        </pc:spChg>
        <pc:spChg chg="del">
          <ac:chgData name="Veniero Facchetti" userId="f2c6c99af91c4974" providerId="LiveId" clId="{F9CD2FDA-8B17-4783-8A7C-5D57B6AFEF2E}" dt="2024-05-10T14:21:08.881" v="108" actId="478"/>
          <ac:spMkLst>
            <pc:docMk/>
            <pc:sldMk cId="702343998" sldId="330"/>
            <ac:spMk id="39" creationId="{0E61CD4B-0033-D91D-7234-9A5EA898D483}"/>
          </ac:spMkLst>
        </pc:spChg>
        <pc:spChg chg="del">
          <ac:chgData name="Veniero Facchetti" userId="f2c6c99af91c4974" providerId="LiveId" clId="{F9CD2FDA-8B17-4783-8A7C-5D57B6AFEF2E}" dt="2024-05-10T14:21:08.881" v="108" actId="478"/>
          <ac:spMkLst>
            <pc:docMk/>
            <pc:sldMk cId="702343998" sldId="330"/>
            <ac:spMk id="40" creationId="{95B5DC9F-11CE-376F-38B4-22BDFAAAD842}"/>
          </ac:spMkLst>
        </pc:spChg>
        <pc:spChg chg="del">
          <ac:chgData name="Veniero Facchetti" userId="f2c6c99af91c4974" providerId="LiveId" clId="{F9CD2FDA-8B17-4783-8A7C-5D57B6AFEF2E}" dt="2024-05-10T14:21:08.881" v="108" actId="478"/>
          <ac:spMkLst>
            <pc:docMk/>
            <pc:sldMk cId="702343998" sldId="330"/>
            <ac:spMk id="41" creationId="{6502E427-C4C5-02D3-3870-8ED6F89DA49F}"/>
          </ac:spMkLst>
        </pc:spChg>
        <pc:spChg chg="del">
          <ac:chgData name="Veniero Facchetti" userId="f2c6c99af91c4974" providerId="LiveId" clId="{F9CD2FDA-8B17-4783-8A7C-5D57B6AFEF2E}" dt="2024-05-10T14:21:08.881" v="108" actId="478"/>
          <ac:spMkLst>
            <pc:docMk/>
            <pc:sldMk cId="702343998" sldId="330"/>
            <ac:spMk id="42" creationId="{81EFF30B-5477-1AC0-C2FB-DF6D92A93BFB}"/>
          </ac:spMkLst>
        </pc:spChg>
        <pc:spChg chg="del">
          <ac:chgData name="Veniero Facchetti" userId="f2c6c99af91c4974" providerId="LiveId" clId="{F9CD2FDA-8B17-4783-8A7C-5D57B6AFEF2E}" dt="2024-05-10T14:21:08.881" v="108" actId="478"/>
          <ac:spMkLst>
            <pc:docMk/>
            <pc:sldMk cId="702343998" sldId="330"/>
            <ac:spMk id="51" creationId="{A9B3D995-E1A0-F06F-1DFD-D3CA18447164}"/>
          </ac:spMkLst>
        </pc:spChg>
        <pc:spChg chg="del">
          <ac:chgData name="Veniero Facchetti" userId="f2c6c99af91c4974" providerId="LiveId" clId="{F9CD2FDA-8B17-4783-8A7C-5D57B6AFEF2E}" dt="2024-05-10T14:21:08.881" v="108" actId="478"/>
          <ac:spMkLst>
            <pc:docMk/>
            <pc:sldMk cId="702343998" sldId="330"/>
            <ac:spMk id="52" creationId="{9C2EA79C-CCAE-1B23-BDDB-59CB2CEB5977}"/>
          </ac:spMkLst>
        </pc:spChg>
        <pc:spChg chg="del">
          <ac:chgData name="Veniero Facchetti" userId="f2c6c99af91c4974" providerId="LiveId" clId="{F9CD2FDA-8B17-4783-8A7C-5D57B6AFEF2E}" dt="2024-05-10T14:21:08.881" v="108" actId="478"/>
          <ac:spMkLst>
            <pc:docMk/>
            <pc:sldMk cId="702343998" sldId="330"/>
            <ac:spMk id="53" creationId="{711B09FE-1E3E-5B39-CFAB-EB3326D74E8B}"/>
          </ac:spMkLst>
        </pc:spChg>
        <pc:spChg chg="del">
          <ac:chgData name="Veniero Facchetti" userId="f2c6c99af91c4974" providerId="LiveId" clId="{F9CD2FDA-8B17-4783-8A7C-5D57B6AFEF2E}" dt="2024-05-10T14:21:08.881" v="108" actId="478"/>
          <ac:spMkLst>
            <pc:docMk/>
            <pc:sldMk cId="702343998" sldId="330"/>
            <ac:spMk id="54" creationId="{2975B801-941C-9AA1-79EB-44F485F93CA3}"/>
          </ac:spMkLst>
        </pc:spChg>
        <pc:spChg chg="del">
          <ac:chgData name="Veniero Facchetti" userId="f2c6c99af91c4974" providerId="LiveId" clId="{F9CD2FDA-8B17-4783-8A7C-5D57B6AFEF2E}" dt="2024-05-10T14:21:08.881" v="108" actId="478"/>
          <ac:spMkLst>
            <pc:docMk/>
            <pc:sldMk cId="702343998" sldId="330"/>
            <ac:spMk id="55" creationId="{5D1DE17E-5BC9-7A26-2D27-E4EBFFBB1732}"/>
          </ac:spMkLst>
        </pc:spChg>
        <pc:spChg chg="del">
          <ac:chgData name="Veniero Facchetti" userId="f2c6c99af91c4974" providerId="LiveId" clId="{F9CD2FDA-8B17-4783-8A7C-5D57B6AFEF2E}" dt="2024-05-10T14:21:08.881" v="108" actId="478"/>
          <ac:spMkLst>
            <pc:docMk/>
            <pc:sldMk cId="702343998" sldId="330"/>
            <ac:spMk id="56" creationId="{FEC48566-E0C5-3896-BDC3-81BA17091AC5}"/>
          </ac:spMkLst>
        </pc:spChg>
        <pc:spChg chg="del">
          <ac:chgData name="Veniero Facchetti" userId="f2c6c99af91c4974" providerId="LiveId" clId="{F9CD2FDA-8B17-4783-8A7C-5D57B6AFEF2E}" dt="2024-05-10T14:21:08.881" v="108" actId="478"/>
          <ac:spMkLst>
            <pc:docMk/>
            <pc:sldMk cId="702343998" sldId="330"/>
            <ac:spMk id="57" creationId="{74562352-3E6E-51AD-F2D0-81080572437F}"/>
          </ac:spMkLst>
        </pc:spChg>
        <pc:spChg chg="del">
          <ac:chgData name="Veniero Facchetti" userId="f2c6c99af91c4974" providerId="LiveId" clId="{F9CD2FDA-8B17-4783-8A7C-5D57B6AFEF2E}" dt="2024-05-10T14:21:08.881" v="108" actId="478"/>
          <ac:spMkLst>
            <pc:docMk/>
            <pc:sldMk cId="702343998" sldId="330"/>
            <ac:spMk id="60" creationId="{8A6A5F90-9CBB-338A-5D5F-397F660CEA16}"/>
          </ac:spMkLst>
        </pc:spChg>
        <pc:spChg chg="del">
          <ac:chgData name="Veniero Facchetti" userId="f2c6c99af91c4974" providerId="LiveId" clId="{F9CD2FDA-8B17-4783-8A7C-5D57B6AFEF2E}" dt="2024-05-10T14:21:08.881" v="108" actId="478"/>
          <ac:spMkLst>
            <pc:docMk/>
            <pc:sldMk cId="702343998" sldId="330"/>
            <ac:spMk id="61" creationId="{4FCA48AF-31EF-4B1C-BF92-6F596FBF251E}"/>
          </ac:spMkLst>
        </pc:spChg>
        <pc:spChg chg="del">
          <ac:chgData name="Veniero Facchetti" userId="f2c6c99af91c4974" providerId="LiveId" clId="{F9CD2FDA-8B17-4783-8A7C-5D57B6AFEF2E}" dt="2024-05-10T14:21:08.881" v="108" actId="478"/>
          <ac:spMkLst>
            <pc:docMk/>
            <pc:sldMk cId="702343998" sldId="330"/>
            <ac:spMk id="62" creationId="{467141C6-B789-2D71-3427-150282E8F10C}"/>
          </ac:spMkLst>
        </pc:spChg>
        <pc:spChg chg="del">
          <ac:chgData name="Veniero Facchetti" userId="f2c6c99af91c4974" providerId="LiveId" clId="{F9CD2FDA-8B17-4783-8A7C-5D57B6AFEF2E}" dt="2024-05-10T14:21:08.881" v="108" actId="478"/>
          <ac:spMkLst>
            <pc:docMk/>
            <pc:sldMk cId="702343998" sldId="330"/>
            <ac:spMk id="63" creationId="{A4F2BDEE-9BA2-A478-0F40-C8B8E4412CAB}"/>
          </ac:spMkLst>
        </pc:spChg>
        <pc:spChg chg="del">
          <ac:chgData name="Veniero Facchetti" userId="f2c6c99af91c4974" providerId="LiveId" clId="{F9CD2FDA-8B17-4783-8A7C-5D57B6AFEF2E}" dt="2024-05-10T14:21:08.881" v="108" actId="478"/>
          <ac:spMkLst>
            <pc:docMk/>
            <pc:sldMk cId="702343998" sldId="330"/>
            <ac:spMk id="66" creationId="{383EF178-54AD-03AC-A753-FEBC4F643C6A}"/>
          </ac:spMkLst>
        </pc:spChg>
        <pc:spChg chg="del">
          <ac:chgData name="Veniero Facchetti" userId="f2c6c99af91c4974" providerId="LiveId" clId="{F9CD2FDA-8B17-4783-8A7C-5D57B6AFEF2E}" dt="2024-05-10T14:21:08.881" v="108" actId="478"/>
          <ac:spMkLst>
            <pc:docMk/>
            <pc:sldMk cId="702343998" sldId="330"/>
            <ac:spMk id="67" creationId="{3CE7C611-93F0-4367-6663-E0F01B1F2D88}"/>
          </ac:spMkLst>
        </pc:spChg>
        <pc:spChg chg="mod">
          <ac:chgData name="Veniero Facchetti" userId="f2c6c99af91c4974" providerId="LiveId" clId="{F9CD2FDA-8B17-4783-8A7C-5D57B6AFEF2E}" dt="2024-05-10T14:21:21.752" v="110" actId="1076"/>
          <ac:spMkLst>
            <pc:docMk/>
            <pc:sldMk cId="702343998" sldId="330"/>
            <ac:spMk id="68" creationId="{C37C4398-B890-336B-8FCD-74C7F52FE518}"/>
          </ac:spMkLst>
        </pc:spChg>
        <pc:spChg chg="add mod">
          <ac:chgData name="Veniero Facchetti" userId="f2c6c99af91c4974" providerId="LiveId" clId="{F9CD2FDA-8B17-4783-8A7C-5D57B6AFEF2E}" dt="2024-05-10T14:23:04.650" v="125" actId="1076"/>
          <ac:spMkLst>
            <pc:docMk/>
            <pc:sldMk cId="702343998" sldId="330"/>
            <ac:spMk id="70" creationId="{6BD5F59E-CFB9-0386-FBD6-B8A3ECCDFE75}"/>
          </ac:spMkLst>
        </pc:spChg>
        <pc:spChg chg="add mod">
          <ac:chgData name="Veniero Facchetti" userId="f2c6c99af91c4974" providerId="LiveId" clId="{F9CD2FDA-8B17-4783-8A7C-5D57B6AFEF2E}" dt="2024-05-10T14:21:50.461" v="117" actId="404"/>
          <ac:spMkLst>
            <pc:docMk/>
            <pc:sldMk cId="702343998" sldId="330"/>
            <ac:spMk id="71" creationId="{67537C65-CC88-FB93-E4DD-DE45024137C9}"/>
          </ac:spMkLst>
        </pc:spChg>
        <pc:spChg chg="add mod">
          <ac:chgData name="Veniero Facchetti" userId="f2c6c99af91c4974" providerId="LiveId" clId="{F9CD2FDA-8B17-4783-8A7C-5D57B6AFEF2E}" dt="2024-05-10T14:23:04.650" v="125" actId="1076"/>
          <ac:spMkLst>
            <pc:docMk/>
            <pc:sldMk cId="702343998" sldId="330"/>
            <ac:spMk id="72" creationId="{E3443ADD-F766-B33E-69C9-470DE9F0FAD5}"/>
          </ac:spMkLst>
        </pc:spChg>
        <pc:spChg chg="add mod">
          <ac:chgData name="Veniero Facchetti" userId="f2c6c99af91c4974" providerId="LiveId" clId="{F9CD2FDA-8B17-4783-8A7C-5D57B6AFEF2E}" dt="2024-05-10T14:23:04.650" v="125" actId="1076"/>
          <ac:spMkLst>
            <pc:docMk/>
            <pc:sldMk cId="702343998" sldId="330"/>
            <ac:spMk id="73" creationId="{B152F6D0-472D-776C-6E36-9F5087925F34}"/>
          </ac:spMkLst>
        </pc:spChg>
        <pc:spChg chg="add mod">
          <ac:chgData name="Veniero Facchetti" userId="f2c6c99af91c4974" providerId="LiveId" clId="{F9CD2FDA-8B17-4783-8A7C-5D57B6AFEF2E}" dt="2024-05-10T14:22:55.258" v="123" actId="1076"/>
          <ac:spMkLst>
            <pc:docMk/>
            <pc:sldMk cId="702343998" sldId="330"/>
            <ac:spMk id="74" creationId="{8E96CA85-294E-4600-31D0-00EFA4FC0184}"/>
          </ac:spMkLst>
        </pc:spChg>
        <pc:spChg chg="add mod">
          <ac:chgData name="Veniero Facchetti" userId="f2c6c99af91c4974" providerId="LiveId" clId="{F9CD2FDA-8B17-4783-8A7C-5D57B6AFEF2E}" dt="2024-05-10T14:22:57.906" v="124" actId="1076"/>
          <ac:spMkLst>
            <pc:docMk/>
            <pc:sldMk cId="702343998" sldId="330"/>
            <ac:spMk id="75" creationId="{8E006453-43A0-8319-1B75-9D63DB2663DA}"/>
          </ac:spMkLst>
        </pc:spChg>
        <pc:spChg chg="add mod">
          <ac:chgData name="Veniero Facchetti" userId="f2c6c99af91c4974" providerId="LiveId" clId="{F9CD2FDA-8B17-4783-8A7C-5D57B6AFEF2E}" dt="2024-05-10T14:21:50.461" v="117" actId="404"/>
          <ac:spMkLst>
            <pc:docMk/>
            <pc:sldMk cId="702343998" sldId="330"/>
            <ac:spMk id="79" creationId="{661AA59E-1EB8-3469-0656-2338DE70B046}"/>
          </ac:spMkLst>
        </pc:spChg>
        <pc:spChg chg="add mod">
          <ac:chgData name="Veniero Facchetti" userId="f2c6c99af91c4974" providerId="LiveId" clId="{F9CD2FDA-8B17-4783-8A7C-5D57B6AFEF2E}" dt="2024-05-10T14:21:50.461" v="117" actId="404"/>
          <ac:spMkLst>
            <pc:docMk/>
            <pc:sldMk cId="702343998" sldId="330"/>
            <ac:spMk id="80" creationId="{2704D5C4-D1C4-E7A9-276A-54E37F635613}"/>
          </ac:spMkLst>
        </pc:spChg>
        <pc:spChg chg="add mod">
          <ac:chgData name="Veniero Facchetti" userId="f2c6c99af91c4974" providerId="LiveId" clId="{F9CD2FDA-8B17-4783-8A7C-5D57B6AFEF2E}" dt="2024-05-10T14:21:50.461" v="117" actId="404"/>
          <ac:spMkLst>
            <pc:docMk/>
            <pc:sldMk cId="702343998" sldId="330"/>
            <ac:spMk id="81" creationId="{D74A99B3-AA9A-D24D-7872-ACC556D0BFFE}"/>
          </ac:spMkLst>
        </pc:spChg>
        <pc:spChg chg="add mod">
          <ac:chgData name="Veniero Facchetti" userId="f2c6c99af91c4974" providerId="LiveId" clId="{F9CD2FDA-8B17-4783-8A7C-5D57B6AFEF2E}" dt="2024-05-10T14:23:17.404" v="127" actId="1076"/>
          <ac:spMkLst>
            <pc:docMk/>
            <pc:sldMk cId="702343998" sldId="330"/>
            <ac:spMk id="82" creationId="{F5DE0F83-A5B4-E410-9979-F72AA5A00487}"/>
          </ac:spMkLst>
        </pc:spChg>
        <pc:spChg chg="add mod">
          <ac:chgData name="Veniero Facchetti" userId="f2c6c99af91c4974" providerId="LiveId" clId="{F9CD2FDA-8B17-4783-8A7C-5D57B6AFEF2E}" dt="2024-05-10T14:21:50.461" v="117" actId="404"/>
          <ac:spMkLst>
            <pc:docMk/>
            <pc:sldMk cId="702343998" sldId="330"/>
            <ac:spMk id="83" creationId="{C440A11D-53C7-FBB9-FB20-6391B2FB9496}"/>
          </ac:spMkLst>
        </pc:spChg>
        <pc:spChg chg="add mod">
          <ac:chgData name="Veniero Facchetti" userId="f2c6c99af91c4974" providerId="LiveId" clId="{F9CD2FDA-8B17-4783-8A7C-5D57B6AFEF2E}" dt="2024-05-10T14:21:50.461" v="117" actId="404"/>
          <ac:spMkLst>
            <pc:docMk/>
            <pc:sldMk cId="702343998" sldId="330"/>
            <ac:spMk id="84" creationId="{303F8A35-28BA-8387-4732-D1A99FB66338}"/>
          </ac:spMkLst>
        </pc:spChg>
        <pc:spChg chg="add mod">
          <ac:chgData name="Veniero Facchetti" userId="f2c6c99af91c4974" providerId="LiveId" clId="{F9CD2FDA-8B17-4783-8A7C-5D57B6AFEF2E}" dt="2024-05-10T14:21:50.461" v="117" actId="404"/>
          <ac:spMkLst>
            <pc:docMk/>
            <pc:sldMk cId="702343998" sldId="330"/>
            <ac:spMk id="85" creationId="{8AC13146-9E53-A1D1-6EF0-45470E930093}"/>
          </ac:spMkLst>
        </pc:spChg>
        <pc:spChg chg="add mod">
          <ac:chgData name="Veniero Facchetti" userId="f2c6c99af91c4974" providerId="LiveId" clId="{F9CD2FDA-8B17-4783-8A7C-5D57B6AFEF2E}" dt="2024-05-10T14:21:50.461" v="117" actId="404"/>
          <ac:spMkLst>
            <pc:docMk/>
            <pc:sldMk cId="702343998" sldId="330"/>
            <ac:spMk id="86" creationId="{02FCE08D-A05C-7220-A47D-735CBC9468A7}"/>
          </ac:spMkLst>
        </pc:spChg>
        <pc:spChg chg="add mod">
          <ac:chgData name="Veniero Facchetti" userId="f2c6c99af91c4974" providerId="LiveId" clId="{F9CD2FDA-8B17-4783-8A7C-5D57B6AFEF2E}" dt="2024-05-10T14:21:50.461" v="117" actId="404"/>
          <ac:spMkLst>
            <pc:docMk/>
            <pc:sldMk cId="702343998" sldId="330"/>
            <ac:spMk id="87" creationId="{DDC212D9-F6BB-9D71-499E-C6D9581C5A8D}"/>
          </ac:spMkLst>
        </pc:spChg>
        <pc:spChg chg="add mod">
          <ac:chgData name="Veniero Facchetti" userId="f2c6c99af91c4974" providerId="LiveId" clId="{F9CD2FDA-8B17-4783-8A7C-5D57B6AFEF2E}" dt="2024-05-10T14:21:50.461" v="117" actId="404"/>
          <ac:spMkLst>
            <pc:docMk/>
            <pc:sldMk cId="702343998" sldId="330"/>
            <ac:spMk id="88" creationId="{2D3C7A65-1158-FB40-F6A8-CA12110CE26D}"/>
          </ac:spMkLst>
        </pc:spChg>
        <pc:spChg chg="add mod">
          <ac:chgData name="Veniero Facchetti" userId="f2c6c99af91c4974" providerId="LiveId" clId="{F9CD2FDA-8B17-4783-8A7C-5D57B6AFEF2E}" dt="2024-05-10T14:23:20.786" v="128" actId="1076"/>
          <ac:spMkLst>
            <pc:docMk/>
            <pc:sldMk cId="702343998" sldId="330"/>
            <ac:spMk id="89" creationId="{F9DEBC54-678C-9126-C44F-F28F7946E491}"/>
          </ac:spMkLst>
        </pc:spChg>
        <pc:spChg chg="add mod">
          <ac:chgData name="Veniero Facchetti" userId="f2c6c99af91c4974" providerId="LiveId" clId="{F9CD2FDA-8B17-4783-8A7C-5D57B6AFEF2E}" dt="2024-05-10T14:21:50.461" v="117" actId="404"/>
          <ac:spMkLst>
            <pc:docMk/>
            <pc:sldMk cId="702343998" sldId="330"/>
            <ac:spMk id="90" creationId="{7A387F57-8094-A28A-CD4D-B1C1A64698A7}"/>
          </ac:spMkLst>
        </pc:spChg>
        <pc:spChg chg="add mod">
          <ac:chgData name="Veniero Facchetti" userId="f2c6c99af91c4974" providerId="LiveId" clId="{F9CD2FDA-8B17-4783-8A7C-5D57B6AFEF2E}" dt="2024-05-10T14:21:50.461" v="117" actId="404"/>
          <ac:spMkLst>
            <pc:docMk/>
            <pc:sldMk cId="702343998" sldId="330"/>
            <ac:spMk id="91" creationId="{44F6D030-A7AB-F789-A55E-6455CAD121E6}"/>
          </ac:spMkLst>
        </pc:spChg>
        <pc:spChg chg="add mod">
          <ac:chgData name="Veniero Facchetti" userId="f2c6c99af91c4974" providerId="LiveId" clId="{F9CD2FDA-8B17-4783-8A7C-5D57B6AFEF2E}" dt="2024-05-10T14:21:50.461" v="117" actId="404"/>
          <ac:spMkLst>
            <pc:docMk/>
            <pc:sldMk cId="702343998" sldId="330"/>
            <ac:spMk id="92" creationId="{2545D39C-67E1-99A0-4D49-69462FE47C74}"/>
          </ac:spMkLst>
        </pc:spChg>
        <pc:spChg chg="add mod">
          <ac:chgData name="Veniero Facchetti" userId="f2c6c99af91c4974" providerId="LiveId" clId="{F9CD2FDA-8B17-4783-8A7C-5D57B6AFEF2E}" dt="2024-05-10T14:21:50.461" v="117" actId="404"/>
          <ac:spMkLst>
            <pc:docMk/>
            <pc:sldMk cId="702343998" sldId="330"/>
            <ac:spMk id="93" creationId="{16FCF179-7441-905F-AEB4-BE792AE54A1E}"/>
          </ac:spMkLst>
        </pc:spChg>
        <pc:spChg chg="add mod">
          <ac:chgData name="Veniero Facchetti" userId="f2c6c99af91c4974" providerId="LiveId" clId="{F9CD2FDA-8B17-4783-8A7C-5D57B6AFEF2E}" dt="2024-05-10T14:21:50.461" v="117" actId="404"/>
          <ac:spMkLst>
            <pc:docMk/>
            <pc:sldMk cId="702343998" sldId="330"/>
            <ac:spMk id="94" creationId="{984543EB-7B07-D773-6BF2-B5C50B475A05}"/>
          </ac:spMkLst>
        </pc:spChg>
        <pc:spChg chg="add mod">
          <ac:chgData name="Veniero Facchetti" userId="f2c6c99af91c4974" providerId="LiveId" clId="{F9CD2FDA-8B17-4783-8A7C-5D57B6AFEF2E}" dt="2024-05-10T14:21:50.461" v="117" actId="404"/>
          <ac:spMkLst>
            <pc:docMk/>
            <pc:sldMk cId="702343998" sldId="330"/>
            <ac:spMk id="95" creationId="{7244C238-E3DD-50EC-3354-5E50C429BFC6}"/>
          </ac:spMkLst>
        </pc:spChg>
        <pc:spChg chg="add mod">
          <ac:chgData name="Veniero Facchetti" userId="f2c6c99af91c4974" providerId="LiveId" clId="{F9CD2FDA-8B17-4783-8A7C-5D57B6AFEF2E}" dt="2024-05-10T14:23:24.395" v="129" actId="1076"/>
          <ac:spMkLst>
            <pc:docMk/>
            <pc:sldMk cId="702343998" sldId="330"/>
            <ac:spMk id="96" creationId="{87FC2AD6-F868-7C66-CEDC-3A471ADABD1B}"/>
          </ac:spMkLst>
        </pc:spChg>
        <pc:spChg chg="add mod">
          <ac:chgData name="Veniero Facchetti" userId="f2c6c99af91c4974" providerId="LiveId" clId="{F9CD2FDA-8B17-4783-8A7C-5D57B6AFEF2E}" dt="2024-05-10T14:21:50.461" v="117" actId="404"/>
          <ac:spMkLst>
            <pc:docMk/>
            <pc:sldMk cId="702343998" sldId="330"/>
            <ac:spMk id="97" creationId="{FAC2D2BD-3B47-6031-69A0-4419E2B00B79}"/>
          </ac:spMkLst>
        </pc:spChg>
        <pc:spChg chg="add mod">
          <ac:chgData name="Veniero Facchetti" userId="f2c6c99af91c4974" providerId="LiveId" clId="{F9CD2FDA-8B17-4783-8A7C-5D57B6AFEF2E}" dt="2024-05-10T14:21:50.461" v="117" actId="404"/>
          <ac:spMkLst>
            <pc:docMk/>
            <pc:sldMk cId="702343998" sldId="330"/>
            <ac:spMk id="98" creationId="{243C51C4-FE2B-FFF7-638E-B1CC3910C134}"/>
          </ac:spMkLst>
        </pc:spChg>
        <pc:spChg chg="add mod">
          <ac:chgData name="Veniero Facchetti" userId="f2c6c99af91c4974" providerId="LiveId" clId="{F9CD2FDA-8B17-4783-8A7C-5D57B6AFEF2E}" dt="2024-05-10T14:21:50.461" v="117" actId="404"/>
          <ac:spMkLst>
            <pc:docMk/>
            <pc:sldMk cId="702343998" sldId="330"/>
            <ac:spMk id="99" creationId="{23605A6E-7454-74BD-DA74-3D725D16263F}"/>
          </ac:spMkLst>
        </pc:spChg>
        <pc:spChg chg="add mod">
          <ac:chgData name="Veniero Facchetti" userId="f2c6c99af91c4974" providerId="LiveId" clId="{F9CD2FDA-8B17-4783-8A7C-5D57B6AFEF2E}" dt="2024-05-10T14:21:50.461" v="117" actId="404"/>
          <ac:spMkLst>
            <pc:docMk/>
            <pc:sldMk cId="702343998" sldId="330"/>
            <ac:spMk id="100" creationId="{A06D0554-4CC5-D5AB-554A-7275E448038D}"/>
          </ac:spMkLst>
        </pc:spChg>
        <pc:spChg chg="add mod">
          <ac:chgData name="Veniero Facchetti" userId="f2c6c99af91c4974" providerId="LiveId" clId="{F9CD2FDA-8B17-4783-8A7C-5D57B6AFEF2E}" dt="2024-05-10T14:21:50.461" v="117" actId="404"/>
          <ac:spMkLst>
            <pc:docMk/>
            <pc:sldMk cId="702343998" sldId="330"/>
            <ac:spMk id="101" creationId="{69D7980A-E6A5-560C-86D7-74B12A38973B}"/>
          </ac:spMkLst>
        </pc:spChg>
        <pc:spChg chg="add mod">
          <ac:chgData name="Veniero Facchetti" userId="f2c6c99af91c4974" providerId="LiveId" clId="{F9CD2FDA-8B17-4783-8A7C-5D57B6AFEF2E}" dt="2024-05-10T14:21:50.461" v="117" actId="404"/>
          <ac:spMkLst>
            <pc:docMk/>
            <pc:sldMk cId="702343998" sldId="330"/>
            <ac:spMk id="102" creationId="{464FDAB2-3653-DAFF-330D-455D898D86DB}"/>
          </ac:spMkLst>
        </pc:spChg>
        <pc:spChg chg="add mod">
          <ac:chgData name="Veniero Facchetti" userId="f2c6c99af91c4974" providerId="LiveId" clId="{F9CD2FDA-8B17-4783-8A7C-5D57B6AFEF2E}" dt="2024-05-10T14:23:27.667" v="130" actId="1076"/>
          <ac:spMkLst>
            <pc:docMk/>
            <pc:sldMk cId="702343998" sldId="330"/>
            <ac:spMk id="103" creationId="{BFE57FCC-4326-7BCA-75D2-C3EB69FF7734}"/>
          </ac:spMkLst>
        </pc:spChg>
        <pc:spChg chg="add mod">
          <ac:chgData name="Veniero Facchetti" userId="f2c6c99af91c4974" providerId="LiveId" clId="{F9CD2FDA-8B17-4783-8A7C-5D57B6AFEF2E}" dt="2024-05-10T14:22:35.187" v="122" actId="1076"/>
          <ac:spMkLst>
            <pc:docMk/>
            <pc:sldMk cId="702343998" sldId="330"/>
            <ac:spMk id="104" creationId="{2642624B-920B-1DDC-19DE-1128BA113A3A}"/>
          </ac:spMkLst>
        </pc:spChg>
        <pc:spChg chg="add mod">
          <ac:chgData name="Veniero Facchetti" userId="f2c6c99af91c4974" providerId="LiveId" clId="{F9CD2FDA-8B17-4783-8A7C-5D57B6AFEF2E}" dt="2024-05-10T14:21:50.461" v="117" actId="404"/>
          <ac:spMkLst>
            <pc:docMk/>
            <pc:sldMk cId="702343998" sldId="330"/>
            <ac:spMk id="105" creationId="{EB1E1E04-EBBD-C5CB-58DD-8956FFEAE5FB}"/>
          </ac:spMkLst>
        </pc:spChg>
        <pc:spChg chg="add mod">
          <ac:chgData name="Veniero Facchetti" userId="f2c6c99af91c4974" providerId="LiveId" clId="{F9CD2FDA-8B17-4783-8A7C-5D57B6AFEF2E}" dt="2024-05-10T14:21:50.461" v="117" actId="404"/>
          <ac:spMkLst>
            <pc:docMk/>
            <pc:sldMk cId="702343998" sldId="330"/>
            <ac:spMk id="106" creationId="{8E1B3036-9BB1-C529-9523-679256503BCB}"/>
          </ac:spMkLst>
        </pc:spChg>
        <pc:spChg chg="add mod">
          <ac:chgData name="Veniero Facchetti" userId="f2c6c99af91c4974" providerId="LiveId" clId="{F9CD2FDA-8B17-4783-8A7C-5D57B6AFEF2E}" dt="2024-05-10T14:21:50.461" v="117" actId="404"/>
          <ac:spMkLst>
            <pc:docMk/>
            <pc:sldMk cId="702343998" sldId="330"/>
            <ac:spMk id="107" creationId="{FD69B96E-178A-8350-A2CF-706C350AAA5E}"/>
          </ac:spMkLst>
        </pc:spChg>
        <pc:spChg chg="add mod">
          <ac:chgData name="Veniero Facchetti" userId="f2c6c99af91c4974" providerId="LiveId" clId="{F9CD2FDA-8B17-4783-8A7C-5D57B6AFEF2E}" dt="2024-05-10T14:21:50.461" v="117" actId="404"/>
          <ac:spMkLst>
            <pc:docMk/>
            <pc:sldMk cId="702343998" sldId="330"/>
            <ac:spMk id="108" creationId="{06EF152F-8242-0930-020E-3332E271B710}"/>
          </ac:spMkLst>
        </pc:spChg>
        <pc:spChg chg="add mod">
          <ac:chgData name="Veniero Facchetti" userId="f2c6c99af91c4974" providerId="LiveId" clId="{F9CD2FDA-8B17-4783-8A7C-5D57B6AFEF2E}" dt="2024-05-10T14:21:50.461" v="117" actId="404"/>
          <ac:spMkLst>
            <pc:docMk/>
            <pc:sldMk cId="702343998" sldId="330"/>
            <ac:spMk id="109" creationId="{913F936E-E7EE-2C74-5AA4-C369F432B041}"/>
          </ac:spMkLst>
        </pc:spChg>
        <pc:spChg chg="add mod">
          <ac:chgData name="Veniero Facchetti" userId="f2c6c99af91c4974" providerId="LiveId" clId="{F9CD2FDA-8B17-4783-8A7C-5D57B6AFEF2E}" dt="2024-05-10T14:21:50.461" v="117" actId="404"/>
          <ac:spMkLst>
            <pc:docMk/>
            <pc:sldMk cId="702343998" sldId="330"/>
            <ac:spMk id="110" creationId="{08346151-89C2-CBAA-16C0-B194F4A20B75}"/>
          </ac:spMkLst>
        </pc:spChg>
        <pc:spChg chg="add mod">
          <ac:chgData name="Veniero Facchetti" userId="f2c6c99af91c4974" providerId="LiveId" clId="{F9CD2FDA-8B17-4783-8A7C-5D57B6AFEF2E}" dt="2024-05-10T14:21:50.461" v="117" actId="404"/>
          <ac:spMkLst>
            <pc:docMk/>
            <pc:sldMk cId="702343998" sldId="330"/>
            <ac:spMk id="111" creationId="{539D5B72-E961-7774-ABE7-E638E4B4FC19}"/>
          </ac:spMkLst>
        </pc:spChg>
        <pc:spChg chg="add mod">
          <ac:chgData name="Veniero Facchetti" userId="f2c6c99af91c4974" providerId="LiveId" clId="{F9CD2FDA-8B17-4783-8A7C-5D57B6AFEF2E}" dt="2024-05-10T14:21:50.461" v="117" actId="404"/>
          <ac:spMkLst>
            <pc:docMk/>
            <pc:sldMk cId="702343998" sldId="330"/>
            <ac:spMk id="112" creationId="{98220359-24CD-732B-7E7D-FF596F301B7F}"/>
          </ac:spMkLst>
        </pc:spChg>
        <pc:spChg chg="add mod">
          <ac:chgData name="Veniero Facchetti" userId="f2c6c99af91c4974" providerId="LiveId" clId="{F9CD2FDA-8B17-4783-8A7C-5D57B6AFEF2E}" dt="2024-05-10T14:21:50.461" v="117" actId="404"/>
          <ac:spMkLst>
            <pc:docMk/>
            <pc:sldMk cId="702343998" sldId="330"/>
            <ac:spMk id="113" creationId="{FA10CB28-F143-A655-A633-E309DB54B51F}"/>
          </ac:spMkLst>
        </pc:spChg>
        <pc:spChg chg="add mod">
          <ac:chgData name="Veniero Facchetti" userId="f2c6c99af91c4974" providerId="LiveId" clId="{F9CD2FDA-8B17-4783-8A7C-5D57B6AFEF2E}" dt="2024-05-10T14:22:11.402" v="120" actId="1076"/>
          <ac:spMkLst>
            <pc:docMk/>
            <pc:sldMk cId="702343998" sldId="330"/>
            <ac:spMk id="114" creationId="{27097B21-BF0B-D4DE-CBE2-A3E227E9396F}"/>
          </ac:spMkLst>
        </pc:spChg>
        <pc:spChg chg="add mod">
          <ac:chgData name="Veniero Facchetti" userId="f2c6c99af91c4974" providerId="LiveId" clId="{F9CD2FDA-8B17-4783-8A7C-5D57B6AFEF2E}" dt="2024-05-10T14:21:50.461" v="117" actId="404"/>
          <ac:spMkLst>
            <pc:docMk/>
            <pc:sldMk cId="702343998" sldId="330"/>
            <ac:spMk id="115" creationId="{2052C038-6232-7923-19D6-E1672DC30D2D}"/>
          </ac:spMkLst>
        </pc:spChg>
        <pc:spChg chg="add mod">
          <ac:chgData name="Veniero Facchetti" userId="f2c6c99af91c4974" providerId="LiveId" clId="{F9CD2FDA-8B17-4783-8A7C-5D57B6AFEF2E}" dt="2024-05-10T14:21:50.461" v="117" actId="404"/>
          <ac:spMkLst>
            <pc:docMk/>
            <pc:sldMk cId="702343998" sldId="330"/>
            <ac:spMk id="116" creationId="{B7265067-1D71-829D-A7FF-D8A41E4B54BD}"/>
          </ac:spMkLst>
        </pc:spChg>
        <pc:spChg chg="add mod">
          <ac:chgData name="Veniero Facchetti" userId="f2c6c99af91c4974" providerId="LiveId" clId="{F9CD2FDA-8B17-4783-8A7C-5D57B6AFEF2E}" dt="2024-05-10T14:21:50.461" v="117" actId="404"/>
          <ac:spMkLst>
            <pc:docMk/>
            <pc:sldMk cId="702343998" sldId="330"/>
            <ac:spMk id="117" creationId="{F52E36DC-B5A4-988F-484A-D3A385B62E7F}"/>
          </ac:spMkLst>
        </pc:spChg>
        <pc:spChg chg="add mod">
          <ac:chgData name="Veniero Facchetti" userId="f2c6c99af91c4974" providerId="LiveId" clId="{F9CD2FDA-8B17-4783-8A7C-5D57B6AFEF2E}" dt="2024-05-10T14:21:50.461" v="117" actId="404"/>
          <ac:spMkLst>
            <pc:docMk/>
            <pc:sldMk cId="702343998" sldId="330"/>
            <ac:spMk id="118" creationId="{B8A57697-83B3-AF3D-5390-B4AC8BEE447B}"/>
          </ac:spMkLst>
        </pc:spChg>
        <pc:spChg chg="add mod">
          <ac:chgData name="Veniero Facchetti" userId="f2c6c99af91c4974" providerId="LiveId" clId="{F9CD2FDA-8B17-4783-8A7C-5D57B6AFEF2E}" dt="2024-05-10T14:21:50.461" v="117" actId="404"/>
          <ac:spMkLst>
            <pc:docMk/>
            <pc:sldMk cId="702343998" sldId="330"/>
            <ac:spMk id="119" creationId="{BD676BDF-1FE3-F4B3-1592-59CA30257A60}"/>
          </ac:spMkLst>
        </pc:spChg>
        <pc:spChg chg="add mod">
          <ac:chgData name="Veniero Facchetti" userId="f2c6c99af91c4974" providerId="LiveId" clId="{F9CD2FDA-8B17-4783-8A7C-5D57B6AFEF2E}" dt="2024-05-10T14:21:50.461" v="117" actId="404"/>
          <ac:spMkLst>
            <pc:docMk/>
            <pc:sldMk cId="702343998" sldId="330"/>
            <ac:spMk id="120" creationId="{585F91FC-57BF-27EC-FD03-AA7FB34B5F73}"/>
          </ac:spMkLst>
        </pc:spChg>
        <pc:spChg chg="add mod">
          <ac:chgData name="Veniero Facchetti" userId="f2c6c99af91c4974" providerId="LiveId" clId="{F9CD2FDA-8B17-4783-8A7C-5D57B6AFEF2E}" dt="2024-05-10T14:23:11.587" v="126" actId="1076"/>
          <ac:spMkLst>
            <pc:docMk/>
            <pc:sldMk cId="702343998" sldId="330"/>
            <ac:spMk id="121" creationId="{C7E22F8D-5072-DB78-1884-83DCC74E4146}"/>
          </ac:spMkLst>
        </pc:spChg>
        <pc:spChg chg="add mod">
          <ac:chgData name="Veniero Facchetti" userId="f2c6c99af91c4974" providerId="LiveId" clId="{F9CD2FDA-8B17-4783-8A7C-5D57B6AFEF2E}" dt="2024-05-10T14:21:50.461" v="117" actId="404"/>
          <ac:spMkLst>
            <pc:docMk/>
            <pc:sldMk cId="702343998" sldId="330"/>
            <ac:spMk id="122" creationId="{D9E853CB-93EB-2CCD-C578-3F4E53B9892A}"/>
          </ac:spMkLst>
        </pc:spChg>
        <pc:spChg chg="add mod">
          <ac:chgData name="Veniero Facchetti" userId="f2c6c99af91c4974" providerId="LiveId" clId="{F9CD2FDA-8B17-4783-8A7C-5D57B6AFEF2E}" dt="2024-05-10T14:21:50.461" v="117" actId="404"/>
          <ac:spMkLst>
            <pc:docMk/>
            <pc:sldMk cId="702343998" sldId="330"/>
            <ac:spMk id="123" creationId="{09133BCD-EB24-196E-D2A5-286C20B43B04}"/>
          </ac:spMkLst>
        </pc:spChg>
        <pc:spChg chg="add mod">
          <ac:chgData name="Veniero Facchetti" userId="f2c6c99af91c4974" providerId="LiveId" clId="{F9CD2FDA-8B17-4783-8A7C-5D57B6AFEF2E}" dt="2024-05-10T14:21:50.461" v="117" actId="404"/>
          <ac:spMkLst>
            <pc:docMk/>
            <pc:sldMk cId="702343998" sldId="330"/>
            <ac:spMk id="124" creationId="{FF7CEED2-4271-327A-B384-C10C6E8B89CC}"/>
          </ac:spMkLst>
        </pc:spChg>
        <pc:spChg chg="add mod">
          <ac:chgData name="Veniero Facchetti" userId="f2c6c99af91c4974" providerId="LiveId" clId="{F9CD2FDA-8B17-4783-8A7C-5D57B6AFEF2E}" dt="2024-05-10T14:21:50.461" v="117" actId="404"/>
          <ac:spMkLst>
            <pc:docMk/>
            <pc:sldMk cId="702343998" sldId="330"/>
            <ac:spMk id="125" creationId="{D6318B62-2F14-093D-AA21-2415127C730C}"/>
          </ac:spMkLst>
        </pc:spChg>
        <pc:spChg chg="add mod">
          <ac:chgData name="Veniero Facchetti" userId="f2c6c99af91c4974" providerId="LiveId" clId="{F9CD2FDA-8B17-4783-8A7C-5D57B6AFEF2E}" dt="2024-05-10T14:21:50.461" v="117" actId="404"/>
          <ac:spMkLst>
            <pc:docMk/>
            <pc:sldMk cId="702343998" sldId="330"/>
            <ac:spMk id="126" creationId="{CA9C09C0-0998-4423-C2AA-A3F3B00DD98B}"/>
          </ac:spMkLst>
        </pc:spChg>
        <pc:spChg chg="add mod">
          <ac:chgData name="Veniero Facchetti" userId="f2c6c99af91c4974" providerId="LiveId" clId="{F9CD2FDA-8B17-4783-8A7C-5D57B6AFEF2E}" dt="2024-05-10T14:21:50.461" v="117" actId="404"/>
          <ac:spMkLst>
            <pc:docMk/>
            <pc:sldMk cId="702343998" sldId="330"/>
            <ac:spMk id="127" creationId="{0A696FCC-3B3E-36FF-5DD8-A91F03BBFA8E}"/>
          </ac:spMkLst>
        </pc:spChg>
        <pc:spChg chg="add mod">
          <ac:chgData name="Veniero Facchetti" userId="f2c6c99af91c4974" providerId="LiveId" clId="{F9CD2FDA-8B17-4783-8A7C-5D57B6AFEF2E}" dt="2024-05-10T14:22:29.803" v="121" actId="1076"/>
          <ac:spMkLst>
            <pc:docMk/>
            <pc:sldMk cId="702343998" sldId="330"/>
            <ac:spMk id="128" creationId="{E64F2DE5-FC0B-C1FE-E440-B2F131730122}"/>
          </ac:spMkLst>
        </pc:spChg>
        <pc:spChg chg="add mod">
          <ac:chgData name="Veniero Facchetti" userId="f2c6c99af91c4974" providerId="LiveId" clId="{F9CD2FDA-8B17-4783-8A7C-5D57B6AFEF2E}" dt="2024-05-10T14:22:29.803" v="121" actId="1076"/>
          <ac:spMkLst>
            <pc:docMk/>
            <pc:sldMk cId="702343998" sldId="330"/>
            <ac:spMk id="129" creationId="{978D0458-50AE-4D3B-5B97-25E1BE4494CF}"/>
          </ac:spMkLst>
        </pc:spChg>
        <pc:spChg chg="add mod">
          <ac:chgData name="Veniero Facchetti" userId="f2c6c99af91c4974" providerId="LiveId" clId="{F9CD2FDA-8B17-4783-8A7C-5D57B6AFEF2E}" dt="2024-05-10T14:22:29.803" v="121" actId="1076"/>
          <ac:spMkLst>
            <pc:docMk/>
            <pc:sldMk cId="702343998" sldId="330"/>
            <ac:spMk id="130" creationId="{BE99ACBF-3467-59B2-FFC5-FAFE2090B8DD}"/>
          </ac:spMkLst>
        </pc:spChg>
        <pc:spChg chg="add mod">
          <ac:chgData name="Veniero Facchetti" userId="f2c6c99af91c4974" providerId="LiveId" clId="{F9CD2FDA-8B17-4783-8A7C-5D57B6AFEF2E}" dt="2024-05-10T14:22:29.803" v="121" actId="1076"/>
          <ac:spMkLst>
            <pc:docMk/>
            <pc:sldMk cId="702343998" sldId="330"/>
            <ac:spMk id="131" creationId="{6563F450-810D-B7A3-21DF-51E0D5D384AB}"/>
          </ac:spMkLst>
        </pc:spChg>
        <pc:spChg chg="add mod">
          <ac:chgData name="Veniero Facchetti" userId="f2c6c99af91c4974" providerId="LiveId" clId="{F9CD2FDA-8B17-4783-8A7C-5D57B6AFEF2E}" dt="2024-05-10T14:22:29.803" v="121" actId="1076"/>
          <ac:spMkLst>
            <pc:docMk/>
            <pc:sldMk cId="702343998" sldId="330"/>
            <ac:spMk id="132" creationId="{77590468-62C5-4AF2-75EC-CF732DB49A0F}"/>
          </ac:spMkLst>
        </pc:spChg>
        <pc:spChg chg="add mod">
          <ac:chgData name="Veniero Facchetti" userId="f2c6c99af91c4974" providerId="LiveId" clId="{F9CD2FDA-8B17-4783-8A7C-5D57B6AFEF2E}" dt="2024-05-10T14:22:29.803" v="121" actId="1076"/>
          <ac:spMkLst>
            <pc:docMk/>
            <pc:sldMk cId="702343998" sldId="330"/>
            <ac:spMk id="133" creationId="{374CD6A9-04A7-3CA0-9EF0-9B56E436D048}"/>
          </ac:spMkLst>
        </pc:spChg>
        <pc:spChg chg="add mod">
          <ac:chgData name="Veniero Facchetti" userId="f2c6c99af91c4974" providerId="LiveId" clId="{F9CD2FDA-8B17-4783-8A7C-5D57B6AFEF2E}" dt="2024-05-10T14:22:29.803" v="121" actId="1076"/>
          <ac:spMkLst>
            <pc:docMk/>
            <pc:sldMk cId="702343998" sldId="330"/>
            <ac:spMk id="134" creationId="{996EF8AD-BDB5-3A8E-8DC3-724C678F2267}"/>
          </ac:spMkLst>
        </pc:spChg>
        <pc:spChg chg="add mod">
          <ac:chgData name="Veniero Facchetti" userId="f2c6c99af91c4974" providerId="LiveId" clId="{F9CD2FDA-8B17-4783-8A7C-5D57B6AFEF2E}" dt="2024-05-10T14:22:29.803" v="121" actId="1076"/>
          <ac:spMkLst>
            <pc:docMk/>
            <pc:sldMk cId="702343998" sldId="330"/>
            <ac:spMk id="135" creationId="{88166F77-903A-8AC4-561D-D595E73DC7C1}"/>
          </ac:spMkLst>
        </pc:spChg>
        <pc:spChg chg="add mod">
          <ac:chgData name="Veniero Facchetti" userId="f2c6c99af91c4974" providerId="LiveId" clId="{F9CD2FDA-8B17-4783-8A7C-5D57B6AFEF2E}" dt="2024-05-10T14:22:29.803" v="121" actId="1076"/>
          <ac:spMkLst>
            <pc:docMk/>
            <pc:sldMk cId="702343998" sldId="330"/>
            <ac:spMk id="136" creationId="{FB83EE3A-1545-2339-E5D2-94AE20577DDC}"/>
          </ac:spMkLst>
        </pc:spChg>
        <pc:spChg chg="add mod">
          <ac:chgData name="Veniero Facchetti" userId="f2c6c99af91c4974" providerId="LiveId" clId="{F9CD2FDA-8B17-4783-8A7C-5D57B6AFEF2E}" dt="2024-05-10T14:22:29.803" v="121" actId="1076"/>
          <ac:spMkLst>
            <pc:docMk/>
            <pc:sldMk cId="702343998" sldId="330"/>
            <ac:spMk id="137" creationId="{78280F6D-A3F3-35D3-77AD-36F3450FE269}"/>
          </ac:spMkLst>
        </pc:spChg>
        <pc:spChg chg="add mod">
          <ac:chgData name="Veniero Facchetti" userId="f2c6c99af91c4974" providerId="LiveId" clId="{F9CD2FDA-8B17-4783-8A7C-5D57B6AFEF2E}" dt="2024-05-10T14:22:29.803" v="121" actId="1076"/>
          <ac:spMkLst>
            <pc:docMk/>
            <pc:sldMk cId="702343998" sldId="330"/>
            <ac:spMk id="138" creationId="{1DA25D33-B6C8-05D2-A81C-B8B04C1C44E1}"/>
          </ac:spMkLst>
        </pc:spChg>
        <pc:spChg chg="add mod">
          <ac:chgData name="Veniero Facchetti" userId="f2c6c99af91c4974" providerId="LiveId" clId="{F9CD2FDA-8B17-4783-8A7C-5D57B6AFEF2E}" dt="2024-05-10T14:22:29.803" v="121" actId="1076"/>
          <ac:spMkLst>
            <pc:docMk/>
            <pc:sldMk cId="702343998" sldId="330"/>
            <ac:spMk id="139" creationId="{9009F60F-4026-02DB-BDDB-D9650BD07124}"/>
          </ac:spMkLst>
        </pc:spChg>
        <pc:spChg chg="add mod">
          <ac:chgData name="Veniero Facchetti" userId="f2c6c99af91c4974" providerId="LiveId" clId="{F9CD2FDA-8B17-4783-8A7C-5D57B6AFEF2E}" dt="2024-05-10T14:22:29.803" v="121" actId="1076"/>
          <ac:spMkLst>
            <pc:docMk/>
            <pc:sldMk cId="702343998" sldId="330"/>
            <ac:spMk id="140" creationId="{FA3E797E-B27A-3DDB-9447-E39F1F6896BB}"/>
          </ac:spMkLst>
        </pc:spChg>
        <pc:spChg chg="add mod">
          <ac:chgData name="Veniero Facchetti" userId="f2c6c99af91c4974" providerId="LiveId" clId="{F9CD2FDA-8B17-4783-8A7C-5D57B6AFEF2E}" dt="2024-05-10T14:22:29.803" v="121" actId="1076"/>
          <ac:spMkLst>
            <pc:docMk/>
            <pc:sldMk cId="702343998" sldId="330"/>
            <ac:spMk id="141" creationId="{9EE3C44A-742E-F6D7-5ED4-8FD6A8F1DD56}"/>
          </ac:spMkLst>
        </pc:spChg>
        <pc:spChg chg="add mod">
          <ac:chgData name="Veniero Facchetti" userId="f2c6c99af91c4974" providerId="LiveId" clId="{F9CD2FDA-8B17-4783-8A7C-5D57B6AFEF2E}" dt="2024-05-10T14:21:50.461" v="117" actId="404"/>
          <ac:spMkLst>
            <pc:docMk/>
            <pc:sldMk cId="702343998" sldId="330"/>
            <ac:spMk id="142" creationId="{F8A660DA-8E2B-6F4F-292F-00248DB28F3B}"/>
          </ac:spMkLst>
        </pc:spChg>
        <pc:spChg chg="add mod">
          <ac:chgData name="Veniero Facchetti" userId="f2c6c99af91c4974" providerId="LiveId" clId="{F9CD2FDA-8B17-4783-8A7C-5D57B6AFEF2E}" dt="2024-05-10T14:21:32.188" v="114" actId="404"/>
          <ac:spMkLst>
            <pc:docMk/>
            <pc:sldMk cId="702343998" sldId="330"/>
            <ac:spMk id="143" creationId="{6688572B-9042-CA01-8558-A4BC4F6E90CA}"/>
          </ac:spMkLst>
        </pc:spChg>
        <pc:spChg chg="add mod">
          <ac:chgData name="Veniero Facchetti" userId="f2c6c99af91c4974" providerId="LiveId" clId="{F9CD2FDA-8B17-4783-8A7C-5D57B6AFEF2E}" dt="2024-05-10T14:21:50.461" v="117" actId="404"/>
          <ac:spMkLst>
            <pc:docMk/>
            <pc:sldMk cId="702343998" sldId="330"/>
            <ac:spMk id="144" creationId="{ADAB3386-61AF-1FCC-BA4F-513218E8F08E}"/>
          </ac:spMkLst>
        </pc:spChg>
        <pc:grpChg chg="add mod">
          <ac:chgData name="Veniero Facchetti" userId="f2c6c99af91c4974" providerId="LiveId" clId="{F9CD2FDA-8B17-4783-8A7C-5D57B6AFEF2E}" dt="2024-05-10T14:21:50.461" v="117" actId="404"/>
          <ac:grpSpMkLst>
            <pc:docMk/>
            <pc:sldMk cId="702343998" sldId="330"/>
            <ac:grpSpMk id="3" creationId="{8E485E2D-5401-F92C-FB3C-9D80EF4AF37B}"/>
          </ac:grpSpMkLst>
        </pc:grpChg>
        <pc:grpChg chg="add mod">
          <ac:chgData name="Veniero Facchetti" userId="f2c6c99af91c4974" providerId="LiveId" clId="{F9CD2FDA-8B17-4783-8A7C-5D57B6AFEF2E}" dt="2024-05-10T14:21:50.461" v="117" actId="404"/>
          <ac:grpSpMkLst>
            <pc:docMk/>
            <pc:sldMk cId="702343998" sldId="330"/>
            <ac:grpSpMk id="7" creationId="{1265CEC0-9A17-126C-D247-E7F0776D408C}"/>
          </ac:grpSpMkLst>
        </pc:grpChg>
        <pc:graphicFrameChg chg="del">
          <ac:chgData name="Veniero Facchetti" userId="f2c6c99af91c4974" providerId="LiveId" clId="{F9CD2FDA-8B17-4783-8A7C-5D57B6AFEF2E}" dt="2024-05-10T14:21:08.881" v="108" actId="478"/>
          <ac:graphicFrameMkLst>
            <pc:docMk/>
            <pc:sldMk cId="702343998" sldId="330"/>
            <ac:graphicFrameMk id="16" creationId="{C656C37C-8112-B046-52AD-90B20878AF25}"/>
          </ac:graphicFrameMkLst>
        </pc:graphicFrameChg>
        <pc:graphicFrameChg chg="del">
          <ac:chgData name="Veniero Facchetti" userId="f2c6c99af91c4974" providerId="LiveId" clId="{F9CD2FDA-8B17-4783-8A7C-5D57B6AFEF2E}" dt="2024-05-10T14:21:08.881" v="108" actId="478"/>
          <ac:graphicFrameMkLst>
            <pc:docMk/>
            <pc:sldMk cId="702343998" sldId="330"/>
            <ac:graphicFrameMk id="29" creationId="{C81320EA-E826-6635-BBE8-072585ECCDB9}"/>
          </ac:graphicFrameMkLst>
        </pc:graphicFrameChg>
        <pc:graphicFrameChg chg="del">
          <ac:chgData name="Veniero Facchetti" userId="f2c6c99af91c4974" providerId="LiveId" clId="{F9CD2FDA-8B17-4783-8A7C-5D57B6AFEF2E}" dt="2024-05-10T14:21:08.881" v="108" actId="478"/>
          <ac:graphicFrameMkLst>
            <pc:docMk/>
            <pc:sldMk cId="702343998" sldId="330"/>
            <ac:graphicFrameMk id="50" creationId="{3C9CC746-2E5D-2442-B233-C19DE779EECA}"/>
          </ac:graphicFrameMkLst>
        </pc:graphicFrameChg>
        <pc:graphicFrameChg chg="add mod">
          <ac:chgData name="Veniero Facchetti" userId="f2c6c99af91c4974" providerId="LiveId" clId="{F9CD2FDA-8B17-4783-8A7C-5D57B6AFEF2E}" dt="2024-05-10T14:21:56.930" v="119" actId="14100"/>
          <ac:graphicFrameMkLst>
            <pc:docMk/>
            <pc:sldMk cId="702343998" sldId="330"/>
            <ac:graphicFrameMk id="69" creationId="{772F3C1E-084F-DDD0-5098-145BE51EB3D7}"/>
          </ac:graphicFrameMkLst>
        </pc:graphicFrameChg>
        <pc:cxnChg chg="add mod">
          <ac:chgData name="Veniero Facchetti" userId="f2c6c99af91c4974" providerId="LiveId" clId="{F9CD2FDA-8B17-4783-8A7C-5D57B6AFEF2E}" dt="2024-05-10T14:23:31.691" v="131" actId="14100"/>
          <ac:cxnSpMkLst>
            <pc:docMk/>
            <pc:sldMk cId="702343998" sldId="330"/>
            <ac:cxnSpMk id="2" creationId="{73A9B1D6-5F61-097E-B34D-C14DCFCDC613}"/>
          </ac:cxnSpMkLst>
        </pc:cxnChg>
        <pc:cxnChg chg="mod">
          <ac:chgData name="Veniero Facchetti" userId="f2c6c99af91c4974" providerId="LiveId" clId="{F9CD2FDA-8B17-4783-8A7C-5D57B6AFEF2E}" dt="2024-05-10T14:21:21.752" v="110" actId="1076"/>
          <ac:cxnSpMkLst>
            <pc:docMk/>
            <pc:sldMk cId="702343998" sldId="330"/>
            <ac:cxnSpMk id="4" creationId="{3B6B0F15-7335-F31C-1BE6-55B3BAFA3DB9}"/>
          </ac:cxnSpMkLst>
        </pc:cxnChg>
        <pc:cxnChg chg="mod">
          <ac:chgData name="Veniero Facchetti" userId="f2c6c99af91c4974" providerId="LiveId" clId="{F9CD2FDA-8B17-4783-8A7C-5D57B6AFEF2E}" dt="2024-05-10T14:21:21.752" v="110" actId="1076"/>
          <ac:cxnSpMkLst>
            <pc:docMk/>
            <pc:sldMk cId="702343998" sldId="330"/>
            <ac:cxnSpMk id="8" creationId="{8FCED72C-5167-109B-B5C8-44F9EF069261}"/>
          </ac:cxnSpMkLst>
        </pc:cxnChg>
        <pc:cxnChg chg="del">
          <ac:chgData name="Veniero Facchetti" userId="f2c6c99af91c4974" providerId="LiveId" clId="{F9CD2FDA-8B17-4783-8A7C-5D57B6AFEF2E}" dt="2024-05-10T14:21:08.881" v="108" actId="478"/>
          <ac:cxnSpMkLst>
            <pc:docMk/>
            <pc:sldMk cId="702343998" sldId="330"/>
            <ac:cxnSpMk id="43" creationId="{8CE0764D-76B1-3F7D-38F8-12EBEC39C5F1}"/>
          </ac:cxnSpMkLst>
        </pc:cxnChg>
        <pc:cxnChg chg="del">
          <ac:chgData name="Veniero Facchetti" userId="f2c6c99af91c4974" providerId="LiveId" clId="{F9CD2FDA-8B17-4783-8A7C-5D57B6AFEF2E}" dt="2024-05-10T14:21:08.881" v="108" actId="478"/>
          <ac:cxnSpMkLst>
            <pc:docMk/>
            <pc:sldMk cId="702343998" sldId="330"/>
            <ac:cxnSpMk id="44" creationId="{D1EEDDF9-C6AF-758F-37BC-3721721A9B86}"/>
          </ac:cxnSpMkLst>
        </pc:cxnChg>
        <pc:cxnChg chg="del">
          <ac:chgData name="Veniero Facchetti" userId="f2c6c99af91c4974" providerId="LiveId" clId="{F9CD2FDA-8B17-4783-8A7C-5D57B6AFEF2E}" dt="2024-05-10T14:21:08.881" v="108" actId="478"/>
          <ac:cxnSpMkLst>
            <pc:docMk/>
            <pc:sldMk cId="702343998" sldId="330"/>
            <ac:cxnSpMk id="45" creationId="{36DD0844-ED9C-9992-8231-A50CD769DCB0}"/>
          </ac:cxnSpMkLst>
        </pc:cxnChg>
        <pc:cxnChg chg="del">
          <ac:chgData name="Veniero Facchetti" userId="f2c6c99af91c4974" providerId="LiveId" clId="{F9CD2FDA-8B17-4783-8A7C-5D57B6AFEF2E}" dt="2024-05-10T14:21:08.881" v="108" actId="478"/>
          <ac:cxnSpMkLst>
            <pc:docMk/>
            <pc:sldMk cId="702343998" sldId="330"/>
            <ac:cxnSpMk id="46" creationId="{7E8272DE-4921-E075-BDE9-1628DA65BE9D}"/>
          </ac:cxnSpMkLst>
        </pc:cxnChg>
        <pc:cxnChg chg="del">
          <ac:chgData name="Veniero Facchetti" userId="f2c6c99af91c4974" providerId="LiveId" clId="{F9CD2FDA-8B17-4783-8A7C-5D57B6AFEF2E}" dt="2024-05-10T14:21:08.881" v="108" actId="478"/>
          <ac:cxnSpMkLst>
            <pc:docMk/>
            <pc:sldMk cId="702343998" sldId="330"/>
            <ac:cxnSpMk id="47" creationId="{36927B86-D67C-16E7-4E61-085438285DF3}"/>
          </ac:cxnSpMkLst>
        </pc:cxnChg>
        <pc:cxnChg chg="del">
          <ac:chgData name="Veniero Facchetti" userId="f2c6c99af91c4974" providerId="LiveId" clId="{F9CD2FDA-8B17-4783-8A7C-5D57B6AFEF2E}" dt="2024-05-10T14:21:08.881" v="108" actId="478"/>
          <ac:cxnSpMkLst>
            <pc:docMk/>
            <pc:sldMk cId="702343998" sldId="330"/>
            <ac:cxnSpMk id="48" creationId="{4022AD86-CB41-2C1F-0B29-8BDA07A54E1C}"/>
          </ac:cxnSpMkLst>
        </pc:cxnChg>
        <pc:cxnChg chg="del">
          <ac:chgData name="Veniero Facchetti" userId="f2c6c99af91c4974" providerId="LiveId" clId="{F9CD2FDA-8B17-4783-8A7C-5D57B6AFEF2E}" dt="2024-05-10T14:21:08.881" v="108" actId="478"/>
          <ac:cxnSpMkLst>
            <pc:docMk/>
            <pc:sldMk cId="702343998" sldId="330"/>
            <ac:cxnSpMk id="49" creationId="{29D90D1C-0378-D7AC-1FEE-7D5613E9C8C9}"/>
          </ac:cxnSpMkLst>
        </pc:cxnChg>
        <pc:cxnChg chg="del">
          <ac:chgData name="Veniero Facchetti" userId="f2c6c99af91c4974" providerId="LiveId" clId="{F9CD2FDA-8B17-4783-8A7C-5D57B6AFEF2E}" dt="2024-05-10T14:21:08.881" v="108" actId="478"/>
          <ac:cxnSpMkLst>
            <pc:docMk/>
            <pc:sldMk cId="702343998" sldId="330"/>
            <ac:cxnSpMk id="58" creationId="{92B31CB7-7BCB-94A1-56B3-7036D7F958A4}"/>
          </ac:cxnSpMkLst>
        </pc:cxnChg>
        <pc:cxnChg chg="del">
          <ac:chgData name="Veniero Facchetti" userId="f2c6c99af91c4974" providerId="LiveId" clId="{F9CD2FDA-8B17-4783-8A7C-5D57B6AFEF2E}" dt="2024-05-10T14:21:08.881" v="108" actId="478"/>
          <ac:cxnSpMkLst>
            <pc:docMk/>
            <pc:sldMk cId="702343998" sldId="330"/>
            <ac:cxnSpMk id="59" creationId="{8AD50789-0857-F748-C218-8C1B6B0CF511}"/>
          </ac:cxnSpMkLst>
        </pc:cxnChg>
        <pc:cxnChg chg="del">
          <ac:chgData name="Veniero Facchetti" userId="f2c6c99af91c4974" providerId="LiveId" clId="{F9CD2FDA-8B17-4783-8A7C-5D57B6AFEF2E}" dt="2024-05-10T14:21:08.881" v="108" actId="478"/>
          <ac:cxnSpMkLst>
            <pc:docMk/>
            <pc:sldMk cId="702343998" sldId="330"/>
            <ac:cxnSpMk id="64" creationId="{AE8B9629-E383-3ABA-A0BF-6B58AEC61DB6}"/>
          </ac:cxnSpMkLst>
        </pc:cxnChg>
        <pc:cxnChg chg="del">
          <ac:chgData name="Veniero Facchetti" userId="f2c6c99af91c4974" providerId="LiveId" clId="{F9CD2FDA-8B17-4783-8A7C-5D57B6AFEF2E}" dt="2024-05-10T14:21:08.881" v="108" actId="478"/>
          <ac:cxnSpMkLst>
            <pc:docMk/>
            <pc:sldMk cId="702343998" sldId="330"/>
            <ac:cxnSpMk id="65" creationId="{0B4EF12A-2ADB-C7AB-CC42-29981D83BA6B}"/>
          </ac:cxnSpMkLst>
        </pc:cxnChg>
        <pc:cxnChg chg="add mod">
          <ac:chgData name="Veniero Facchetti" userId="f2c6c99af91c4974" providerId="LiveId" clId="{F9CD2FDA-8B17-4783-8A7C-5D57B6AFEF2E}" dt="2024-05-10T14:21:50.461" v="117" actId="404"/>
          <ac:cxnSpMkLst>
            <pc:docMk/>
            <pc:sldMk cId="702343998" sldId="330"/>
            <ac:cxnSpMk id="76" creationId="{517532C9-DC99-0921-D2E4-7FAD2C89D737}"/>
          </ac:cxnSpMkLst>
        </pc:cxnChg>
        <pc:cxnChg chg="add mod">
          <ac:chgData name="Veniero Facchetti" userId="f2c6c99af91c4974" providerId="LiveId" clId="{F9CD2FDA-8B17-4783-8A7C-5D57B6AFEF2E}" dt="2024-05-10T14:21:50.461" v="117" actId="404"/>
          <ac:cxnSpMkLst>
            <pc:docMk/>
            <pc:sldMk cId="702343998" sldId="330"/>
            <ac:cxnSpMk id="77" creationId="{3C996850-2E4E-82F4-F15C-9288A6B7EC6B}"/>
          </ac:cxnSpMkLst>
        </pc:cxnChg>
        <pc:cxnChg chg="add mod">
          <ac:chgData name="Veniero Facchetti" userId="f2c6c99af91c4974" providerId="LiveId" clId="{F9CD2FDA-8B17-4783-8A7C-5D57B6AFEF2E}" dt="2024-05-10T14:21:50.461" v="117" actId="404"/>
          <ac:cxnSpMkLst>
            <pc:docMk/>
            <pc:sldMk cId="702343998" sldId="330"/>
            <ac:cxnSpMk id="78" creationId="{F47AD7C5-58F2-F0C2-4E09-D53C0C67C4F4}"/>
          </ac:cxnSpMkLst>
        </pc:cxnChg>
      </pc:sldChg>
      <pc:sldChg chg="addSp delSp modSp add mod">
        <pc:chgData name="Veniero Facchetti" userId="f2c6c99af91c4974" providerId="LiveId" clId="{F9CD2FDA-8B17-4783-8A7C-5D57B6AFEF2E}" dt="2024-05-10T14:28:24.155" v="191" actId="1076"/>
        <pc:sldMkLst>
          <pc:docMk/>
          <pc:sldMk cId="92838454" sldId="331"/>
        </pc:sldMkLst>
        <pc:spChg chg="add mod">
          <ac:chgData name="Veniero Facchetti" userId="f2c6c99af91c4974" providerId="LiveId" clId="{F9CD2FDA-8B17-4783-8A7C-5D57B6AFEF2E}" dt="2024-05-10T14:26:13.875" v="152" actId="1076"/>
          <ac:spMkLst>
            <pc:docMk/>
            <pc:sldMk cId="92838454" sldId="331"/>
            <ac:spMk id="9" creationId="{6FD72A8E-BAAD-22CD-E825-747DBC9F325A}"/>
          </ac:spMkLst>
        </pc:spChg>
        <pc:spChg chg="add mod">
          <ac:chgData name="Veniero Facchetti" userId="f2c6c99af91c4974" providerId="LiveId" clId="{F9CD2FDA-8B17-4783-8A7C-5D57B6AFEF2E}" dt="2024-05-10T14:26:48.747" v="161" actId="1076"/>
          <ac:spMkLst>
            <pc:docMk/>
            <pc:sldMk cId="92838454" sldId="331"/>
            <ac:spMk id="10" creationId="{8A274638-6F40-268F-E504-690C73CE09CB}"/>
          </ac:spMkLst>
        </pc:spChg>
        <pc:spChg chg="add mod">
          <ac:chgData name="Veniero Facchetti" userId="f2c6c99af91c4974" providerId="LiveId" clId="{F9CD2FDA-8B17-4783-8A7C-5D57B6AFEF2E}" dt="2024-05-10T14:27:27.566" v="175" actId="20577"/>
          <ac:spMkLst>
            <pc:docMk/>
            <pc:sldMk cId="92838454" sldId="331"/>
            <ac:spMk id="11" creationId="{E4C2BE34-54E0-1B60-D2C0-ECDEB8295CDE}"/>
          </ac:spMkLst>
        </pc:spChg>
        <pc:spChg chg="add mod">
          <ac:chgData name="Veniero Facchetti" userId="f2c6c99af91c4974" providerId="LiveId" clId="{F9CD2FDA-8B17-4783-8A7C-5D57B6AFEF2E}" dt="2024-05-10T14:28:06.412" v="186" actId="1076"/>
          <ac:spMkLst>
            <pc:docMk/>
            <pc:sldMk cId="92838454" sldId="331"/>
            <ac:spMk id="12" creationId="{7ABC9E67-80B7-8CBB-285D-59A202C2F8E7}"/>
          </ac:spMkLst>
        </pc:spChg>
        <pc:spChg chg="add mod">
          <ac:chgData name="Veniero Facchetti" userId="f2c6c99af91c4974" providerId="LiveId" clId="{F9CD2FDA-8B17-4783-8A7C-5D57B6AFEF2E}" dt="2024-05-10T14:28:24.155" v="191" actId="1076"/>
          <ac:spMkLst>
            <pc:docMk/>
            <pc:sldMk cId="92838454" sldId="331"/>
            <ac:spMk id="13" creationId="{CB82D07C-CC22-8E47-6910-8A1AD1B51131}"/>
          </ac:spMkLst>
        </pc:spChg>
        <pc:spChg chg="del">
          <ac:chgData name="Veniero Facchetti" userId="f2c6c99af91c4974" providerId="LiveId" clId="{F9CD2FDA-8B17-4783-8A7C-5D57B6AFEF2E}" dt="2024-05-10T14:24:16.474" v="133" actId="478"/>
          <ac:spMkLst>
            <pc:docMk/>
            <pc:sldMk cId="92838454" sldId="331"/>
            <ac:spMk id="71" creationId="{67537C65-CC88-FB93-E4DD-DE45024137C9}"/>
          </ac:spMkLst>
        </pc:spChg>
        <pc:spChg chg="mod">
          <ac:chgData name="Veniero Facchetti" userId="f2c6c99af91c4974" providerId="LiveId" clId="{F9CD2FDA-8B17-4783-8A7C-5D57B6AFEF2E}" dt="2024-05-10T14:26:31.876" v="156" actId="1076"/>
          <ac:spMkLst>
            <pc:docMk/>
            <pc:sldMk cId="92838454" sldId="331"/>
            <ac:spMk id="79" creationId="{661AA59E-1EB8-3469-0656-2338DE70B046}"/>
          </ac:spMkLst>
        </pc:spChg>
        <pc:spChg chg="mod">
          <ac:chgData name="Veniero Facchetti" userId="f2c6c99af91c4974" providerId="LiveId" clId="{F9CD2FDA-8B17-4783-8A7C-5D57B6AFEF2E}" dt="2024-05-10T14:26:29.372" v="155" actId="1076"/>
          <ac:spMkLst>
            <pc:docMk/>
            <pc:sldMk cId="92838454" sldId="331"/>
            <ac:spMk id="80" creationId="{2704D5C4-D1C4-E7A9-276A-54E37F635613}"/>
          </ac:spMkLst>
        </pc:spChg>
        <pc:spChg chg="mod">
          <ac:chgData name="Veniero Facchetti" userId="f2c6c99af91c4974" providerId="LiveId" clId="{F9CD2FDA-8B17-4783-8A7C-5D57B6AFEF2E}" dt="2024-05-10T14:26:25.266" v="154" actId="1076"/>
          <ac:spMkLst>
            <pc:docMk/>
            <pc:sldMk cId="92838454" sldId="331"/>
            <ac:spMk id="81" creationId="{D74A99B3-AA9A-D24D-7872-ACC556D0BFFE}"/>
          </ac:spMkLst>
        </pc:spChg>
        <pc:spChg chg="mod">
          <ac:chgData name="Veniero Facchetti" userId="f2c6c99af91c4974" providerId="LiveId" clId="{F9CD2FDA-8B17-4783-8A7C-5D57B6AFEF2E}" dt="2024-05-10T14:27:08.571" v="167" actId="1076"/>
          <ac:spMkLst>
            <pc:docMk/>
            <pc:sldMk cId="92838454" sldId="331"/>
            <ac:spMk id="84" creationId="{303F8A35-28BA-8387-4732-D1A99FB66338}"/>
          </ac:spMkLst>
        </pc:spChg>
        <pc:spChg chg="mod">
          <ac:chgData name="Veniero Facchetti" userId="f2c6c99af91c4974" providerId="LiveId" clId="{F9CD2FDA-8B17-4783-8A7C-5D57B6AFEF2E}" dt="2024-05-10T14:27:05.083" v="166" actId="1076"/>
          <ac:spMkLst>
            <pc:docMk/>
            <pc:sldMk cId="92838454" sldId="331"/>
            <ac:spMk id="85" creationId="{8AC13146-9E53-A1D1-6EF0-45470E930093}"/>
          </ac:spMkLst>
        </pc:spChg>
        <pc:spChg chg="mod">
          <ac:chgData name="Veniero Facchetti" userId="f2c6c99af91c4974" providerId="LiveId" clId="{F9CD2FDA-8B17-4783-8A7C-5D57B6AFEF2E}" dt="2024-05-10T14:27:01.978" v="165" actId="1076"/>
          <ac:spMkLst>
            <pc:docMk/>
            <pc:sldMk cId="92838454" sldId="331"/>
            <ac:spMk id="86" creationId="{02FCE08D-A05C-7220-A47D-735CBC9468A7}"/>
          </ac:spMkLst>
        </pc:spChg>
        <pc:spChg chg="mod">
          <ac:chgData name="Veniero Facchetti" userId="f2c6c99af91c4974" providerId="LiveId" clId="{F9CD2FDA-8B17-4783-8A7C-5D57B6AFEF2E}" dt="2024-05-10T14:26:58.635" v="164" actId="1076"/>
          <ac:spMkLst>
            <pc:docMk/>
            <pc:sldMk cId="92838454" sldId="331"/>
            <ac:spMk id="87" creationId="{DDC212D9-F6BB-9D71-499E-C6D9581C5A8D}"/>
          </ac:spMkLst>
        </pc:spChg>
        <pc:spChg chg="mod">
          <ac:chgData name="Veniero Facchetti" userId="f2c6c99af91c4974" providerId="LiveId" clId="{F9CD2FDA-8B17-4783-8A7C-5D57B6AFEF2E}" dt="2024-05-10T14:26:55.116" v="163" actId="1076"/>
          <ac:spMkLst>
            <pc:docMk/>
            <pc:sldMk cId="92838454" sldId="331"/>
            <ac:spMk id="88" creationId="{2D3C7A65-1158-FB40-F6A8-CA12110CE26D}"/>
          </ac:spMkLst>
        </pc:spChg>
        <pc:spChg chg="mod">
          <ac:chgData name="Veniero Facchetti" userId="f2c6c99af91c4974" providerId="LiveId" clId="{F9CD2FDA-8B17-4783-8A7C-5D57B6AFEF2E}" dt="2024-05-10T14:27:59.731" v="184" actId="1076"/>
          <ac:spMkLst>
            <pc:docMk/>
            <pc:sldMk cId="92838454" sldId="331"/>
            <ac:spMk id="91" creationId="{44F6D030-A7AB-F789-A55E-6455CAD121E6}"/>
          </ac:spMkLst>
        </pc:spChg>
        <pc:spChg chg="mod">
          <ac:chgData name="Veniero Facchetti" userId="f2c6c99af91c4974" providerId="LiveId" clId="{F9CD2FDA-8B17-4783-8A7C-5D57B6AFEF2E}" dt="2024-05-10T14:27:57.092" v="183" actId="1076"/>
          <ac:spMkLst>
            <pc:docMk/>
            <pc:sldMk cId="92838454" sldId="331"/>
            <ac:spMk id="92" creationId="{2545D39C-67E1-99A0-4D49-69462FE47C74}"/>
          </ac:spMkLst>
        </pc:spChg>
        <pc:spChg chg="mod">
          <ac:chgData name="Veniero Facchetti" userId="f2c6c99af91c4974" providerId="LiveId" clId="{F9CD2FDA-8B17-4783-8A7C-5D57B6AFEF2E}" dt="2024-05-10T14:27:51.683" v="182" actId="1076"/>
          <ac:spMkLst>
            <pc:docMk/>
            <pc:sldMk cId="92838454" sldId="331"/>
            <ac:spMk id="93" creationId="{16FCF179-7441-905F-AEB4-BE792AE54A1E}"/>
          </ac:spMkLst>
        </pc:spChg>
        <pc:spChg chg="mod">
          <ac:chgData name="Veniero Facchetti" userId="f2c6c99af91c4974" providerId="LiveId" clId="{F9CD2FDA-8B17-4783-8A7C-5D57B6AFEF2E}" dt="2024-05-10T14:27:48.275" v="181" actId="1076"/>
          <ac:spMkLst>
            <pc:docMk/>
            <pc:sldMk cId="92838454" sldId="331"/>
            <ac:spMk id="94" creationId="{984543EB-7B07-D773-6BF2-B5C50B475A05}"/>
          </ac:spMkLst>
        </pc:spChg>
        <pc:spChg chg="mod">
          <ac:chgData name="Veniero Facchetti" userId="f2c6c99af91c4974" providerId="LiveId" clId="{F9CD2FDA-8B17-4783-8A7C-5D57B6AFEF2E}" dt="2024-05-10T14:27:36.684" v="177" actId="1076"/>
          <ac:spMkLst>
            <pc:docMk/>
            <pc:sldMk cId="92838454" sldId="331"/>
            <ac:spMk id="95" creationId="{7244C238-E3DD-50EC-3354-5E50C429BFC6}"/>
          </ac:spMkLst>
        </pc:spChg>
        <pc:spChg chg="del">
          <ac:chgData name="Veniero Facchetti" userId="f2c6c99af91c4974" providerId="LiveId" clId="{F9CD2FDA-8B17-4783-8A7C-5D57B6AFEF2E}" dt="2024-05-10T14:24:21.528" v="134" actId="478"/>
          <ac:spMkLst>
            <pc:docMk/>
            <pc:sldMk cId="92838454" sldId="331"/>
            <ac:spMk id="98" creationId="{243C51C4-FE2B-FFF7-638E-B1CC3910C134}"/>
          </ac:spMkLst>
        </pc:spChg>
        <pc:spChg chg="mod">
          <ac:chgData name="Veniero Facchetti" userId="f2c6c99af91c4974" providerId="LiveId" clId="{F9CD2FDA-8B17-4783-8A7C-5D57B6AFEF2E}" dt="2024-05-10T14:28:13.907" v="188" actId="1076"/>
          <ac:spMkLst>
            <pc:docMk/>
            <pc:sldMk cId="92838454" sldId="331"/>
            <ac:spMk id="99" creationId="{23605A6E-7454-74BD-DA74-3D725D16263F}"/>
          </ac:spMkLst>
        </pc:spChg>
        <pc:spChg chg="mod">
          <ac:chgData name="Veniero Facchetti" userId="f2c6c99af91c4974" providerId="LiveId" clId="{F9CD2FDA-8B17-4783-8A7C-5D57B6AFEF2E}" dt="2024-05-10T14:28:11.515" v="187" actId="1076"/>
          <ac:spMkLst>
            <pc:docMk/>
            <pc:sldMk cId="92838454" sldId="331"/>
            <ac:spMk id="100" creationId="{A06D0554-4CC5-D5AB-554A-7275E448038D}"/>
          </ac:spMkLst>
        </pc:spChg>
        <pc:spChg chg="mod">
          <ac:chgData name="Veniero Facchetti" userId="f2c6c99af91c4974" providerId="LiveId" clId="{F9CD2FDA-8B17-4783-8A7C-5D57B6AFEF2E}" dt="2024-05-10T14:27:44.571" v="180" actId="1076"/>
          <ac:spMkLst>
            <pc:docMk/>
            <pc:sldMk cId="92838454" sldId="331"/>
            <ac:spMk id="101" creationId="{69D7980A-E6A5-560C-86D7-74B12A38973B}"/>
          </ac:spMkLst>
        </pc:spChg>
        <pc:spChg chg="mod">
          <ac:chgData name="Veniero Facchetti" userId="f2c6c99af91c4974" providerId="LiveId" clId="{F9CD2FDA-8B17-4783-8A7C-5D57B6AFEF2E}" dt="2024-05-10T14:27:41.852" v="179" actId="1076"/>
          <ac:spMkLst>
            <pc:docMk/>
            <pc:sldMk cId="92838454" sldId="331"/>
            <ac:spMk id="102" creationId="{464FDAB2-3653-DAFF-330D-455D898D86DB}"/>
          </ac:spMkLst>
        </pc:spChg>
        <pc:spChg chg="add del">
          <ac:chgData name="Veniero Facchetti" userId="f2c6c99af91c4974" providerId="LiveId" clId="{F9CD2FDA-8B17-4783-8A7C-5D57B6AFEF2E}" dt="2024-05-10T14:24:32.027" v="137" actId="478"/>
          <ac:spMkLst>
            <pc:docMk/>
            <pc:sldMk cId="92838454" sldId="331"/>
            <ac:spMk id="110" creationId="{08346151-89C2-CBAA-16C0-B194F4A20B75}"/>
          </ac:spMkLst>
        </pc:spChg>
        <pc:spChg chg="mod">
          <ac:chgData name="Veniero Facchetti" userId="f2c6c99af91c4974" providerId="LiveId" clId="{F9CD2FDA-8B17-4783-8A7C-5D57B6AFEF2E}" dt="2024-05-10T14:25:58.604" v="150" actId="1076"/>
          <ac:spMkLst>
            <pc:docMk/>
            <pc:sldMk cId="92838454" sldId="331"/>
            <ac:spMk id="111" creationId="{539D5B72-E961-7774-ABE7-E638E4B4FC19}"/>
          </ac:spMkLst>
        </pc:spChg>
        <pc:spChg chg="mod">
          <ac:chgData name="Veniero Facchetti" userId="f2c6c99af91c4974" providerId="LiveId" clId="{F9CD2FDA-8B17-4783-8A7C-5D57B6AFEF2E}" dt="2024-05-10T14:25:55.444" v="149" actId="1076"/>
          <ac:spMkLst>
            <pc:docMk/>
            <pc:sldMk cId="92838454" sldId="331"/>
            <ac:spMk id="112" creationId="{98220359-24CD-732B-7E7D-FF596F301B7F}"/>
          </ac:spMkLst>
        </pc:spChg>
        <pc:spChg chg="mod">
          <ac:chgData name="Veniero Facchetti" userId="f2c6c99af91c4974" providerId="LiveId" clId="{F9CD2FDA-8B17-4783-8A7C-5D57B6AFEF2E}" dt="2024-05-10T14:25:43.795" v="146" actId="1076"/>
          <ac:spMkLst>
            <pc:docMk/>
            <pc:sldMk cId="92838454" sldId="331"/>
            <ac:spMk id="113" creationId="{FA10CB28-F143-A655-A633-E309DB54B51F}"/>
          </ac:spMkLst>
        </pc:spChg>
        <pc:spChg chg="mod">
          <ac:chgData name="Veniero Facchetti" userId="f2c6c99af91c4974" providerId="LiveId" clId="{F9CD2FDA-8B17-4783-8A7C-5D57B6AFEF2E}" dt="2024-05-10T14:26:18.044" v="153" actId="1076"/>
          <ac:spMkLst>
            <pc:docMk/>
            <pc:sldMk cId="92838454" sldId="331"/>
            <ac:spMk id="114" creationId="{27097B21-BF0B-D4DE-CBE2-A3E227E9396F}"/>
          </ac:spMkLst>
        </pc:spChg>
        <pc:spChg chg="mod">
          <ac:chgData name="Veniero Facchetti" userId="f2c6c99af91c4974" providerId="LiveId" clId="{F9CD2FDA-8B17-4783-8A7C-5D57B6AFEF2E}" dt="2024-05-10T14:26:51.347" v="162" actId="1076"/>
          <ac:spMkLst>
            <pc:docMk/>
            <pc:sldMk cId="92838454" sldId="331"/>
            <ac:spMk id="115" creationId="{2052C038-6232-7923-19D6-E1672DC30D2D}"/>
          </ac:spMkLst>
        </pc:spChg>
        <pc:spChg chg="mod">
          <ac:chgData name="Veniero Facchetti" userId="f2c6c99af91c4974" providerId="LiveId" clId="{F9CD2FDA-8B17-4783-8A7C-5D57B6AFEF2E}" dt="2024-05-10T14:27:33.932" v="176" actId="1076"/>
          <ac:spMkLst>
            <pc:docMk/>
            <pc:sldMk cId="92838454" sldId="331"/>
            <ac:spMk id="116" creationId="{B7265067-1D71-829D-A7FF-D8A41E4B54BD}"/>
          </ac:spMkLst>
        </pc:spChg>
        <pc:spChg chg="mod">
          <ac:chgData name="Veniero Facchetti" userId="f2c6c99af91c4974" providerId="LiveId" clId="{F9CD2FDA-8B17-4783-8A7C-5D57B6AFEF2E}" dt="2024-05-10T14:28:18.220" v="189" actId="1076"/>
          <ac:spMkLst>
            <pc:docMk/>
            <pc:sldMk cId="92838454" sldId="331"/>
            <ac:spMk id="117" creationId="{F52E36DC-B5A4-988F-484A-D3A385B62E7F}"/>
          </ac:spMkLst>
        </pc:spChg>
        <pc:spChg chg="mod">
          <ac:chgData name="Veniero Facchetti" userId="f2c6c99af91c4974" providerId="LiveId" clId="{F9CD2FDA-8B17-4783-8A7C-5D57B6AFEF2E}" dt="2024-05-10T14:25:52.524" v="148" actId="1076"/>
          <ac:spMkLst>
            <pc:docMk/>
            <pc:sldMk cId="92838454" sldId="331"/>
            <ac:spMk id="118" creationId="{B8A57697-83B3-AF3D-5390-B4AC8BEE447B}"/>
          </ac:spMkLst>
        </pc:spChg>
        <pc:spChg chg="mod">
          <ac:chgData name="Veniero Facchetti" userId="f2c6c99af91c4974" providerId="LiveId" clId="{F9CD2FDA-8B17-4783-8A7C-5D57B6AFEF2E}" dt="2024-05-10T14:25:46.819" v="147" actId="1076"/>
          <ac:spMkLst>
            <pc:docMk/>
            <pc:sldMk cId="92838454" sldId="331"/>
            <ac:spMk id="119" creationId="{BD676BDF-1FE3-F4B3-1592-59CA30257A60}"/>
          </ac:spMkLst>
        </pc:spChg>
        <pc:spChg chg="mod">
          <ac:chgData name="Veniero Facchetti" userId="f2c6c99af91c4974" providerId="LiveId" clId="{F9CD2FDA-8B17-4783-8A7C-5D57B6AFEF2E}" dt="2024-05-10T14:25:41.410" v="145" actId="1076"/>
          <ac:spMkLst>
            <pc:docMk/>
            <pc:sldMk cId="92838454" sldId="331"/>
            <ac:spMk id="120" creationId="{585F91FC-57BF-27EC-FD03-AA7FB34B5F73}"/>
          </ac:spMkLst>
        </pc:spChg>
        <pc:spChg chg="mod">
          <ac:chgData name="Veniero Facchetti" userId="f2c6c99af91c4974" providerId="LiveId" clId="{F9CD2FDA-8B17-4783-8A7C-5D57B6AFEF2E}" dt="2024-05-10T14:26:40.644" v="158" actId="1076"/>
          <ac:spMkLst>
            <pc:docMk/>
            <pc:sldMk cId="92838454" sldId="331"/>
            <ac:spMk id="122" creationId="{D9E853CB-93EB-2CCD-C578-3F4E53B9892A}"/>
          </ac:spMkLst>
        </pc:spChg>
        <pc:spChg chg="mod">
          <ac:chgData name="Veniero Facchetti" userId="f2c6c99af91c4974" providerId="LiveId" clId="{F9CD2FDA-8B17-4783-8A7C-5D57B6AFEF2E}" dt="2024-05-10T14:26:35.283" v="157" actId="1076"/>
          <ac:spMkLst>
            <pc:docMk/>
            <pc:sldMk cId="92838454" sldId="331"/>
            <ac:spMk id="123" creationId="{09133BCD-EB24-196E-D2A5-286C20B43B04}"/>
          </ac:spMkLst>
        </pc:spChg>
        <pc:spChg chg="mod">
          <ac:chgData name="Veniero Facchetti" userId="f2c6c99af91c4974" providerId="LiveId" clId="{F9CD2FDA-8B17-4783-8A7C-5D57B6AFEF2E}" dt="2024-05-10T14:27:39.179" v="178" actId="1076"/>
          <ac:spMkLst>
            <pc:docMk/>
            <pc:sldMk cId="92838454" sldId="331"/>
            <ac:spMk id="124" creationId="{FF7CEED2-4271-327A-B384-C10C6E8B89CC}"/>
          </ac:spMkLst>
        </pc:spChg>
        <pc:spChg chg="mod">
          <ac:chgData name="Veniero Facchetti" userId="f2c6c99af91c4974" providerId="LiveId" clId="{F9CD2FDA-8B17-4783-8A7C-5D57B6AFEF2E}" dt="2024-05-10T14:24:55.467" v="140" actId="1076"/>
          <ac:spMkLst>
            <pc:docMk/>
            <pc:sldMk cId="92838454" sldId="331"/>
            <ac:spMk id="142" creationId="{F8A660DA-8E2B-6F4F-292F-00248DB28F3B}"/>
          </ac:spMkLst>
        </pc:spChg>
        <pc:spChg chg="add del mod">
          <ac:chgData name="Veniero Facchetti" userId="f2c6c99af91c4974" providerId="LiveId" clId="{F9CD2FDA-8B17-4783-8A7C-5D57B6AFEF2E}" dt="2024-05-10T14:24:51.563" v="139" actId="1076"/>
          <ac:spMkLst>
            <pc:docMk/>
            <pc:sldMk cId="92838454" sldId="331"/>
            <ac:spMk id="144" creationId="{ADAB3386-61AF-1FCC-BA4F-513218E8F08E}"/>
          </ac:spMkLst>
        </pc:spChg>
      </pc:sldChg>
      <pc:sldChg chg="addSp delSp modSp add mod">
        <pc:chgData name="Veniero Facchetti" userId="f2c6c99af91c4974" providerId="LiveId" clId="{F9CD2FDA-8B17-4783-8A7C-5D57B6AFEF2E}" dt="2024-05-10T15:19:21.417" v="224" actId="403"/>
        <pc:sldMkLst>
          <pc:docMk/>
          <pc:sldMk cId="3937457385" sldId="332"/>
        </pc:sldMkLst>
        <pc:spChg chg="mod">
          <ac:chgData name="Veniero Facchetti" userId="f2c6c99af91c4974" providerId="LiveId" clId="{F9CD2FDA-8B17-4783-8A7C-5D57B6AFEF2E}" dt="2024-05-10T14:28:54.941" v="199" actId="403"/>
          <ac:spMkLst>
            <pc:docMk/>
            <pc:sldMk cId="3937457385" sldId="332"/>
            <ac:spMk id="6" creationId="{C57A0B68-948F-CBED-97A5-A01371066D12}"/>
          </ac:spMkLst>
        </pc:spChg>
        <pc:spChg chg="del">
          <ac:chgData name="Veniero Facchetti" userId="f2c6c99af91c4974" providerId="LiveId" clId="{F9CD2FDA-8B17-4783-8A7C-5D57B6AFEF2E}" dt="2024-05-10T14:29:02.176" v="200" actId="478"/>
          <ac:spMkLst>
            <pc:docMk/>
            <pc:sldMk cId="3937457385" sldId="332"/>
            <ac:spMk id="9" creationId="{6FD72A8E-BAAD-22CD-E825-747DBC9F325A}"/>
          </ac:spMkLst>
        </pc:spChg>
        <pc:spChg chg="del">
          <ac:chgData name="Veniero Facchetti" userId="f2c6c99af91c4974" providerId="LiveId" clId="{F9CD2FDA-8B17-4783-8A7C-5D57B6AFEF2E}" dt="2024-05-10T14:29:02.176" v="200" actId="478"/>
          <ac:spMkLst>
            <pc:docMk/>
            <pc:sldMk cId="3937457385" sldId="332"/>
            <ac:spMk id="10" creationId="{8A274638-6F40-268F-E504-690C73CE09CB}"/>
          </ac:spMkLst>
        </pc:spChg>
        <pc:spChg chg="del">
          <ac:chgData name="Veniero Facchetti" userId="f2c6c99af91c4974" providerId="LiveId" clId="{F9CD2FDA-8B17-4783-8A7C-5D57B6AFEF2E}" dt="2024-05-10T14:29:02.176" v="200" actId="478"/>
          <ac:spMkLst>
            <pc:docMk/>
            <pc:sldMk cId="3937457385" sldId="332"/>
            <ac:spMk id="11" creationId="{E4C2BE34-54E0-1B60-D2C0-ECDEB8295CDE}"/>
          </ac:spMkLst>
        </pc:spChg>
        <pc:spChg chg="del">
          <ac:chgData name="Veniero Facchetti" userId="f2c6c99af91c4974" providerId="LiveId" clId="{F9CD2FDA-8B17-4783-8A7C-5D57B6AFEF2E}" dt="2024-05-10T14:29:02.176" v="200" actId="478"/>
          <ac:spMkLst>
            <pc:docMk/>
            <pc:sldMk cId="3937457385" sldId="332"/>
            <ac:spMk id="12" creationId="{7ABC9E67-80B7-8CBB-285D-59A202C2F8E7}"/>
          </ac:spMkLst>
        </pc:spChg>
        <pc:spChg chg="del">
          <ac:chgData name="Veniero Facchetti" userId="f2c6c99af91c4974" providerId="LiveId" clId="{F9CD2FDA-8B17-4783-8A7C-5D57B6AFEF2E}" dt="2024-05-10T14:29:02.176" v="200" actId="478"/>
          <ac:spMkLst>
            <pc:docMk/>
            <pc:sldMk cId="3937457385" sldId="332"/>
            <ac:spMk id="13" creationId="{CB82D07C-CC22-8E47-6910-8A1AD1B51131}"/>
          </ac:spMkLst>
        </pc:spChg>
        <pc:spChg chg="add mod">
          <ac:chgData name="Veniero Facchetti" userId="f2c6c99af91c4974" providerId="LiveId" clId="{F9CD2FDA-8B17-4783-8A7C-5D57B6AFEF2E}" dt="2024-05-10T14:29:10.904" v="201"/>
          <ac:spMkLst>
            <pc:docMk/>
            <pc:sldMk cId="3937457385" sldId="332"/>
            <ac:spMk id="16" creationId="{33775FE8-CDCE-7737-CFCE-6A4078A65B54}"/>
          </ac:spMkLst>
        </pc:spChg>
        <pc:spChg chg="add mod">
          <ac:chgData name="Veniero Facchetti" userId="f2c6c99af91c4974" providerId="LiveId" clId="{F9CD2FDA-8B17-4783-8A7C-5D57B6AFEF2E}" dt="2024-05-10T14:29:10.904" v="201"/>
          <ac:spMkLst>
            <pc:docMk/>
            <pc:sldMk cId="3937457385" sldId="332"/>
            <ac:spMk id="17" creationId="{19978A9F-5858-F91B-12C9-213A1F42E28C}"/>
          </ac:spMkLst>
        </pc:spChg>
        <pc:spChg chg="add mod">
          <ac:chgData name="Veniero Facchetti" userId="f2c6c99af91c4974" providerId="LiveId" clId="{F9CD2FDA-8B17-4783-8A7C-5D57B6AFEF2E}" dt="2024-05-10T14:29:10.904" v="201"/>
          <ac:spMkLst>
            <pc:docMk/>
            <pc:sldMk cId="3937457385" sldId="332"/>
            <ac:spMk id="18" creationId="{38B97740-385B-6B90-F732-E83DFDA71F0E}"/>
          </ac:spMkLst>
        </pc:spChg>
        <pc:spChg chg="add mod">
          <ac:chgData name="Veniero Facchetti" userId="f2c6c99af91c4974" providerId="LiveId" clId="{F9CD2FDA-8B17-4783-8A7C-5D57B6AFEF2E}" dt="2024-05-10T14:29:10.904" v="201"/>
          <ac:spMkLst>
            <pc:docMk/>
            <pc:sldMk cId="3937457385" sldId="332"/>
            <ac:spMk id="19" creationId="{2B18A398-AAD8-1E82-B374-2FA5CD151014}"/>
          </ac:spMkLst>
        </pc:spChg>
        <pc:spChg chg="add mod">
          <ac:chgData name="Veniero Facchetti" userId="f2c6c99af91c4974" providerId="LiveId" clId="{F9CD2FDA-8B17-4783-8A7C-5D57B6AFEF2E}" dt="2024-05-10T14:29:10.904" v="201"/>
          <ac:spMkLst>
            <pc:docMk/>
            <pc:sldMk cId="3937457385" sldId="332"/>
            <ac:spMk id="20" creationId="{048100C7-CCD0-D7DF-77AD-431CE959E961}"/>
          </ac:spMkLst>
        </pc:spChg>
        <pc:spChg chg="add mod">
          <ac:chgData name="Veniero Facchetti" userId="f2c6c99af91c4974" providerId="LiveId" clId="{F9CD2FDA-8B17-4783-8A7C-5D57B6AFEF2E}" dt="2024-05-10T14:29:10.904" v="201"/>
          <ac:spMkLst>
            <pc:docMk/>
            <pc:sldMk cId="3937457385" sldId="332"/>
            <ac:spMk id="21" creationId="{46E1FE6B-C5FA-4BF3-3EB3-B842C26C6AA3}"/>
          </ac:spMkLst>
        </pc:spChg>
        <pc:spChg chg="add mod">
          <ac:chgData name="Veniero Facchetti" userId="f2c6c99af91c4974" providerId="LiveId" clId="{F9CD2FDA-8B17-4783-8A7C-5D57B6AFEF2E}" dt="2024-05-10T14:29:10.904" v="201"/>
          <ac:spMkLst>
            <pc:docMk/>
            <pc:sldMk cId="3937457385" sldId="332"/>
            <ac:spMk id="22" creationId="{0491F6A7-7E6B-515C-764B-3F51263A9CE2}"/>
          </ac:spMkLst>
        </pc:spChg>
        <pc:spChg chg="add mod">
          <ac:chgData name="Veniero Facchetti" userId="f2c6c99af91c4974" providerId="LiveId" clId="{F9CD2FDA-8B17-4783-8A7C-5D57B6AFEF2E}" dt="2024-05-10T14:29:10.904" v="201"/>
          <ac:spMkLst>
            <pc:docMk/>
            <pc:sldMk cId="3937457385" sldId="332"/>
            <ac:spMk id="23" creationId="{E1A785DA-A4AC-C317-F3D1-4E233B6AA116}"/>
          </ac:spMkLst>
        </pc:spChg>
        <pc:spChg chg="add mod">
          <ac:chgData name="Veniero Facchetti" userId="f2c6c99af91c4974" providerId="LiveId" clId="{F9CD2FDA-8B17-4783-8A7C-5D57B6AFEF2E}" dt="2024-05-10T14:29:10.904" v="201"/>
          <ac:spMkLst>
            <pc:docMk/>
            <pc:sldMk cId="3937457385" sldId="332"/>
            <ac:spMk id="24" creationId="{D0EEAC02-BACB-F32F-6D80-AC0A80A2D611}"/>
          </ac:spMkLst>
        </pc:spChg>
        <pc:spChg chg="add mod">
          <ac:chgData name="Veniero Facchetti" userId="f2c6c99af91c4974" providerId="LiveId" clId="{F9CD2FDA-8B17-4783-8A7C-5D57B6AFEF2E}" dt="2024-05-10T14:29:10.904" v="201"/>
          <ac:spMkLst>
            <pc:docMk/>
            <pc:sldMk cId="3937457385" sldId="332"/>
            <ac:spMk id="25" creationId="{114FBB65-4AB1-640A-C2B6-BCE2ED22B336}"/>
          </ac:spMkLst>
        </pc:spChg>
        <pc:spChg chg="add mod">
          <ac:chgData name="Veniero Facchetti" userId="f2c6c99af91c4974" providerId="LiveId" clId="{F9CD2FDA-8B17-4783-8A7C-5D57B6AFEF2E}" dt="2024-05-10T14:29:10.904" v="201"/>
          <ac:spMkLst>
            <pc:docMk/>
            <pc:sldMk cId="3937457385" sldId="332"/>
            <ac:spMk id="29" creationId="{FA6BD1CD-9AA4-66D0-7BDD-F337B6605C53}"/>
          </ac:spMkLst>
        </pc:spChg>
        <pc:spChg chg="add mod">
          <ac:chgData name="Veniero Facchetti" userId="f2c6c99af91c4974" providerId="LiveId" clId="{F9CD2FDA-8B17-4783-8A7C-5D57B6AFEF2E}" dt="2024-05-10T14:29:10.904" v="201"/>
          <ac:spMkLst>
            <pc:docMk/>
            <pc:sldMk cId="3937457385" sldId="332"/>
            <ac:spMk id="30" creationId="{347A73CB-6450-21B8-7786-5639690AE7F7}"/>
          </ac:spMkLst>
        </pc:spChg>
        <pc:spChg chg="add mod">
          <ac:chgData name="Veniero Facchetti" userId="f2c6c99af91c4974" providerId="LiveId" clId="{F9CD2FDA-8B17-4783-8A7C-5D57B6AFEF2E}" dt="2024-05-10T14:29:10.904" v="201"/>
          <ac:spMkLst>
            <pc:docMk/>
            <pc:sldMk cId="3937457385" sldId="332"/>
            <ac:spMk id="31" creationId="{E3F6E65B-B2D3-5FDF-5C59-689FA4985CA7}"/>
          </ac:spMkLst>
        </pc:spChg>
        <pc:spChg chg="add mod">
          <ac:chgData name="Veniero Facchetti" userId="f2c6c99af91c4974" providerId="LiveId" clId="{F9CD2FDA-8B17-4783-8A7C-5D57B6AFEF2E}" dt="2024-05-10T14:29:10.904" v="201"/>
          <ac:spMkLst>
            <pc:docMk/>
            <pc:sldMk cId="3937457385" sldId="332"/>
            <ac:spMk id="32" creationId="{1680ECA2-4C7B-FD86-7AFE-2809A7ECA99B}"/>
          </ac:spMkLst>
        </pc:spChg>
        <pc:spChg chg="add mod">
          <ac:chgData name="Veniero Facchetti" userId="f2c6c99af91c4974" providerId="LiveId" clId="{F9CD2FDA-8B17-4783-8A7C-5D57B6AFEF2E}" dt="2024-05-10T14:29:10.904" v="201"/>
          <ac:spMkLst>
            <pc:docMk/>
            <pc:sldMk cId="3937457385" sldId="332"/>
            <ac:spMk id="33" creationId="{DF8A72C5-746E-D56E-1D3A-24CEBD7185FA}"/>
          </ac:spMkLst>
        </pc:spChg>
        <pc:spChg chg="add mod">
          <ac:chgData name="Veniero Facchetti" userId="f2c6c99af91c4974" providerId="LiveId" clId="{F9CD2FDA-8B17-4783-8A7C-5D57B6AFEF2E}" dt="2024-05-10T14:29:10.904" v="201"/>
          <ac:spMkLst>
            <pc:docMk/>
            <pc:sldMk cId="3937457385" sldId="332"/>
            <ac:spMk id="34" creationId="{922E6DDB-93B1-2042-1819-B34966A09F60}"/>
          </ac:spMkLst>
        </pc:spChg>
        <pc:spChg chg="add mod">
          <ac:chgData name="Veniero Facchetti" userId="f2c6c99af91c4974" providerId="LiveId" clId="{F9CD2FDA-8B17-4783-8A7C-5D57B6AFEF2E}" dt="2024-05-10T14:29:10.904" v="201"/>
          <ac:spMkLst>
            <pc:docMk/>
            <pc:sldMk cId="3937457385" sldId="332"/>
            <ac:spMk id="35" creationId="{175E952F-4985-86DC-5576-03D6811DCD63}"/>
          </ac:spMkLst>
        </pc:spChg>
        <pc:spChg chg="add mod">
          <ac:chgData name="Veniero Facchetti" userId="f2c6c99af91c4974" providerId="LiveId" clId="{F9CD2FDA-8B17-4783-8A7C-5D57B6AFEF2E}" dt="2024-05-10T14:29:10.904" v="201"/>
          <ac:spMkLst>
            <pc:docMk/>
            <pc:sldMk cId="3937457385" sldId="332"/>
            <ac:spMk id="36" creationId="{778B1BF4-12D6-992B-1757-406F0E99CFBB}"/>
          </ac:spMkLst>
        </pc:spChg>
        <pc:spChg chg="add mod">
          <ac:chgData name="Veniero Facchetti" userId="f2c6c99af91c4974" providerId="LiveId" clId="{F9CD2FDA-8B17-4783-8A7C-5D57B6AFEF2E}" dt="2024-05-10T14:29:10.904" v="201"/>
          <ac:spMkLst>
            <pc:docMk/>
            <pc:sldMk cId="3937457385" sldId="332"/>
            <ac:spMk id="37" creationId="{2296AB77-CB68-A9D8-B574-8CAD42379646}"/>
          </ac:spMkLst>
        </pc:spChg>
        <pc:spChg chg="add mod">
          <ac:chgData name="Veniero Facchetti" userId="f2c6c99af91c4974" providerId="LiveId" clId="{F9CD2FDA-8B17-4783-8A7C-5D57B6AFEF2E}" dt="2024-05-10T14:29:10.904" v="201"/>
          <ac:spMkLst>
            <pc:docMk/>
            <pc:sldMk cId="3937457385" sldId="332"/>
            <ac:spMk id="38" creationId="{2279BD02-4AB9-50B8-F79A-7F41D682EBEF}"/>
          </ac:spMkLst>
        </pc:spChg>
        <pc:spChg chg="add mod">
          <ac:chgData name="Veniero Facchetti" userId="f2c6c99af91c4974" providerId="LiveId" clId="{F9CD2FDA-8B17-4783-8A7C-5D57B6AFEF2E}" dt="2024-05-10T14:29:10.904" v="201"/>
          <ac:spMkLst>
            <pc:docMk/>
            <pc:sldMk cId="3937457385" sldId="332"/>
            <ac:spMk id="39" creationId="{7887BBCD-8265-81A3-87C3-3CFF1F4579F4}"/>
          </ac:spMkLst>
        </pc:spChg>
        <pc:spChg chg="add mod">
          <ac:chgData name="Veniero Facchetti" userId="f2c6c99af91c4974" providerId="LiveId" clId="{F9CD2FDA-8B17-4783-8A7C-5D57B6AFEF2E}" dt="2024-05-10T14:29:10.904" v="201"/>
          <ac:spMkLst>
            <pc:docMk/>
            <pc:sldMk cId="3937457385" sldId="332"/>
            <ac:spMk id="40" creationId="{EC6B318E-10E1-8304-9523-58B4545B4136}"/>
          </ac:spMkLst>
        </pc:spChg>
        <pc:spChg chg="add mod">
          <ac:chgData name="Veniero Facchetti" userId="f2c6c99af91c4974" providerId="LiveId" clId="{F9CD2FDA-8B17-4783-8A7C-5D57B6AFEF2E}" dt="2024-05-10T14:29:10.904" v="201"/>
          <ac:spMkLst>
            <pc:docMk/>
            <pc:sldMk cId="3937457385" sldId="332"/>
            <ac:spMk id="41" creationId="{10FFACED-A8E9-8E20-510A-8CC905FA7E20}"/>
          </ac:spMkLst>
        </pc:spChg>
        <pc:spChg chg="add mod">
          <ac:chgData name="Veniero Facchetti" userId="f2c6c99af91c4974" providerId="LiveId" clId="{F9CD2FDA-8B17-4783-8A7C-5D57B6AFEF2E}" dt="2024-05-10T14:29:10.904" v="201"/>
          <ac:spMkLst>
            <pc:docMk/>
            <pc:sldMk cId="3937457385" sldId="332"/>
            <ac:spMk id="42" creationId="{F5BCDB03-35A2-B7DF-5F1C-7980F7308618}"/>
          </ac:spMkLst>
        </pc:spChg>
        <pc:spChg chg="add mod">
          <ac:chgData name="Veniero Facchetti" userId="f2c6c99af91c4974" providerId="LiveId" clId="{F9CD2FDA-8B17-4783-8A7C-5D57B6AFEF2E}" dt="2024-05-10T14:29:10.904" v="201"/>
          <ac:spMkLst>
            <pc:docMk/>
            <pc:sldMk cId="3937457385" sldId="332"/>
            <ac:spMk id="44" creationId="{FB87F8CA-52AD-52B6-02A1-492777E80208}"/>
          </ac:spMkLst>
        </pc:spChg>
        <pc:spChg chg="mod">
          <ac:chgData name="Veniero Facchetti" userId="f2c6c99af91c4974" providerId="LiveId" clId="{F9CD2FDA-8B17-4783-8A7C-5D57B6AFEF2E}" dt="2024-05-10T14:29:10.904" v="201"/>
          <ac:spMkLst>
            <pc:docMk/>
            <pc:sldMk cId="3937457385" sldId="332"/>
            <ac:spMk id="47" creationId="{F94B7214-C0AA-FD22-82C6-87988738544A}"/>
          </ac:spMkLst>
        </pc:spChg>
        <pc:spChg chg="add mod">
          <ac:chgData name="Veniero Facchetti" userId="f2c6c99af91c4974" providerId="LiveId" clId="{F9CD2FDA-8B17-4783-8A7C-5D57B6AFEF2E}" dt="2024-05-10T14:29:10.904" v="201"/>
          <ac:spMkLst>
            <pc:docMk/>
            <pc:sldMk cId="3937457385" sldId="332"/>
            <ac:spMk id="48" creationId="{B999542F-732E-93B4-9586-79EAC4D2B3B9}"/>
          </ac:spMkLst>
        </pc:spChg>
        <pc:spChg chg="add mod">
          <ac:chgData name="Veniero Facchetti" userId="f2c6c99af91c4974" providerId="LiveId" clId="{F9CD2FDA-8B17-4783-8A7C-5D57B6AFEF2E}" dt="2024-05-10T14:29:10.904" v="201"/>
          <ac:spMkLst>
            <pc:docMk/>
            <pc:sldMk cId="3937457385" sldId="332"/>
            <ac:spMk id="49" creationId="{41553F78-E896-A35D-0029-CD5C098BF0CF}"/>
          </ac:spMkLst>
        </pc:spChg>
        <pc:spChg chg="add mod">
          <ac:chgData name="Veniero Facchetti" userId="f2c6c99af91c4974" providerId="LiveId" clId="{F9CD2FDA-8B17-4783-8A7C-5D57B6AFEF2E}" dt="2024-05-10T14:29:10.904" v="201"/>
          <ac:spMkLst>
            <pc:docMk/>
            <pc:sldMk cId="3937457385" sldId="332"/>
            <ac:spMk id="50" creationId="{8E2A3BEE-BB74-FC81-8FFB-4AF8866BAD29}"/>
          </ac:spMkLst>
        </pc:spChg>
        <pc:spChg chg="mod">
          <ac:chgData name="Veniero Facchetti" userId="f2c6c99af91c4974" providerId="LiveId" clId="{F9CD2FDA-8B17-4783-8A7C-5D57B6AFEF2E}" dt="2024-05-10T14:29:10.904" v="201"/>
          <ac:spMkLst>
            <pc:docMk/>
            <pc:sldMk cId="3937457385" sldId="332"/>
            <ac:spMk id="53" creationId="{B7E51D2C-DD5A-FAA3-9C39-A72214B02299}"/>
          </ac:spMkLst>
        </pc:spChg>
        <pc:spChg chg="mod">
          <ac:chgData name="Veniero Facchetti" userId="f2c6c99af91c4974" providerId="LiveId" clId="{F9CD2FDA-8B17-4783-8A7C-5D57B6AFEF2E}" dt="2024-05-10T14:29:10.904" v="201"/>
          <ac:spMkLst>
            <pc:docMk/>
            <pc:sldMk cId="3937457385" sldId="332"/>
            <ac:spMk id="56" creationId="{2B6F27C2-0291-5D7F-E53E-D5FFCC5CCEFB}"/>
          </ac:spMkLst>
        </pc:spChg>
        <pc:spChg chg="add mod">
          <ac:chgData name="Veniero Facchetti" userId="f2c6c99af91c4974" providerId="LiveId" clId="{F9CD2FDA-8B17-4783-8A7C-5D57B6AFEF2E}" dt="2024-05-10T14:29:10.904" v="201"/>
          <ac:spMkLst>
            <pc:docMk/>
            <pc:sldMk cId="3937457385" sldId="332"/>
            <ac:spMk id="57" creationId="{24E83A30-576F-F79D-1AFF-CAF79CE5ABA5}"/>
          </ac:spMkLst>
        </pc:spChg>
        <pc:spChg chg="add mod">
          <ac:chgData name="Veniero Facchetti" userId="f2c6c99af91c4974" providerId="LiveId" clId="{F9CD2FDA-8B17-4783-8A7C-5D57B6AFEF2E}" dt="2024-05-10T14:29:10.904" v="201"/>
          <ac:spMkLst>
            <pc:docMk/>
            <pc:sldMk cId="3937457385" sldId="332"/>
            <ac:spMk id="58" creationId="{3319B24E-8E04-EA9C-07F8-917B80725EF8}"/>
          </ac:spMkLst>
        </pc:spChg>
        <pc:spChg chg="add mod">
          <ac:chgData name="Veniero Facchetti" userId="f2c6c99af91c4974" providerId="LiveId" clId="{F9CD2FDA-8B17-4783-8A7C-5D57B6AFEF2E}" dt="2024-05-10T15:19:01.144" v="219" actId="1076"/>
          <ac:spMkLst>
            <pc:docMk/>
            <pc:sldMk cId="3937457385" sldId="332"/>
            <ac:spMk id="61" creationId="{5E4F376E-30A9-C176-179C-B212864A1990}"/>
          </ac:spMkLst>
        </pc:spChg>
        <pc:spChg chg="add mod">
          <ac:chgData name="Veniero Facchetti" userId="f2c6c99af91c4974" providerId="LiveId" clId="{F9CD2FDA-8B17-4783-8A7C-5D57B6AFEF2E}" dt="2024-05-10T15:19:01.144" v="219" actId="1076"/>
          <ac:spMkLst>
            <pc:docMk/>
            <pc:sldMk cId="3937457385" sldId="332"/>
            <ac:spMk id="62" creationId="{5BD80D94-F996-54E9-1094-C7133FE64FC9}"/>
          </ac:spMkLst>
        </pc:spChg>
        <pc:spChg chg="add mod">
          <ac:chgData name="Veniero Facchetti" userId="f2c6c99af91c4974" providerId="LiveId" clId="{F9CD2FDA-8B17-4783-8A7C-5D57B6AFEF2E}" dt="2024-05-10T15:19:01.144" v="219" actId="1076"/>
          <ac:spMkLst>
            <pc:docMk/>
            <pc:sldMk cId="3937457385" sldId="332"/>
            <ac:spMk id="63" creationId="{C78AF091-8E2F-1696-F529-7CBB59B7F62F}"/>
          </ac:spMkLst>
        </pc:spChg>
        <pc:spChg chg="add mod">
          <ac:chgData name="Veniero Facchetti" userId="f2c6c99af91c4974" providerId="LiveId" clId="{F9CD2FDA-8B17-4783-8A7C-5D57B6AFEF2E}" dt="2024-05-10T15:19:01.144" v="219" actId="1076"/>
          <ac:spMkLst>
            <pc:docMk/>
            <pc:sldMk cId="3937457385" sldId="332"/>
            <ac:spMk id="64" creationId="{5D44A0DD-966C-EC74-D63D-465E3F50BBDB}"/>
          </ac:spMkLst>
        </pc:spChg>
        <pc:spChg chg="add mod">
          <ac:chgData name="Veniero Facchetti" userId="f2c6c99af91c4974" providerId="LiveId" clId="{F9CD2FDA-8B17-4783-8A7C-5D57B6AFEF2E}" dt="2024-05-10T15:19:01.144" v="219" actId="1076"/>
          <ac:spMkLst>
            <pc:docMk/>
            <pc:sldMk cId="3937457385" sldId="332"/>
            <ac:spMk id="65" creationId="{534F691E-9ED0-2053-E32B-1460856080F5}"/>
          </ac:spMkLst>
        </pc:spChg>
        <pc:spChg chg="add mod">
          <ac:chgData name="Veniero Facchetti" userId="f2c6c99af91c4974" providerId="LiveId" clId="{F9CD2FDA-8B17-4783-8A7C-5D57B6AFEF2E}" dt="2024-05-10T15:19:01.144" v="219" actId="1076"/>
          <ac:spMkLst>
            <pc:docMk/>
            <pc:sldMk cId="3937457385" sldId="332"/>
            <ac:spMk id="66" creationId="{BC28B971-8EE4-A291-C561-B7DCD135A793}"/>
          </ac:spMkLst>
        </pc:spChg>
        <pc:spChg chg="add mod">
          <ac:chgData name="Veniero Facchetti" userId="f2c6c99af91c4974" providerId="LiveId" clId="{F9CD2FDA-8B17-4783-8A7C-5D57B6AFEF2E}" dt="2024-05-10T15:19:01.144" v="219" actId="1076"/>
          <ac:spMkLst>
            <pc:docMk/>
            <pc:sldMk cId="3937457385" sldId="332"/>
            <ac:spMk id="67" creationId="{24BCBED2-9E13-CB6C-8503-3A42B17BA5D4}"/>
          </ac:spMkLst>
        </pc:spChg>
        <pc:spChg chg="del">
          <ac:chgData name="Veniero Facchetti" userId="f2c6c99af91c4974" providerId="LiveId" clId="{F9CD2FDA-8B17-4783-8A7C-5D57B6AFEF2E}" dt="2024-05-10T14:29:02.176" v="200" actId="478"/>
          <ac:spMkLst>
            <pc:docMk/>
            <pc:sldMk cId="3937457385" sldId="332"/>
            <ac:spMk id="70" creationId="{6BD5F59E-CFB9-0386-FBD6-B8A3ECCDFE75}"/>
          </ac:spMkLst>
        </pc:spChg>
        <pc:spChg chg="add mod">
          <ac:chgData name="Veniero Facchetti" userId="f2c6c99af91c4974" providerId="LiveId" clId="{F9CD2FDA-8B17-4783-8A7C-5D57B6AFEF2E}" dt="2024-05-10T15:19:01.144" v="219" actId="1076"/>
          <ac:spMkLst>
            <pc:docMk/>
            <pc:sldMk cId="3937457385" sldId="332"/>
            <ac:spMk id="71" creationId="{35B18F6B-2710-DA7A-7910-FBE8798D1FF4}"/>
          </ac:spMkLst>
        </pc:spChg>
        <pc:spChg chg="del">
          <ac:chgData name="Veniero Facchetti" userId="f2c6c99af91c4974" providerId="LiveId" clId="{F9CD2FDA-8B17-4783-8A7C-5D57B6AFEF2E}" dt="2024-05-10T14:29:02.176" v="200" actId="478"/>
          <ac:spMkLst>
            <pc:docMk/>
            <pc:sldMk cId="3937457385" sldId="332"/>
            <ac:spMk id="72" creationId="{E3443ADD-F766-B33E-69C9-470DE9F0FAD5}"/>
          </ac:spMkLst>
        </pc:spChg>
        <pc:spChg chg="del">
          <ac:chgData name="Veniero Facchetti" userId="f2c6c99af91c4974" providerId="LiveId" clId="{F9CD2FDA-8B17-4783-8A7C-5D57B6AFEF2E}" dt="2024-05-10T14:29:02.176" v="200" actId="478"/>
          <ac:spMkLst>
            <pc:docMk/>
            <pc:sldMk cId="3937457385" sldId="332"/>
            <ac:spMk id="73" creationId="{B152F6D0-472D-776C-6E36-9F5087925F34}"/>
          </ac:spMkLst>
        </pc:spChg>
        <pc:spChg chg="del">
          <ac:chgData name="Veniero Facchetti" userId="f2c6c99af91c4974" providerId="LiveId" clId="{F9CD2FDA-8B17-4783-8A7C-5D57B6AFEF2E}" dt="2024-05-10T14:29:02.176" v="200" actId="478"/>
          <ac:spMkLst>
            <pc:docMk/>
            <pc:sldMk cId="3937457385" sldId="332"/>
            <ac:spMk id="74" creationId="{8E96CA85-294E-4600-31D0-00EFA4FC0184}"/>
          </ac:spMkLst>
        </pc:spChg>
        <pc:spChg chg="del">
          <ac:chgData name="Veniero Facchetti" userId="f2c6c99af91c4974" providerId="LiveId" clId="{F9CD2FDA-8B17-4783-8A7C-5D57B6AFEF2E}" dt="2024-05-10T14:29:02.176" v="200" actId="478"/>
          <ac:spMkLst>
            <pc:docMk/>
            <pc:sldMk cId="3937457385" sldId="332"/>
            <ac:spMk id="75" creationId="{8E006453-43A0-8319-1B75-9D63DB2663DA}"/>
          </ac:spMkLst>
        </pc:spChg>
        <pc:spChg chg="del">
          <ac:chgData name="Veniero Facchetti" userId="f2c6c99af91c4974" providerId="LiveId" clId="{F9CD2FDA-8B17-4783-8A7C-5D57B6AFEF2E}" dt="2024-05-10T14:29:02.176" v="200" actId="478"/>
          <ac:spMkLst>
            <pc:docMk/>
            <pc:sldMk cId="3937457385" sldId="332"/>
            <ac:spMk id="79" creationId="{661AA59E-1EB8-3469-0656-2338DE70B046}"/>
          </ac:spMkLst>
        </pc:spChg>
        <pc:spChg chg="del">
          <ac:chgData name="Veniero Facchetti" userId="f2c6c99af91c4974" providerId="LiveId" clId="{F9CD2FDA-8B17-4783-8A7C-5D57B6AFEF2E}" dt="2024-05-10T14:29:02.176" v="200" actId="478"/>
          <ac:spMkLst>
            <pc:docMk/>
            <pc:sldMk cId="3937457385" sldId="332"/>
            <ac:spMk id="80" creationId="{2704D5C4-D1C4-E7A9-276A-54E37F635613}"/>
          </ac:spMkLst>
        </pc:spChg>
        <pc:spChg chg="del">
          <ac:chgData name="Veniero Facchetti" userId="f2c6c99af91c4974" providerId="LiveId" clId="{F9CD2FDA-8B17-4783-8A7C-5D57B6AFEF2E}" dt="2024-05-10T14:29:02.176" v="200" actId="478"/>
          <ac:spMkLst>
            <pc:docMk/>
            <pc:sldMk cId="3937457385" sldId="332"/>
            <ac:spMk id="81" creationId="{D74A99B3-AA9A-D24D-7872-ACC556D0BFFE}"/>
          </ac:spMkLst>
        </pc:spChg>
        <pc:spChg chg="del">
          <ac:chgData name="Veniero Facchetti" userId="f2c6c99af91c4974" providerId="LiveId" clId="{F9CD2FDA-8B17-4783-8A7C-5D57B6AFEF2E}" dt="2024-05-10T14:29:02.176" v="200" actId="478"/>
          <ac:spMkLst>
            <pc:docMk/>
            <pc:sldMk cId="3937457385" sldId="332"/>
            <ac:spMk id="82" creationId="{F5DE0F83-A5B4-E410-9979-F72AA5A00487}"/>
          </ac:spMkLst>
        </pc:spChg>
        <pc:spChg chg="del">
          <ac:chgData name="Veniero Facchetti" userId="f2c6c99af91c4974" providerId="LiveId" clId="{F9CD2FDA-8B17-4783-8A7C-5D57B6AFEF2E}" dt="2024-05-10T14:29:02.176" v="200" actId="478"/>
          <ac:spMkLst>
            <pc:docMk/>
            <pc:sldMk cId="3937457385" sldId="332"/>
            <ac:spMk id="83" creationId="{C440A11D-53C7-FBB9-FB20-6391B2FB9496}"/>
          </ac:spMkLst>
        </pc:spChg>
        <pc:spChg chg="del">
          <ac:chgData name="Veniero Facchetti" userId="f2c6c99af91c4974" providerId="LiveId" clId="{F9CD2FDA-8B17-4783-8A7C-5D57B6AFEF2E}" dt="2024-05-10T14:29:02.176" v="200" actId="478"/>
          <ac:spMkLst>
            <pc:docMk/>
            <pc:sldMk cId="3937457385" sldId="332"/>
            <ac:spMk id="84" creationId="{303F8A35-28BA-8387-4732-D1A99FB66338}"/>
          </ac:spMkLst>
        </pc:spChg>
        <pc:spChg chg="del">
          <ac:chgData name="Veniero Facchetti" userId="f2c6c99af91c4974" providerId="LiveId" clId="{F9CD2FDA-8B17-4783-8A7C-5D57B6AFEF2E}" dt="2024-05-10T14:29:02.176" v="200" actId="478"/>
          <ac:spMkLst>
            <pc:docMk/>
            <pc:sldMk cId="3937457385" sldId="332"/>
            <ac:spMk id="85" creationId="{8AC13146-9E53-A1D1-6EF0-45470E930093}"/>
          </ac:spMkLst>
        </pc:spChg>
        <pc:spChg chg="del">
          <ac:chgData name="Veniero Facchetti" userId="f2c6c99af91c4974" providerId="LiveId" clId="{F9CD2FDA-8B17-4783-8A7C-5D57B6AFEF2E}" dt="2024-05-10T14:29:02.176" v="200" actId="478"/>
          <ac:spMkLst>
            <pc:docMk/>
            <pc:sldMk cId="3937457385" sldId="332"/>
            <ac:spMk id="86" creationId="{02FCE08D-A05C-7220-A47D-735CBC9468A7}"/>
          </ac:spMkLst>
        </pc:spChg>
        <pc:spChg chg="del">
          <ac:chgData name="Veniero Facchetti" userId="f2c6c99af91c4974" providerId="LiveId" clId="{F9CD2FDA-8B17-4783-8A7C-5D57B6AFEF2E}" dt="2024-05-10T14:29:02.176" v="200" actId="478"/>
          <ac:spMkLst>
            <pc:docMk/>
            <pc:sldMk cId="3937457385" sldId="332"/>
            <ac:spMk id="87" creationId="{DDC212D9-F6BB-9D71-499E-C6D9581C5A8D}"/>
          </ac:spMkLst>
        </pc:spChg>
        <pc:spChg chg="del">
          <ac:chgData name="Veniero Facchetti" userId="f2c6c99af91c4974" providerId="LiveId" clId="{F9CD2FDA-8B17-4783-8A7C-5D57B6AFEF2E}" dt="2024-05-10T14:29:02.176" v="200" actId="478"/>
          <ac:spMkLst>
            <pc:docMk/>
            <pc:sldMk cId="3937457385" sldId="332"/>
            <ac:spMk id="88" creationId="{2D3C7A65-1158-FB40-F6A8-CA12110CE26D}"/>
          </ac:spMkLst>
        </pc:spChg>
        <pc:spChg chg="del">
          <ac:chgData name="Veniero Facchetti" userId="f2c6c99af91c4974" providerId="LiveId" clId="{F9CD2FDA-8B17-4783-8A7C-5D57B6AFEF2E}" dt="2024-05-10T14:29:02.176" v="200" actId="478"/>
          <ac:spMkLst>
            <pc:docMk/>
            <pc:sldMk cId="3937457385" sldId="332"/>
            <ac:spMk id="89" creationId="{F9DEBC54-678C-9126-C44F-F28F7946E491}"/>
          </ac:spMkLst>
        </pc:spChg>
        <pc:spChg chg="del">
          <ac:chgData name="Veniero Facchetti" userId="f2c6c99af91c4974" providerId="LiveId" clId="{F9CD2FDA-8B17-4783-8A7C-5D57B6AFEF2E}" dt="2024-05-10T14:29:02.176" v="200" actId="478"/>
          <ac:spMkLst>
            <pc:docMk/>
            <pc:sldMk cId="3937457385" sldId="332"/>
            <ac:spMk id="90" creationId="{7A387F57-8094-A28A-CD4D-B1C1A64698A7}"/>
          </ac:spMkLst>
        </pc:spChg>
        <pc:spChg chg="del">
          <ac:chgData name="Veniero Facchetti" userId="f2c6c99af91c4974" providerId="LiveId" clId="{F9CD2FDA-8B17-4783-8A7C-5D57B6AFEF2E}" dt="2024-05-10T14:29:02.176" v="200" actId="478"/>
          <ac:spMkLst>
            <pc:docMk/>
            <pc:sldMk cId="3937457385" sldId="332"/>
            <ac:spMk id="91" creationId="{44F6D030-A7AB-F789-A55E-6455CAD121E6}"/>
          </ac:spMkLst>
        </pc:spChg>
        <pc:spChg chg="del">
          <ac:chgData name="Veniero Facchetti" userId="f2c6c99af91c4974" providerId="LiveId" clId="{F9CD2FDA-8B17-4783-8A7C-5D57B6AFEF2E}" dt="2024-05-10T14:29:02.176" v="200" actId="478"/>
          <ac:spMkLst>
            <pc:docMk/>
            <pc:sldMk cId="3937457385" sldId="332"/>
            <ac:spMk id="92" creationId="{2545D39C-67E1-99A0-4D49-69462FE47C74}"/>
          </ac:spMkLst>
        </pc:spChg>
        <pc:spChg chg="del">
          <ac:chgData name="Veniero Facchetti" userId="f2c6c99af91c4974" providerId="LiveId" clId="{F9CD2FDA-8B17-4783-8A7C-5D57B6AFEF2E}" dt="2024-05-10T14:29:02.176" v="200" actId="478"/>
          <ac:spMkLst>
            <pc:docMk/>
            <pc:sldMk cId="3937457385" sldId="332"/>
            <ac:spMk id="93" creationId="{16FCF179-7441-905F-AEB4-BE792AE54A1E}"/>
          </ac:spMkLst>
        </pc:spChg>
        <pc:spChg chg="del">
          <ac:chgData name="Veniero Facchetti" userId="f2c6c99af91c4974" providerId="LiveId" clId="{F9CD2FDA-8B17-4783-8A7C-5D57B6AFEF2E}" dt="2024-05-10T14:29:02.176" v="200" actId="478"/>
          <ac:spMkLst>
            <pc:docMk/>
            <pc:sldMk cId="3937457385" sldId="332"/>
            <ac:spMk id="94" creationId="{984543EB-7B07-D773-6BF2-B5C50B475A05}"/>
          </ac:spMkLst>
        </pc:spChg>
        <pc:spChg chg="del">
          <ac:chgData name="Veniero Facchetti" userId="f2c6c99af91c4974" providerId="LiveId" clId="{F9CD2FDA-8B17-4783-8A7C-5D57B6AFEF2E}" dt="2024-05-10T14:29:02.176" v="200" actId="478"/>
          <ac:spMkLst>
            <pc:docMk/>
            <pc:sldMk cId="3937457385" sldId="332"/>
            <ac:spMk id="95" creationId="{7244C238-E3DD-50EC-3354-5E50C429BFC6}"/>
          </ac:spMkLst>
        </pc:spChg>
        <pc:spChg chg="del">
          <ac:chgData name="Veniero Facchetti" userId="f2c6c99af91c4974" providerId="LiveId" clId="{F9CD2FDA-8B17-4783-8A7C-5D57B6AFEF2E}" dt="2024-05-10T14:29:02.176" v="200" actId="478"/>
          <ac:spMkLst>
            <pc:docMk/>
            <pc:sldMk cId="3937457385" sldId="332"/>
            <ac:spMk id="96" creationId="{87FC2AD6-F868-7C66-CEDC-3A471ADABD1B}"/>
          </ac:spMkLst>
        </pc:spChg>
        <pc:spChg chg="del">
          <ac:chgData name="Veniero Facchetti" userId="f2c6c99af91c4974" providerId="LiveId" clId="{F9CD2FDA-8B17-4783-8A7C-5D57B6AFEF2E}" dt="2024-05-10T14:29:02.176" v="200" actId="478"/>
          <ac:spMkLst>
            <pc:docMk/>
            <pc:sldMk cId="3937457385" sldId="332"/>
            <ac:spMk id="97" creationId="{FAC2D2BD-3B47-6031-69A0-4419E2B00B79}"/>
          </ac:spMkLst>
        </pc:spChg>
        <pc:spChg chg="add mod">
          <ac:chgData name="Veniero Facchetti" userId="f2c6c99af91c4974" providerId="LiveId" clId="{F9CD2FDA-8B17-4783-8A7C-5D57B6AFEF2E}" dt="2024-05-10T15:19:01.144" v="219" actId="1076"/>
          <ac:spMkLst>
            <pc:docMk/>
            <pc:sldMk cId="3937457385" sldId="332"/>
            <ac:spMk id="98" creationId="{D0F46EB8-4F35-1258-92FF-FB5BC06991F7}"/>
          </ac:spMkLst>
        </pc:spChg>
        <pc:spChg chg="del">
          <ac:chgData name="Veniero Facchetti" userId="f2c6c99af91c4974" providerId="LiveId" clId="{F9CD2FDA-8B17-4783-8A7C-5D57B6AFEF2E}" dt="2024-05-10T14:29:02.176" v="200" actId="478"/>
          <ac:spMkLst>
            <pc:docMk/>
            <pc:sldMk cId="3937457385" sldId="332"/>
            <ac:spMk id="99" creationId="{23605A6E-7454-74BD-DA74-3D725D16263F}"/>
          </ac:spMkLst>
        </pc:spChg>
        <pc:spChg chg="del">
          <ac:chgData name="Veniero Facchetti" userId="f2c6c99af91c4974" providerId="LiveId" clId="{F9CD2FDA-8B17-4783-8A7C-5D57B6AFEF2E}" dt="2024-05-10T14:29:02.176" v="200" actId="478"/>
          <ac:spMkLst>
            <pc:docMk/>
            <pc:sldMk cId="3937457385" sldId="332"/>
            <ac:spMk id="100" creationId="{A06D0554-4CC5-D5AB-554A-7275E448038D}"/>
          </ac:spMkLst>
        </pc:spChg>
        <pc:spChg chg="del">
          <ac:chgData name="Veniero Facchetti" userId="f2c6c99af91c4974" providerId="LiveId" clId="{F9CD2FDA-8B17-4783-8A7C-5D57B6AFEF2E}" dt="2024-05-10T14:29:02.176" v="200" actId="478"/>
          <ac:spMkLst>
            <pc:docMk/>
            <pc:sldMk cId="3937457385" sldId="332"/>
            <ac:spMk id="101" creationId="{69D7980A-E6A5-560C-86D7-74B12A38973B}"/>
          </ac:spMkLst>
        </pc:spChg>
        <pc:spChg chg="del">
          <ac:chgData name="Veniero Facchetti" userId="f2c6c99af91c4974" providerId="LiveId" clId="{F9CD2FDA-8B17-4783-8A7C-5D57B6AFEF2E}" dt="2024-05-10T14:29:02.176" v="200" actId="478"/>
          <ac:spMkLst>
            <pc:docMk/>
            <pc:sldMk cId="3937457385" sldId="332"/>
            <ac:spMk id="102" creationId="{464FDAB2-3653-DAFF-330D-455D898D86DB}"/>
          </ac:spMkLst>
        </pc:spChg>
        <pc:spChg chg="del">
          <ac:chgData name="Veniero Facchetti" userId="f2c6c99af91c4974" providerId="LiveId" clId="{F9CD2FDA-8B17-4783-8A7C-5D57B6AFEF2E}" dt="2024-05-10T14:29:02.176" v="200" actId="478"/>
          <ac:spMkLst>
            <pc:docMk/>
            <pc:sldMk cId="3937457385" sldId="332"/>
            <ac:spMk id="103" creationId="{BFE57FCC-4326-7BCA-75D2-C3EB69FF7734}"/>
          </ac:spMkLst>
        </pc:spChg>
        <pc:spChg chg="del">
          <ac:chgData name="Veniero Facchetti" userId="f2c6c99af91c4974" providerId="LiveId" clId="{F9CD2FDA-8B17-4783-8A7C-5D57B6AFEF2E}" dt="2024-05-10T14:29:02.176" v="200" actId="478"/>
          <ac:spMkLst>
            <pc:docMk/>
            <pc:sldMk cId="3937457385" sldId="332"/>
            <ac:spMk id="104" creationId="{2642624B-920B-1DDC-19DE-1128BA113A3A}"/>
          </ac:spMkLst>
        </pc:spChg>
        <pc:spChg chg="del">
          <ac:chgData name="Veniero Facchetti" userId="f2c6c99af91c4974" providerId="LiveId" clId="{F9CD2FDA-8B17-4783-8A7C-5D57B6AFEF2E}" dt="2024-05-10T14:29:02.176" v="200" actId="478"/>
          <ac:spMkLst>
            <pc:docMk/>
            <pc:sldMk cId="3937457385" sldId="332"/>
            <ac:spMk id="105" creationId="{EB1E1E04-EBBD-C5CB-58DD-8956FFEAE5FB}"/>
          </ac:spMkLst>
        </pc:spChg>
        <pc:spChg chg="del">
          <ac:chgData name="Veniero Facchetti" userId="f2c6c99af91c4974" providerId="LiveId" clId="{F9CD2FDA-8B17-4783-8A7C-5D57B6AFEF2E}" dt="2024-05-10T14:29:02.176" v="200" actId="478"/>
          <ac:spMkLst>
            <pc:docMk/>
            <pc:sldMk cId="3937457385" sldId="332"/>
            <ac:spMk id="106" creationId="{8E1B3036-9BB1-C529-9523-679256503BCB}"/>
          </ac:spMkLst>
        </pc:spChg>
        <pc:spChg chg="del">
          <ac:chgData name="Veniero Facchetti" userId="f2c6c99af91c4974" providerId="LiveId" clId="{F9CD2FDA-8B17-4783-8A7C-5D57B6AFEF2E}" dt="2024-05-10T14:29:02.176" v="200" actId="478"/>
          <ac:spMkLst>
            <pc:docMk/>
            <pc:sldMk cId="3937457385" sldId="332"/>
            <ac:spMk id="107" creationId="{FD69B96E-178A-8350-A2CF-706C350AAA5E}"/>
          </ac:spMkLst>
        </pc:spChg>
        <pc:spChg chg="del">
          <ac:chgData name="Veniero Facchetti" userId="f2c6c99af91c4974" providerId="LiveId" clId="{F9CD2FDA-8B17-4783-8A7C-5D57B6AFEF2E}" dt="2024-05-10T14:29:02.176" v="200" actId="478"/>
          <ac:spMkLst>
            <pc:docMk/>
            <pc:sldMk cId="3937457385" sldId="332"/>
            <ac:spMk id="108" creationId="{06EF152F-8242-0930-020E-3332E271B710}"/>
          </ac:spMkLst>
        </pc:spChg>
        <pc:spChg chg="del">
          <ac:chgData name="Veniero Facchetti" userId="f2c6c99af91c4974" providerId="LiveId" clId="{F9CD2FDA-8B17-4783-8A7C-5D57B6AFEF2E}" dt="2024-05-10T14:29:02.176" v="200" actId="478"/>
          <ac:spMkLst>
            <pc:docMk/>
            <pc:sldMk cId="3937457385" sldId="332"/>
            <ac:spMk id="109" creationId="{913F936E-E7EE-2C74-5AA4-C369F432B041}"/>
          </ac:spMkLst>
        </pc:spChg>
        <pc:spChg chg="add mod">
          <ac:chgData name="Veniero Facchetti" userId="f2c6c99af91c4974" providerId="LiveId" clId="{F9CD2FDA-8B17-4783-8A7C-5D57B6AFEF2E}" dt="2024-05-10T15:19:01.144" v="219" actId="1076"/>
          <ac:spMkLst>
            <pc:docMk/>
            <pc:sldMk cId="3937457385" sldId="332"/>
            <ac:spMk id="110" creationId="{4E761429-970F-1C61-A72D-AF6C42FEBB6C}"/>
          </ac:spMkLst>
        </pc:spChg>
        <pc:spChg chg="del">
          <ac:chgData name="Veniero Facchetti" userId="f2c6c99af91c4974" providerId="LiveId" clId="{F9CD2FDA-8B17-4783-8A7C-5D57B6AFEF2E}" dt="2024-05-10T14:29:02.176" v="200" actId="478"/>
          <ac:spMkLst>
            <pc:docMk/>
            <pc:sldMk cId="3937457385" sldId="332"/>
            <ac:spMk id="111" creationId="{539D5B72-E961-7774-ABE7-E638E4B4FC19}"/>
          </ac:spMkLst>
        </pc:spChg>
        <pc:spChg chg="del">
          <ac:chgData name="Veniero Facchetti" userId="f2c6c99af91c4974" providerId="LiveId" clId="{F9CD2FDA-8B17-4783-8A7C-5D57B6AFEF2E}" dt="2024-05-10T14:29:02.176" v="200" actId="478"/>
          <ac:spMkLst>
            <pc:docMk/>
            <pc:sldMk cId="3937457385" sldId="332"/>
            <ac:spMk id="112" creationId="{98220359-24CD-732B-7E7D-FF596F301B7F}"/>
          </ac:spMkLst>
        </pc:spChg>
        <pc:spChg chg="del">
          <ac:chgData name="Veniero Facchetti" userId="f2c6c99af91c4974" providerId="LiveId" clId="{F9CD2FDA-8B17-4783-8A7C-5D57B6AFEF2E}" dt="2024-05-10T14:29:02.176" v="200" actId="478"/>
          <ac:spMkLst>
            <pc:docMk/>
            <pc:sldMk cId="3937457385" sldId="332"/>
            <ac:spMk id="113" creationId="{FA10CB28-F143-A655-A633-E309DB54B51F}"/>
          </ac:spMkLst>
        </pc:spChg>
        <pc:spChg chg="del">
          <ac:chgData name="Veniero Facchetti" userId="f2c6c99af91c4974" providerId="LiveId" clId="{F9CD2FDA-8B17-4783-8A7C-5D57B6AFEF2E}" dt="2024-05-10T14:29:02.176" v="200" actId="478"/>
          <ac:spMkLst>
            <pc:docMk/>
            <pc:sldMk cId="3937457385" sldId="332"/>
            <ac:spMk id="114" creationId="{27097B21-BF0B-D4DE-CBE2-A3E227E9396F}"/>
          </ac:spMkLst>
        </pc:spChg>
        <pc:spChg chg="del">
          <ac:chgData name="Veniero Facchetti" userId="f2c6c99af91c4974" providerId="LiveId" clId="{F9CD2FDA-8B17-4783-8A7C-5D57B6AFEF2E}" dt="2024-05-10T14:29:02.176" v="200" actId="478"/>
          <ac:spMkLst>
            <pc:docMk/>
            <pc:sldMk cId="3937457385" sldId="332"/>
            <ac:spMk id="115" creationId="{2052C038-6232-7923-19D6-E1672DC30D2D}"/>
          </ac:spMkLst>
        </pc:spChg>
        <pc:spChg chg="del">
          <ac:chgData name="Veniero Facchetti" userId="f2c6c99af91c4974" providerId="LiveId" clId="{F9CD2FDA-8B17-4783-8A7C-5D57B6AFEF2E}" dt="2024-05-10T14:29:02.176" v="200" actId="478"/>
          <ac:spMkLst>
            <pc:docMk/>
            <pc:sldMk cId="3937457385" sldId="332"/>
            <ac:spMk id="116" creationId="{B7265067-1D71-829D-A7FF-D8A41E4B54BD}"/>
          </ac:spMkLst>
        </pc:spChg>
        <pc:spChg chg="del">
          <ac:chgData name="Veniero Facchetti" userId="f2c6c99af91c4974" providerId="LiveId" clId="{F9CD2FDA-8B17-4783-8A7C-5D57B6AFEF2E}" dt="2024-05-10T14:29:02.176" v="200" actId="478"/>
          <ac:spMkLst>
            <pc:docMk/>
            <pc:sldMk cId="3937457385" sldId="332"/>
            <ac:spMk id="117" creationId="{F52E36DC-B5A4-988F-484A-D3A385B62E7F}"/>
          </ac:spMkLst>
        </pc:spChg>
        <pc:spChg chg="del">
          <ac:chgData name="Veniero Facchetti" userId="f2c6c99af91c4974" providerId="LiveId" clId="{F9CD2FDA-8B17-4783-8A7C-5D57B6AFEF2E}" dt="2024-05-10T14:29:02.176" v="200" actId="478"/>
          <ac:spMkLst>
            <pc:docMk/>
            <pc:sldMk cId="3937457385" sldId="332"/>
            <ac:spMk id="118" creationId="{B8A57697-83B3-AF3D-5390-B4AC8BEE447B}"/>
          </ac:spMkLst>
        </pc:spChg>
        <pc:spChg chg="del">
          <ac:chgData name="Veniero Facchetti" userId="f2c6c99af91c4974" providerId="LiveId" clId="{F9CD2FDA-8B17-4783-8A7C-5D57B6AFEF2E}" dt="2024-05-10T14:29:02.176" v="200" actId="478"/>
          <ac:spMkLst>
            <pc:docMk/>
            <pc:sldMk cId="3937457385" sldId="332"/>
            <ac:spMk id="119" creationId="{BD676BDF-1FE3-F4B3-1592-59CA30257A60}"/>
          </ac:spMkLst>
        </pc:spChg>
        <pc:spChg chg="del">
          <ac:chgData name="Veniero Facchetti" userId="f2c6c99af91c4974" providerId="LiveId" clId="{F9CD2FDA-8B17-4783-8A7C-5D57B6AFEF2E}" dt="2024-05-10T14:29:02.176" v="200" actId="478"/>
          <ac:spMkLst>
            <pc:docMk/>
            <pc:sldMk cId="3937457385" sldId="332"/>
            <ac:spMk id="120" creationId="{585F91FC-57BF-27EC-FD03-AA7FB34B5F73}"/>
          </ac:spMkLst>
        </pc:spChg>
        <pc:spChg chg="del">
          <ac:chgData name="Veniero Facchetti" userId="f2c6c99af91c4974" providerId="LiveId" clId="{F9CD2FDA-8B17-4783-8A7C-5D57B6AFEF2E}" dt="2024-05-10T14:29:02.176" v="200" actId="478"/>
          <ac:spMkLst>
            <pc:docMk/>
            <pc:sldMk cId="3937457385" sldId="332"/>
            <ac:spMk id="121" creationId="{C7E22F8D-5072-DB78-1884-83DCC74E4146}"/>
          </ac:spMkLst>
        </pc:spChg>
        <pc:spChg chg="del">
          <ac:chgData name="Veniero Facchetti" userId="f2c6c99af91c4974" providerId="LiveId" clId="{F9CD2FDA-8B17-4783-8A7C-5D57B6AFEF2E}" dt="2024-05-10T14:29:02.176" v="200" actId="478"/>
          <ac:spMkLst>
            <pc:docMk/>
            <pc:sldMk cId="3937457385" sldId="332"/>
            <ac:spMk id="122" creationId="{D9E853CB-93EB-2CCD-C578-3F4E53B9892A}"/>
          </ac:spMkLst>
        </pc:spChg>
        <pc:spChg chg="del">
          <ac:chgData name="Veniero Facchetti" userId="f2c6c99af91c4974" providerId="LiveId" clId="{F9CD2FDA-8B17-4783-8A7C-5D57B6AFEF2E}" dt="2024-05-10T14:29:02.176" v="200" actId="478"/>
          <ac:spMkLst>
            <pc:docMk/>
            <pc:sldMk cId="3937457385" sldId="332"/>
            <ac:spMk id="123" creationId="{09133BCD-EB24-196E-D2A5-286C20B43B04}"/>
          </ac:spMkLst>
        </pc:spChg>
        <pc:spChg chg="del">
          <ac:chgData name="Veniero Facchetti" userId="f2c6c99af91c4974" providerId="LiveId" clId="{F9CD2FDA-8B17-4783-8A7C-5D57B6AFEF2E}" dt="2024-05-10T14:29:02.176" v="200" actId="478"/>
          <ac:spMkLst>
            <pc:docMk/>
            <pc:sldMk cId="3937457385" sldId="332"/>
            <ac:spMk id="124" creationId="{FF7CEED2-4271-327A-B384-C10C6E8B89CC}"/>
          </ac:spMkLst>
        </pc:spChg>
        <pc:spChg chg="del">
          <ac:chgData name="Veniero Facchetti" userId="f2c6c99af91c4974" providerId="LiveId" clId="{F9CD2FDA-8B17-4783-8A7C-5D57B6AFEF2E}" dt="2024-05-10T14:29:02.176" v="200" actId="478"/>
          <ac:spMkLst>
            <pc:docMk/>
            <pc:sldMk cId="3937457385" sldId="332"/>
            <ac:spMk id="125" creationId="{D6318B62-2F14-093D-AA21-2415127C730C}"/>
          </ac:spMkLst>
        </pc:spChg>
        <pc:spChg chg="del">
          <ac:chgData name="Veniero Facchetti" userId="f2c6c99af91c4974" providerId="LiveId" clId="{F9CD2FDA-8B17-4783-8A7C-5D57B6AFEF2E}" dt="2024-05-10T14:29:02.176" v="200" actId="478"/>
          <ac:spMkLst>
            <pc:docMk/>
            <pc:sldMk cId="3937457385" sldId="332"/>
            <ac:spMk id="126" creationId="{CA9C09C0-0998-4423-C2AA-A3F3B00DD98B}"/>
          </ac:spMkLst>
        </pc:spChg>
        <pc:spChg chg="del">
          <ac:chgData name="Veniero Facchetti" userId="f2c6c99af91c4974" providerId="LiveId" clId="{F9CD2FDA-8B17-4783-8A7C-5D57B6AFEF2E}" dt="2024-05-10T14:29:02.176" v="200" actId="478"/>
          <ac:spMkLst>
            <pc:docMk/>
            <pc:sldMk cId="3937457385" sldId="332"/>
            <ac:spMk id="127" creationId="{0A696FCC-3B3E-36FF-5DD8-A91F03BBFA8E}"/>
          </ac:spMkLst>
        </pc:spChg>
        <pc:spChg chg="del">
          <ac:chgData name="Veniero Facchetti" userId="f2c6c99af91c4974" providerId="LiveId" clId="{F9CD2FDA-8B17-4783-8A7C-5D57B6AFEF2E}" dt="2024-05-10T14:29:02.176" v="200" actId="478"/>
          <ac:spMkLst>
            <pc:docMk/>
            <pc:sldMk cId="3937457385" sldId="332"/>
            <ac:spMk id="128" creationId="{E64F2DE5-FC0B-C1FE-E440-B2F131730122}"/>
          </ac:spMkLst>
        </pc:spChg>
        <pc:spChg chg="del">
          <ac:chgData name="Veniero Facchetti" userId="f2c6c99af91c4974" providerId="LiveId" clId="{F9CD2FDA-8B17-4783-8A7C-5D57B6AFEF2E}" dt="2024-05-10T14:29:02.176" v="200" actId="478"/>
          <ac:spMkLst>
            <pc:docMk/>
            <pc:sldMk cId="3937457385" sldId="332"/>
            <ac:spMk id="129" creationId="{978D0458-50AE-4D3B-5B97-25E1BE4494CF}"/>
          </ac:spMkLst>
        </pc:spChg>
        <pc:spChg chg="del">
          <ac:chgData name="Veniero Facchetti" userId="f2c6c99af91c4974" providerId="LiveId" clId="{F9CD2FDA-8B17-4783-8A7C-5D57B6AFEF2E}" dt="2024-05-10T14:29:02.176" v="200" actId="478"/>
          <ac:spMkLst>
            <pc:docMk/>
            <pc:sldMk cId="3937457385" sldId="332"/>
            <ac:spMk id="130" creationId="{BE99ACBF-3467-59B2-FFC5-FAFE2090B8DD}"/>
          </ac:spMkLst>
        </pc:spChg>
        <pc:spChg chg="del">
          <ac:chgData name="Veniero Facchetti" userId="f2c6c99af91c4974" providerId="LiveId" clId="{F9CD2FDA-8B17-4783-8A7C-5D57B6AFEF2E}" dt="2024-05-10T14:29:02.176" v="200" actId="478"/>
          <ac:spMkLst>
            <pc:docMk/>
            <pc:sldMk cId="3937457385" sldId="332"/>
            <ac:spMk id="131" creationId="{6563F450-810D-B7A3-21DF-51E0D5D384AB}"/>
          </ac:spMkLst>
        </pc:spChg>
        <pc:spChg chg="del">
          <ac:chgData name="Veniero Facchetti" userId="f2c6c99af91c4974" providerId="LiveId" clId="{F9CD2FDA-8B17-4783-8A7C-5D57B6AFEF2E}" dt="2024-05-10T14:29:02.176" v="200" actId="478"/>
          <ac:spMkLst>
            <pc:docMk/>
            <pc:sldMk cId="3937457385" sldId="332"/>
            <ac:spMk id="132" creationId="{77590468-62C5-4AF2-75EC-CF732DB49A0F}"/>
          </ac:spMkLst>
        </pc:spChg>
        <pc:spChg chg="del">
          <ac:chgData name="Veniero Facchetti" userId="f2c6c99af91c4974" providerId="LiveId" clId="{F9CD2FDA-8B17-4783-8A7C-5D57B6AFEF2E}" dt="2024-05-10T14:29:02.176" v="200" actId="478"/>
          <ac:spMkLst>
            <pc:docMk/>
            <pc:sldMk cId="3937457385" sldId="332"/>
            <ac:spMk id="133" creationId="{374CD6A9-04A7-3CA0-9EF0-9B56E436D048}"/>
          </ac:spMkLst>
        </pc:spChg>
        <pc:spChg chg="del">
          <ac:chgData name="Veniero Facchetti" userId="f2c6c99af91c4974" providerId="LiveId" clId="{F9CD2FDA-8B17-4783-8A7C-5D57B6AFEF2E}" dt="2024-05-10T14:29:02.176" v="200" actId="478"/>
          <ac:spMkLst>
            <pc:docMk/>
            <pc:sldMk cId="3937457385" sldId="332"/>
            <ac:spMk id="134" creationId="{996EF8AD-BDB5-3A8E-8DC3-724C678F2267}"/>
          </ac:spMkLst>
        </pc:spChg>
        <pc:spChg chg="del">
          <ac:chgData name="Veniero Facchetti" userId="f2c6c99af91c4974" providerId="LiveId" clId="{F9CD2FDA-8B17-4783-8A7C-5D57B6AFEF2E}" dt="2024-05-10T14:29:02.176" v="200" actId="478"/>
          <ac:spMkLst>
            <pc:docMk/>
            <pc:sldMk cId="3937457385" sldId="332"/>
            <ac:spMk id="135" creationId="{88166F77-903A-8AC4-561D-D595E73DC7C1}"/>
          </ac:spMkLst>
        </pc:spChg>
        <pc:spChg chg="del">
          <ac:chgData name="Veniero Facchetti" userId="f2c6c99af91c4974" providerId="LiveId" clId="{F9CD2FDA-8B17-4783-8A7C-5D57B6AFEF2E}" dt="2024-05-10T14:29:02.176" v="200" actId="478"/>
          <ac:spMkLst>
            <pc:docMk/>
            <pc:sldMk cId="3937457385" sldId="332"/>
            <ac:spMk id="136" creationId="{FB83EE3A-1545-2339-E5D2-94AE20577DDC}"/>
          </ac:spMkLst>
        </pc:spChg>
        <pc:spChg chg="del">
          <ac:chgData name="Veniero Facchetti" userId="f2c6c99af91c4974" providerId="LiveId" clId="{F9CD2FDA-8B17-4783-8A7C-5D57B6AFEF2E}" dt="2024-05-10T14:29:02.176" v="200" actId="478"/>
          <ac:spMkLst>
            <pc:docMk/>
            <pc:sldMk cId="3937457385" sldId="332"/>
            <ac:spMk id="137" creationId="{78280F6D-A3F3-35D3-77AD-36F3450FE269}"/>
          </ac:spMkLst>
        </pc:spChg>
        <pc:spChg chg="del">
          <ac:chgData name="Veniero Facchetti" userId="f2c6c99af91c4974" providerId="LiveId" clId="{F9CD2FDA-8B17-4783-8A7C-5D57B6AFEF2E}" dt="2024-05-10T14:29:02.176" v="200" actId="478"/>
          <ac:spMkLst>
            <pc:docMk/>
            <pc:sldMk cId="3937457385" sldId="332"/>
            <ac:spMk id="138" creationId="{1DA25D33-B6C8-05D2-A81C-B8B04C1C44E1}"/>
          </ac:spMkLst>
        </pc:spChg>
        <pc:spChg chg="del">
          <ac:chgData name="Veniero Facchetti" userId="f2c6c99af91c4974" providerId="LiveId" clId="{F9CD2FDA-8B17-4783-8A7C-5D57B6AFEF2E}" dt="2024-05-10T14:29:02.176" v="200" actId="478"/>
          <ac:spMkLst>
            <pc:docMk/>
            <pc:sldMk cId="3937457385" sldId="332"/>
            <ac:spMk id="139" creationId="{9009F60F-4026-02DB-BDDB-D9650BD07124}"/>
          </ac:spMkLst>
        </pc:spChg>
        <pc:spChg chg="del">
          <ac:chgData name="Veniero Facchetti" userId="f2c6c99af91c4974" providerId="LiveId" clId="{F9CD2FDA-8B17-4783-8A7C-5D57B6AFEF2E}" dt="2024-05-10T14:29:02.176" v="200" actId="478"/>
          <ac:spMkLst>
            <pc:docMk/>
            <pc:sldMk cId="3937457385" sldId="332"/>
            <ac:spMk id="140" creationId="{FA3E797E-B27A-3DDB-9447-E39F1F6896BB}"/>
          </ac:spMkLst>
        </pc:spChg>
        <pc:spChg chg="del">
          <ac:chgData name="Veniero Facchetti" userId="f2c6c99af91c4974" providerId="LiveId" clId="{F9CD2FDA-8B17-4783-8A7C-5D57B6AFEF2E}" dt="2024-05-10T14:29:02.176" v="200" actId="478"/>
          <ac:spMkLst>
            <pc:docMk/>
            <pc:sldMk cId="3937457385" sldId="332"/>
            <ac:spMk id="141" creationId="{9EE3C44A-742E-F6D7-5ED4-8FD6A8F1DD56}"/>
          </ac:spMkLst>
        </pc:spChg>
        <pc:spChg chg="del">
          <ac:chgData name="Veniero Facchetti" userId="f2c6c99af91c4974" providerId="LiveId" clId="{F9CD2FDA-8B17-4783-8A7C-5D57B6AFEF2E}" dt="2024-05-10T14:29:02.176" v="200" actId="478"/>
          <ac:spMkLst>
            <pc:docMk/>
            <pc:sldMk cId="3937457385" sldId="332"/>
            <ac:spMk id="142" creationId="{F8A660DA-8E2B-6F4F-292F-00248DB28F3B}"/>
          </ac:spMkLst>
        </pc:spChg>
        <pc:spChg chg="del">
          <ac:chgData name="Veniero Facchetti" userId="f2c6c99af91c4974" providerId="LiveId" clId="{F9CD2FDA-8B17-4783-8A7C-5D57B6AFEF2E}" dt="2024-05-10T14:29:02.176" v="200" actId="478"/>
          <ac:spMkLst>
            <pc:docMk/>
            <pc:sldMk cId="3937457385" sldId="332"/>
            <ac:spMk id="143" creationId="{6688572B-9042-CA01-8558-A4BC4F6E90CA}"/>
          </ac:spMkLst>
        </pc:spChg>
        <pc:spChg chg="del">
          <ac:chgData name="Veniero Facchetti" userId="f2c6c99af91c4974" providerId="LiveId" clId="{F9CD2FDA-8B17-4783-8A7C-5D57B6AFEF2E}" dt="2024-05-10T14:29:02.176" v="200" actId="478"/>
          <ac:spMkLst>
            <pc:docMk/>
            <pc:sldMk cId="3937457385" sldId="332"/>
            <ac:spMk id="144" creationId="{ADAB3386-61AF-1FCC-BA4F-513218E8F08E}"/>
          </ac:spMkLst>
        </pc:spChg>
        <pc:spChg chg="add mod">
          <ac:chgData name="Veniero Facchetti" userId="f2c6c99af91c4974" providerId="LiveId" clId="{F9CD2FDA-8B17-4783-8A7C-5D57B6AFEF2E}" dt="2024-05-10T15:19:08.937" v="220" actId="1076"/>
          <ac:spMkLst>
            <pc:docMk/>
            <pc:sldMk cId="3937457385" sldId="332"/>
            <ac:spMk id="148" creationId="{DDC28C31-0BD4-E97F-65BA-7E6BC7229322}"/>
          </ac:spMkLst>
        </pc:spChg>
        <pc:spChg chg="add mod">
          <ac:chgData name="Veniero Facchetti" userId="f2c6c99af91c4974" providerId="LiveId" clId="{F9CD2FDA-8B17-4783-8A7C-5D57B6AFEF2E}" dt="2024-05-10T15:19:08.937" v="220" actId="1076"/>
          <ac:spMkLst>
            <pc:docMk/>
            <pc:sldMk cId="3937457385" sldId="332"/>
            <ac:spMk id="149" creationId="{FCB76876-F595-F032-E2F0-7143DF342E6C}"/>
          </ac:spMkLst>
        </pc:spChg>
        <pc:spChg chg="add mod">
          <ac:chgData name="Veniero Facchetti" userId="f2c6c99af91c4974" providerId="LiveId" clId="{F9CD2FDA-8B17-4783-8A7C-5D57B6AFEF2E}" dt="2024-05-10T15:19:08.937" v="220" actId="1076"/>
          <ac:spMkLst>
            <pc:docMk/>
            <pc:sldMk cId="3937457385" sldId="332"/>
            <ac:spMk id="150" creationId="{B58FC4E8-BEE5-6DAF-0007-EB44ABE0C59E}"/>
          </ac:spMkLst>
        </pc:spChg>
        <pc:spChg chg="add mod">
          <ac:chgData name="Veniero Facchetti" userId="f2c6c99af91c4974" providerId="LiveId" clId="{F9CD2FDA-8B17-4783-8A7C-5D57B6AFEF2E}" dt="2024-05-10T15:19:08.937" v="220" actId="1076"/>
          <ac:spMkLst>
            <pc:docMk/>
            <pc:sldMk cId="3937457385" sldId="332"/>
            <ac:spMk id="151" creationId="{57B95CA0-E2E4-9BFD-01F3-A1FD33F28FE2}"/>
          </ac:spMkLst>
        </pc:spChg>
        <pc:spChg chg="add mod">
          <ac:chgData name="Veniero Facchetti" userId="f2c6c99af91c4974" providerId="LiveId" clId="{F9CD2FDA-8B17-4783-8A7C-5D57B6AFEF2E}" dt="2024-05-10T15:19:21.417" v="224" actId="403"/>
          <ac:spMkLst>
            <pc:docMk/>
            <pc:sldMk cId="3937457385" sldId="332"/>
            <ac:spMk id="152" creationId="{3947C606-E24B-56DB-BD3F-6B0FB657507A}"/>
          </ac:spMkLst>
        </pc:spChg>
        <pc:spChg chg="add mod">
          <ac:chgData name="Veniero Facchetti" userId="f2c6c99af91c4974" providerId="LiveId" clId="{F9CD2FDA-8B17-4783-8A7C-5D57B6AFEF2E}" dt="2024-05-10T15:19:08.937" v="220" actId="1076"/>
          <ac:spMkLst>
            <pc:docMk/>
            <pc:sldMk cId="3937457385" sldId="332"/>
            <ac:spMk id="153" creationId="{82E08186-20C2-6762-6B97-B8D5A199D08C}"/>
          </ac:spMkLst>
        </pc:spChg>
        <pc:spChg chg="add mod">
          <ac:chgData name="Veniero Facchetti" userId="f2c6c99af91c4974" providerId="LiveId" clId="{F9CD2FDA-8B17-4783-8A7C-5D57B6AFEF2E}" dt="2024-05-10T15:19:08.937" v="220" actId="1076"/>
          <ac:spMkLst>
            <pc:docMk/>
            <pc:sldMk cId="3937457385" sldId="332"/>
            <ac:spMk id="154" creationId="{772A9958-1069-A78D-6659-C0CE8E33D5CE}"/>
          </ac:spMkLst>
        </pc:spChg>
        <pc:spChg chg="add mod">
          <ac:chgData name="Veniero Facchetti" userId="f2c6c99af91c4974" providerId="LiveId" clId="{F9CD2FDA-8B17-4783-8A7C-5D57B6AFEF2E}" dt="2024-05-10T15:19:08.937" v="220" actId="1076"/>
          <ac:spMkLst>
            <pc:docMk/>
            <pc:sldMk cId="3937457385" sldId="332"/>
            <ac:spMk id="155" creationId="{F85326A8-BD56-C9C5-E569-C3ED48AF4FC8}"/>
          </ac:spMkLst>
        </pc:spChg>
        <pc:spChg chg="add mod">
          <ac:chgData name="Veniero Facchetti" userId="f2c6c99af91c4974" providerId="LiveId" clId="{F9CD2FDA-8B17-4783-8A7C-5D57B6AFEF2E}" dt="2024-05-10T15:19:08.937" v="220" actId="1076"/>
          <ac:spMkLst>
            <pc:docMk/>
            <pc:sldMk cId="3937457385" sldId="332"/>
            <ac:spMk id="156" creationId="{7CFDE5FD-4F0A-5A8B-1021-AF11B4B959B3}"/>
          </ac:spMkLst>
        </pc:spChg>
        <pc:spChg chg="add mod">
          <ac:chgData name="Veniero Facchetti" userId="f2c6c99af91c4974" providerId="LiveId" clId="{F9CD2FDA-8B17-4783-8A7C-5D57B6AFEF2E}" dt="2024-05-10T15:19:08.937" v="220" actId="1076"/>
          <ac:spMkLst>
            <pc:docMk/>
            <pc:sldMk cId="3937457385" sldId="332"/>
            <ac:spMk id="157" creationId="{D3A0B281-5E3E-4121-9D78-6D0FE91C25ED}"/>
          </ac:spMkLst>
        </pc:spChg>
        <pc:spChg chg="add mod">
          <ac:chgData name="Veniero Facchetti" userId="f2c6c99af91c4974" providerId="LiveId" clId="{F9CD2FDA-8B17-4783-8A7C-5D57B6AFEF2E}" dt="2024-05-10T15:19:08.937" v="220" actId="1076"/>
          <ac:spMkLst>
            <pc:docMk/>
            <pc:sldMk cId="3937457385" sldId="332"/>
            <ac:spMk id="158" creationId="{C29B9354-BF61-3BA7-899E-F66A79C7485A}"/>
          </ac:spMkLst>
        </pc:spChg>
        <pc:spChg chg="add mod">
          <ac:chgData name="Veniero Facchetti" userId="f2c6c99af91c4974" providerId="LiveId" clId="{F9CD2FDA-8B17-4783-8A7C-5D57B6AFEF2E}" dt="2024-05-10T15:19:08.937" v="220" actId="1076"/>
          <ac:spMkLst>
            <pc:docMk/>
            <pc:sldMk cId="3937457385" sldId="332"/>
            <ac:spMk id="159" creationId="{66B92A75-C556-24F2-BAF8-C5696BCB32E9}"/>
          </ac:spMkLst>
        </pc:spChg>
        <pc:spChg chg="add mod">
          <ac:chgData name="Veniero Facchetti" userId="f2c6c99af91c4974" providerId="LiveId" clId="{F9CD2FDA-8B17-4783-8A7C-5D57B6AFEF2E}" dt="2024-05-10T15:19:08.937" v="220" actId="1076"/>
          <ac:spMkLst>
            <pc:docMk/>
            <pc:sldMk cId="3937457385" sldId="332"/>
            <ac:spMk id="160" creationId="{CF434C74-5AB0-D80F-78D8-A2F7825DBA51}"/>
          </ac:spMkLst>
        </pc:spChg>
        <pc:spChg chg="add mod">
          <ac:chgData name="Veniero Facchetti" userId="f2c6c99af91c4974" providerId="LiveId" clId="{F9CD2FDA-8B17-4783-8A7C-5D57B6AFEF2E}" dt="2024-05-10T15:19:08.937" v="220" actId="1076"/>
          <ac:spMkLst>
            <pc:docMk/>
            <pc:sldMk cId="3937457385" sldId="332"/>
            <ac:spMk id="161" creationId="{2B090E14-D109-66E5-BB1E-9EFCF971CA40}"/>
          </ac:spMkLst>
        </pc:spChg>
        <pc:spChg chg="add mod">
          <ac:chgData name="Veniero Facchetti" userId="f2c6c99af91c4974" providerId="LiveId" clId="{F9CD2FDA-8B17-4783-8A7C-5D57B6AFEF2E}" dt="2024-05-10T14:31:23.459" v="212" actId="1076"/>
          <ac:spMkLst>
            <pc:docMk/>
            <pc:sldMk cId="3937457385" sldId="332"/>
            <ac:spMk id="163" creationId="{2D1A0365-E64C-C556-95E2-AC0C976724BC}"/>
          </ac:spMkLst>
        </pc:spChg>
        <pc:spChg chg="mod">
          <ac:chgData name="Veniero Facchetti" userId="f2c6c99af91c4974" providerId="LiveId" clId="{F9CD2FDA-8B17-4783-8A7C-5D57B6AFEF2E}" dt="2024-05-10T15:18:50.223" v="217" actId="1076"/>
          <ac:spMkLst>
            <pc:docMk/>
            <pc:sldMk cId="3937457385" sldId="332"/>
            <ac:spMk id="166" creationId="{8E2BBC11-3550-9BA0-2BF7-A31F42240060}"/>
          </ac:spMkLst>
        </pc:spChg>
        <pc:spChg chg="add mod">
          <ac:chgData name="Veniero Facchetti" userId="f2c6c99af91c4974" providerId="LiveId" clId="{F9CD2FDA-8B17-4783-8A7C-5D57B6AFEF2E}" dt="2024-05-10T15:19:08.937" v="220" actId="1076"/>
          <ac:spMkLst>
            <pc:docMk/>
            <pc:sldMk cId="3937457385" sldId="332"/>
            <ac:spMk id="167" creationId="{7CB1B898-21E9-1C22-9CD1-7DA41CBAE65E}"/>
          </ac:spMkLst>
        </pc:spChg>
        <pc:spChg chg="add mod">
          <ac:chgData name="Veniero Facchetti" userId="f2c6c99af91c4974" providerId="LiveId" clId="{F9CD2FDA-8B17-4783-8A7C-5D57B6AFEF2E}" dt="2024-05-10T15:19:08.937" v="220" actId="1076"/>
          <ac:spMkLst>
            <pc:docMk/>
            <pc:sldMk cId="3937457385" sldId="332"/>
            <ac:spMk id="168" creationId="{E9706AB9-D1D2-74BC-05CA-B0E454464386}"/>
          </ac:spMkLst>
        </pc:spChg>
        <pc:spChg chg="add mod">
          <ac:chgData name="Veniero Facchetti" userId="f2c6c99af91c4974" providerId="LiveId" clId="{F9CD2FDA-8B17-4783-8A7C-5D57B6AFEF2E}" dt="2024-05-10T15:19:08.937" v="220" actId="1076"/>
          <ac:spMkLst>
            <pc:docMk/>
            <pc:sldMk cId="3937457385" sldId="332"/>
            <ac:spMk id="169" creationId="{FE8A7633-E698-4705-6FD0-8763B336488A}"/>
          </ac:spMkLst>
        </pc:spChg>
        <pc:spChg chg="mod">
          <ac:chgData name="Veniero Facchetti" userId="f2c6c99af91c4974" providerId="LiveId" clId="{F9CD2FDA-8B17-4783-8A7C-5D57B6AFEF2E}" dt="2024-05-10T15:19:08.937" v="220" actId="1076"/>
          <ac:spMkLst>
            <pc:docMk/>
            <pc:sldMk cId="3937457385" sldId="332"/>
            <ac:spMk id="172" creationId="{603405F4-ECC6-656E-84D4-4D6B89F40260}"/>
          </ac:spMkLst>
        </pc:spChg>
        <pc:spChg chg="mod">
          <ac:chgData name="Veniero Facchetti" userId="f2c6c99af91c4974" providerId="LiveId" clId="{F9CD2FDA-8B17-4783-8A7C-5D57B6AFEF2E}" dt="2024-05-10T15:19:08.937" v="220" actId="1076"/>
          <ac:spMkLst>
            <pc:docMk/>
            <pc:sldMk cId="3937457385" sldId="332"/>
            <ac:spMk id="175" creationId="{2CD471FF-D5F4-5B22-7B05-15241A1AF3A8}"/>
          </ac:spMkLst>
        </pc:spChg>
        <pc:spChg chg="add mod">
          <ac:chgData name="Veniero Facchetti" userId="f2c6c99af91c4974" providerId="LiveId" clId="{F9CD2FDA-8B17-4783-8A7C-5D57B6AFEF2E}" dt="2024-05-10T15:19:08.937" v="220" actId="1076"/>
          <ac:spMkLst>
            <pc:docMk/>
            <pc:sldMk cId="3937457385" sldId="332"/>
            <ac:spMk id="176" creationId="{1628E467-F57B-F97D-087B-75C171AB01F1}"/>
          </ac:spMkLst>
        </pc:spChg>
        <pc:spChg chg="add mod">
          <ac:chgData name="Veniero Facchetti" userId="f2c6c99af91c4974" providerId="LiveId" clId="{F9CD2FDA-8B17-4783-8A7C-5D57B6AFEF2E}" dt="2024-05-10T14:29:28.410" v="207" actId="1076"/>
          <ac:spMkLst>
            <pc:docMk/>
            <pc:sldMk cId="3937457385" sldId="332"/>
            <ac:spMk id="177" creationId="{724E3D85-530E-84EA-F9AA-62C15A0E938C}"/>
          </ac:spMkLst>
        </pc:spChg>
        <pc:grpChg chg="del">
          <ac:chgData name="Veniero Facchetti" userId="f2c6c99af91c4974" providerId="LiveId" clId="{F9CD2FDA-8B17-4783-8A7C-5D57B6AFEF2E}" dt="2024-05-10T14:29:02.176" v="200" actId="478"/>
          <ac:grpSpMkLst>
            <pc:docMk/>
            <pc:sldMk cId="3937457385" sldId="332"/>
            <ac:grpSpMk id="3" creationId="{8E485E2D-5401-F92C-FB3C-9D80EF4AF37B}"/>
          </ac:grpSpMkLst>
        </pc:grpChg>
        <pc:grpChg chg="del">
          <ac:chgData name="Veniero Facchetti" userId="f2c6c99af91c4974" providerId="LiveId" clId="{F9CD2FDA-8B17-4783-8A7C-5D57B6AFEF2E}" dt="2024-05-10T14:29:02.176" v="200" actId="478"/>
          <ac:grpSpMkLst>
            <pc:docMk/>
            <pc:sldMk cId="3937457385" sldId="332"/>
            <ac:grpSpMk id="7" creationId="{1265CEC0-9A17-126C-D247-E7F0776D408C}"/>
          </ac:grpSpMkLst>
        </pc:grpChg>
        <pc:grpChg chg="add mod">
          <ac:chgData name="Veniero Facchetti" userId="f2c6c99af91c4974" providerId="LiveId" clId="{F9CD2FDA-8B17-4783-8A7C-5D57B6AFEF2E}" dt="2024-05-10T14:29:10.904" v="201"/>
          <ac:grpSpMkLst>
            <pc:docMk/>
            <pc:sldMk cId="3937457385" sldId="332"/>
            <ac:grpSpMk id="45" creationId="{B025DBCF-8CE9-343B-5265-B83937E9314B}"/>
          </ac:grpSpMkLst>
        </pc:grpChg>
        <pc:grpChg chg="add mod">
          <ac:chgData name="Veniero Facchetti" userId="f2c6c99af91c4974" providerId="LiveId" clId="{F9CD2FDA-8B17-4783-8A7C-5D57B6AFEF2E}" dt="2024-05-10T14:29:10.904" v="201"/>
          <ac:grpSpMkLst>
            <pc:docMk/>
            <pc:sldMk cId="3937457385" sldId="332"/>
            <ac:grpSpMk id="51" creationId="{474BE782-C12F-773E-E9BD-2F220C73BEB5}"/>
          </ac:grpSpMkLst>
        </pc:grpChg>
        <pc:grpChg chg="add mod">
          <ac:chgData name="Veniero Facchetti" userId="f2c6c99af91c4974" providerId="LiveId" clId="{F9CD2FDA-8B17-4783-8A7C-5D57B6AFEF2E}" dt="2024-05-10T14:29:10.904" v="201"/>
          <ac:grpSpMkLst>
            <pc:docMk/>
            <pc:sldMk cId="3937457385" sldId="332"/>
            <ac:grpSpMk id="54" creationId="{2EDA01A9-9287-5F5D-7F40-B59BD21B3094}"/>
          </ac:grpSpMkLst>
        </pc:grpChg>
        <pc:grpChg chg="add mod">
          <ac:chgData name="Veniero Facchetti" userId="f2c6c99af91c4974" providerId="LiveId" clId="{F9CD2FDA-8B17-4783-8A7C-5D57B6AFEF2E}" dt="2024-05-10T15:18:53.584" v="218" actId="1076"/>
          <ac:grpSpMkLst>
            <pc:docMk/>
            <pc:sldMk cId="3937457385" sldId="332"/>
            <ac:grpSpMk id="164" creationId="{686ECF3E-1943-147C-CEA6-B0428CECBC2D}"/>
          </ac:grpSpMkLst>
        </pc:grpChg>
        <pc:grpChg chg="add mod">
          <ac:chgData name="Veniero Facchetti" userId="f2c6c99af91c4974" providerId="LiveId" clId="{F9CD2FDA-8B17-4783-8A7C-5D57B6AFEF2E}" dt="2024-05-10T15:19:08.937" v="220" actId="1076"/>
          <ac:grpSpMkLst>
            <pc:docMk/>
            <pc:sldMk cId="3937457385" sldId="332"/>
            <ac:grpSpMk id="170" creationId="{42B5FE44-854E-C225-B10C-63A831676E24}"/>
          </ac:grpSpMkLst>
        </pc:grpChg>
        <pc:grpChg chg="add mod">
          <ac:chgData name="Veniero Facchetti" userId="f2c6c99af91c4974" providerId="LiveId" clId="{F9CD2FDA-8B17-4783-8A7C-5D57B6AFEF2E}" dt="2024-05-10T15:19:08.937" v="220" actId="1076"/>
          <ac:grpSpMkLst>
            <pc:docMk/>
            <pc:sldMk cId="3937457385" sldId="332"/>
            <ac:grpSpMk id="173" creationId="{73693298-8916-CEB5-7DBB-33EEBA8666CD}"/>
          </ac:grpSpMkLst>
        </pc:grpChg>
        <pc:graphicFrameChg chg="add mod">
          <ac:chgData name="Veniero Facchetti" userId="f2c6c99af91c4974" providerId="LiveId" clId="{F9CD2FDA-8B17-4783-8A7C-5D57B6AFEF2E}" dt="2024-05-10T14:29:10.904" v="201"/>
          <ac:graphicFrameMkLst>
            <pc:docMk/>
            <pc:sldMk cId="3937457385" sldId="332"/>
            <ac:graphicFrameMk id="15" creationId="{BCC83020-808F-1B32-EBB8-3A2CAA283B29}"/>
          </ac:graphicFrameMkLst>
        </pc:graphicFrameChg>
        <pc:graphicFrameChg chg="add mod">
          <ac:chgData name="Veniero Facchetti" userId="f2c6c99af91c4974" providerId="LiveId" clId="{F9CD2FDA-8B17-4783-8A7C-5D57B6AFEF2E}" dt="2024-05-10T14:29:10.904" v="201"/>
          <ac:graphicFrameMkLst>
            <pc:docMk/>
            <pc:sldMk cId="3937457385" sldId="332"/>
            <ac:graphicFrameMk id="26" creationId="{0E08A7F2-03BC-1FCB-9A94-2AEBA2CBFFD5}"/>
          </ac:graphicFrameMkLst>
        </pc:graphicFrameChg>
        <pc:graphicFrameChg chg="add mod">
          <ac:chgData name="Veniero Facchetti" userId="f2c6c99af91c4974" providerId="LiveId" clId="{F9CD2FDA-8B17-4783-8A7C-5D57B6AFEF2E}" dt="2024-05-10T15:19:01.144" v="219" actId="1076"/>
          <ac:graphicFrameMkLst>
            <pc:docMk/>
            <pc:sldMk cId="3937457385" sldId="332"/>
            <ac:graphicFrameMk id="60" creationId="{2C54CC89-6A85-5108-31B3-75D3DA66FA81}"/>
          </ac:graphicFrameMkLst>
        </pc:graphicFrameChg>
        <pc:graphicFrameChg chg="del">
          <ac:chgData name="Veniero Facchetti" userId="f2c6c99af91c4974" providerId="LiveId" clId="{F9CD2FDA-8B17-4783-8A7C-5D57B6AFEF2E}" dt="2024-05-10T14:29:02.176" v="200" actId="478"/>
          <ac:graphicFrameMkLst>
            <pc:docMk/>
            <pc:sldMk cId="3937457385" sldId="332"/>
            <ac:graphicFrameMk id="69" creationId="{772F3C1E-084F-DDD0-5098-145BE51EB3D7}"/>
          </ac:graphicFrameMkLst>
        </pc:graphicFrameChg>
        <pc:graphicFrameChg chg="add mod">
          <ac:chgData name="Veniero Facchetti" userId="f2c6c99af91c4974" providerId="LiveId" clId="{F9CD2FDA-8B17-4783-8A7C-5D57B6AFEF2E}" dt="2024-05-10T15:19:08.937" v="220" actId="1076"/>
          <ac:graphicFrameMkLst>
            <pc:docMk/>
            <pc:sldMk cId="3937457385" sldId="332"/>
            <ac:graphicFrameMk id="145" creationId="{DB1AB7B4-1FCC-E4C6-F7FF-6F0E0418C880}"/>
          </ac:graphicFrameMkLst>
        </pc:graphicFrameChg>
        <pc:cxnChg chg="del">
          <ac:chgData name="Veniero Facchetti" userId="f2c6c99af91c4974" providerId="LiveId" clId="{F9CD2FDA-8B17-4783-8A7C-5D57B6AFEF2E}" dt="2024-05-10T14:29:02.176" v="200" actId="478"/>
          <ac:cxnSpMkLst>
            <pc:docMk/>
            <pc:sldMk cId="3937457385" sldId="332"/>
            <ac:cxnSpMk id="2" creationId="{73A9B1D6-5F61-097E-B34D-C14DCFCDC613}"/>
          </ac:cxnSpMkLst>
        </pc:cxnChg>
        <pc:cxnChg chg="add mod">
          <ac:chgData name="Veniero Facchetti" userId="f2c6c99af91c4974" providerId="LiveId" clId="{F9CD2FDA-8B17-4783-8A7C-5D57B6AFEF2E}" dt="2024-05-10T14:29:10.904" v="201"/>
          <ac:cxnSpMkLst>
            <pc:docMk/>
            <pc:sldMk cId="3937457385" sldId="332"/>
            <ac:cxnSpMk id="14" creationId="{843E7F12-78D7-71A6-8E7F-D27DC55D85F2}"/>
          </ac:cxnSpMkLst>
        </pc:cxnChg>
        <pc:cxnChg chg="add mod">
          <ac:chgData name="Veniero Facchetti" userId="f2c6c99af91c4974" providerId="LiveId" clId="{F9CD2FDA-8B17-4783-8A7C-5D57B6AFEF2E}" dt="2024-05-10T14:29:10.904" v="201"/>
          <ac:cxnSpMkLst>
            <pc:docMk/>
            <pc:sldMk cId="3937457385" sldId="332"/>
            <ac:cxnSpMk id="27" creationId="{E3F8D0C3-30E0-5C98-23D9-23D36E47BD83}"/>
          </ac:cxnSpMkLst>
        </pc:cxnChg>
        <pc:cxnChg chg="add mod">
          <ac:chgData name="Veniero Facchetti" userId="f2c6c99af91c4974" providerId="LiveId" clId="{F9CD2FDA-8B17-4783-8A7C-5D57B6AFEF2E}" dt="2024-05-10T14:29:10.904" v="201"/>
          <ac:cxnSpMkLst>
            <pc:docMk/>
            <pc:sldMk cId="3937457385" sldId="332"/>
            <ac:cxnSpMk id="28" creationId="{E7D9700C-14EE-6DF3-A33D-8E7246B38FF6}"/>
          </ac:cxnSpMkLst>
        </pc:cxnChg>
        <pc:cxnChg chg="add mod">
          <ac:chgData name="Veniero Facchetti" userId="f2c6c99af91c4974" providerId="LiveId" clId="{F9CD2FDA-8B17-4783-8A7C-5D57B6AFEF2E}" dt="2024-05-10T14:29:10.904" v="201"/>
          <ac:cxnSpMkLst>
            <pc:docMk/>
            <pc:sldMk cId="3937457385" sldId="332"/>
            <ac:cxnSpMk id="43" creationId="{AAD38C6B-F7E4-882A-274A-2022FAD88081}"/>
          </ac:cxnSpMkLst>
        </pc:cxnChg>
        <pc:cxnChg chg="mod">
          <ac:chgData name="Veniero Facchetti" userId="f2c6c99af91c4974" providerId="LiveId" clId="{F9CD2FDA-8B17-4783-8A7C-5D57B6AFEF2E}" dt="2024-05-10T14:29:10.904" v="201"/>
          <ac:cxnSpMkLst>
            <pc:docMk/>
            <pc:sldMk cId="3937457385" sldId="332"/>
            <ac:cxnSpMk id="46" creationId="{C3D04ED5-0AD9-C7E5-E5DD-14F8C5F49A53}"/>
          </ac:cxnSpMkLst>
        </pc:cxnChg>
        <pc:cxnChg chg="mod">
          <ac:chgData name="Veniero Facchetti" userId="f2c6c99af91c4974" providerId="LiveId" clId="{F9CD2FDA-8B17-4783-8A7C-5D57B6AFEF2E}" dt="2024-05-10T14:29:10.904" v="201"/>
          <ac:cxnSpMkLst>
            <pc:docMk/>
            <pc:sldMk cId="3937457385" sldId="332"/>
            <ac:cxnSpMk id="52" creationId="{4A47C309-7B5A-554D-0F34-8EE79697D01B}"/>
          </ac:cxnSpMkLst>
        </pc:cxnChg>
        <pc:cxnChg chg="mod">
          <ac:chgData name="Veniero Facchetti" userId="f2c6c99af91c4974" providerId="LiveId" clId="{F9CD2FDA-8B17-4783-8A7C-5D57B6AFEF2E}" dt="2024-05-10T14:29:10.904" v="201"/>
          <ac:cxnSpMkLst>
            <pc:docMk/>
            <pc:sldMk cId="3937457385" sldId="332"/>
            <ac:cxnSpMk id="55" creationId="{D507637B-FFC6-CB7C-3004-980ED194C250}"/>
          </ac:cxnSpMkLst>
        </pc:cxnChg>
        <pc:cxnChg chg="add mod">
          <ac:chgData name="Veniero Facchetti" userId="f2c6c99af91c4974" providerId="LiveId" clId="{F9CD2FDA-8B17-4783-8A7C-5D57B6AFEF2E}" dt="2024-05-10T15:19:08.937" v="220" actId="1076"/>
          <ac:cxnSpMkLst>
            <pc:docMk/>
            <pc:sldMk cId="3937457385" sldId="332"/>
            <ac:cxnSpMk id="59" creationId="{B6EE7B30-C1AB-E965-97A3-2CCF199987D4}"/>
          </ac:cxnSpMkLst>
        </pc:cxnChg>
        <pc:cxnChg chg="del">
          <ac:chgData name="Veniero Facchetti" userId="f2c6c99af91c4974" providerId="LiveId" clId="{F9CD2FDA-8B17-4783-8A7C-5D57B6AFEF2E}" dt="2024-05-10T14:29:02.176" v="200" actId="478"/>
          <ac:cxnSpMkLst>
            <pc:docMk/>
            <pc:sldMk cId="3937457385" sldId="332"/>
            <ac:cxnSpMk id="76" creationId="{517532C9-DC99-0921-D2E4-7FAD2C89D737}"/>
          </ac:cxnSpMkLst>
        </pc:cxnChg>
        <pc:cxnChg chg="del">
          <ac:chgData name="Veniero Facchetti" userId="f2c6c99af91c4974" providerId="LiveId" clId="{F9CD2FDA-8B17-4783-8A7C-5D57B6AFEF2E}" dt="2024-05-10T14:29:02.176" v="200" actId="478"/>
          <ac:cxnSpMkLst>
            <pc:docMk/>
            <pc:sldMk cId="3937457385" sldId="332"/>
            <ac:cxnSpMk id="77" creationId="{3C996850-2E4E-82F4-F15C-9288A6B7EC6B}"/>
          </ac:cxnSpMkLst>
        </pc:cxnChg>
        <pc:cxnChg chg="del">
          <ac:chgData name="Veniero Facchetti" userId="f2c6c99af91c4974" providerId="LiveId" clId="{F9CD2FDA-8B17-4783-8A7C-5D57B6AFEF2E}" dt="2024-05-10T14:29:02.176" v="200" actId="478"/>
          <ac:cxnSpMkLst>
            <pc:docMk/>
            <pc:sldMk cId="3937457385" sldId="332"/>
            <ac:cxnSpMk id="78" creationId="{F47AD7C5-58F2-F0C2-4E09-D53C0C67C4F4}"/>
          </ac:cxnSpMkLst>
        </pc:cxnChg>
        <pc:cxnChg chg="add mod">
          <ac:chgData name="Veniero Facchetti" userId="f2c6c99af91c4974" providerId="LiveId" clId="{F9CD2FDA-8B17-4783-8A7C-5D57B6AFEF2E}" dt="2024-05-10T15:19:08.937" v="220" actId="1076"/>
          <ac:cxnSpMkLst>
            <pc:docMk/>
            <pc:sldMk cId="3937457385" sldId="332"/>
            <ac:cxnSpMk id="146" creationId="{40E94966-EC22-5CB9-955C-CE02A464485F}"/>
          </ac:cxnSpMkLst>
        </pc:cxnChg>
        <pc:cxnChg chg="add mod">
          <ac:chgData name="Veniero Facchetti" userId="f2c6c99af91c4974" providerId="LiveId" clId="{F9CD2FDA-8B17-4783-8A7C-5D57B6AFEF2E}" dt="2024-05-10T15:19:08.937" v="220" actId="1076"/>
          <ac:cxnSpMkLst>
            <pc:docMk/>
            <pc:sldMk cId="3937457385" sldId="332"/>
            <ac:cxnSpMk id="147" creationId="{BF0AA87F-4D1F-ADB7-D82F-31DC1825BF58}"/>
          </ac:cxnSpMkLst>
        </pc:cxnChg>
        <pc:cxnChg chg="add mod">
          <ac:chgData name="Veniero Facchetti" userId="f2c6c99af91c4974" providerId="LiveId" clId="{F9CD2FDA-8B17-4783-8A7C-5D57B6AFEF2E}" dt="2024-05-10T15:18:37.664" v="213" actId="1076"/>
          <ac:cxnSpMkLst>
            <pc:docMk/>
            <pc:sldMk cId="3937457385" sldId="332"/>
            <ac:cxnSpMk id="162" creationId="{12CE0E53-4C64-9435-B20E-8D0246370B09}"/>
          </ac:cxnSpMkLst>
        </pc:cxnChg>
        <pc:cxnChg chg="mod">
          <ac:chgData name="Veniero Facchetti" userId="f2c6c99af91c4974" providerId="LiveId" clId="{F9CD2FDA-8B17-4783-8A7C-5D57B6AFEF2E}" dt="2024-05-10T14:31:15.317" v="209" actId="404"/>
          <ac:cxnSpMkLst>
            <pc:docMk/>
            <pc:sldMk cId="3937457385" sldId="332"/>
            <ac:cxnSpMk id="165" creationId="{67CF54E7-893E-E765-A050-8823E33ECB6D}"/>
          </ac:cxnSpMkLst>
        </pc:cxnChg>
        <pc:cxnChg chg="mod">
          <ac:chgData name="Veniero Facchetti" userId="f2c6c99af91c4974" providerId="LiveId" clId="{F9CD2FDA-8B17-4783-8A7C-5D57B6AFEF2E}" dt="2024-05-10T15:19:08.937" v="220" actId="1076"/>
          <ac:cxnSpMkLst>
            <pc:docMk/>
            <pc:sldMk cId="3937457385" sldId="332"/>
            <ac:cxnSpMk id="171" creationId="{FDC2988D-7680-E80D-B362-E7C60A176856}"/>
          </ac:cxnSpMkLst>
        </pc:cxnChg>
        <pc:cxnChg chg="mod">
          <ac:chgData name="Veniero Facchetti" userId="f2c6c99af91c4974" providerId="LiveId" clId="{F9CD2FDA-8B17-4783-8A7C-5D57B6AFEF2E}" dt="2024-05-10T15:19:08.937" v="220" actId="1076"/>
          <ac:cxnSpMkLst>
            <pc:docMk/>
            <pc:sldMk cId="3937457385" sldId="332"/>
            <ac:cxnSpMk id="174" creationId="{8812911C-1B63-B852-033D-7AA5DE9D3830}"/>
          </ac:cxnSpMkLst>
        </pc:cxnChg>
      </pc:sldChg>
      <pc:sldChg chg="addSp delSp modSp add mod">
        <pc:chgData name="Veniero Facchetti" userId="f2c6c99af91c4974" providerId="LiveId" clId="{F9CD2FDA-8B17-4783-8A7C-5D57B6AFEF2E}" dt="2024-05-10T15:30:35.450" v="526" actId="1036"/>
        <pc:sldMkLst>
          <pc:docMk/>
          <pc:sldMk cId="3931378583" sldId="333"/>
        </pc:sldMkLst>
        <pc:spChg chg="add mod">
          <ac:chgData name="Veniero Facchetti" userId="f2c6c99af91c4974" providerId="LiveId" clId="{F9CD2FDA-8B17-4783-8A7C-5D57B6AFEF2E}" dt="2024-05-10T15:29:11.233" v="479" actId="1035"/>
          <ac:spMkLst>
            <pc:docMk/>
            <pc:sldMk cId="3931378583" sldId="333"/>
            <ac:spMk id="2" creationId="{2730E5BB-30D5-E269-473C-D45C166E1A27}"/>
          </ac:spMkLst>
        </pc:spChg>
        <pc:spChg chg="add mod">
          <ac:chgData name="Veniero Facchetti" userId="f2c6c99af91c4974" providerId="LiveId" clId="{F9CD2FDA-8B17-4783-8A7C-5D57B6AFEF2E}" dt="2024-05-10T15:29:11.233" v="479" actId="1035"/>
          <ac:spMkLst>
            <pc:docMk/>
            <pc:sldMk cId="3931378583" sldId="333"/>
            <ac:spMk id="4" creationId="{3C6644FB-BC30-8276-5857-52D02E14B24A}"/>
          </ac:spMkLst>
        </pc:spChg>
        <pc:spChg chg="add mod">
          <ac:chgData name="Veniero Facchetti" userId="f2c6c99af91c4974" providerId="LiveId" clId="{F9CD2FDA-8B17-4783-8A7C-5D57B6AFEF2E}" dt="2024-05-10T15:29:11.233" v="479" actId="1035"/>
          <ac:spMkLst>
            <pc:docMk/>
            <pc:sldMk cId="3931378583" sldId="333"/>
            <ac:spMk id="5" creationId="{3DD05443-734A-9CEE-D17C-208C6FB127D7}"/>
          </ac:spMkLst>
        </pc:spChg>
        <pc:spChg chg="mod">
          <ac:chgData name="Veniero Facchetti" userId="f2c6c99af91c4974" providerId="LiveId" clId="{F9CD2FDA-8B17-4783-8A7C-5D57B6AFEF2E}" dt="2024-05-10T15:26:26.603" v="234" actId="403"/>
          <ac:spMkLst>
            <pc:docMk/>
            <pc:sldMk cId="3931378583" sldId="333"/>
            <ac:spMk id="6" creationId="{C57A0B68-948F-CBED-97A5-A01371066D12}"/>
          </ac:spMkLst>
        </pc:spChg>
        <pc:spChg chg="add mod">
          <ac:chgData name="Veniero Facchetti" userId="f2c6c99af91c4974" providerId="LiveId" clId="{F9CD2FDA-8B17-4783-8A7C-5D57B6AFEF2E}" dt="2024-05-10T15:29:11.233" v="479" actId="1035"/>
          <ac:spMkLst>
            <pc:docMk/>
            <pc:sldMk cId="3931378583" sldId="333"/>
            <ac:spMk id="7" creationId="{48BDD9D7-B3ED-A89D-8028-9C4C9F4ED8F3}"/>
          </ac:spMkLst>
        </pc:spChg>
        <pc:spChg chg="add mod">
          <ac:chgData name="Veniero Facchetti" userId="f2c6c99af91c4974" providerId="LiveId" clId="{F9CD2FDA-8B17-4783-8A7C-5D57B6AFEF2E}" dt="2024-05-10T15:29:11.233" v="479" actId="1035"/>
          <ac:spMkLst>
            <pc:docMk/>
            <pc:sldMk cId="3931378583" sldId="333"/>
            <ac:spMk id="8" creationId="{BCB8DE11-53A5-8D27-829E-16A88D1F3D53}"/>
          </ac:spMkLst>
        </pc:spChg>
        <pc:spChg chg="add mod">
          <ac:chgData name="Veniero Facchetti" userId="f2c6c99af91c4974" providerId="LiveId" clId="{F9CD2FDA-8B17-4783-8A7C-5D57B6AFEF2E}" dt="2024-05-10T15:29:11.233" v="479" actId="1035"/>
          <ac:spMkLst>
            <pc:docMk/>
            <pc:sldMk cId="3931378583" sldId="333"/>
            <ac:spMk id="9" creationId="{E61A2FC6-AB01-B737-ADE0-BF77EA440B46}"/>
          </ac:spMkLst>
        </pc:spChg>
        <pc:spChg chg="add mod">
          <ac:chgData name="Veniero Facchetti" userId="f2c6c99af91c4974" providerId="LiveId" clId="{F9CD2FDA-8B17-4783-8A7C-5D57B6AFEF2E}" dt="2024-05-10T15:29:24.688" v="496" actId="1036"/>
          <ac:spMkLst>
            <pc:docMk/>
            <pc:sldMk cId="3931378583" sldId="333"/>
            <ac:spMk id="14" creationId="{23E24E26-89C5-47EB-1E19-ECDD43A09091}"/>
          </ac:spMkLst>
        </pc:spChg>
        <pc:spChg chg="add mod">
          <ac:chgData name="Veniero Facchetti" userId="f2c6c99af91c4974" providerId="LiveId" clId="{F9CD2FDA-8B17-4783-8A7C-5D57B6AFEF2E}" dt="2024-05-10T15:29:24.688" v="496" actId="1036"/>
          <ac:spMkLst>
            <pc:docMk/>
            <pc:sldMk cId="3931378583" sldId="333"/>
            <ac:spMk id="15" creationId="{ADA3111A-CB58-3303-560C-E7BCD81343A1}"/>
          </ac:spMkLst>
        </pc:spChg>
        <pc:spChg chg="add mod">
          <ac:chgData name="Veniero Facchetti" userId="f2c6c99af91c4974" providerId="LiveId" clId="{F9CD2FDA-8B17-4783-8A7C-5D57B6AFEF2E}" dt="2024-05-10T15:29:24.688" v="496" actId="1036"/>
          <ac:spMkLst>
            <pc:docMk/>
            <pc:sldMk cId="3931378583" sldId="333"/>
            <ac:spMk id="16" creationId="{107A5CC3-0657-942C-FD00-4054245FB610}"/>
          </ac:spMkLst>
        </pc:spChg>
        <pc:spChg chg="add mod">
          <ac:chgData name="Veniero Facchetti" userId="f2c6c99af91c4974" providerId="LiveId" clId="{F9CD2FDA-8B17-4783-8A7C-5D57B6AFEF2E}" dt="2024-05-10T15:29:24.688" v="496" actId="1036"/>
          <ac:spMkLst>
            <pc:docMk/>
            <pc:sldMk cId="3931378583" sldId="333"/>
            <ac:spMk id="17" creationId="{9F2B2030-D4A4-457F-A1B5-7FF8C7B67893}"/>
          </ac:spMkLst>
        </pc:spChg>
        <pc:spChg chg="add mod">
          <ac:chgData name="Veniero Facchetti" userId="f2c6c99af91c4974" providerId="LiveId" clId="{F9CD2FDA-8B17-4783-8A7C-5D57B6AFEF2E}" dt="2024-05-10T15:29:24.688" v="496" actId="1036"/>
          <ac:spMkLst>
            <pc:docMk/>
            <pc:sldMk cId="3931378583" sldId="333"/>
            <ac:spMk id="18" creationId="{35FCA979-FDB6-7EB9-C99F-A8452BBAEB18}"/>
          </ac:spMkLst>
        </pc:spChg>
        <pc:spChg chg="add mod">
          <ac:chgData name="Veniero Facchetti" userId="f2c6c99af91c4974" providerId="LiveId" clId="{F9CD2FDA-8B17-4783-8A7C-5D57B6AFEF2E}" dt="2024-05-10T15:29:24.688" v="496" actId="1036"/>
          <ac:spMkLst>
            <pc:docMk/>
            <pc:sldMk cId="3931378583" sldId="333"/>
            <ac:spMk id="19" creationId="{DC37F07C-A1E1-E3CA-1EDC-8B61790B86F7}"/>
          </ac:spMkLst>
        </pc:spChg>
        <pc:spChg chg="add mod">
          <ac:chgData name="Veniero Facchetti" userId="f2c6c99af91c4974" providerId="LiveId" clId="{F9CD2FDA-8B17-4783-8A7C-5D57B6AFEF2E}" dt="2024-05-10T15:28:13.478" v="385" actId="1035"/>
          <ac:spMkLst>
            <pc:docMk/>
            <pc:sldMk cId="3931378583" sldId="333"/>
            <ac:spMk id="20" creationId="{1217E862-E621-49D5-D5E8-2574DE48EEE8}"/>
          </ac:spMkLst>
        </pc:spChg>
        <pc:spChg chg="add mod">
          <ac:chgData name="Veniero Facchetti" userId="f2c6c99af91c4974" providerId="LiveId" clId="{F9CD2FDA-8B17-4783-8A7C-5D57B6AFEF2E}" dt="2024-05-10T15:30:24.538" v="514" actId="1035"/>
          <ac:spMkLst>
            <pc:docMk/>
            <pc:sldMk cId="3931378583" sldId="333"/>
            <ac:spMk id="21" creationId="{D195E5AF-A001-D7CE-AF62-A73F584EA8CF}"/>
          </ac:spMkLst>
        </pc:spChg>
        <pc:spChg chg="add mod">
          <ac:chgData name="Veniero Facchetti" userId="f2c6c99af91c4974" providerId="LiveId" clId="{F9CD2FDA-8B17-4783-8A7C-5D57B6AFEF2E}" dt="2024-05-10T15:30:35.450" v="526" actId="1036"/>
          <ac:spMkLst>
            <pc:docMk/>
            <pc:sldMk cId="3931378583" sldId="333"/>
            <ac:spMk id="22" creationId="{11C401C4-42DF-27DF-F257-865773C6FC18}"/>
          </ac:spMkLst>
        </pc:spChg>
        <pc:spChg chg="add mod">
          <ac:chgData name="Veniero Facchetti" userId="f2c6c99af91c4974" providerId="LiveId" clId="{F9CD2FDA-8B17-4783-8A7C-5D57B6AFEF2E}" dt="2024-05-10T15:30:30.845" v="516" actId="1036"/>
          <ac:spMkLst>
            <pc:docMk/>
            <pc:sldMk cId="3931378583" sldId="333"/>
            <ac:spMk id="23" creationId="{EDA13E00-6329-57B7-DA81-4C5C7A576C42}"/>
          </ac:spMkLst>
        </pc:spChg>
        <pc:spChg chg="add mod">
          <ac:chgData name="Veniero Facchetti" userId="f2c6c99af91c4974" providerId="LiveId" clId="{F9CD2FDA-8B17-4783-8A7C-5D57B6AFEF2E}" dt="2024-05-10T15:30:30.845" v="516" actId="1036"/>
          <ac:spMkLst>
            <pc:docMk/>
            <pc:sldMk cId="3931378583" sldId="333"/>
            <ac:spMk id="24" creationId="{13C0279C-2353-26FF-529E-154D00D75E2D}"/>
          </ac:spMkLst>
        </pc:spChg>
        <pc:spChg chg="add mod">
          <ac:chgData name="Veniero Facchetti" userId="f2c6c99af91c4974" providerId="LiveId" clId="{F9CD2FDA-8B17-4783-8A7C-5D57B6AFEF2E}" dt="2024-05-10T15:28:52.356" v="462" actId="1035"/>
          <ac:spMkLst>
            <pc:docMk/>
            <pc:sldMk cId="3931378583" sldId="333"/>
            <ac:spMk id="25" creationId="{C9FEC4B9-10BB-ADD7-9F12-6B840D8D4676}"/>
          </ac:spMkLst>
        </pc:spChg>
        <pc:spChg chg="add mod">
          <ac:chgData name="Veniero Facchetti" userId="f2c6c99af91c4974" providerId="LiveId" clId="{F9CD2FDA-8B17-4783-8A7C-5D57B6AFEF2E}" dt="2024-05-10T15:27:33.506" v="318" actId="1035"/>
          <ac:spMkLst>
            <pc:docMk/>
            <pc:sldMk cId="3931378583" sldId="333"/>
            <ac:spMk id="26" creationId="{94E73FC1-4A34-3786-D36D-6E2717CDB067}"/>
          </ac:spMkLst>
        </pc:spChg>
        <pc:spChg chg="add mod">
          <ac:chgData name="Veniero Facchetti" userId="f2c6c99af91c4974" providerId="LiveId" clId="{F9CD2FDA-8B17-4783-8A7C-5D57B6AFEF2E}" dt="2024-05-10T15:27:20.067" v="291" actId="1035"/>
          <ac:spMkLst>
            <pc:docMk/>
            <pc:sldMk cId="3931378583" sldId="333"/>
            <ac:spMk id="29" creationId="{FCCA0B17-08CA-410F-ECA4-0AFEFD8757D2}"/>
          </ac:spMkLst>
        </pc:spChg>
        <pc:spChg chg="add mod">
          <ac:chgData name="Veniero Facchetti" userId="f2c6c99af91c4974" providerId="LiveId" clId="{F9CD2FDA-8B17-4783-8A7C-5D57B6AFEF2E}" dt="2024-05-10T15:27:20.067" v="291" actId="1035"/>
          <ac:spMkLst>
            <pc:docMk/>
            <pc:sldMk cId="3931378583" sldId="333"/>
            <ac:spMk id="30" creationId="{52A6A825-2534-B972-6B4F-09DE48A5EAFB}"/>
          </ac:spMkLst>
        </pc:spChg>
        <pc:spChg chg="add mod">
          <ac:chgData name="Veniero Facchetti" userId="f2c6c99af91c4974" providerId="LiveId" clId="{F9CD2FDA-8B17-4783-8A7C-5D57B6AFEF2E}" dt="2024-05-10T15:26:44.155" v="237" actId="1076"/>
          <ac:spMkLst>
            <pc:docMk/>
            <pc:sldMk cId="3931378583" sldId="333"/>
            <ac:spMk id="31" creationId="{402ED970-E7A9-F454-E330-4B674CD98770}"/>
          </ac:spMkLst>
        </pc:spChg>
        <pc:spChg chg="add mod">
          <ac:chgData name="Veniero Facchetti" userId="f2c6c99af91c4974" providerId="LiveId" clId="{F9CD2FDA-8B17-4783-8A7C-5D57B6AFEF2E}" dt="2024-05-10T15:29:11.233" v="479" actId="1035"/>
          <ac:spMkLst>
            <pc:docMk/>
            <pc:sldMk cId="3931378583" sldId="333"/>
            <ac:spMk id="32" creationId="{FD33732B-72F9-47FD-1A87-8E20E3F0A681}"/>
          </ac:spMkLst>
        </pc:spChg>
        <pc:spChg chg="mod">
          <ac:chgData name="Veniero Facchetti" userId="f2c6c99af91c4974" providerId="LiveId" clId="{F9CD2FDA-8B17-4783-8A7C-5D57B6AFEF2E}" dt="2024-05-10T15:26:44.155" v="237" actId="1076"/>
          <ac:spMkLst>
            <pc:docMk/>
            <pc:sldMk cId="3931378583" sldId="333"/>
            <ac:spMk id="35" creationId="{4630ECC9-4D59-A327-3BEF-4F62AC94B1ED}"/>
          </ac:spMkLst>
        </pc:spChg>
        <pc:spChg chg="mod">
          <ac:chgData name="Veniero Facchetti" userId="f2c6c99af91c4974" providerId="LiveId" clId="{F9CD2FDA-8B17-4783-8A7C-5D57B6AFEF2E}" dt="2024-05-10T15:26:44.155" v="237" actId="1076"/>
          <ac:spMkLst>
            <pc:docMk/>
            <pc:sldMk cId="3931378583" sldId="333"/>
            <ac:spMk id="38" creationId="{E0D00F09-A624-6C18-F3BC-EC74B2CA1428}"/>
          </ac:spMkLst>
        </pc:spChg>
        <pc:spChg chg="mod">
          <ac:chgData name="Veniero Facchetti" userId="f2c6c99af91c4974" providerId="LiveId" clId="{F9CD2FDA-8B17-4783-8A7C-5D57B6AFEF2E}" dt="2024-05-10T15:26:44.155" v="237" actId="1076"/>
          <ac:spMkLst>
            <pc:docMk/>
            <pc:sldMk cId="3931378583" sldId="333"/>
            <ac:spMk id="41" creationId="{1CC21A67-AB5F-E37C-2CF8-A5A9EC74204D}"/>
          </ac:spMkLst>
        </pc:spChg>
        <pc:spChg chg="add mod">
          <ac:chgData name="Veniero Facchetti" userId="f2c6c99af91c4974" providerId="LiveId" clId="{F9CD2FDA-8B17-4783-8A7C-5D57B6AFEF2E}" dt="2024-05-10T15:26:44.155" v="237" actId="1076"/>
          <ac:spMkLst>
            <pc:docMk/>
            <pc:sldMk cId="3931378583" sldId="333"/>
            <ac:spMk id="43" creationId="{FDECB3C6-76AC-815D-6F76-C305FB459445}"/>
          </ac:spMkLst>
        </pc:spChg>
        <pc:spChg chg="add mod">
          <ac:chgData name="Veniero Facchetti" userId="f2c6c99af91c4974" providerId="LiveId" clId="{F9CD2FDA-8B17-4783-8A7C-5D57B6AFEF2E}" dt="2024-05-10T15:26:44.155" v="237" actId="1076"/>
          <ac:spMkLst>
            <pc:docMk/>
            <pc:sldMk cId="3931378583" sldId="333"/>
            <ac:spMk id="44" creationId="{BAB94BCC-37B6-6844-5C89-DA1695BF6AA1}"/>
          </ac:spMkLst>
        </pc:spChg>
        <pc:spChg chg="add mod">
          <ac:chgData name="Veniero Facchetti" userId="f2c6c99af91c4974" providerId="LiveId" clId="{F9CD2FDA-8B17-4783-8A7C-5D57B6AFEF2E}" dt="2024-05-10T15:26:44.155" v="237" actId="1076"/>
          <ac:spMkLst>
            <pc:docMk/>
            <pc:sldMk cId="3931378583" sldId="333"/>
            <ac:spMk id="45" creationId="{081D20E8-7E30-1509-4617-837100D21D98}"/>
          </ac:spMkLst>
        </pc:spChg>
        <pc:spChg chg="del">
          <ac:chgData name="Veniero Facchetti" userId="f2c6c99af91c4974" providerId="LiveId" clId="{F9CD2FDA-8B17-4783-8A7C-5D57B6AFEF2E}" dt="2024-05-10T15:26:33.894" v="235" actId="478"/>
          <ac:spMkLst>
            <pc:docMk/>
            <pc:sldMk cId="3931378583" sldId="333"/>
            <ac:spMk id="61" creationId="{5E4F376E-30A9-C176-179C-B212864A1990}"/>
          </ac:spMkLst>
        </pc:spChg>
        <pc:spChg chg="del">
          <ac:chgData name="Veniero Facchetti" userId="f2c6c99af91c4974" providerId="LiveId" clId="{F9CD2FDA-8B17-4783-8A7C-5D57B6AFEF2E}" dt="2024-05-10T15:26:33.894" v="235" actId="478"/>
          <ac:spMkLst>
            <pc:docMk/>
            <pc:sldMk cId="3931378583" sldId="333"/>
            <ac:spMk id="62" creationId="{5BD80D94-F996-54E9-1094-C7133FE64FC9}"/>
          </ac:spMkLst>
        </pc:spChg>
        <pc:spChg chg="del">
          <ac:chgData name="Veniero Facchetti" userId="f2c6c99af91c4974" providerId="LiveId" clId="{F9CD2FDA-8B17-4783-8A7C-5D57B6AFEF2E}" dt="2024-05-10T15:26:33.894" v="235" actId="478"/>
          <ac:spMkLst>
            <pc:docMk/>
            <pc:sldMk cId="3931378583" sldId="333"/>
            <ac:spMk id="63" creationId="{C78AF091-8E2F-1696-F529-7CBB59B7F62F}"/>
          </ac:spMkLst>
        </pc:spChg>
        <pc:spChg chg="del">
          <ac:chgData name="Veniero Facchetti" userId="f2c6c99af91c4974" providerId="LiveId" clId="{F9CD2FDA-8B17-4783-8A7C-5D57B6AFEF2E}" dt="2024-05-10T15:26:33.894" v="235" actId="478"/>
          <ac:spMkLst>
            <pc:docMk/>
            <pc:sldMk cId="3931378583" sldId="333"/>
            <ac:spMk id="64" creationId="{5D44A0DD-966C-EC74-D63D-465E3F50BBDB}"/>
          </ac:spMkLst>
        </pc:spChg>
        <pc:spChg chg="del">
          <ac:chgData name="Veniero Facchetti" userId="f2c6c99af91c4974" providerId="LiveId" clId="{F9CD2FDA-8B17-4783-8A7C-5D57B6AFEF2E}" dt="2024-05-10T15:26:33.894" v="235" actId="478"/>
          <ac:spMkLst>
            <pc:docMk/>
            <pc:sldMk cId="3931378583" sldId="333"/>
            <ac:spMk id="65" creationId="{534F691E-9ED0-2053-E32B-1460856080F5}"/>
          </ac:spMkLst>
        </pc:spChg>
        <pc:spChg chg="del">
          <ac:chgData name="Veniero Facchetti" userId="f2c6c99af91c4974" providerId="LiveId" clId="{F9CD2FDA-8B17-4783-8A7C-5D57B6AFEF2E}" dt="2024-05-10T15:26:33.894" v="235" actId="478"/>
          <ac:spMkLst>
            <pc:docMk/>
            <pc:sldMk cId="3931378583" sldId="333"/>
            <ac:spMk id="66" creationId="{BC28B971-8EE4-A291-C561-B7DCD135A793}"/>
          </ac:spMkLst>
        </pc:spChg>
        <pc:spChg chg="del">
          <ac:chgData name="Veniero Facchetti" userId="f2c6c99af91c4974" providerId="LiveId" clId="{F9CD2FDA-8B17-4783-8A7C-5D57B6AFEF2E}" dt="2024-05-10T15:26:33.894" v="235" actId="478"/>
          <ac:spMkLst>
            <pc:docMk/>
            <pc:sldMk cId="3931378583" sldId="333"/>
            <ac:spMk id="67" creationId="{24BCBED2-9E13-CB6C-8503-3A42B17BA5D4}"/>
          </ac:spMkLst>
        </pc:spChg>
        <pc:spChg chg="del">
          <ac:chgData name="Veniero Facchetti" userId="f2c6c99af91c4974" providerId="LiveId" clId="{F9CD2FDA-8B17-4783-8A7C-5D57B6AFEF2E}" dt="2024-05-10T15:26:33.894" v="235" actId="478"/>
          <ac:spMkLst>
            <pc:docMk/>
            <pc:sldMk cId="3931378583" sldId="333"/>
            <ac:spMk id="71" creationId="{35B18F6B-2710-DA7A-7910-FBE8798D1FF4}"/>
          </ac:spMkLst>
        </pc:spChg>
        <pc:spChg chg="del">
          <ac:chgData name="Veniero Facchetti" userId="f2c6c99af91c4974" providerId="LiveId" clId="{F9CD2FDA-8B17-4783-8A7C-5D57B6AFEF2E}" dt="2024-05-10T15:26:33.894" v="235" actId="478"/>
          <ac:spMkLst>
            <pc:docMk/>
            <pc:sldMk cId="3931378583" sldId="333"/>
            <ac:spMk id="98" creationId="{D0F46EB8-4F35-1258-92FF-FB5BC06991F7}"/>
          </ac:spMkLst>
        </pc:spChg>
        <pc:spChg chg="del">
          <ac:chgData name="Veniero Facchetti" userId="f2c6c99af91c4974" providerId="LiveId" clId="{F9CD2FDA-8B17-4783-8A7C-5D57B6AFEF2E}" dt="2024-05-10T15:26:33.894" v="235" actId="478"/>
          <ac:spMkLst>
            <pc:docMk/>
            <pc:sldMk cId="3931378583" sldId="333"/>
            <ac:spMk id="110" creationId="{4E761429-970F-1C61-A72D-AF6C42FEBB6C}"/>
          </ac:spMkLst>
        </pc:spChg>
        <pc:spChg chg="del">
          <ac:chgData name="Veniero Facchetti" userId="f2c6c99af91c4974" providerId="LiveId" clId="{F9CD2FDA-8B17-4783-8A7C-5D57B6AFEF2E}" dt="2024-05-10T15:26:33.894" v="235" actId="478"/>
          <ac:spMkLst>
            <pc:docMk/>
            <pc:sldMk cId="3931378583" sldId="333"/>
            <ac:spMk id="148" creationId="{DDC28C31-0BD4-E97F-65BA-7E6BC7229322}"/>
          </ac:spMkLst>
        </pc:spChg>
        <pc:spChg chg="del">
          <ac:chgData name="Veniero Facchetti" userId="f2c6c99af91c4974" providerId="LiveId" clId="{F9CD2FDA-8B17-4783-8A7C-5D57B6AFEF2E}" dt="2024-05-10T15:26:33.894" v="235" actId="478"/>
          <ac:spMkLst>
            <pc:docMk/>
            <pc:sldMk cId="3931378583" sldId="333"/>
            <ac:spMk id="149" creationId="{FCB76876-F595-F032-E2F0-7143DF342E6C}"/>
          </ac:spMkLst>
        </pc:spChg>
        <pc:spChg chg="del">
          <ac:chgData name="Veniero Facchetti" userId="f2c6c99af91c4974" providerId="LiveId" clId="{F9CD2FDA-8B17-4783-8A7C-5D57B6AFEF2E}" dt="2024-05-10T15:26:33.894" v="235" actId="478"/>
          <ac:spMkLst>
            <pc:docMk/>
            <pc:sldMk cId="3931378583" sldId="333"/>
            <ac:spMk id="150" creationId="{B58FC4E8-BEE5-6DAF-0007-EB44ABE0C59E}"/>
          </ac:spMkLst>
        </pc:spChg>
        <pc:spChg chg="del">
          <ac:chgData name="Veniero Facchetti" userId="f2c6c99af91c4974" providerId="LiveId" clId="{F9CD2FDA-8B17-4783-8A7C-5D57B6AFEF2E}" dt="2024-05-10T15:26:33.894" v="235" actId="478"/>
          <ac:spMkLst>
            <pc:docMk/>
            <pc:sldMk cId="3931378583" sldId="333"/>
            <ac:spMk id="151" creationId="{57B95CA0-E2E4-9BFD-01F3-A1FD33F28FE2}"/>
          </ac:spMkLst>
        </pc:spChg>
        <pc:spChg chg="del">
          <ac:chgData name="Veniero Facchetti" userId="f2c6c99af91c4974" providerId="LiveId" clId="{F9CD2FDA-8B17-4783-8A7C-5D57B6AFEF2E}" dt="2024-05-10T15:26:33.894" v="235" actId="478"/>
          <ac:spMkLst>
            <pc:docMk/>
            <pc:sldMk cId="3931378583" sldId="333"/>
            <ac:spMk id="152" creationId="{3947C606-E24B-56DB-BD3F-6B0FB657507A}"/>
          </ac:spMkLst>
        </pc:spChg>
        <pc:spChg chg="del">
          <ac:chgData name="Veniero Facchetti" userId="f2c6c99af91c4974" providerId="LiveId" clId="{F9CD2FDA-8B17-4783-8A7C-5D57B6AFEF2E}" dt="2024-05-10T15:26:33.894" v="235" actId="478"/>
          <ac:spMkLst>
            <pc:docMk/>
            <pc:sldMk cId="3931378583" sldId="333"/>
            <ac:spMk id="153" creationId="{82E08186-20C2-6762-6B97-B8D5A199D08C}"/>
          </ac:spMkLst>
        </pc:spChg>
        <pc:spChg chg="del">
          <ac:chgData name="Veniero Facchetti" userId="f2c6c99af91c4974" providerId="LiveId" clId="{F9CD2FDA-8B17-4783-8A7C-5D57B6AFEF2E}" dt="2024-05-10T15:26:33.894" v="235" actId="478"/>
          <ac:spMkLst>
            <pc:docMk/>
            <pc:sldMk cId="3931378583" sldId="333"/>
            <ac:spMk id="154" creationId="{772A9958-1069-A78D-6659-C0CE8E33D5CE}"/>
          </ac:spMkLst>
        </pc:spChg>
        <pc:spChg chg="del">
          <ac:chgData name="Veniero Facchetti" userId="f2c6c99af91c4974" providerId="LiveId" clId="{F9CD2FDA-8B17-4783-8A7C-5D57B6AFEF2E}" dt="2024-05-10T15:26:33.894" v="235" actId="478"/>
          <ac:spMkLst>
            <pc:docMk/>
            <pc:sldMk cId="3931378583" sldId="333"/>
            <ac:spMk id="155" creationId="{F85326A8-BD56-C9C5-E569-C3ED48AF4FC8}"/>
          </ac:spMkLst>
        </pc:spChg>
        <pc:spChg chg="del">
          <ac:chgData name="Veniero Facchetti" userId="f2c6c99af91c4974" providerId="LiveId" clId="{F9CD2FDA-8B17-4783-8A7C-5D57B6AFEF2E}" dt="2024-05-10T15:26:33.894" v="235" actId="478"/>
          <ac:spMkLst>
            <pc:docMk/>
            <pc:sldMk cId="3931378583" sldId="333"/>
            <ac:spMk id="156" creationId="{7CFDE5FD-4F0A-5A8B-1021-AF11B4B959B3}"/>
          </ac:spMkLst>
        </pc:spChg>
        <pc:spChg chg="del">
          <ac:chgData name="Veniero Facchetti" userId="f2c6c99af91c4974" providerId="LiveId" clId="{F9CD2FDA-8B17-4783-8A7C-5D57B6AFEF2E}" dt="2024-05-10T15:26:33.894" v="235" actId="478"/>
          <ac:spMkLst>
            <pc:docMk/>
            <pc:sldMk cId="3931378583" sldId="333"/>
            <ac:spMk id="157" creationId="{D3A0B281-5E3E-4121-9D78-6D0FE91C25ED}"/>
          </ac:spMkLst>
        </pc:spChg>
        <pc:spChg chg="del">
          <ac:chgData name="Veniero Facchetti" userId="f2c6c99af91c4974" providerId="LiveId" clId="{F9CD2FDA-8B17-4783-8A7C-5D57B6AFEF2E}" dt="2024-05-10T15:26:33.894" v="235" actId="478"/>
          <ac:spMkLst>
            <pc:docMk/>
            <pc:sldMk cId="3931378583" sldId="333"/>
            <ac:spMk id="158" creationId="{C29B9354-BF61-3BA7-899E-F66A79C7485A}"/>
          </ac:spMkLst>
        </pc:spChg>
        <pc:spChg chg="del">
          <ac:chgData name="Veniero Facchetti" userId="f2c6c99af91c4974" providerId="LiveId" clId="{F9CD2FDA-8B17-4783-8A7C-5D57B6AFEF2E}" dt="2024-05-10T15:26:33.894" v="235" actId="478"/>
          <ac:spMkLst>
            <pc:docMk/>
            <pc:sldMk cId="3931378583" sldId="333"/>
            <ac:spMk id="159" creationId="{66B92A75-C556-24F2-BAF8-C5696BCB32E9}"/>
          </ac:spMkLst>
        </pc:spChg>
        <pc:spChg chg="del">
          <ac:chgData name="Veniero Facchetti" userId="f2c6c99af91c4974" providerId="LiveId" clId="{F9CD2FDA-8B17-4783-8A7C-5D57B6AFEF2E}" dt="2024-05-10T15:26:33.894" v="235" actId="478"/>
          <ac:spMkLst>
            <pc:docMk/>
            <pc:sldMk cId="3931378583" sldId="333"/>
            <ac:spMk id="160" creationId="{CF434C74-5AB0-D80F-78D8-A2F7825DBA51}"/>
          </ac:spMkLst>
        </pc:spChg>
        <pc:spChg chg="del">
          <ac:chgData name="Veniero Facchetti" userId="f2c6c99af91c4974" providerId="LiveId" clId="{F9CD2FDA-8B17-4783-8A7C-5D57B6AFEF2E}" dt="2024-05-10T15:26:33.894" v="235" actId="478"/>
          <ac:spMkLst>
            <pc:docMk/>
            <pc:sldMk cId="3931378583" sldId="333"/>
            <ac:spMk id="161" creationId="{2B090E14-D109-66E5-BB1E-9EFCF971CA40}"/>
          </ac:spMkLst>
        </pc:spChg>
        <pc:spChg chg="del">
          <ac:chgData name="Veniero Facchetti" userId="f2c6c99af91c4974" providerId="LiveId" clId="{F9CD2FDA-8B17-4783-8A7C-5D57B6AFEF2E}" dt="2024-05-10T15:26:33.894" v="235" actId="478"/>
          <ac:spMkLst>
            <pc:docMk/>
            <pc:sldMk cId="3931378583" sldId="333"/>
            <ac:spMk id="163" creationId="{2D1A0365-E64C-C556-95E2-AC0C976724BC}"/>
          </ac:spMkLst>
        </pc:spChg>
        <pc:spChg chg="del">
          <ac:chgData name="Veniero Facchetti" userId="f2c6c99af91c4974" providerId="LiveId" clId="{F9CD2FDA-8B17-4783-8A7C-5D57B6AFEF2E}" dt="2024-05-10T15:26:33.894" v="235" actId="478"/>
          <ac:spMkLst>
            <pc:docMk/>
            <pc:sldMk cId="3931378583" sldId="333"/>
            <ac:spMk id="167" creationId="{7CB1B898-21E9-1C22-9CD1-7DA41CBAE65E}"/>
          </ac:spMkLst>
        </pc:spChg>
        <pc:spChg chg="del">
          <ac:chgData name="Veniero Facchetti" userId="f2c6c99af91c4974" providerId="LiveId" clId="{F9CD2FDA-8B17-4783-8A7C-5D57B6AFEF2E}" dt="2024-05-10T15:26:33.894" v="235" actId="478"/>
          <ac:spMkLst>
            <pc:docMk/>
            <pc:sldMk cId="3931378583" sldId="333"/>
            <ac:spMk id="168" creationId="{E9706AB9-D1D2-74BC-05CA-B0E454464386}"/>
          </ac:spMkLst>
        </pc:spChg>
        <pc:spChg chg="del">
          <ac:chgData name="Veniero Facchetti" userId="f2c6c99af91c4974" providerId="LiveId" clId="{F9CD2FDA-8B17-4783-8A7C-5D57B6AFEF2E}" dt="2024-05-10T15:26:33.894" v="235" actId="478"/>
          <ac:spMkLst>
            <pc:docMk/>
            <pc:sldMk cId="3931378583" sldId="333"/>
            <ac:spMk id="169" creationId="{FE8A7633-E698-4705-6FD0-8763B336488A}"/>
          </ac:spMkLst>
        </pc:spChg>
        <pc:spChg chg="del">
          <ac:chgData name="Veniero Facchetti" userId="f2c6c99af91c4974" providerId="LiveId" clId="{F9CD2FDA-8B17-4783-8A7C-5D57B6AFEF2E}" dt="2024-05-10T15:26:33.894" v="235" actId="478"/>
          <ac:spMkLst>
            <pc:docMk/>
            <pc:sldMk cId="3931378583" sldId="333"/>
            <ac:spMk id="176" creationId="{1628E467-F57B-F97D-087B-75C171AB01F1}"/>
          </ac:spMkLst>
        </pc:spChg>
        <pc:spChg chg="del">
          <ac:chgData name="Veniero Facchetti" userId="f2c6c99af91c4974" providerId="LiveId" clId="{F9CD2FDA-8B17-4783-8A7C-5D57B6AFEF2E}" dt="2024-05-10T15:26:33.894" v="235" actId="478"/>
          <ac:spMkLst>
            <pc:docMk/>
            <pc:sldMk cId="3931378583" sldId="333"/>
            <ac:spMk id="177" creationId="{724E3D85-530E-84EA-F9AA-62C15A0E938C}"/>
          </ac:spMkLst>
        </pc:spChg>
        <pc:grpChg chg="add mod">
          <ac:chgData name="Veniero Facchetti" userId="f2c6c99af91c4974" providerId="LiveId" clId="{F9CD2FDA-8B17-4783-8A7C-5D57B6AFEF2E}" dt="2024-05-10T15:26:44.155" v="237" actId="1076"/>
          <ac:grpSpMkLst>
            <pc:docMk/>
            <pc:sldMk cId="3931378583" sldId="333"/>
            <ac:grpSpMk id="33" creationId="{667830DC-BE1B-3D0D-A276-5B6D5B04C88B}"/>
          </ac:grpSpMkLst>
        </pc:grpChg>
        <pc:grpChg chg="add mod">
          <ac:chgData name="Veniero Facchetti" userId="f2c6c99af91c4974" providerId="LiveId" clId="{F9CD2FDA-8B17-4783-8A7C-5D57B6AFEF2E}" dt="2024-05-10T15:26:44.155" v="237" actId="1076"/>
          <ac:grpSpMkLst>
            <pc:docMk/>
            <pc:sldMk cId="3931378583" sldId="333"/>
            <ac:grpSpMk id="36" creationId="{8C84AB8A-16A5-8EEE-3365-B6337FFA5AC8}"/>
          </ac:grpSpMkLst>
        </pc:grpChg>
        <pc:grpChg chg="add mod">
          <ac:chgData name="Veniero Facchetti" userId="f2c6c99af91c4974" providerId="LiveId" clId="{F9CD2FDA-8B17-4783-8A7C-5D57B6AFEF2E}" dt="2024-05-10T15:26:44.155" v="237" actId="1076"/>
          <ac:grpSpMkLst>
            <pc:docMk/>
            <pc:sldMk cId="3931378583" sldId="333"/>
            <ac:grpSpMk id="39" creationId="{D057E567-B9D8-BB82-D970-04421154F4CA}"/>
          </ac:grpSpMkLst>
        </pc:grpChg>
        <pc:grpChg chg="del">
          <ac:chgData name="Veniero Facchetti" userId="f2c6c99af91c4974" providerId="LiveId" clId="{F9CD2FDA-8B17-4783-8A7C-5D57B6AFEF2E}" dt="2024-05-10T15:26:33.894" v="235" actId="478"/>
          <ac:grpSpMkLst>
            <pc:docMk/>
            <pc:sldMk cId="3931378583" sldId="333"/>
            <ac:grpSpMk id="164" creationId="{686ECF3E-1943-147C-CEA6-B0428CECBC2D}"/>
          </ac:grpSpMkLst>
        </pc:grpChg>
        <pc:grpChg chg="del">
          <ac:chgData name="Veniero Facchetti" userId="f2c6c99af91c4974" providerId="LiveId" clId="{F9CD2FDA-8B17-4783-8A7C-5D57B6AFEF2E}" dt="2024-05-10T15:26:33.894" v="235" actId="478"/>
          <ac:grpSpMkLst>
            <pc:docMk/>
            <pc:sldMk cId="3931378583" sldId="333"/>
            <ac:grpSpMk id="170" creationId="{42B5FE44-854E-C225-B10C-63A831676E24}"/>
          </ac:grpSpMkLst>
        </pc:grpChg>
        <pc:grpChg chg="del">
          <ac:chgData name="Veniero Facchetti" userId="f2c6c99af91c4974" providerId="LiveId" clId="{F9CD2FDA-8B17-4783-8A7C-5D57B6AFEF2E}" dt="2024-05-10T15:26:33.894" v="235" actId="478"/>
          <ac:grpSpMkLst>
            <pc:docMk/>
            <pc:sldMk cId="3931378583" sldId="333"/>
            <ac:grpSpMk id="173" creationId="{73693298-8916-CEB5-7DBB-33EEBA8666CD}"/>
          </ac:grpSpMkLst>
        </pc:grpChg>
        <pc:graphicFrameChg chg="add mod">
          <ac:chgData name="Veniero Facchetti" userId="f2c6c99af91c4974" providerId="LiveId" clId="{F9CD2FDA-8B17-4783-8A7C-5D57B6AFEF2E}" dt="2024-05-10T15:27:01.584" v="262" actId="14100"/>
          <ac:graphicFrameMkLst>
            <pc:docMk/>
            <pc:sldMk cId="3931378583" sldId="333"/>
            <ac:graphicFrameMk id="3" creationId="{D70ACAA2-BE7B-EEA3-5B12-29BC95E90D95}"/>
          </ac:graphicFrameMkLst>
        </pc:graphicFrameChg>
        <pc:graphicFrameChg chg="add mod">
          <ac:chgData name="Veniero Facchetti" userId="f2c6c99af91c4974" providerId="LiveId" clId="{F9CD2FDA-8B17-4783-8A7C-5D57B6AFEF2E}" dt="2024-05-10T15:29:28.745" v="497" actId="14100"/>
          <ac:graphicFrameMkLst>
            <pc:docMk/>
            <pc:sldMk cId="3931378583" sldId="333"/>
            <ac:graphicFrameMk id="10" creationId="{15D49648-73FC-8E56-53DC-E1D96D41FCD1}"/>
          </ac:graphicFrameMkLst>
        </pc:graphicFrameChg>
        <pc:graphicFrameChg chg="add mod">
          <ac:chgData name="Veniero Facchetti" userId="f2c6c99af91c4974" providerId="LiveId" clId="{F9CD2FDA-8B17-4783-8A7C-5D57B6AFEF2E}" dt="2024-05-10T15:27:12.336" v="265" actId="14100"/>
          <ac:graphicFrameMkLst>
            <pc:docMk/>
            <pc:sldMk cId="3931378583" sldId="333"/>
            <ac:graphicFrameMk id="28" creationId="{87A342E1-8F7B-91FC-D610-F4F997CD6D14}"/>
          </ac:graphicFrameMkLst>
        </pc:graphicFrameChg>
        <pc:graphicFrameChg chg="del">
          <ac:chgData name="Veniero Facchetti" userId="f2c6c99af91c4974" providerId="LiveId" clId="{F9CD2FDA-8B17-4783-8A7C-5D57B6AFEF2E}" dt="2024-05-10T15:26:33.894" v="235" actId="478"/>
          <ac:graphicFrameMkLst>
            <pc:docMk/>
            <pc:sldMk cId="3931378583" sldId="333"/>
            <ac:graphicFrameMk id="60" creationId="{2C54CC89-6A85-5108-31B3-75D3DA66FA81}"/>
          </ac:graphicFrameMkLst>
        </pc:graphicFrameChg>
        <pc:graphicFrameChg chg="del">
          <ac:chgData name="Veniero Facchetti" userId="f2c6c99af91c4974" providerId="LiveId" clId="{F9CD2FDA-8B17-4783-8A7C-5D57B6AFEF2E}" dt="2024-05-10T15:26:33.894" v="235" actId="478"/>
          <ac:graphicFrameMkLst>
            <pc:docMk/>
            <pc:sldMk cId="3931378583" sldId="333"/>
            <ac:graphicFrameMk id="145" creationId="{DB1AB7B4-1FCC-E4C6-F7FF-6F0E0418C880}"/>
          </ac:graphicFrameMkLst>
        </pc:graphicFrameChg>
        <pc:cxnChg chg="add mod">
          <ac:chgData name="Veniero Facchetti" userId="f2c6c99af91c4974" providerId="LiveId" clId="{F9CD2FDA-8B17-4783-8A7C-5D57B6AFEF2E}" dt="2024-05-10T15:27:33.506" v="318" actId="1035"/>
          <ac:cxnSpMkLst>
            <pc:docMk/>
            <pc:sldMk cId="3931378583" sldId="333"/>
            <ac:cxnSpMk id="11" creationId="{7000BE67-0CEE-E4B1-0B4A-1331E7E37B80}"/>
          </ac:cxnSpMkLst>
        </pc:cxnChg>
        <pc:cxnChg chg="add mod">
          <ac:chgData name="Veniero Facchetti" userId="f2c6c99af91c4974" providerId="LiveId" clId="{F9CD2FDA-8B17-4783-8A7C-5D57B6AFEF2E}" dt="2024-05-10T15:27:33.506" v="318" actId="1035"/>
          <ac:cxnSpMkLst>
            <pc:docMk/>
            <pc:sldMk cId="3931378583" sldId="333"/>
            <ac:cxnSpMk id="12" creationId="{F660735A-869D-9B93-022D-371E8E44AFCF}"/>
          </ac:cxnSpMkLst>
        </pc:cxnChg>
        <pc:cxnChg chg="add mod">
          <ac:chgData name="Veniero Facchetti" userId="f2c6c99af91c4974" providerId="LiveId" clId="{F9CD2FDA-8B17-4783-8A7C-5D57B6AFEF2E}" dt="2024-05-10T15:27:33.506" v="318" actId="1035"/>
          <ac:cxnSpMkLst>
            <pc:docMk/>
            <pc:sldMk cId="3931378583" sldId="333"/>
            <ac:cxnSpMk id="13" creationId="{82CBD055-6972-7AD9-0A51-CF34C42B3934}"/>
          </ac:cxnSpMkLst>
        </pc:cxnChg>
        <pc:cxnChg chg="add mod">
          <ac:chgData name="Veniero Facchetti" userId="f2c6c99af91c4974" providerId="LiveId" clId="{F9CD2FDA-8B17-4783-8A7C-5D57B6AFEF2E}" dt="2024-05-10T15:26:44.155" v="237" actId="1076"/>
          <ac:cxnSpMkLst>
            <pc:docMk/>
            <pc:sldMk cId="3931378583" sldId="333"/>
            <ac:cxnSpMk id="27" creationId="{3C788533-3102-6AA7-FACD-B5926EE888CE}"/>
          </ac:cxnSpMkLst>
        </pc:cxnChg>
        <pc:cxnChg chg="mod">
          <ac:chgData name="Veniero Facchetti" userId="f2c6c99af91c4974" providerId="LiveId" clId="{F9CD2FDA-8B17-4783-8A7C-5D57B6AFEF2E}" dt="2024-05-10T15:26:44.155" v="237" actId="1076"/>
          <ac:cxnSpMkLst>
            <pc:docMk/>
            <pc:sldMk cId="3931378583" sldId="333"/>
            <ac:cxnSpMk id="34" creationId="{1297BCCE-576C-B788-0CD2-C63A80B44A24}"/>
          </ac:cxnSpMkLst>
        </pc:cxnChg>
        <pc:cxnChg chg="mod">
          <ac:chgData name="Veniero Facchetti" userId="f2c6c99af91c4974" providerId="LiveId" clId="{F9CD2FDA-8B17-4783-8A7C-5D57B6AFEF2E}" dt="2024-05-10T15:26:44.155" v="237" actId="1076"/>
          <ac:cxnSpMkLst>
            <pc:docMk/>
            <pc:sldMk cId="3931378583" sldId="333"/>
            <ac:cxnSpMk id="37" creationId="{99EA9826-E057-C09A-8FD4-D2E3D2E1FAE8}"/>
          </ac:cxnSpMkLst>
        </pc:cxnChg>
        <pc:cxnChg chg="mod">
          <ac:chgData name="Veniero Facchetti" userId="f2c6c99af91c4974" providerId="LiveId" clId="{F9CD2FDA-8B17-4783-8A7C-5D57B6AFEF2E}" dt="2024-05-10T15:26:44.155" v="237" actId="1076"/>
          <ac:cxnSpMkLst>
            <pc:docMk/>
            <pc:sldMk cId="3931378583" sldId="333"/>
            <ac:cxnSpMk id="40" creationId="{BFF2838B-50DE-590E-AF6F-0D41E696A7BD}"/>
          </ac:cxnSpMkLst>
        </pc:cxnChg>
        <pc:cxnChg chg="add mod">
          <ac:chgData name="Veniero Facchetti" userId="f2c6c99af91c4974" providerId="LiveId" clId="{F9CD2FDA-8B17-4783-8A7C-5D57B6AFEF2E}" dt="2024-05-10T15:26:44.155" v="237" actId="1076"/>
          <ac:cxnSpMkLst>
            <pc:docMk/>
            <pc:sldMk cId="3931378583" sldId="333"/>
            <ac:cxnSpMk id="42" creationId="{5B7F3C57-C87A-D0C7-07CB-7553C9138E50}"/>
          </ac:cxnSpMkLst>
        </pc:cxnChg>
        <pc:cxnChg chg="del">
          <ac:chgData name="Veniero Facchetti" userId="f2c6c99af91c4974" providerId="LiveId" clId="{F9CD2FDA-8B17-4783-8A7C-5D57B6AFEF2E}" dt="2024-05-10T15:26:33.894" v="235" actId="478"/>
          <ac:cxnSpMkLst>
            <pc:docMk/>
            <pc:sldMk cId="3931378583" sldId="333"/>
            <ac:cxnSpMk id="59" creationId="{B6EE7B30-C1AB-E965-97A3-2CCF199987D4}"/>
          </ac:cxnSpMkLst>
        </pc:cxnChg>
        <pc:cxnChg chg="del">
          <ac:chgData name="Veniero Facchetti" userId="f2c6c99af91c4974" providerId="LiveId" clId="{F9CD2FDA-8B17-4783-8A7C-5D57B6AFEF2E}" dt="2024-05-10T15:26:33.894" v="235" actId="478"/>
          <ac:cxnSpMkLst>
            <pc:docMk/>
            <pc:sldMk cId="3931378583" sldId="333"/>
            <ac:cxnSpMk id="146" creationId="{40E94966-EC22-5CB9-955C-CE02A464485F}"/>
          </ac:cxnSpMkLst>
        </pc:cxnChg>
        <pc:cxnChg chg="del">
          <ac:chgData name="Veniero Facchetti" userId="f2c6c99af91c4974" providerId="LiveId" clId="{F9CD2FDA-8B17-4783-8A7C-5D57B6AFEF2E}" dt="2024-05-10T15:26:33.894" v="235" actId="478"/>
          <ac:cxnSpMkLst>
            <pc:docMk/>
            <pc:sldMk cId="3931378583" sldId="333"/>
            <ac:cxnSpMk id="147" creationId="{BF0AA87F-4D1F-ADB7-D82F-31DC1825BF58}"/>
          </ac:cxnSpMkLst>
        </pc:cxnChg>
        <pc:cxnChg chg="del">
          <ac:chgData name="Veniero Facchetti" userId="f2c6c99af91c4974" providerId="LiveId" clId="{F9CD2FDA-8B17-4783-8A7C-5D57B6AFEF2E}" dt="2024-05-10T15:26:33.894" v="235" actId="478"/>
          <ac:cxnSpMkLst>
            <pc:docMk/>
            <pc:sldMk cId="3931378583" sldId="333"/>
            <ac:cxnSpMk id="162" creationId="{12CE0E53-4C64-9435-B20E-8D0246370B09}"/>
          </ac:cxnSpMkLst>
        </pc:cxnChg>
      </pc:sldChg>
      <pc:sldMasterChg chg="addSp modSp mod">
        <pc:chgData name="Veniero Facchetti" userId="f2c6c99af91c4974" providerId="LiveId" clId="{F9CD2FDA-8B17-4783-8A7C-5D57B6AFEF2E}" dt="2024-05-10T14:17:53.068" v="64" actId="1076"/>
        <pc:sldMasterMkLst>
          <pc:docMk/>
          <pc:sldMasterMk cId="1449198067" sldId="2147483677"/>
        </pc:sldMasterMkLst>
        <pc:picChg chg="add mod">
          <ac:chgData name="Veniero Facchetti" userId="f2c6c99af91c4974" providerId="LiveId" clId="{F9CD2FDA-8B17-4783-8A7C-5D57B6AFEF2E}" dt="2024-05-10T14:17:53.068" v="64" actId="1076"/>
          <ac:picMkLst>
            <pc:docMk/>
            <pc:sldMasterMk cId="1449198067" sldId="2147483677"/>
            <ac:picMk id="4" creationId="{2414735F-C654-0F02-93EF-301FCE1B94F4}"/>
          </ac:picMkLst>
        </pc:picChg>
      </pc:sldMasterChg>
    </pc:docChg>
  </pc:docChgLst>
  <pc:docChgLst>
    <pc:chgData name="Veniero Facchetti" userId="f2c6c99af91c4974" providerId="LiveId" clId="{0E09F6EF-E3E4-4FE2-A7EC-6B10730B15FB}"/>
    <pc:docChg chg="undo custSel addSld delSld modSld">
      <pc:chgData name="Veniero Facchetti" userId="f2c6c99af91c4974" providerId="LiveId" clId="{0E09F6EF-E3E4-4FE2-A7EC-6B10730B15FB}" dt="2024-05-10T14:12:47.042" v="13" actId="947"/>
      <pc:docMkLst>
        <pc:docMk/>
      </pc:docMkLst>
      <pc:sldChg chg="add del">
        <pc:chgData name="Veniero Facchetti" userId="f2c6c99af91c4974" providerId="LiveId" clId="{0E09F6EF-E3E4-4FE2-A7EC-6B10730B15FB}" dt="2024-05-06T10:21:33.152" v="1"/>
        <pc:sldMkLst>
          <pc:docMk/>
          <pc:sldMk cId="2462792408" sldId="322"/>
        </pc:sldMkLst>
      </pc:sldChg>
      <pc:sldChg chg="modSp add del mod">
        <pc:chgData name="Veniero Facchetti" userId="f2c6c99af91c4974" providerId="LiveId" clId="{0E09F6EF-E3E4-4FE2-A7EC-6B10730B15FB}" dt="2024-05-10T14:12:47.042" v="13" actId="947"/>
        <pc:sldMkLst>
          <pc:docMk/>
          <pc:sldMk cId="2849688472" sldId="327"/>
        </pc:sldMkLst>
        <pc:spChg chg="mod">
          <ac:chgData name="Veniero Facchetti" userId="f2c6c99af91c4974" providerId="LiveId" clId="{0E09F6EF-E3E4-4FE2-A7EC-6B10730B15FB}" dt="2024-05-10T14:12:47.042" v="13" actId="947"/>
          <ac:spMkLst>
            <pc:docMk/>
            <pc:sldMk cId="2849688472" sldId="327"/>
            <ac:spMk id="2" creationId="{0F174D2F-A0F4-79C8-E119-E565BE5E0169}"/>
          </ac:spMkLst>
        </pc:spChg>
      </pc:sldChg>
      <pc:sldMasterChg chg="delSldLayout">
        <pc:chgData name="Veniero Facchetti" userId="f2c6c99af91c4974" providerId="LiveId" clId="{0E09F6EF-E3E4-4FE2-A7EC-6B10730B15FB}" dt="2024-05-06T09:54:50.261" v="0" actId="2696"/>
        <pc:sldMasterMkLst>
          <pc:docMk/>
          <pc:sldMasterMk cId="1449198067" sldId="2147483677"/>
        </pc:sldMasterMkLst>
        <pc:sldLayoutChg chg="del">
          <pc:chgData name="Veniero Facchetti" userId="f2c6c99af91c4974" providerId="LiveId" clId="{0E09F6EF-E3E4-4FE2-A7EC-6B10730B15FB}" dt="2024-05-06T09:54:50.261" v="0" actId="2696"/>
          <pc:sldLayoutMkLst>
            <pc:docMk/>
            <pc:sldMasterMk cId="1449198067" sldId="2147483677"/>
            <pc:sldLayoutMk cId="26039424" sldId="2147483698"/>
          </pc:sldLayoutMkLst>
        </pc:sldLayoutChg>
      </pc:sldMasterChg>
    </pc:docChg>
  </pc:docChgLst>
  <pc:docChgLst>
    <pc:chgData name="Veniero Facchetti" userId="f2c6c99af91c4974" providerId="LiveId" clId="{34DF7D6B-EB0F-4B53-B080-BB8D6F5C3D93}"/>
    <pc:docChg chg="undo custSel addSld delSld modSld sldOrd modMainMaster">
      <pc:chgData name="Veniero Facchetti" userId="f2c6c99af91c4974" providerId="LiveId" clId="{34DF7D6B-EB0F-4B53-B080-BB8D6F5C3D93}" dt="2024-05-10T16:16:04.960" v="775" actId="47"/>
      <pc:docMkLst>
        <pc:docMk/>
      </pc:docMkLst>
      <pc:sldChg chg="del">
        <pc:chgData name="Veniero Facchetti" userId="f2c6c99af91c4974" providerId="LiveId" clId="{34DF7D6B-EB0F-4B53-B080-BB8D6F5C3D93}" dt="2024-05-10T16:16:02.118" v="772" actId="47"/>
        <pc:sldMkLst>
          <pc:docMk/>
          <pc:sldMk cId="1697473122" sldId="310"/>
        </pc:sldMkLst>
      </pc:sldChg>
      <pc:sldChg chg="del">
        <pc:chgData name="Veniero Facchetti" userId="f2c6c99af91c4974" providerId="LiveId" clId="{34DF7D6B-EB0F-4B53-B080-BB8D6F5C3D93}" dt="2024-05-10T16:16:03.299" v="773" actId="47"/>
        <pc:sldMkLst>
          <pc:docMk/>
          <pc:sldMk cId="2213715613" sldId="313"/>
        </pc:sldMkLst>
      </pc:sldChg>
      <pc:sldChg chg="del">
        <pc:chgData name="Veniero Facchetti" userId="f2c6c99af91c4974" providerId="LiveId" clId="{34DF7D6B-EB0F-4B53-B080-BB8D6F5C3D93}" dt="2024-05-10T16:16:04.154" v="774" actId="47"/>
        <pc:sldMkLst>
          <pc:docMk/>
          <pc:sldMk cId="2155969868" sldId="314"/>
        </pc:sldMkLst>
      </pc:sldChg>
      <pc:sldChg chg="del">
        <pc:chgData name="Veniero Facchetti" userId="f2c6c99af91c4974" providerId="LiveId" clId="{34DF7D6B-EB0F-4B53-B080-BB8D6F5C3D93}" dt="2024-05-10T16:16:04.960" v="775" actId="47"/>
        <pc:sldMkLst>
          <pc:docMk/>
          <pc:sldMk cId="750713549" sldId="315"/>
        </pc:sldMkLst>
      </pc:sldChg>
      <pc:sldChg chg="modSp mod">
        <pc:chgData name="Veniero Facchetti" userId="f2c6c99af91c4974" providerId="LiveId" clId="{34DF7D6B-EB0F-4B53-B080-BB8D6F5C3D93}" dt="2024-05-10T15:35:17.980" v="35" actId="1035"/>
        <pc:sldMkLst>
          <pc:docMk/>
          <pc:sldMk cId="3931378583" sldId="333"/>
        </pc:sldMkLst>
        <pc:spChg chg="mod">
          <ac:chgData name="Veniero Facchetti" userId="f2c6c99af91c4974" providerId="LiveId" clId="{34DF7D6B-EB0F-4B53-B080-BB8D6F5C3D93}" dt="2024-05-10T15:35:07.329" v="21" actId="404"/>
          <ac:spMkLst>
            <pc:docMk/>
            <pc:sldMk cId="3931378583" sldId="333"/>
            <ac:spMk id="2" creationId="{2730E5BB-30D5-E269-473C-D45C166E1A27}"/>
          </ac:spMkLst>
        </pc:spChg>
        <pc:spChg chg="mod">
          <ac:chgData name="Veniero Facchetti" userId="f2c6c99af91c4974" providerId="LiveId" clId="{34DF7D6B-EB0F-4B53-B080-BB8D6F5C3D93}" dt="2024-05-10T15:35:07.329" v="21" actId="404"/>
          <ac:spMkLst>
            <pc:docMk/>
            <pc:sldMk cId="3931378583" sldId="333"/>
            <ac:spMk id="4" creationId="{3C6644FB-BC30-8276-5857-52D02E14B24A}"/>
          </ac:spMkLst>
        </pc:spChg>
        <pc:spChg chg="mod">
          <ac:chgData name="Veniero Facchetti" userId="f2c6c99af91c4974" providerId="LiveId" clId="{34DF7D6B-EB0F-4B53-B080-BB8D6F5C3D93}" dt="2024-05-10T15:35:07.329" v="21" actId="404"/>
          <ac:spMkLst>
            <pc:docMk/>
            <pc:sldMk cId="3931378583" sldId="333"/>
            <ac:spMk id="5" creationId="{3DD05443-734A-9CEE-D17C-208C6FB127D7}"/>
          </ac:spMkLst>
        </pc:spChg>
        <pc:spChg chg="mod">
          <ac:chgData name="Veniero Facchetti" userId="f2c6c99af91c4974" providerId="LiveId" clId="{34DF7D6B-EB0F-4B53-B080-BB8D6F5C3D93}" dt="2024-05-10T15:35:07.329" v="21" actId="404"/>
          <ac:spMkLst>
            <pc:docMk/>
            <pc:sldMk cId="3931378583" sldId="333"/>
            <ac:spMk id="7" creationId="{48BDD9D7-B3ED-A89D-8028-9C4C9F4ED8F3}"/>
          </ac:spMkLst>
        </pc:spChg>
        <pc:spChg chg="mod">
          <ac:chgData name="Veniero Facchetti" userId="f2c6c99af91c4974" providerId="LiveId" clId="{34DF7D6B-EB0F-4B53-B080-BB8D6F5C3D93}" dt="2024-05-10T15:35:07.329" v="21" actId="404"/>
          <ac:spMkLst>
            <pc:docMk/>
            <pc:sldMk cId="3931378583" sldId="333"/>
            <ac:spMk id="8" creationId="{BCB8DE11-53A5-8D27-829E-16A88D1F3D53}"/>
          </ac:spMkLst>
        </pc:spChg>
        <pc:spChg chg="mod">
          <ac:chgData name="Veniero Facchetti" userId="f2c6c99af91c4974" providerId="LiveId" clId="{34DF7D6B-EB0F-4B53-B080-BB8D6F5C3D93}" dt="2024-05-10T15:35:07.329" v="21" actId="404"/>
          <ac:spMkLst>
            <pc:docMk/>
            <pc:sldMk cId="3931378583" sldId="333"/>
            <ac:spMk id="9" creationId="{E61A2FC6-AB01-B737-ADE0-BF77EA440B46}"/>
          </ac:spMkLst>
        </pc:spChg>
        <pc:spChg chg="mod">
          <ac:chgData name="Veniero Facchetti" userId="f2c6c99af91c4974" providerId="LiveId" clId="{34DF7D6B-EB0F-4B53-B080-BB8D6F5C3D93}" dt="2024-05-10T15:35:07.329" v="21" actId="404"/>
          <ac:spMkLst>
            <pc:docMk/>
            <pc:sldMk cId="3931378583" sldId="333"/>
            <ac:spMk id="14" creationId="{23E24E26-89C5-47EB-1E19-ECDD43A09091}"/>
          </ac:spMkLst>
        </pc:spChg>
        <pc:spChg chg="mod">
          <ac:chgData name="Veniero Facchetti" userId="f2c6c99af91c4974" providerId="LiveId" clId="{34DF7D6B-EB0F-4B53-B080-BB8D6F5C3D93}" dt="2024-05-10T15:35:07.329" v="21" actId="404"/>
          <ac:spMkLst>
            <pc:docMk/>
            <pc:sldMk cId="3931378583" sldId="333"/>
            <ac:spMk id="15" creationId="{ADA3111A-CB58-3303-560C-E7BCD81343A1}"/>
          </ac:spMkLst>
        </pc:spChg>
        <pc:spChg chg="mod">
          <ac:chgData name="Veniero Facchetti" userId="f2c6c99af91c4974" providerId="LiveId" clId="{34DF7D6B-EB0F-4B53-B080-BB8D6F5C3D93}" dt="2024-05-10T15:35:07.329" v="21" actId="404"/>
          <ac:spMkLst>
            <pc:docMk/>
            <pc:sldMk cId="3931378583" sldId="333"/>
            <ac:spMk id="16" creationId="{107A5CC3-0657-942C-FD00-4054245FB610}"/>
          </ac:spMkLst>
        </pc:spChg>
        <pc:spChg chg="mod">
          <ac:chgData name="Veniero Facchetti" userId="f2c6c99af91c4974" providerId="LiveId" clId="{34DF7D6B-EB0F-4B53-B080-BB8D6F5C3D93}" dt="2024-05-10T15:35:07.329" v="21" actId="404"/>
          <ac:spMkLst>
            <pc:docMk/>
            <pc:sldMk cId="3931378583" sldId="333"/>
            <ac:spMk id="17" creationId="{9F2B2030-D4A4-457F-A1B5-7FF8C7B67893}"/>
          </ac:spMkLst>
        </pc:spChg>
        <pc:spChg chg="mod">
          <ac:chgData name="Veniero Facchetti" userId="f2c6c99af91c4974" providerId="LiveId" clId="{34DF7D6B-EB0F-4B53-B080-BB8D6F5C3D93}" dt="2024-05-10T15:35:07.329" v="21" actId="404"/>
          <ac:spMkLst>
            <pc:docMk/>
            <pc:sldMk cId="3931378583" sldId="333"/>
            <ac:spMk id="18" creationId="{35FCA979-FDB6-7EB9-C99F-A8452BBAEB18}"/>
          </ac:spMkLst>
        </pc:spChg>
        <pc:spChg chg="mod">
          <ac:chgData name="Veniero Facchetti" userId="f2c6c99af91c4974" providerId="LiveId" clId="{34DF7D6B-EB0F-4B53-B080-BB8D6F5C3D93}" dt="2024-05-10T15:35:07.329" v="21" actId="404"/>
          <ac:spMkLst>
            <pc:docMk/>
            <pc:sldMk cId="3931378583" sldId="333"/>
            <ac:spMk id="19" creationId="{DC37F07C-A1E1-E3CA-1EDC-8B61790B86F7}"/>
          </ac:spMkLst>
        </pc:spChg>
        <pc:spChg chg="mod">
          <ac:chgData name="Veniero Facchetti" userId="f2c6c99af91c4974" providerId="LiveId" clId="{34DF7D6B-EB0F-4B53-B080-BB8D6F5C3D93}" dt="2024-05-10T15:35:17.980" v="35" actId="1035"/>
          <ac:spMkLst>
            <pc:docMk/>
            <pc:sldMk cId="3931378583" sldId="333"/>
            <ac:spMk id="20" creationId="{1217E862-E621-49D5-D5E8-2574DE48EEE8}"/>
          </ac:spMkLst>
        </pc:spChg>
        <pc:spChg chg="mod">
          <ac:chgData name="Veniero Facchetti" userId="f2c6c99af91c4974" providerId="LiveId" clId="{34DF7D6B-EB0F-4B53-B080-BB8D6F5C3D93}" dt="2024-05-10T15:35:07.329" v="21" actId="404"/>
          <ac:spMkLst>
            <pc:docMk/>
            <pc:sldMk cId="3931378583" sldId="333"/>
            <ac:spMk id="21" creationId="{D195E5AF-A001-D7CE-AF62-A73F584EA8CF}"/>
          </ac:spMkLst>
        </pc:spChg>
        <pc:spChg chg="mod">
          <ac:chgData name="Veniero Facchetti" userId="f2c6c99af91c4974" providerId="LiveId" clId="{34DF7D6B-EB0F-4B53-B080-BB8D6F5C3D93}" dt="2024-05-10T15:35:07.329" v="21" actId="404"/>
          <ac:spMkLst>
            <pc:docMk/>
            <pc:sldMk cId="3931378583" sldId="333"/>
            <ac:spMk id="22" creationId="{11C401C4-42DF-27DF-F257-865773C6FC18}"/>
          </ac:spMkLst>
        </pc:spChg>
        <pc:spChg chg="mod">
          <ac:chgData name="Veniero Facchetti" userId="f2c6c99af91c4974" providerId="LiveId" clId="{34DF7D6B-EB0F-4B53-B080-BB8D6F5C3D93}" dt="2024-05-10T15:35:07.329" v="21" actId="404"/>
          <ac:spMkLst>
            <pc:docMk/>
            <pc:sldMk cId="3931378583" sldId="333"/>
            <ac:spMk id="23" creationId="{EDA13E00-6329-57B7-DA81-4C5C7A576C42}"/>
          </ac:spMkLst>
        </pc:spChg>
        <pc:spChg chg="mod">
          <ac:chgData name="Veniero Facchetti" userId="f2c6c99af91c4974" providerId="LiveId" clId="{34DF7D6B-EB0F-4B53-B080-BB8D6F5C3D93}" dt="2024-05-10T15:35:07.329" v="21" actId="404"/>
          <ac:spMkLst>
            <pc:docMk/>
            <pc:sldMk cId="3931378583" sldId="333"/>
            <ac:spMk id="24" creationId="{13C0279C-2353-26FF-529E-154D00D75E2D}"/>
          </ac:spMkLst>
        </pc:spChg>
        <pc:spChg chg="mod">
          <ac:chgData name="Veniero Facchetti" userId="f2c6c99af91c4974" providerId="LiveId" clId="{34DF7D6B-EB0F-4B53-B080-BB8D6F5C3D93}" dt="2024-05-10T15:35:07.329" v="21" actId="404"/>
          <ac:spMkLst>
            <pc:docMk/>
            <pc:sldMk cId="3931378583" sldId="333"/>
            <ac:spMk id="25" creationId="{C9FEC4B9-10BB-ADD7-9F12-6B840D8D4676}"/>
          </ac:spMkLst>
        </pc:spChg>
        <pc:spChg chg="mod">
          <ac:chgData name="Veniero Facchetti" userId="f2c6c99af91c4974" providerId="LiveId" clId="{34DF7D6B-EB0F-4B53-B080-BB8D6F5C3D93}" dt="2024-05-10T15:35:07.329" v="21" actId="404"/>
          <ac:spMkLst>
            <pc:docMk/>
            <pc:sldMk cId="3931378583" sldId="333"/>
            <ac:spMk id="26" creationId="{94E73FC1-4A34-3786-D36D-6E2717CDB067}"/>
          </ac:spMkLst>
        </pc:spChg>
        <pc:spChg chg="mod">
          <ac:chgData name="Veniero Facchetti" userId="f2c6c99af91c4974" providerId="LiveId" clId="{34DF7D6B-EB0F-4B53-B080-BB8D6F5C3D93}" dt="2024-05-10T15:35:07.329" v="21" actId="404"/>
          <ac:spMkLst>
            <pc:docMk/>
            <pc:sldMk cId="3931378583" sldId="333"/>
            <ac:spMk id="29" creationId="{FCCA0B17-08CA-410F-ECA4-0AFEFD8757D2}"/>
          </ac:spMkLst>
        </pc:spChg>
        <pc:spChg chg="mod">
          <ac:chgData name="Veniero Facchetti" userId="f2c6c99af91c4974" providerId="LiveId" clId="{34DF7D6B-EB0F-4B53-B080-BB8D6F5C3D93}" dt="2024-05-10T15:35:07.329" v="21" actId="404"/>
          <ac:spMkLst>
            <pc:docMk/>
            <pc:sldMk cId="3931378583" sldId="333"/>
            <ac:spMk id="30" creationId="{52A6A825-2534-B972-6B4F-09DE48A5EAFB}"/>
          </ac:spMkLst>
        </pc:spChg>
        <pc:spChg chg="mod">
          <ac:chgData name="Veniero Facchetti" userId="f2c6c99af91c4974" providerId="LiveId" clId="{34DF7D6B-EB0F-4B53-B080-BB8D6F5C3D93}" dt="2024-05-10T15:35:07.329" v="21" actId="404"/>
          <ac:spMkLst>
            <pc:docMk/>
            <pc:sldMk cId="3931378583" sldId="333"/>
            <ac:spMk id="31" creationId="{402ED970-E7A9-F454-E330-4B674CD98770}"/>
          </ac:spMkLst>
        </pc:spChg>
        <pc:spChg chg="mod">
          <ac:chgData name="Veniero Facchetti" userId="f2c6c99af91c4974" providerId="LiveId" clId="{34DF7D6B-EB0F-4B53-B080-BB8D6F5C3D93}" dt="2024-05-10T15:35:07.329" v="21" actId="404"/>
          <ac:spMkLst>
            <pc:docMk/>
            <pc:sldMk cId="3931378583" sldId="333"/>
            <ac:spMk id="32" creationId="{FD33732B-72F9-47FD-1A87-8E20E3F0A681}"/>
          </ac:spMkLst>
        </pc:spChg>
        <pc:spChg chg="mod">
          <ac:chgData name="Veniero Facchetti" userId="f2c6c99af91c4974" providerId="LiveId" clId="{34DF7D6B-EB0F-4B53-B080-BB8D6F5C3D93}" dt="2024-05-10T15:35:07.329" v="21" actId="404"/>
          <ac:spMkLst>
            <pc:docMk/>
            <pc:sldMk cId="3931378583" sldId="333"/>
            <ac:spMk id="35" creationId="{4630ECC9-4D59-A327-3BEF-4F62AC94B1ED}"/>
          </ac:spMkLst>
        </pc:spChg>
        <pc:spChg chg="mod">
          <ac:chgData name="Veniero Facchetti" userId="f2c6c99af91c4974" providerId="LiveId" clId="{34DF7D6B-EB0F-4B53-B080-BB8D6F5C3D93}" dt="2024-05-10T15:35:07.329" v="21" actId="404"/>
          <ac:spMkLst>
            <pc:docMk/>
            <pc:sldMk cId="3931378583" sldId="333"/>
            <ac:spMk id="38" creationId="{E0D00F09-A624-6C18-F3BC-EC74B2CA1428}"/>
          </ac:spMkLst>
        </pc:spChg>
        <pc:spChg chg="mod">
          <ac:chgData name="Veniero Facchetti" userId="f2c6c99af91c4974" providerId="LiveId" clId="{34DF7D6B-EB0F-4B53-B080-BB8D6F5C3D93}" dt="2024-05-10T15:35:07.329" v="21" actId="404"/>
          <ac:spMkLst>
            <pc:docMk/>
            <pc:sldMk cId="3931378583" sldId="333"/>
            <ac:spMk id="41" creationId="{1CC21A67-AB5F-E37C-2CF8-A5A9EC74204D}"/>
          </ac:spMkLst>
        </pc:spChg>
        <pc:spChg chg="mod">
          <ac:chgData name="Veniero Facchetti" userId="f2c6c99af91c4974" providerId="LiveId" clId="{34DF7D6B-EB0F-4B53-B080-BB8D6F5C3D93}" dt="2024-05-10T15:35:07.329" v="21" actId="404"/>
          <ac:spMkLst>
            <pc:docMk/>
            <pc:sldMk cId="3931378583" sldId="333"/>
            <ac:spMk id="43" creationId="{FDECB3C6-76AC-815D-6F76-C305FB459445}"/>
          </ac:spMkLst>
        </pc:spChg>
        <pc:spChg chg="mod">
          <ac:chgData name="Veniero Facchetti" userId="f2c6c99af91c4974" providerId="LiveId" clId="{34DF7D6B-EB0F-4B53-B080-BB8D6F5C3D93}" dt="2024-05-10T15:35:07.329" v="21" actId="404"/>
          <ac:spMkLst>
            <pc:docMk/>
            <pc:sldMk cId="3931378583" sldId="333"/>
            <ac:spMk id="44" creationId="{BAB94BCC-37B6-6844-5C89-DA1695BF6AA1}"/>
          </ac:spMkLst>
        </pc:spChg>
        <pc:spChg chg="mod">
          <ac:chgData name="Veniero Facchetti" userId="f2c6c99af91c4974" providerId="LiveId" clId="{34DF7D6B-EB0F-4B53-B080-BB8D6F5C3D93}" dt="2024-05-10T15:35:07.329" v="21" actId="404"/>
          <ac:spMkLst>
            <pc:docMk/>
            <pc:sldMk cId="3931378583" sldId="333"/>
            <ac:spMk id="45" creationId="{081D20E8-7E30-1509-4617-837100D21D98}"/>
          </ac:spMkLst>
        </pc:spChg>
        <pc:grpChg chg="mod">
          <ac:chgData name="Veniero Facchetti" userId="f2c6c99af91c4974" providerId="LiveId" clId="{34DF7D6B-EB0F-4B53-B080-BB8D6F5C3D93}" dt="2024-05-10T15:35:07.329" v="21" actId="404"/>
          <ac:grpSpMkLst>
            <pc:docMk/>
            <pc:sldMk cId="3931378583" sldId="333"/>
            <ac:grpSpMk id="33" creationId="{667830DC-BE1B-3D0D-A276-5B6D5B04C88B}"/>
          </ac:grpSpMkLst>
        </pc:grpChg>
        <pc:grpChg chg="mod">
          <ac:chgData name="Veniero Facchetti" userId="f2c6c99af91c4974" providerId="LiveId" clId="{34DF7D6B-EB0F-4B53-B080-BB8D6F5C3D93}" dt="2024-05-10T15:35:07.329" v="21" actId="404"/>
          <ac:grpSpMkLst>
            <pc:docMk/>
            <pc:sldMk cId="3931378583" sldId="333"/>
            <ac:grpSpMk id="36" creationId="{8C84AB8A-16A5-8EEE-3365-B6337FFA5AC8}"/>
          </ac:grpSpMkLst>
        </pc:grpChg>
        <pc:grpChg chg="mod">
          <ac:chgData name="Veniero Facchetti" userId="f2c6c99af91c4974" providerId="LiveId" clId="{34DF7D6B-EB0F-4B53-B080-BB8D6F5C3D93}" dt="2024-05-10T15:35:07.329" v="21" actId="404"/>
          <ac:grpSpMkLst>
            <pc:docMk/>
            <pc:sldMk cId="3931378583" sldId="333"/>
            <ac:grpSpMk id="39" creationId="{D057E567-B9D8-BB82-D970-04421154F4CA}"/>
          </ac:grpSpMkLst>
        </pc:grpChg>
        <pc:graphicFrameChg chg="mod">
          <ac:chgData name="Veniero Facchetti" userId="f2c6c99af91c4974" providerId="LiveId" clId="{34DF7D6B-EB0F-4B53-B080-BB8D6F5C3D93}" dt="2024-05-10T15:35:07.329" v="21" actId="404"/>
          <ac:graphicFrameMkLst>
            <pc:docMk/>
            <pc:sldMk cId="3931378583" sldId="333"/>
            <ac:graphicFrameMk id="3" creationId="{D70ACAA2-BE7B-EEA3-5B12-29BC95E90D95}"/>
          </ac:graphicFrameMkLst>
        </pc:graphicFrameChg>
        <pc:graphicFrameChg chg="mod">
          <ac:chgData name="Veniero Facchetti" userId="f2c6c99af91c4974" providerId="LiveId" clId="{34DF7D6B-EB0F-4B53-B080-BB8D6F5C3D93}" dt="2024-05-10T15:35:07.329" v="21" actId="404"/>
          <ac:graphicFrameMkLst>
            <pc:docMk/>
            <pc:sldMk cId="3931378583" sldId="333"/>
            <ac:graphicFrameMk id="10" creationId="{15D49648-73FC-8E56-53DC-E1D96D41FCD1}"/>
          </ac:graphicFrameMkLst>
        </pc:graphicFrameChg>
        <pc:graphicFrameChg chg="mod">
          <ac:chgData name="Veniero Facchetti" userId="f2c6c99af91c4974" providerId="LiveId" clId="{34DF7D6B-EB0F-4B53-B080-BB8D6F5C3D93}" dt="2024-05-10T15:35:07.329" v="21" actId="404"/>
          <ac:graphicFrameMkLst>
            <pc:docMk/>
            <pc:sldMk cId="3931378583" sldId="333"/>
            <ac:graphicFrameMk id="28" creationId="{87A342E1-8F7B-91FC-D610-F4F997CD6D14}"/>
          </ac:graphicFrameMkLst>
        </pc:graphicFrameChg>
        <pc:cxnChg chg="mod">
          <ac:chgData name="Veniero Facchetti" userId="f2c6c99af91c4974" providerId="LiveId" clId="{34DF7D6B-EB0F-4B53-B080-BB8D6F5C3D93}" dt="2024-05-10T15:35:07.329" v="21" actId="404"/>
          <ac:cxnSpMkLst>
            <pc:docMk/>
            <pc:sldMk cId="3931378583" sldId="333"/>
            <ac:cxnSpMk id="11" creationId="{7000BE67-0CEE-E4B1-0B4A-1331E7E37B80}"/>
          </ac:cxnSpMkLst>
        </pc:cxnChg>
        <pc:cxnChg chg="mod">
          <ac:chgData name="Veniero Facchetti" userId="f2c6c99af91c4974" providerId="LiveId" clId="{34DF7D6B-EB0F-4B53-B080-BB8D6F5C3D93}" dt="2024-05-10T15:35:07.329" v="21" actId="404"/>
          <ac:cxnSpMkLst>
            <pc:docMk/>
            <pc:sldMk cId="3931378583" sldId="333"/>
            <ac:cxnSpMk id="12" creationId="{F660735A-869D-9B93-022D-371E8E44AFCF}"/>
          </ac:cxnSpMkLst>
        </pc:cxnChg>
        <pc:cxnChg chg="mod">
          <ac:chgData name="Veniero Facchetti" userId="f2c6c99af91c4974" providerId="LiveId" clId="{34DF7D6B-EB0F-4B53-B080-BB8D6F5C3D93}" dt="2024-05-10T15:35:07.329" v="21" actId="404"/>
          <ac:cxnSpMkLst>
            <pc:docMk/>
            <pc:sldMk cId="3931378583" sldId="333"/>
            <ac:cxnSpMk id="13" creationId="{82CBD055-6972-7AD9-0A51-CF34C42B3934}"/>
          </ac:cxnSpMkLst>
        </pc:cxnChg>
        <pc:cxnChg chg="mod">
          <ac:chgData name="Veniero Facchetti" userId="f2c6c99af91c4974" providerId="LiveId" clId="{34DF7D6B-EB0F-4B53-B080-BB8D6F5C3D93}" dt="2024-05-10T15:35:07.329" v="21" actId="404"/>
          <ac:cxnSpMkLst>
            <pc:docMk/>
            <pc:sldMk cId="3931378583" sldId="333"/>
            <ac:cxnSpMk id="27" creationId="{3C788533-3102-6AA7-FACD-B5926EE888CE}"/>
          </ac:cxnSpMkLst>
        </pc:cxnChg>
        <pc:cxnChg chg="mod">
          <ac:chgData name="Veniero Facchetti" userId="f2c6c99af91c4974" providerId="LiveId" clId="{34DF7D6B-EB0F-4B53-B080-BB8D6F5C3D93}" dt="2024-05-10T15:35:07.329" v="21" actId="404"/>
          <ac:cxnSpMkLst>
            <pc:docMk/>
            <pc:sldMk cId="3931378583" sldId="333"/>
            <ac:cxnSpMk id="34" creationId="{1297BCCE-576C-B788-0CD2-C63A80B44A24}"/>
          </ac:cxnSpMkLst>
        </pc:cxnChg>
        <pc:cxnChg chg="mod">
          <ac:chgData name="Veniero Facchetti" userId="f2c6c99af91c4974" providerId="LiveId" clId="{34DF7D6B-EB0F-4B53-B080-BB8D6F5C3D93}" dt="2024-05-10T15:35:07.329" v="21" actId="404"/>
          <ac:cxnSpMkLst>
            <pc:docMk/>
            <pc:sldMk cId="3931378583" sldId="333"/>
            <ac:cxnSpMk id="37" creationId="{99EA9826-E057-C09A-8FD4-D2E3D2E1FAE8}"/>
          </ac:cxnSpMkLst>
        </pc:cxnChg>
        <pc:cxnChg chg="mod">
          <ac:chgData name="Veniero Facchetti" userId="f2c6c99af91c4974" providerId="LiveId" clId="{34DF7D6B-EB0F-4B53-B080-BB8D6F5C3D93}" dt="2024-05-10T15:35:07.329" v="21" actId="404"/>
          <ac:cxnSpMkLst>
            <pc:docMk/>
            <pc:sldMk cId="3931378583" sldId="333"/>
            <ac:cxnSpMk id="40" creationId="{BFF2838B-50DE-590E-AF6F-0D41E696A7BD}"/>
          </ac:cxnSpMkLst>
        </pc:cxnChg>
        <pc:cxnChg chg="mod">
          <ac:chgData name="Veniero Facchetti" userId="f2c6c99af91c4974" providerId="LiveId" clId="{34DF7D6B-EB0F-4B53-B080-BB8D6F5C3D93}" dt="2024-05-10T15:35:07.329" v="21" actId="404"/>
          <ac:cxnSpMkLst>
            <pc:docMk/>
            <pc:sldMk cId="3931378583" sldId="333"/>
            <ac:cxnSpMk id="42" creationId="{5B7F3C57-C87A-D0C7-07CB-7553C9138E50}"/>
          </ac:cxnSpMkLst>
        </pc:cxnChg>
      </pc:sldChg>
      <pc:sldChg chg="addSp delSp modSp add mod">
        <pc:chgData name="Veniero Facchetti" userId="f2c6c99af91c4974" providerId="LiveId" clId="{34DF7D6B-EB0F-4B53-B080-BB8D6F5C3D93}" dt="2024-05-10T15:36:51.281" v="91" actId="1076"/>
        <pc:sldMkLst>
          <pc:docMk/>
          <pc:sldMk cId="3385753115" sldId="334"/>
        </pc:sldMkLst>
        <pc:spChg chg="del">
          <ac:chgData name="Veniero Facchetti" userId="f2c6c99af91c4974" providerId="LiveId" clId="{34DF7D6B-EB0F-4B53-B080-BB8D6F5C3D93}" dt="2024-05-10T15:35:31.736" v="37" actId="478"/>
          <ac:spMkLst>
            <pc:docMk/>
            <pc:sldMk cId="3385753115" sldId="334"/>
            <ac:spMk id="2" creationId="{2730E5BB-30D5-E269-473C-D45C166E1A27}"/>
          </ac:spMkLst>
        </pc:spChg>
        <pc:spChg chg="del">
          <ac:chgData name="Veniero Facchetti" userId="f2c6c99af91c4974" providerId="LiveId" clId="{34DF7D6B-EB0F-4B53-B080-BB8D6F5C3D93}" dt="2024-05-10T15:35:31.736" v="37" actId="478"/>
          <ac:spMkLst>
            <pc:docMk/>
            <pc:sldMk cId="3385753115" sldId="334"/>
            <ac:spMk id="4" creationId="{3C6644FB-BC30-8276-5857-52D02E14B24A}"/>
          </ac:spMkLst>
        </pc:spChg>
        <pc:spChg chg="del">
          <ac:chgData name="Veniero Facchetti" userId="f2c6c99af91c4974" providerId="LiveId" clId="{34DF7D6B-EB0F-4B53-B080-BB8D6F5C3D93}" dt="2024-05-10T15:35:31.736" v="37" actId="478"/>
          <ac:spMkLst>
            <pc:docMk/>
            <pc:sldMk cId="3385753115" sldId="334"/>
            <ac:spMk id="5" creationId="{3DD05443-734A-9CEE-D17C-208C6FB127D7}"/>
          </ac:spMkLst>
        </pc:spChg>
        <pc:spChg chg="mod">
          <ac:chgData name="Veniero Facchetti" userId="f2c6c99af91c4974" providerId="LiveId" clId="{34DF7D6B-EB0F-4B53-B080-BB8D6F5C3D93}" dt="2024-05-10T15:35:48.868" v="38"/>
          <ac:spMkLst>
            <pc:docMk/>
            <pc:sldMk cId="3385753115" sldId="334"/>
            <ac:spMk id="6" creationId="{C57A0B68-948F-CBED-97A5-A01371066D12}"/>
          </ac:spMkLst>
        </pc:spChg>
        <pc:spChg chg="del">
          <ac:chgData name="Veniero Facchetti" userId="f2c6c99af91c4974" providerId="LiveId" clId="{34DF7D6B-EB0F-4B53-B080-BB8D6F5C3D93}" dt="2024-05-10T15:35:31.736" v="37" actId="478"/>
          <ac:spMkLst>
            <pc:docMk/>
            <pc:sldMk cId="3385753115" sldId="334"/>
            <ac:spMk id="7" creationId="{48BDD9D7-B3ED-A89D-8028-9C4C9F4ED8F3}"/>
          </ac:spMkLst>
        </pc:spChg>
        <pc:spChg chg="del">
          <ac:chgData name="Veniero Facchetti" userId="f2c6c99af91c4974" providerId="LiveId" clId="{34DF7D6B-EB0F-4B53-B080-BB8D6F5C3D93}" dt="2024-05-10T15:35:31.736" v="37" actId="478"/>
          <ac:spMkLst>
            <pc:docMk/>
            <pc:sldMk cId="3385753115" sldId="334"/>
            <ac:spMk id="8" creationId="{BCB8DE11-53A5-8D27-829E-16A88D1F3D53}"/>
          </ac:spMkLst>
        </pc:spChg>
        <pc:spChg chg="del">
          <ac:chgData name="Veniero Facchetti" userId="f2c6c99af91c4974" providerId="LiveId" clId="{34DF7D6B-EB0F-4B53-B080-BB8D6F5C3D93}" dt="2024-05-10T15:35:31.736" v="37" actId="478"/>
          <ac:spMkLst>
            <pc:docMk/>
            <pc:sldMk cId="3385753115" sldId="334"/>
            <ac:spMk id="9" creationId="{E61A2FC6-AB01-B737-ADE0-BF77EA440B46}"/>
          </ac:spMkLst>
        </pc:spChg>
        <pc:spChg chg="del">
          <ac:chgData name="Veniero Facchetti" userId="f2c6c99af91c4974" providerId="LiveId" clId="{34DF7D6B-EB0F-4B53-B080-BB8D6F5C3D93}" dt="2024-05-10T15:35:31.736" v="37" actId="478"/>
          <ac:spMkLst>
            <pc:docMk/>
            <pc:sldMk cId="3385753115" sldId="334"/>
            <ac:spMk id="14" creationId="{23E24E26-89C5-47EB-1E19-ECDD43A09091}"/>
          </ac:spMkLst>
        </pc:spChg>
        <pc:spChg chg="del">
          <ac:chgData name="Veniero Facchetti" userId="f2c6c99af91c4974" providerId="LiveId" clId="{34DF7D6B-EB0F-4B53-B080-BB8D6F5C3D93}" dt="2024-05-10T15:35:31.736" v="37" actId="478"/>
          <ac:spMkLst>
            <pc:docMk/>
            <pc:sldMk cId="3385753115" sldId="334"/>
            <ac:spMk id="15" creationId="{ADA3111A-CB58-3303-560C-E7BCD81343A1}"/>
          </ac:spMkLst>
        </pc:spChg>
        <pc:spChg chg="del">
          <ac:chgData name="Veniero Facchetti" userId="f2c6c99af91c4974" providerId="LiveId" clId="{34DF7D6B-EB0F-4B53-B080-BB8D6F5C3D93}" dt="2024-05-10T15:35:31.736" v="37" actId="478"/>
          <ac:spMkLst>
            <pc:docMk/>
            <pc:sldMk cId="3385753115" sldId="334"/>
            <ac:spMk id="16" creationId="{107A5CC3-0657-942C-FD00-4054245FB610}"/>
          </ac:spMkLst>
        </pc:spChg>
        <pc:spChg chg="del">
          <ac:chgData name="Veniero Facchetti" userId="f2c6c99af91c4974" providerId="LiveId" clId="{34DF7D6B-EB0F-4B53-B080-BB8D6F5C3D93}" dt="2024-05-10T15:35:31.736" v="37" actId="478"/>
          <ac:spMkLst>
            <pc:docMk/>
            <pc:sldMk cId="3385753115" sldId="334"/>
            <ac:spMk id="17" creationId="{9F2B2030-D4A4-457F-A1B5-7FF8C7B67893}"/>
          </ac:spMkLst>
        </pc:spChg>
        <pc:spChg chg="del">
          <ac:chgData name="Veniero Facchetti" userId="f2c6c99af91c4974" providerId="LiveId" clId="{34DF7D6B-EB0F-4B53-B080-BB8D6F5C3D93}" dt="2024-05-10T15:35:31.736" v="37" actId="478"/>
          <ac:spMkLst>
            <pc:docMk/>
            <pc:sldMk cId="3385753115" sldId="334"/>
            <ac:spMk id="18" creationId="{35FCA979-FDB6-7EB9-C99F-A8452BBAEB18}"/>
          </ac:spMkLst>
        </pc:spChg>
        <pc:spChg chg="del">
          <ac:chgData name="Veniero Facchetti" userId="f2c6c99af91c4974" providerId="LiveId" clId="{34DF7D6B-EB0F-4B53-B080-BB8D6F5C3D93}" dt="2024-05-10T15:35:31.736" v="37" actId="478"/>
          <ac:spMkLst>
            <pc:docMk/>
            <pc:sldMk cId="3385753115" sldId="334"/>
            <ac:spMk id="19" creationId="{DC37F07C-A1E1-E3CA-1EDC-8B61790B86F7}"/>
          </ac:spMkLst>
        </pc:spChg>
        <pc:spChg chg="del">
          <ac:chgData name="Veniero Facchetti" userId="f2c6c99af91c4974" providerId="LiveId" clId="{34DF7D6B-EB0F-4B53-B080-BB8D6F5C3D93}" dt="2024-05-10T15:35:31.736" v="37" actId="478"/>
          <ac:spMkLst>
            <pc:docMk/>
            <pc:sldMk cId="3385753115" sldId="334"/>
            <ac:spMk id="20" creationId="{1217E862-E621-49D5-D5E8-2574DE48EEE8}"/>
          </ac:spMkLst>
        </pc:spChg>
        <pc:spChg chg="del">
          <ac:chgData name="Veniero Facchetti" userId="f2c6c99af91c4974" providerId="LiveId" clId="{34DF7D6B-EB0F-4B53-B080-BB8D6F5C3D93}" dt="2024-05-10T15:35:31.736" v="37" actId="478"/>
          <ac:spMkLst>
            <pc:docMk/>
            <pc:sldMk cId="3385753115" sldId="334"/>
            <ac:spMk id="21" creationId="{D195E5AF-A001-D7CE-AF62-A73F584EA8CF}"/>
          </ac:spMkLst>
        </pc:spChg>
        <pc:spChg chg="del">
          <ac:chgData name="Veniero Facchetti" userId="f2c6c99af91c4974" providerId="LiveId" clId="{34DF7D6B-EB0F-4B53-B080-BB8D6F5C3D93}" dt="2024-05-10T15:35:31.736" v="37" actId="478"/>
          <ac:spMkLst>
            <pc:docMk/>
            <pc:sldMk cId="3385753115" sldId="334"/>
            <ac:spMk id="22" creationId="{11C401C4-42DF-27DF-F257-865773C6FC18}"/>
          </ac:spMkLst>
        </pc:spChg>
        <pc:spChg chg="del">
          <ac:chgData name="Veniero Facchetti" userId="f2c6c99af91c4974" providerId="LiveId" clId="{34DF7D6B-EB0F-4B53-B080-BB8D6F5C3D93}" dt="2024-05-10T15:35:31.736" v="37" actId="478"/>
          <ac:spMkLst>
            <pc:docMk/>
            <pc:sldMk cId="3385753115" sldId="334"/>
            <ac:spMk id="23" creationId="{EDA13E00-6329-57B7-DA81-4C5C7A576C42}"/>
          </ac:spMkLst>
        </pc:spChg>
        <pc:spChg chg="del">
          <ac:chgData name="Veniero Facchetti" userId="f2c6c99af91c4974" providerId="LiveId" clId="{34DF7D6B-EB0F-4B53-B080-BB8D6F5C3D93}" dt="2024-05-10T15:35:31.736" v="37" actId="478"/>
          <ac:spMkLst>
            <pc:docMk/>
            <pc:sldMk cId="3385753115" sldId="334"/>
            <ac:spMk id="24" creationId="{13C0279C-2353-26FF-529E-154D00D75E2D}"/>
          </ac:spMkLst>
        </pc:spChg>
        <pc:spChg chg="del">
          <ac:chgData name="Veniero Facchetti" userId="f2c6c99af91c4974" providerId="LiveId" clId="{34DF7D6B-EB0F-4B53-B080-BB8D6F5C3D93}" dt="2024-05-10T15:35:31.736" v="37" actId="478"/>
          <ac:spMkLst>
            <pc:docMk/>
            <pc:sldMk cId="3385753115" sldId="334"/>
            <ac:spMk id="25" creationId="{C9FEC4B9-10BB-ADD7-9F12-6B840D8D4676}"/>
          </ac:spMkLst>
        </pc:spChg>
        <pc:spChg chg="del">
          <ac:chgData name="Veniero Facchetti" userId="f2c6c99af91c4974" providerId="LiveId" clId="{34DF7D6B-EB0F-4B53-B080-BB8D6F5C3D93}" dt="2024-05-10T15:35:31.736" v="37" actId="478"/>
          <ac:spMkLst>
            <pc:docMk/>
            <pc:sldMk cId="3385753115" sldId="334"/>
            <ac:spMk id="26" creationId="{94E73FC1-4A34-3786-D36D-6E2717CDB067}"/>
          </ac:spMkLst>
        </pc:spChg>
        <pc:spChg chg="del">
          <ac:chgData name="Veniero Facchetti" userId="f2c6c99af91c4974" providerId="LiveId" clId="{34DF7D6B-EB0F-4B53-B080-BB8D6F5C3D93}" dt="2024-05-10T15:35:31.736" v="37" actId="478"/>
          <ac:spMkLst>
            <pc:docMk/>
            <pc:sldMk cId="3385753115" sldId="334"/>
            <ac:spMk id="29" creationId="{FCCA0B17-08CA-410F-ECA4-0AFEFD8757D2}"/>
          </ac:spMkLst>
        </pc:spChg>
        <pc:spChg chg="del">
          <ac:chgData name="Veniero Facchetti" userId="f2c6c99af91c4974" providerId="LiveId" clId="{34DF7D6B-EB0F-4B53-B080-BB8D6F5C3D93}" dt="2024-05-10T15:35:31.736" v="37" actId="478"/>
          <ac:spMkLst>
            <pc:docMk/>
            <pc:sldMk cId="3385753115" sldId="334"/>
            <ac:spMk id="30" creationId="{52A6A825-2534-B972-6B4F-09DE48A5EAFB}"/>
          </ac:spMkLst>
        </pc:spChg>
        <pc:spChg chg="del">
          <ac:chgData name="Veniero Facchetti" userId="f2c6c99af91c4974" providerId="LiveId" clId="{34DF7D6B-EB0F-4B53-B080-BB8D6F5C3D93}" dt="2024-05-10T15:35:31.736" v="37" actId="478"/>
          <ac:spMkLst>
            <pc:docMk/>
            <pc:sldMk cId="3385753115" sldId="334"/>
            <ac:spMk id="31" creationId="{402ED970-E7A9-F454-E330-4B674CD98770}"/>
          </ac:spMkLst>
        </pc:spChg>
        <pc:spChg chg="del">
          <ac:chgData name="Veniero Facchetti" userId="f2c6c99af91c4974" providerId="LiveId" clId="{34DF7D6B-EB0F-4B53-B080-BB8D6F5C3D93}" dt="2024-05-10T15:35:31.736" v="37" actId="478"/>
          <ac:spMkLst>
            <pc:docMk/>
            <pc:sldMk cId="3385753115" sldId="334"/>
            <ac:spMk id="32" creationId="{FD33732B-72F9-47FD-1A87-8E20E3F0A681}"/>
          </ac:spMkLst>
        </pc:spChg>
        <pc:spChg chg="del">
          <ac:chgData name="Veniero Facchetti" userId="f2c6c99af91c4974" providerId="LiveId" clId="{34DF7D6B-EB0F-4B53-B080-BB8D6F5C3D93}" dt="2024-05-10T15:35:31.736" v="37" actId="478"/>
          <ac:spMkLst>
            <pc:docMk/>
            <pc:sldMk cId="3385753115" sldId="334"/>
            <ac:spMk id="43" creationId="{FDECB3C6-76AC-815D-6F76-C305FB459445}"/>
          </ac:spMkLst>
        </pc:spChg>
        <pc:spChg chg="del">
          <ac:chgData name="Veniero Facchetti" userId="f2c6c99af91c4974" providerId="LiveId" clId="{34DF7D6B-EB0F-4B53-B080-BB8D6F5C3D93}" dt="2024-05-10T15:35:31.736" v="37" actId="478"/>
          <ac:spMkLst>
            <pc:docMk/>
            <pc:sldMk cId="3385753115" sldId="334"/>
            <ac:spMk id="44" creationId="{BAB94BCC-37B6-6844-5C89-DA1695BF6AA1}"/>
          </ac:spMkLst>
        </pc:spChg>
        <pc:spChg chg="del">
          <ac:chgData name="Veniero Facchetti" userId="f2c6c99af91c4974" providerId="LiveId" clId="{34DF7D6B-EB0F-4B53-B080-BB8D6F5C3D93}" dt="2024-05-10T15:35:31.736" v="37" actId="478"/>
          <ac:spMkLst>
            <pc:docMk/>
            <pc:sldMk cId="3385753115" sldId="334"/>
            <ac:spMk id="45" creationId="{081D20E8-7E30-1509-4617-837100D21D98}"/>
          </ac:spMkLst>
        </pc:spChg>
        <pc:spChg chg="add mod">
          <ac:chgData name="Veniero Facchetti" userId="f2c6c99af91c4974" providerId="LiveId" clId="{34DF7D6B-EB0F-4B53-B080-BB8D6F5C3D93}" dt="2024-05-10T15:36:43.216" v="90" actId="1035"/>
          <ac:spMkLst>
            <pc:docMk/>
            <pc:sldMk cId="3385753115" sldId="334"/>
            <ac:spMk id="47" creationId="{70856828-44A6-08C3-0346-ACF7CFA18BFE}"/>
          </ac:spMkLst>
        </pc:spChg>
        <pc:spChg chg="add mod">
          <ac:chgData name="Veniero Facchetti" userId="f2c6c99af91c4974" providerId="LiveId" clId="{34DF7D6B-EB0F-4B53-B080-BB8D6F5C3D93}" dt="2024-05-10T15:36:43.216" v="90" actId="1035"/>
          <ac:spMkLst>
            <pc:docMk/>
            <pc:sldMk cId="3385753115" sldId="334"/>
            <ac:spMk id="48" creationId="{D735A20B-87C4-5366-B702-6523C07DA0CB}"/>
          </ac:spMkLst>
        </pc:spChg>
        <pc:spChg chg="add mod">
          <ac:chgData name="Veniero Facchetti" userId="f2c6c99af91c4974" providerId="LiveId" clId="{34DF7D6B-EB0F-4B53-B080-BB8D6F5C3D93}" dt="2024-05-10T15:36:43.216" v="90" actId="1035"/>
          <ac:spMkLst>
            <pc:docMk/>
            <pc:sldMk cId="3385753115" sldId="334"/>
            <ac:spMk id="49" creationId="{076A5832-1CB3-665E-5308-2F5BB5A8829F}"/>
          </ac:spMkLst>
        </pc:spChg>
        <pc:spChg chg="add mod">
          <ac:chgData name="Veniero Facchetti" userId="f2c6c99af91c4974" providerId="LiveId" clId="{34DF7D6B-EB0F-4B53-B080-BB8D6F5C3D93}" dt="2024-05-10T15:36:43.216" v="90" actId="1035"/>
          <ac:spMkLst>
            <pc:docMk/>
            <pc:sldMk cId="3385753115" sldId="334"/>
            <ac:spMk id="50" creationId="{B9E1BF90-6B14-439B-5258-14FD3160DB39}"/>
          </ac:spMkLst>
        </pc:spChg>
        <pc:spChg chg="add mod">
          <ac:chgData name="Veniero Facchetti" userId="f2c6c99af91c4974" providerId="LiveId" clId="{34DF7D6B-EB0F-4B53-B080-BB8D6F5C3D93}" dt="2024-05-10T15:36:43.216" v="90" actId="1035"/>
          <ac:spMkLst>
            <pc:docMk/>
            <pc:sldMk cId="3385753115" sldId="334"/>
            <ac:spMk id="51" creationId="{08D82F1A-573E-5167-C6C4-CB28325AAC94}"/>
          </ac:spMkLst>
        </pc:spChg>
        <pc:spChg chg="add mod">
          <ac:chgData name="Veniero Facchetti" userId="f2c6c99af91c4974" providerId="LiveId" clId="{34DF7D6B-EB0F-4B53-B080-BB8D6F5C3D93}" dt="2024-05-10T15:36:43.216" v="90" actId="1035"/>
          <ac:spMkLst>
            <pc:docMk/>
            <pc:sldMk cId="3385753115" sldId="334"/>
            <ac:spMk id="52" creationId="{92A4BD23-5FDF-56F3-955C-4291A4815D17}"/>
          </ac:spMkLst>
        </pc:spChg>
        <pc:spChg chg="add mod">
          <ac:chgData name="Veniero Facchetti" userId="f2c6c99af91c4974" providerId="LiveId" clId="{34DF7D6B-EB0F-4B53-B080-BB8D6F5C3D93}" dt="2024-05-10T15:36:43.216" v="90" actId="1035"/>
          <ac:spMkLst>
            <pc:docMk/>
            <pc:sldMk cId="3385753115" sldId="334"/>
            <ac:spMk id="53" creationId="{C6AA405F-4E40-06DD-A244-C11B2DA9F707}"/>
          </ac:spMkLst>
        </pc:spChg>
        <pc:spChg chg="add mod">
          <ac:chgData name="Veniero Facchetti" userId="f2c6c99af91c4974" providerId="LiveId" clId="{34DF7D6B-EB0F-4B53-B080-BB8D6F5C3D93}" dt="2024-05-10T15:36:43.216" v="90" actId="1035"/>
          <ac:spMkLst>
            <pc:docMk/>
            <pc:sldMk cId="3385753115" sldId="334"/>
            <ac:spMk id="54" creationId="{974970A1-6283-B7CA-6A79-87C79D4CDDD2}"/>
          </ac:spMkLst>
        </pc:spChg>
        <pc:spChg chg="add mod">
          <ac:chgData name="Veniero Facchetti" userId="f2c6c99af91c4974" providerId="LiveId" clId="{34DF7D6B-EB0F-4B53-B080-BB8D6F5C3D93}" dt="2024-05-10T15:36:43.216" v="90" actId="1035"/>
          <ac:spMkLst>
            <pc:docMk/>
            <pc:sldMk cId="3385753115" sldId="334"/>
            <ac:spMk id="55" creationId="{BF0D3D94-C594-5005-FDC3-6FF896F3277B}"/>
          </ac:spMkLst>
        </pc:spChg>
        <pc:spChg chg="add mod">
          <ac:chgData name="Veniero Facchetti" userId="f2c6c99af91c4974" providerId="LiveId" clId="{34DF7D6B-EB0F-4B53-B080-BB8D6F5C3D93}" dt="2024-05-10T15:36:43.216" v="90" actId="1035"/>
          <ac:spMkLst>
            <pc:docMk/>
            <pc:sldMk cId="3385753115" sldId="334"/>
            <ac:spMk id="56" creationId="{FA2D7B3A-377F-2A5B-8FF9-A59D8ED47E5B}"/>
          </ac:spMkLst>
        </pc:spChg>
        <pc:spChg chg="add mod">
          <ac:chgData name="Veniero Facchetti" userId="f2c6c99af91c4974" providerId="LiveId" clId="{34DF7D6B-EB0F-4B53-B080-BB8D6F5C3D93}" dt="2024-05-10T15:36:43.216" v="90" actId="1035"/>
          <ac:spMkLst>
            <pc:docMk/>
            <pc:sldMk cId="3385753115" sldId="334"/>
            <ac:spMk id="57" creationId="{514B5EC5-1A88-DF62-038C-24D2DFAB6F87}"/>
          </ac:spMkLst>
        </pc:spChg>
        <pc:spChg chg="add mod">
          <ac:chgData name="Veniero Facchetti" userId="f2c6c99af91c4974" providerId="LiveId" clId="{34DF7D6B-EB0F-4B53-B080-BB8D6F5C3D93}" dt="2024-05-10T15:36:43.216" v="90" actId="1035"/>
          <ac:spMkLst>
            <pc:docMk/>
            <pc:sldMk cId="3385753115" sldId="334"/>
            <ac:spMk id="58" creationId="{E4819F8F-7618-A1B9-DB96-B13594AD6BD5}"/>
          </ac:spMkLst>
        </pc:spChg>
        <pc:spChg chg="add mod">
          <ac:chgData name="Veniero Facchetti" userId="f2c6c99af91c4974" providerId="LiveId" clId="{34DF7D6B-EB0F-4B53-B080-BB8D6F5C3D93}" dt="2024-05-10T15:36:43.216" v="90" actId="1035"/>
          <ac:spMkLst>
            <pc:docMk/>
            <pc:sldMk cId="3385753115" sldId="334"/>
            <ac:spMk id="59" creationId="{ABA43DFA-0637-9C9F-1D0E-8D3B9CFE14D7}"/>
          </ac:spMkLst>
        </pc:spChg>
        <pc:spChg chg="add mod">
          <ac:chgData name="Veniero Facchetti" userId="f2c6c99af91c4974" providerId="LiveId" clId="{34DF7D6B-EB0F-4B53-B080-BB8D6F5C3D93}" dt="2024-05-10T15:36:43.216" v="90" actId="1035"/>
          <ac:spMkLst>
            <pc:docMk/>
            <pc:sldMk cId="3385753115" sldId="334"/>
            <ac:spMk id="60" creationId="{13C071C9-AC0C-1A1D-1995-3B952F49F3F2}"/>
          </ac:spMkLst>
        </pc:spChg>
        <pc:spChg chg="add mod">
          <ac:chgData name="Veniero Facchetti" userId="f2c6c99af91c4974" providerId="LiveId" clId="{34DF7D6B-EB0F-4B53-B080-BB8D6F5C3D93}" dt="2024-05-10T15:36:43.216" v="90" actId="1035"/>
          <ac:spMkLst>
            <pc:docMk/>
            <pc:sldMk cId="3385753115" sldId="334"/>
            <ac:spMk id="61" creationId="{2B3614EE-5E13-EBB2-23D7-8EF7FB418050}"/>
          </ac:spMkLst>
        </pc:spChg>
        <pc:spChg chg="add mod">
          <ac:chgData name="Veniero Facchetti" userId="f2c6c99af91c4974" providerId="LiveId" clId="{34DF7D6B-EB0F-4B53-B080-BB8D6F5C3D93}" dt="2024-05-10T15:36:43.216" v="90" actId="1035"/>
          <ac:spMkLst>
            <pc:docMk/>
            <pc:sldMk cId="3385753115" sldId="334"/>
            <ac:spMk id="62" creationId="{490F5C4A-97CF-AE64-34FF-964FB78E35AF}"/>
          </ac:spMkLst>
        </pc:spChg>
        <pc:spChg chg="add mod">
          <ac:chgData name="Veniero Facchetti" userId="f2c6c99af91c4974" providerId="LiveId" clId="{34DF7D6B-EB0F-4B53-B080-BB8D6F5C3D93}" dt="2024-05-10T15:36:43.216" v="90" actId="1035"/>
          <ac:spMkLst>
            <pc:docMk/>
            <pc:sldMk cId="3385753115" sldId="334"/>
            <ac:spMk id="63" creationId="{3F01CF1E-669D-B61E-F58E-C6F66B01D50C}"/>
          </ac:spMkLst>
        </pc:spChg>
        <pc:spChg chg="add mod">
          <ac:chgData name="Veniero Facchetti" userId="f2c6c99af91c4974" providerId="LiveId" clId="{34DF7D6B-EB0F-4B53-B080-BB8D6F5C3D93}" dt="2024-05-10T15:36:43.216" v="90" actId="1035"/>
          <ac:spMkLst>
            <pc:docMk/>
            <pc:sldMk cId="3385753115" sldId="334"/>
            <ac:spMk id="64" creationId="{66A8EC62-773D-748E-200E-4E353084A81B}"/>
          </ac:spMkLst>
        </pc:spChg>
        <pc:spChg chg="add mod">
          <ac:chgData name="Veniero Facchetti" userId="f2c6c99af91c4974" providerId="LiveId" clId="{34DF7D6B-EB0F-4B53-B080-BB8D6F5C3D93}" dt="2024-05-10T15:36:43.216" v="90" actId="1035"/>
          <ac:spMkLst>
            <pc:docMk/>
            <pc:sldMk cId="3385753115" sldId="334"/>
            <ac:spMk id="65" creationId="{E79F27D8-0ADA-8A61-E3EE-B642DD6B8B73}"/>
          </ac:spMkLst>
        </pc:spChg>
        <pc:spChg chg="add mod">
          <ac:chgData name="Veniero Facchetti" userId="f2c6c99af91c4974" providerId="LiveId" clId="{34DF7D6B-EB0F-4B53-B080-BB8D6F5C3D93}" dt="2024-05-10T15:36:43.216" v="90" actId="1035"/>
          <ac:spMkLst>
            <pc:docMk/>
            <pc:sldMk cId="3385753115" sldId="334"/>
            <ac:spMk id="66" creationId="{A8F9EB09-FEFC-7C1E-B8A8-5DEAB6B34C17}"/>
          </ac:spMkLst>
        </pc:spChg>
        <pc:spChg chg="add mod">
          <ac:chgData name="Veniero Facchetti" userId="f2c6c99af91c4974" providerId="LiveId" clId="{34DF7D6B-EB0F-4B53-B080-BB8D6F5C3D93}" dt="2024-05-10T15:36:43.216" v="90" actId="1035"/>
          <ac:spMkLst>
            <pc:docMk/>
            <pc:sldMk cId="3385753115" sldId="334"/>
            <ac:spMk id="67" creationId="{1FB516AA-71E5-2137-1B1F-495CA98B01A3}"/>
          </ac:spMkLst>
        </pc:spChg>
        <pc:spChg chg="add mod">
          <ac:chgData name="Veniero Facchetti" userId="f2c6c99af91c4974" providerId="LiveId" clId="{34DF7D6B-EB0F-4B53-B080-BB8D6F5C3D93}" dt="2024-05-10T15:36:43.216" v="90" actId="1035"/>
          <ac:spMkLst>
            <pc:docMk/>
            <pc:sldMk cId="3385753115" sldId="334"/>
            <ac:spMk id="68" creationId="{EA02ACE3-139C-6699-6D2A-F3BBAA6A0ABE}"/>
          </ac:spMkLst>
        </pc:spChg>
        <pc:spChg chg="add mod">
          <ac:chgData name="Veniero Facchetti" userId="f2c6c99af91c4974" providerId="LiveId" clId="{34DF7D6B-EB0F-4B53-B080-BB8D6F5C3D93}" dt="2024-05-10T15:36:43.216" v="90" actId="1035"/>
          <ac:spMkLst>
            <pc:docMk/>
            <pc:sldMk cId="3385753115" sldId="334"/>
            <ac:spMk id="69" creationId="{E29F6E03-4397-7F63-7FA8-251DDCFD90FB}"/>
          </ac:spMkLst>
        </pc:spChg>
        <pc:spChg chg="add mod">
          <ac:chgData name="Veniero Facchetti" userId="f2c6c99af91c4974" providerId="LiveId" clId="{34DF7D6B-EB0F-4B53-B080-BB8D6F5C3D93}" dt="2024-05-10T15:36:43.216" v="90" actId="1035"/>
          <ac:spMkLst>
            <pc:docMk/>
            <pc:sldMk cId="3385753115" sldId="334"/>
            <ac:spMk id="70" creationId="{49D5232F-7719-21E5-7B64-6EDDF2911A72}"/>
          </ac:spMkLst>
        </pc:spChg>
        <pc:spChg chg="add mod">
          <ac:chgData name="Veniero Facchetti" userId="f2c6c99af91c4974" providerId="LiveId" clId="{34DF7D6B-EB0F-4B53-B080-BB8D6F5C3D93}" dt="2024-05-10T15:36:43.216" v="90" actId="1035"/>
          <ac:spMkLst>
            <pc:docMk/>
            <pc:sldMk cId="3385753115" sldId="334"/>
            <ac:spMk id="71" creationId="{0D590EEC-7E0E-F78A-F78D-5A788C12BF8F}"/>
          </ac:spMkLst>
        </pc:spChg>
        <pc:spChg chg="add mod">
          <ac:chgData name="Veniero Facchetti" userId="f2c6c99af91c4974" providerId="LiveId" clId="{34DF7D6B-EB0F-4B53-B080-BB8D6F5C3D93}" dt="2024-05-10T15:36:43.216" v="90" actId="1035"/>
          <ac:spMkLst>
            <pc:docMk/>
            <pc:sldMk cId="3385753115" sldId="334"/>
            <ac:spMk id="72" creationId="{31CD8FA6-9038-1EFB-3C88-DE15118E6032}"/>
          </ac:spMkLst>
        </pc:spChg>
        <pc:spChg chg="add mod">
          <ac:chgData name="Veniero Facchetti" userId="f2c6c99af91c4974" providerId="LiveId" clId="{34DF7D6B-EB0F-4B53-B080-BB8D6F5C3D93}" dt="2024-05-10T15:36:43.216" v="90" actId="1035"/>
          <ac:spMkLst>
            <pc:docMk/>
            <pc:sldMk cId="3385753115" sldId="334"/>
            <ac:spMk id="73" creationId="{58D0D261-43DB-4959-9351-D2F0DA33787E}"/>
          </ac:spMkLst>
        </pc:spChg>
        <pc:spChg chg="add mod">
          <ac:chgData name="Veniero Facchetti" userId="f2c6c99af91c4974" providerId="LiveId" clId="{34DF7D6B-EB0F-4B53-B080-BB8D6F5C3D93}" dt="2024-05-10T15:36:34.083" v="72" actId="1036"/>
          <ac:spMkLst>
            <pc:docMk/>
            <pc:sldMk cId="3385753115" sldId="334"/>
            <ac:spMk id="75" creationId="{AAE16ADF-A53F-83AC-4CA5-BDEBBF7B2577}"/>
          </ac:spMkLst>
        </pc:spChg>
        <pc:spChg chg="add mod">
          <ac:chgData name="Veniero Facchetti" userId="f2c6c99af91c4974" providerId="LiveId" clId="{34DF7D6B-EB0F-4B53-B080-BB8D6F5C3D93}" dt="2024-05-10T15:36:34.083" v="72" actId="1036"/>
          <ac:spMkLst>
            <pc:docMk/>
            <pc:sldMk cId="3385753115" sldId="334"/>
            <ac:spMk id="76" creationId="{B6A5D9CE-CF1C-6908-7D03-1FF71F0F3EBC}"/>
          </ac:spMkLst>
        </pc:spChg>
        <pc:spChg chg="add mod">
          <ac:chgData name="Veniero Facchetti" userId="f2c6c99af91c4974" providerId="LiveId" clId="{34DF7D6B-EB0F-4B53-B080-BB8D6F5C3D93}" dt="2024-05-10T15:36:34.083" v="72" actId="1036"/>
          <ac:spMkLst>
            <pc:docMk/>
            <pc:sldMk cId="3385753115" sldId="334"/>
            <ac:spMk id="78" creationId="{ADF04F8C-ED62-90EA-765A-9D329A714550}"/>
          </ac:spMkLst>
        </pc:spChg>
        <pc:spChg chg="add mod">
          <ac:chgData name="Veniero Facchetti" userId="f2c6c99af91c4974" providerId="LiveId" clId="{34DF7D6B-EB0F-4B53-B080-BB8D6F5C3D93}" dt="2024-05-10T15:36:34.083" v="72" actId="1036"/>
          <ac:spMkLst>
            <pc:docMk/>
            <pc:sldMk cId="3385753115" sldId="334"/>
            <ac:spMk id="80" creationId="{D80BB0FC-CE10-B1EC-1912-F2CB6B886200}"/>
          </ac:spMkLst>
        </pc:spChg>
        <pc:spChg chg="add mod">
          <ac:chgData name="Veniero Facchetti" userId="f2c6c99af91c4974" providerId="LiveId" clId="{34DF7D6B-EB0F-4B53-B080-BB8D6F5C3D93}" dt="2024-05-10T15:36:34.083" v="72" actId="1036"/>
          <ac:spMkLst>
            <pc:docMk/>
            <pc:sldMk cId="3385753115" sldId="334"/>
            <ac:spMk id="88" creationId="{FCA02F2C-EFFF-14BB-7597-4DB0C51B600C}"/>
          </ac:spMkLst>
        </pc:spChg>
        <pc:spChg chg="add mod">
          <ac:chgData name="Veniero Facchetti" userId="f2c6c99af91c4974" providerId="LiveId" clId="{34DF7D6B-EB0F-4B53-B080-BB8D6F5C3D93}" dt="2024-05-10T15:36:34.083" v="72" actId="1036"/>
          <ac:spMkLst>
            <pc:docMk/>
            <pc:sldMk cId="3385753115" sldId="334"/>
            <ac:spMk id="90" creationId="{07695EB1-DCE8-4383-A8FE-1101E0648617}"/>
          </ac:spMkLst>
        </pc:spChg>
        <pc:spChg chg="add mod">
          <ac:chgData name="Veniero Facchetti" userId="f2c6c99af91c4974" providerId="LiveId" clId="{34DF7D6B-EB0F-4B53-B080-BB8D6F5C3D93}" dt="2024-05-10T15:36:34.083" v="72" actId="1036"/>
          <ac:spMkLst>
            <pc:docMk/>
            <pc:sldMk cId="3385753115" sldId="334"/>
            <ac:spMk id="91" creationId="{D4A80139-636A-F058-2516-6F5036AF9294}"/>
          </ac:spMkLst>
        </pc:spChg>
        <pc:spChg chg="add mod">
          <ac:chgData name="Veniero Facchetti" userId="f2c6c99af91c4974" providerId="LiveId" clId="{34DF7D6B-EB0F-4B53-B080-BB8D6F5C3D93}" dt="2024-05-10T15:36:34.083" v="72" actId="1036"/>
          <ac:spMkLst>
            <pc:docMk/>
            <pc:sldMk cId="3385753115" sldId="334"/>
            <ac:spMk id="92" creationId="{AED4B766-4060-FD68-BD76-8E08EBB640D7}"/>
          </ac:spMkLst>
        </pc:spChg>
        <pc:spChg chg="add mod">
          <ac:chgData name="Veniero Facchetti" userId="f2c6c99af91c4974" providerId="LiveId" clId="{34DF7D6B-EB0F-4B53-B080-BB8D6F5C3D93}" dt="2024-05-10T15:36:34.083" v="72" actId="1036"/>
          <ac:spMkLst>
            <pc:docMk/>
            <pc:sldMk cId="3385753115" sldId="334"/>
            <ac:spMk id="94" creationId="{0E90B751-3338-B9B6-0E54-19A88BF04A87}"/>
          </ac:spMkLst>
        </pc:spChg>
        <pc:spChg chg="add mod">
          <ac:chgData name="Veniero Facchetti" userId="f2c6c99af91c4974" providerId="LiveId" clId="{34DF7D6B-EB0F-4B53-B080-BB8D6F5C3D93}" dt="2024-05-10T15:36:34.083" v="72" actId="1036"/>
          <ac:spMkLst>
            <pc:docMk/>
            <pc:sldMk cId="3385753115" sldId="334"/>
            <ac:spMk id="95" creationId="{B0BAFB80-2836-238D-A654-BC6E676AA455}"/>
          </ac:spMkLst>
        </pc:spChg>
        <pc:spChg chg="add mod">
          <ac:chgData name="Veniero Facchetti" userId="f2c6c99af91c4974" providerId="LiveId" clId="{34DF7D6B-EB0F-4B53-B080-BB8D6F5C3D93}" dt="2024-05-10T15:36:34.083" v="72" actId="1036"/>
          <ac:spMkLst>
            <pc:docMk/>
            <pc:sldMk cId="3385753115" sldId="334"/>
            <ac:spMk id="96" creationId="{C8B6601B-0BEC-01E2-2D64-FB32DB5DD346}"/>
          </ac:spMkLst>
        </pc:spChg>
        <pc:spChg chg="add mod">
          <ac:chgData name="Veniero Facchetti" userId="f2c6c99af91c4974" providerId="LiveId" clId="{34DF7D6B-EB0F-4B53-B080-BB8D6F5C3D93}" dt="2024-05-10T15:36:34.083" v="72" actId="1036"/>
          <ac:spMkLst>
            <pc:docMk/>
            <pc:sldMk cId="3385753115" sldId="334"/>
            <ac:spMk id="98" creationId="{6E379188-A11E-25AA-34BC-616A927234B0}"/>
          </ac:spMkLst>
        </pc:spChg>
        <pc:spChg chg="add mod">
          <ac:chgData name="Veniero Facchetti" userId="f2c6c99af91c4974" providerId="LiveId" clId="{34DF7D6B-EB0F-4B53-B080-BB8D6F5C3D93}" dt="2024-05-10T15:36:34.083" v="72" actId="1036"/>
          <ac:spMkLst>
            <pc:docMk/>
            <pc:sldMk cId="3385753115" sldId="334"/>
            <ac:spMk id="99" creationId="{C222CD0F-3AE5-0671-CC94-2C570BCBA5FF}"/>
          </ac:spMkLst>
        </pc:spChg>
        <pc:spChg chg="add mod">
          <ac:chgData name="Veniero Facchetti" userId="f2c6c99af91c4974" providerId="LiveId" clId="{34DF7D6B-EB0F-4B53-B080-BB8D6F5C3D93}" dt="2024-05-10T15:36:34.083" v="72" actId="1036"/>
          <ac:spMkLst>
            <pc:docMk/>
            <pc:sldMk cId="3385753115" sldId="334"/>
            <ac:spMk id="100" creationId="{B12D501B-F2FB-2005-037C-D549AC86D9A6}"/>
          </ac:spMkLst>
        </pc:spChg>
        <pc:spChg chg="add mod">
          <ac:chgData name="Veniero Facchetti" userId="f2c6c99af91c4974" providerId="LiveId" clId="{34DF7D6B-EB0F-4B53-B080-BB8D6F5C3D93}" dt="2024-05-10T15:36:34.083" v="72" actId="1036"/>
          <ac:spMkLst>
            <pc:docMk/>
            <pc:sldMk cId="3385753115" sldId="334"/>
            <ac:spMk id="102" creationId="{7D6BCC7C-440C-CFC0-6B87-0CF3BE14EF55}"/>
          </ac:spMkLst>
        </pc:spChg>
        <pc:spChg chg="add mod">
          <ac:chgData name="Veniero Facchetti" userId="f2c6c99af91c4974" providerId="LiveId" clId="{34DF7D6B-EB0F-4B53-B080-BB8D6F5C3D93}" dt="2024-05-10T15:36:34.083" v="72" actId="1036"/>
          <ac:spMkLst>
            <pc:docMk/>
            <pc:sldMk cId="3385753115" sldId="334"/>
            <ac:spMk id="103" creationId="{7FA00403-C6DE-F895-A20D-32DAA956230A}"/>
          </ac:spMkLst>
        </pc:spChg>
        <pc:spChg chg="add mod">
          <ac:chgData name="Veniero Facchetti" userId="f2c6c99af91c4974" providerId="LiveId" clId="{34DF7D6B-EB0F-4B53-B080-BB8D6F5C3D93}" dt="2024-05-10T15:36:34.083" v="72" actId="1036"/>
          <ac:spMkLst>
            <pc:docMk/>
            <pc:sldMk cId="3385753115" sldId="334"/>
            <ac:spMk id="104" creationId="{9C6907D6-AD29-20AB-FBCC-8AEB3E08C17B}"/>
          </ac:spMkLst>
        </pc:spChg>
        <pc:spChg chg="add mod">
          <ac:chgData name="Veniero Facchetti" userId="f2c6c99af91c4974" providerId="LiveId" clId="{34DF7D6B-EB0F-4B53-B080-BB8D6F5C3D93}" dt="2024-05-10T15:36:34.083" v="72" actId="1036"/>
          <ac:spMkLst>
            <pc:docMk/>
            <pc:sldMk cId="3385753115" sldId="334"/>
            <ac:spMk id="106" creationId="{96BCBC4D-9693-0478-2382-9308AEA72529}"/>
          </ac:spMkLst>
        </pc:spChg>
        <pc:spChg chg="add mod">
          <ac:chgData name="Veniero Facchetti" userId="f2c6c99af91c4974" providerId="LiveId" clId="{34DF7D6B-EB0F-4B53-B080-BB8D6F5C3D93}" dt="2024-05-10T15:36:34.083" v="72" actId="1036"/>
          <ac:spMkLst>
            <pc:docMk/>
            <pc:sldMk cId="3385753115" sldId="334"/>
            <ac:spMk id="107" creationId="{E319E303-8C55-36C4-58DC-C710C09EDF11}"/>
          </ac:spMkLst>
        </pc:spChg>
        <pc:spChg chg="add mod">
          <ac:chgData name="Veniero Facchetti" userId="f2c6c99af91c4974" providerId="LiveId" clId="{34DF7D6B-EB0F-4B53-B080-BB8D6F5C3D93}" dt="2024-05-10T15:36:34.083" v="72" actId="1036"/>
          <ac:spMkLst>
            <pc:docMk/>
            <pc:sldMk cId="3385753115" sldId="334"/>
            <ac:spMk id="108" creationId="{31A233A1-FC03-86EE-BAED-4E97F1E5FE65}"/>
          </ac:spMkLst>
        </pc:spChg>
        <pc:spChg chg="mod">
          <ac:chgData name="Veniero Facchetti" userId="f2c6c99af91c4974" providerId="LiveId" clId="{34DF7D6B-EB0F-4B53-B080-BB8D6F5C3D93}" dt="2024-05-10T15:35:59.766" v="40" actId="1076"/>
          <ac:spMkLst>
            <pc:docMk/>
            <pc:sldMk cId="3385753115" sldId="334"/>
            <ac:spMk id="112" creationId="{36D9AEA2-4CF5-82A6-E00F-EDE1D82BB616}"/>
          </ac:spMkLst>
        </pc:spChg>
        <pc:spChg chg="mod">
          <ac:chgData name="Veniero Facchetti" userId="f2c6c99af91c4974" providerId="LiveId" clId="{34DF7D6B-EB0F-4B53-B080-BB8D6F5C3D93}" dt="2024-05-10T15:35:59.766" v="40" actId="1076"/>
          <ac:spMkLst>
            <pc:docMk/>
            <pc:sldMk cId="3385753115" sldId="334"/>
            <ac:spMk id="115" creationId="{26BB6929-91DA-A27C-29BA-D2C3130DA9D3}"/>
          </ac:spMkLst>
        </pc:spChg>
        <pc:spChg chg="add mod">
          <ac:chgData name="Veniero Facchetti" userId="f2c6c99af91c4974" providerId="LiveId" clId="{34DF7D6B-EB0F-4B53-B080-BB8D6F5C3D93}" dt="2024-05-10T15:35:59.766" v="40" actId="1076"/>
          <ac:spMkLst>
            <pc:docMk/>
            <pc:sldMk cId="3385753115" sldId="334"/>
            <ac:spMk id="116" creationId="{0A552104-1B89-9611-4423-ABC7A83384AA}"/>
          </ac:spMkLst>
        </pc:spChg>
        <pc:spChg chg="add mod">
          <ac:chgData name="Veniero Facchetti" userId="f2c6c99af91c4974" providerId="LiveId" clId="{34DF7D6B-EB0F-4B53-B080-BB8D6F5C3D93}" dt="2024-05-10T15:36:51.281" v="91" actId="1076"/>
          <ac:spMkLst>
            <pc:docMk/>
            <pc:sldMk cId="3385753115" sldId="334"/>
            <ac:spMk id="117" creationId="{092436CC-0275-B8B4-F0B7-59A57D153958}"/>
          </ac:spMkLst>
        </pc:spChg>
        <pc:grpChg chg="del">
          <ac:chgData name="Veniero Facchetti" userId="f2c6c99af91c4974" providerId="LiveId" clId="{34DF7D6B-EB0F-4B53-B080-BB8D6F5C3D93}" dt="2024-05-10T15:35:31.736" v="37" actId="478"/>
          <ac:grpSpMkLst>
            <pc:docMk/>
            <pc:sldMk cId="3385753115" sldId="334"/>
            <ac:grpSpMk id="33" creationId="{667830DC-BE1B-3D0D-A276-5B6D5B04C88B}"/>
          </ac:grpSpMkLst>
        </pc:grpChg>
        <pc:grpChg chg="del">
          <ac:chgData name="Veniero Facchetti" userId="f2c6c99af91c4974" providerId="LiveId" clId="{34DF7D6B-EB0F-4B53-B080-BB8D6F5C3D93}" dt="2024-05-10T15:35:31.736" v="37" actId="478"/>
          <ac:grpSpMkLst>
            <pc:docMk/>
            <pc:sldMk cId="3385753115" sldId="334"/>
            <ac:grpSpMk id="36" creationId="{8C84AB8A-16A5-8EEE-3365-B6337FFA5AC8}"/>
          </ac:grpSpMkLst>
        </pc:grpChg>
        <pc:grpChg chg="del">
          <ac:chgData name="Veniero Facchetti" userId="f2c6c99af91c4974" providerId="LiveId" clId="{34DF7D6B-EB0F-4B53-B080-BB8D6F5C3D93}" dt="2024-05-10T15:35:31.736" v="37" actId="478"/>
          <ac:grpSpMkLst>
            <pc:docMk/>
            <pc:sldMk cId="3385753115" sldId="334"/>
            <ac:grpSpMk id="39" creationId="{D057E567-B9D8-BB82-D970-04421154F4CA}"/>
          </ac:grpSpMkLst>
        </pc:grpChg>
        <pc:grpChg chg="add mod">
          <ac:chgData name="Veniero Facchetti" userId="f2c6c99af91c4974" providerId="LiveId" clId="{34DF7D6B-EB0F-4B53-B080-BB8D6F5C3D93}" dt="2024-05-10T15:36:34.083" v="72" actId="1036"/>
          <ac:grpSpMkLst>
            <pc:docMk/>
            <pc:sldMk cId="3385753115" sldId="334"/>
            <ac:grpSpMk id="83" creationId="{EEFEF77E-D72B-0ABC-69B2-E1E0AED92658}"/>
          </ac:grpSpMkLst>
        </pc:grpChg>
        <pc:grpChg chg="add mod">
          <ac:chgData name="Veniero Facchetti" userId="f2c6c99af91c4974" providerId="LiveId" clId="{34DF7D6B-EB0F-4B53-B080-BB8D6F5C3D93}" dt="2024-05-10T15:36:16.631" v="47" actId="1035"/>
          <ac:grpSpMkLst>
            <pc:docMk/>
            <pc:sldMk cId="3385753115" sldId="334"/>
            <ac:grpSpMk id="110" creationId="{EEA812A0-8BBC-E43C-DB69-88257AA8E8FD}"/>
          </ac:grpSpMkLst>
        </pc:grpChg>
        <pc:grpChg chg="add mod">
          <ac:chgData name="Veniero Facchetti" userId="f2c6c99af91c4974" providerId="LiveId" clId="{34DF7D6B-EB0F-4B53-B080-BB8D6F5C3D93}" dt="2024-05-10T15:36:22.831" v="56" actId="1035"/>
          <ac:grpSpMkLst>
            <pc:docMk/>
            <pc:sldMk cId="3385753115" sldId="334"/>
            <ac:grpSpMk id="113" creationId="{46004DD6-D69C-7F92-3CC0-9449F011E027}"/>
          </ac:grpSpMkLst>
        </pc:grpChg>
        <pc:graphicFrameChg chg="del">
          <ac:chgData name="Veniero Facchetti" userId="f2c6c99af91c4974" providerId="LiveId" clId="{34DF7D6B-EB0F-4B53-B080-BB8D6F5C3D93}" dt="2024-05-10T15:35:31.736" v="37" actId="478"/>
          <ac:graphicFrameMkLst>
            <pc:docMk/>
            <pc:sldMk cId="3385753115" sldId="334"/>
            <ac:graphicFrameMk id="3" creationId="{D70ACAA2-BE7B-EEA3-5B12-29BC95E90D95}"/>
          </ac:graphicFrameMkLst>
        </pc:graphicFrameChg>
        <pc:graphicFrameChg chg="del">
          <ac:chgData name="Veniero Facchetti" userId="f2c6c99af91c4974" providerId="LiveId" clId="{34DF7D6B-EB0F-4B53-B080-BB8D6F5C3D93}" dt="2024-05-10T15:35:31.736" v="37" actId="478"/>
          <ac:graphicFrameMkLst>
            <pc:docMk/>
            <pc:sldMk cId="3385753115" sldId="334"/>
            <ac:graphicFrameMk id="10" creationId="{15D49648-73FC-8E56-53DC-E1D96D41FCD1}"/>
          </ac:graphicFrameMkLst>
        </pc:graphicFrameChg>
        <pc:graphicFrameChg chg="del">
          <ac:chgData name="Veniero Facchetti" userId="f2c6c99af91c4974" providerId="LiveId" clId="{34DF7D6B-EB0F-4B53-B080-BB8D6F5C3D93}" dt="2024-05-10T15:35:31.736" v="37" actId="478"/>
          <ac:graphicFrameMkLst>
            <pc:docMk/>
            <pc:sldMk cId="3385753115" sldId="334"/>
            <ac:graphicFrameMk id="28" creationId="{87A342E1-8F7B-91FC-D610-F4F997CD6D14}"/>
          </ac:graphicFrameMkLst>
        </pc:graphicFrameChg>
        <pc:graphicFrameChg chg="add mod">
          <ac:chgData name="Veniero Facchetti" userId="f2c6c99af91c4974" providerId="LiveId" clId="{34DF7D6B-EB0F-4B53-B080-BB8D6F5C3D93}" dt="2024-05-10T15:36:43.216" v="90" actId="1035"/>
          <ac:graphicFrameMkLst>
            <pc:docMk/>
            <pc:sldMk cId="3385753115" sldId="334"/>
            <ac:graphicFrameMk id="46" creationId="{EC1F8784-B883-700D-DF43-7CB537CD40DF}"/>
          </ac:graphicFrameMkLst>
        </pc:graphicFrameChg>
        <pc:graphicFrameChg chg="add mod">
          <ac:chgData name="Veniero Facchetti" userId="f2c6c99af91c4974" providerId="LiveId" clId="{34DF7D6B-EB0F-4B53-B080-BB8D6F5C3D93}" dt="2024-05-10T15:36:34.083" v="72" actId="1036"/>
          <ac:graphicFrameMkLst>
            <pc:docMk/>
            <pc:sldMk cId="3385753115" sldId="334"/>
            <ac:graphicFrameMk id="82" creationId="{1DE461D6-ABFC-34A0-C461-E108F51079E1}"/>
          </ac:graphicFrameMkLst>
        </pc:graphicFrameChg>
        <pc:picChg chg="add mod">
          <ac:chgData name="Veniero Facchetti" userId="f2c6c99af91c4974" providerId="LiveId" clId="{34DF7D6B-EB0F-4B53-B080-BB8D6F5C3D93}" dt="2024-05-10T15:36:34.083" v="72" actId="1036"/>
          <ac:picMkLst>
            <pc:docMk/>
            <pc:sldMk cId="3385753115" sldId="334"/>
            <ac:picMk id="93" creationId="{D9E7086E-A0D7-B384-510E-0640DD973D6D}"/>
          </ac:picMkLst>
        </pc:picChg>
        <pc:picChg chg="add mod">
          <ac:chgData name="Veniero Facchetti" userId="f2c6c99af91c4974" providerId="LiveId" clId="{34DF7D6B-EB0F-4B53-B080-BB8D6F5C3D93}" dt="2024-05-10T15:36:34.083" v="72" actId="1036"/>
          <ac:picMkLst>
            <pc:docMk/>
            <pc:sldMk cId="3385753115" sldId="334"/>
            <ac:picMk id="97" creationId="{9A21A95B-6B76-8C19-9106-902DB9E3BFA6}"/>
          </ac:picMkLst>
        </pc:picChg>
        <pc:picChg chg="add mod">
          <ac:chgData name="Veniero Facchetti" userId="f2c6c99af91c4974" providerId="LiveId" clId="{34DF7D6B-EB0F-4B53-B080-BB8D6F5C3D93}" dt="2024-05-10T15:36:34.083" v="72" actId="1036"/>
          <ac:picMkLst>
            <pc:docMk/>
            <pc:sldMk cId="3385753115" sldId="334"/>
            <ac:picMk id="101" creationId="{6CE599AA-8A54-3C7A-93E3-EDDF26F66E79}"/>
          </ac:picMkLst>
        </pc:picChg>
        <pc:picChg chg="add mod">
          <ac:chgData name="Veniero Facchetti" userId="f2c6c99af91c4974" providerId="LiveId" clId="{34DF7D6B-EB0F-4B53-B080-BB8D6F5C3D93}" dt="2024-05-10T15:36:34.083" v="72" actId="1036"/>
          <ac:picMkLst>
            <pc:docMk/>
            <pc:sldMk cId="3385753115" sldId="334"/>
            <ac:picMk id="105" creationId="{98538F11-AF14-4355-9F89-60650320E77C}"/>
          </ac:picMkLst>
        </pc:picChg>
        <pc:picChg chg="add mod">
          <ac:chgData name="Veniero Facchetti" userId="f2c6c99af91c4974" providerId="LiveId" clId="{34DF7D6B-EB0F-4B53-B080-BB8D6F5C3D93}" dt="2024-05-10T15:36:34.083" v="72" actId="1036"/>
          <ac:picMkLst>
            <pc:docMk/>
            <pc:sldMk cId="3385753115" sldId="334"/>
            <ac:picMk id="109" creationId="{0D79E1EB-30D4-0FC1-2A54-69399B4B4DD2}"/>
          </ac:picMkLst>
        </pc:picChg>
        <pc:cxnChg chg="del">
          <ac:chgData name="Veniero Facchetti" userId="f2c6c99af91c4974" providerId="LiveId" clId="{34DF7D6B-EB0F-4B53-B080-BB8D6F5C3D93}" dt="2024-05-10T15:35:31.736" v="37" actId="478"/>
          <ac:cxnSpMkLst>
            <pc:docMk/>
            <pc:sldMk cId="3385753115" sldId="334"/>
            <ac:cxnSpMk id="11" creationId="{7000BE67-0CEE-E4B1-0B4A-1331E7E37B80}"/>
          </ac:cxnSpMkLst>
        </pc:cxnChg>
        <pc:cxnChg chg="del">
          <ac:chgData name="Veniero Facchetti" userId="f2c6c99af91c4974" providerId="LiveId" clId="{34DF7D6B-EB0F-4B53-B080-BB8D6F5C3D93}" dt="2024-05-10T15:35:31.736" v="37" actId="478"/>
          <ac:cxnSpMkLst>
            <pc:docMk/>
            <pc:sldMk cId="3385753115" sldId="334"/>
            <ac:cxnSpMk id="12" creationId="{F660735A-869D-9B93-022D-371E8E44AFCF}"/>
          </ac:cxnSpMkLst>
        </pc:cxnChg>
        <pc:cxnChg chg="del">
          <ac:chgData name="Veniero Facchetti" userId="f2c6c99af91c4974" providerId="LiveId" clId="{34DF7D6B-EB0F-4B53-B080-BB8D6F5C3D93}" dt="2024-05-10T15:35:31.736" v="37" actId="478"/>
          <ac:cxnSpMkLst>
            <pc:docMk/>
            <pc:sldMk cId="3385753115" sldId="334"/>
            <ac:cxnSpMk id="13" creationId="{82CBD055-6972-7AD9-0A51-CF34C42B3934}"/>
          </ac:cxnSpMkLst>
        </pc:cxnChg>
        <pc:cxnChg chg="del">
          <ac:chgData name="Veniero Facchetti" userId="f2c6c99af91c4974" providerId="LiveId" clId="{34DF7D6B-EB0F-4B53-B080-BB8D6F5C3D93}" dt="2024-05-10T15:35:31.736" v="37" actId="478"/>
          <ac:cxnSpMkLst>
            <pc:docMk/>
            <pc:sldMk cId="3385753115" sldId="334"/>
            <ac:cxnSpMk id="27" creationId="{3C788533-3102-6AA7-FACD-B5926EE888CE}"/>
          </ac:cxnSpMkLst>
        </pc:cxnChg>
        <pc:cxnChg chg="del">
          <ac:chgData name="Veniero Facchetti" userId="f2c6c99af91c4974" providerId="LiveId" clId="{34DF7D6B-EB0F-4B53-B080-BB8D6F5C3D93}" dt="2024-05-10T15:35:31.736" v="37" actId="478"/>
          <ac:cxnSpMkLst>
            <pc:docMk/>
            <pc:sldMk cId="3385753115" sldId="334"/>
            <ac:cxnSpMk id="42" creationId="{5B7F3C57-C87A-D0C7-07CB-7553C9138E50}"/>
          </ac:cxnSpMkLst>
        </pc:cxnChg>
        <pc:cxnChg chg="add mod">
          <ac:chgData name="Veniero Facchetti" userId="f2c6c99af91c4974" providerId="LiveId" clId="{34DF7D6B-EB0F-4B53-B080-BB8D6F5C3D93}" dt="2024-05-10T15:36:34.083" v="72" actId="1036"/>
          <ac:cxnSpMkLst>
            <pc:docMk/>
            <pc:sldMk cId="3385753115" sldId="334"/>
            <ac:cxnSpMk id="74" creationId="{8F36FB58-2881-A273-2AEB-7BCE66284E83}"/>
          </ac:cxnSpMkLst>
        </pc:cxnChg>
        <pc:cxnChg chg="add mod">
          <ac:chgData name="Veniero Facchetti" userId="f2c6c99af91c4974" providerId="LiveId" clId="{34DF7D6B-EB0F-4B53-B080-BB8D6F5C3D93}" dt="2024-05-10T15:36:34.083" v="72" actId="1036"/>
          <ac:cxnSpMkLst>
            <pc:docMk/>
            <pc:sldMk cId="3385753115" sldId="334"/>
            <ac:cxnSpMk id="77" creationId="{2AEE736E-1A1D-10D7-53D6-4E17770DADB4}"/>
          </ac:cxnSpMkLst>
        </pc:cxnChg>
        <pc:cxnChg chg="add mod">
          <ac:chgData name="Veniero Facchetti" userId="f2c6c99af91c4974" providerId="LiveId" clId="{34DF7D6B-EB0F-4B53-B080-BB8D6F5C3D93}" dt="2024-05-10T15:36:34.083" v="72" actId="1036"/>
          <ac:cxnSpMkLst>
            <pc:docMk/>
            <pc:sldMk cId="3385753115" sldId="334"/>
            <ac:cxnSpMk id="79" creationId="{0D9DE681-1D68-89D8-900E-6E0F09FD1022}"/>
          </ac:cxnSpMkLst>
        </pc:cxnChg>
        <pc:cxnChg chg="add mod">
          <ac:chgData name="Veniero Facchetti" userId="f2c6c99af91c4974" providerId="LiveId" clId="{34DF7D6B-EB0F-4B53-B080-BB8D6F5C3D93}" dt="2024-05-10T15:36:34.083" v="72" actId="1036"/>
          <ac:cxnSpMkLst>
            <pc:docMk/>
            <pc:sldMk cId="3385753115" sldId="334"/>
            <ac:cxnSpMk id="81" creationId="{9979A529-0761-0600-9136-130135236658}"/>
          </ac:cxnSpMkLst>
        </pc:cxnChg>
        <pc:cxnChg chg="mod">
          <ac:chgData name="Veniero Facchetti" userId="f2c6c99af91c4974" providerId="LiveId" clId="{34DF7D6B-EB0F-4B53-B080-BB8D6F5C3D93}" dt="2024-05-10T15:35:59.766" v="40" actId="1076"/>
          <ac:cxnSpMkLst>
            <pc:docMk/>
            <pc:sldMk cId="3385753115" sldId="334"/>
            <ac:cxnSpMk id="84" creationId="{6D2BE906-1B7C-3BBA-CB6D-46160C7D3E12}"/>
          </ac:cxnSpMkLst>
        </pc:cxnChg>
        <pc:cxnChg chg="mod">
          <ac:chgData name="Veniero Facchetti" userId="f2c6c99af91c4974" providerId="LiveId" clId="{34DF7D6B-EB0F-4B53-B080-BB8D6F5C3D93}" dt="2024-05-10T15:35:59.766" v="40" actId="1076"/>
          <ac:cxnSpMkLst>
            <pc:docMk/>
            <pc:sldMk cId="3385753115" sldId="334"/>
            <ac:cxnSpMk id="85" creationId="{E7ED26CA-9871-E451-FC1B-257C2E07A41E}"/>
          </ac:cxnSpMkLst>
        </pc:cxnChg>
        <pc:cxnChg chg="mod">
          <ac:chgData name="Veniero Facchetti" userId="f2c6c99af91c4974" providerId="LiveId" clId="{34DF7D6B-EB0F-4B53-B080-BB8D6F5C3D93}" dt="2024-05-10T15:35:59.766" v="40" actId="1076"/>
          <ac:cxnSpMkLst>
            <pc:docMk/>
            <pc:sldMk cId="3385753115" sldId="334"/>
            <ac:cxnSpMk id="86" creationId="{4FD6BCDB-7B09-B270-862B-AF99A676FFBC}"/>
          </ac:cxnSpMkLst>
        </pc:cxnChg>
        <pc:cxnChg chg="mod">
          <ac:chgData name="Veniero Facchetti" userId="f2c6c99af91c4974" providerId="LiveId" clId="{34DF7D6B-EB0F-4B53-B080-BB8D6F5C3D93}" dt="2024-05-10T15:35:59.766" v="40" actId="1076"/>
          <ac:cxnSpMkLst>
            <pc:docMk/>
            <pc:sldMk cId="3385753115" sldId="334"/>
            <ac:cxnSpMk id="87" creationId="{FA8F977F-CFDF-EDDC-10B0-88A5C1878D4A}"/>
          </ac:cxnSpMkLst>
        </pc:cxnChg>
        <pc:cxnChg chg="add mod">
          <ac:chgData name="Veniero Facchetti" userId="f2c6c99af91c4974" providerId="LiveId" clId="{34DF7D6B-EB0F-4B53-B080-BB8D6F5C3D93}" dt="2024-05-10T15:36:34.083" v="72" actId="1036"/>
          <ac:cxnSpMkLst>
            <pc:docMk/>
            <pc:sldMk cId="3385753115" sldId="334"/>
            <ac:cxnSpMk id="89" creationId="{C1FC7A4F-D887-F76B-3483-7CFB33354D82}"/>
          </ac:cxnSpMkLst>
        </pc:cxnChg>
        <pc:cxnChg chg="mod">
          <ac:chgData name="Veniero Facchetti" userId="f2c6c99af91c4974" providerId="LiveId" clId="{34DF7D6B-EB0F-4B53-B080-BB8D6F5C3D93}" dt="2024-05-10T15:35:59.766" v="40" actId="1076"/>
          <ac:cxnSpMkLst>
            <pc:docMk/>
            <pc:sldMk cId="3385753115" sldId="334"/>
            <ac:cxnSpMk id="111" creationId="{0465AE4B-F1E5-C7BC-1CE2-53BD5733D091}"/>
          </ac:cxnSpMkLst>
        </pc:cxnChg>
        <pc:cxnChg chg="mod">
          <ac:chgData name="Veniero Facchetti" userId="f2c6c99af91c4974" providerId="LiveId" clId="{34DF7D6B-EB0F-4B53-B080-BB8D6F5C3D93}" dt="2024-05-10T15:35:59.766" v="40" actId="1076"/>
          <ac:cxnSpMkLst>
            <pc:docMk/>
            <pc:sldMk cId="3385753115" sldId="334"/>
            <ac:cxnSpMk id="114" creationId="{F2D1FE5C-92A4-F8DD-F37C-60E9F027A973}"/>
          </ac:cxnSpMkLst>
        </pc:cxnChg>
      </pc:sldChg>
      <pc:sldChg chg="add">
        <pc:chgData name="Veniero Facchetti" userId="f2c6c99af91c4974" providerId="LiveId" clId="{34DF7D6B-EB0F-4B53-B080-BB8D6F5C3D93}" dt="2024-05-10T15:37:08.428" v="92" actId="2890"/>
        <pc:sldMkLst>
          <pc:docMk/>
          <pc:sldMk cId="397339022" sldId="335"/>
        </pc:sldMkLst>
      </pc:sldChg>
      <pc:sldChg chg="addSp delSp modSp add mod">
        <pc:chgData name="Veniero Facchetti" userId="f2c6c99af91c4974" providerId="LiveId" clId="{34DF7D6B-EB0F-4B53-B080-BB8D6F5C3D93}" dt="2024-05-10T15:39:06.700" v="104" actId="1076"/>
        <pc:sldMkLst>
          <pc:docMk/>
          <pc:sldMk cId="1267351248" sldId="336"/>
        </pc:sldMkLst>
        <pc:spChg chg="add mod">
          <ac:chgData name="Veniero Facchetti" userId="f2c6c99af91c4974" providerId="LiveId" clId="{34DF7D6B-EB0F-4B53-B080-BB8D6F5C3D93}" dt="2024-05-10T15:39:06.700" v="104" actId="1076"/>
          <ac:spMkLst>
            <pc:docMk/>
            <pc:sldMk cId="1267351248" sldId="336"/>
            <ac:spMk id="2" creationId="{C5336238-1FA0-8F6F-C273-0F5507E82154}"/>
          </ac:spMkLst>
        </pc:spChg>
        <pc:spChg chg="add mod">
          <ac:chgData name="Veniero Facchetti" userId="f2c6c99af91c4974" providerId="LiveId" clId="{34DF7D6B-EB0F-4B53-B080-BB8D6F5C3D93}" dt="2024-05-10T15:39:06.700" v="104" actId="1076"/>
          <ac:spMkLst>
            <pc:docMk/>
            <pc:sldMk cId="1267351248" sldId="336"/>
            <ac:spMk id="3" creationId="{66E9BBE5-67AC-51B1-CF6B-C03EDED05CF1}"/>
          </ac:spMkLst>
        </pc:spChg>
        <pc:spChg chg="add mod">
          <ac:chgData name="Veniero Facchetti" userId="f2c6c99af91c4974" providerId="LiveId" clId="{34DF7D6B-EB0F-4B53-B080-BB8D6F5C3D93}" dt="2024-05-10T15:38:53.964" v="102" actId="1076"/>
          <ac:spMkLst>
            <pc:docMk/>
            <pc:sldMk cId="1267351248" sldId="336"/>
            <ac:spMk id="5" creationId="{44AA4F13-69F5-30DE-885A-9F840DD6912B}"/>
          </ac:spMkLst>
        </pc:spChg>
        <pc:spChg chg="mod">
          <ac:chgData name="Veniero Facchetti" userId="f2c6c99af91c4974" providerId="LiveId" clId="{34DF7D6B-EB0F-4B53-B080-BB8D6F5C3D93}" dt="2024-05-10T15:38:18.291" v="95"/>
          <ac:spMkLst>
            <pc:docMk/>
            <pc:sldMk cId="1267351248" sldId="336"/>
            <ac:spMk id="6" creationId="{C57A0B68-948F-CBED-97A5-A01371066D12}"/>
          </ac:spMkLst>
        </pc:spChg>
        <pc:spChg chg="add mod">
          <ac:chgData name="Veniero Facchetti" userId="f2c6c99af91c4974" providerId="LiveId" clId="{34DF7D6B-EB0F-4B53-B080-BB8D6F5C3D93}" dt="2024-05-10T15:38:53.964" v="102" actId="1076"/>
          <ac:spMkLst>
            <pc:docMk/>
            <pc:sldMk cId="1267351248" sldId="336"/>
            <ac:spMk id="7" creationId="{65DF550C-BC2D-0160-BA4F-DB78348CEF59}"/>
          </ac:spMkLst>
        </pc:spChg>
        <pc:spChg chg="add mod">
          <ac:chgData name="Veniero Facchetti" userId="f2c6c99af91c4974" providerId="LiveId" clId="{34DF7D6B-EB0F-4B53-B080-BB8D6F5C3D93}" dt="2024-05-10T15:38:53.964" v="102" actId="1076"/>
          <ac:spMkLst>
            <pc:docMk/>
            <pc:sldMk cId="1267351248" sldId="336"/>
            <ac:spMk id="8" creationId="{3B6504FD-1F60-1EAD-33FF-4C394019549F}"/>
          </ac:spMkLst>
        </pc:spChg>
        <pc:spChg chg="add mod">
          <ac:chgData name="Veniero Facchetti" userId="f2c6c99af91c4974" providerId="LiveId" clId="{34DF7D6B-EB0F-4B53-B080-BB8D6F5C3D93}" dt="2024-05-10T15:38:53.964" v="102" actId="1076"/>
          <ac:spMkLst>
            <pc:docMk/>
            <pc:sldMk cId="1267351248" sldId="336"/>
            <ac:spMk id="9" creationId="{74A64FD1-75F1-99AF-8DFE-45065AC2D656}"/>
          </ac:spMkLst>
        </pc:spChg>
        <pc:spChg chg="add mod">
          <ac:chgData name="Veniero Facchetti" userId="f2c6c99af91c4974" providerId="LiveId" clId="{34DF7D6B-EB0F-4B53-B080-BB8D6F5C3D93}" dt="2024-05-10T15:38:53.964" v="102" actId="1076"/>
          <ac:spMkLst>
            <pc:docMk/>
            <pc:sldMk cId="1267351248" sldId="336"/>
            <ac:spMk id="10" creationId="{5E3F5AD9-A603-C336-0BB3-EFFDE13C94D6}"/>
          </ac:spMkLst>
        </pc:spChg>
        <pc:spChg chg="add mod">
          <ac:chgData name="Veniero Facchetti" userId="f2c6c99af91c4974" providerId="LiveId" clId="{34DF7D6B-EB0F-4B53-B080-BB8D6F5C3D93}" dt="2024-05-10T15:38:53.964" v="102" actId="1076"/>
          <ac:spMkLst>
            <pc:docMk/>
            <pc:sldMk cId="1267351248" sldId="336"/>
            <ac:spMk id="11" creationId="{DE470A92-8369-01F2-E57A-EB4D6FFD585B}"/>
          </ac:spMkLst>
        </pc:spChg>
        <pc:spChg chg="add mod">
          <ac:chgData name="Veniero Facchetti" userId="f2c6c99af91c4974" providerId="LiveId" clId="{34DF7D6B-EB0F-4B53-B080-BB8D6F5C3D93}" dt="2024-05-10T15:38:53.964" v="102" actId="1076"/>
          <ac:spMkLst>
            <pc:docMk/>
            <pc:sldMk cId="1267351248" sldId="336"/>
            <ac:spMk id="14" creationId="{C2BE3EB2-77F6-39C8-7851-F05E01BB832C}"/>
          </ac:spMkLst>
        </pc:spChg>
        <pc:spChg chg="add mod">
          <ac:chgData name="Veniero Facchetti" userId="f2c6c99af91c4974" providerId="LiveId" clId="{34DF7D6B-EB0F-4B53-B080-BB8D6F5C3D93}" dt="2024-05-10T15:38:53.964" v="102" actId="1076"/>
          <ac:spMkLst>
            <pc:docMk/>
            <pc:sldMk cId="1267351248" sldId="336"/>
            <ac:spMk id="15" creationId="{2C10F830-C7AD-B11A-3A50-34344569550B}"/>
          </ac:spMkLst>
        </pc:spChg>
        <pc:spChg chg="add mod">
          <ac:chgData name="Veniero Facchetti" userId="f2c6c99af91c4974" providerId="LiveId" clId="{34DF7D6B-EB0F-4B53-B080-BB8D6F5C3D93}" dt="2024-05-10T15:38:53.964" v="102" actId="1076"/>
          <ac:spMkLst>
            <pc:docMk/>
            <pc:sldMk cId="1267351248" sldId="336"/>
            <ac:spMk id="16" creationId="{AEB43327-F441-8850-5B56-A1E8273FDA46}"/>
          </ac:spMkLst>
        </pc:spChg>
        <pc:spChg chg="add mod">
          <ac:chgData name="Veniero Facchetti" userId="f2c6c99af91c4974" providerId="LiveId" clId="{34DF7D6B-EB0F-4B53-B080-BB8D6F5C3D93}" dt="2024-05-10T15:38:53.964" v="102" actId="1076"/>
          <ac:spMkLst>
            <pc:docMk/>
            <pc:sldMk cId="1267351248" sldId="336"/>
            <ac:spMk id="17" creationId="{B328DD75-7629-3B98-1B75-84A9037B2DBC}"/>
          </ac:spMkLst>
        </pc:spChg>
        <pc:spChg chg="add mod">
          <ac:chgData name="Veniero Facchetti" userId="f2c6c99af91c4974" providerId="LiveId" clId="{34DF7D6B-EB0F-4B53-B080-BB8D6F5C3D93}" dt="2024-05-10T15:38:53.964" v="102" actId="1076"/>
          <ac:spMkLst>
            <pc:docMk/>
            <pc:sldMk cId="1267351248" sldId="336"/>
            <ac:spMk id="18" creationId="{D175A029-FF31-3F04-AC07-8E5507244E8F}"/>
          </ac:spMkLst>
        </pc:spChg>
        <pc:spChg chg="add mod">
          <ac:chgData name="Veniero Facchetti" userId="f2c6c99af91c4974" providerId="LiveId" clId="{34DF7D6B-EB0F-4B53-B080-BB8D6F5C3D93}" dt="2024-05-10T15:38:53.964" v="102" actId="1076"/>
          <ac:spMkLst>
            <pc:docMk/>
            <pc:sldMk cId="1267351248" sldId="336"/>
            <ac:spMk id="19" creationId="{0458E7CF-B408-B4F0-01CB-07AC02CF9A62}"/>
          </ac:spMkLst>
        </pc:spChg>
        <pc:spChg chg="add mod">
          <ac:chgData name="Veniero Facchetti" userId="f2c6c99af91c4974" providerId="LiveId" clId="{34DF7D6B-EB0F-4B53-B080-BB8D6F5C3D93}" dt="2024-05-10T15:38:53.964" v="102" actId="1076"/>
          <ac:spMkLst>
            <pc:docMk/>
            <pc:sldMk cId="1267351248" sldId="336"/>
            <ac:spMk id="20" creationId="{B7A6205E-4425-2D5B-10FA-C5A844CEEAE4}"/>
          </ac:spMkLst>
        </pc:spChg>
        <pc:spChg chg="add mod">
          <ac:chgData name="Veniero Facchetti" userId="f2c6c99af91c4974" providerId="LiveId" clId="{34DF7D6B-EB0F-4B53-B080-BB8D6F5C3D93}" dt="2024-05-10T15:38:53.964" v="102" actId="1076"/>
          <ac:spMkLst>
            <pc:docMk/>
            <pc:sldMk cId="1267351248" sldId="336"/>
            <ac:spMk id="21" creationId="{0C71AC21-3B4B-C99C-C295-DD7F6191805C}"/>
          </ac:spMkLst>
        </pc:spChg>
        <pc:spChg chg="add mod">
          <ac:chgData name="Veniero Facchetti" userId="f2c6c99af91c4974" providerId="LiveId" clId="{34DF7D6B-EB0F-4B53-B080-BB8D6F5C3D93}" dt="2024-05-10T15:38:53.964" v="102" actId="1076"/>
          <ac:spMkLst>
            <pc:docMk/>
            <pc:sldMk cId="1267351248" sldId="336"/>
            <ac:spMk id="22" creationId="{3D114959-6764-D44F-9F69-F22329303BD7}"/>
          </ac:spMkLst>
        </pc:spChg>
        <pc:spChg chg="add mod">
          <ac:chgData name="Veniero Facchetti" userId="f2c6c99af91c4974" providerId="LiveId" clId="{34DF7D6B-EB0F-4B53-B080-BB8D6F5C3D93}" dt="2024-05-10T15:38:53.964" v="102" actId="1076"/>
          <ac:spMkLst>
            <pc:docMk/>
            <pc:sldMk cId="1267351248" sldId="336"/>
            <ac:spMk id="23" creationId="{90BEDCD3-EE2B-C215-386E-7AB0036FC641}"/>
          </ac:spMkLst>
        </pc:spChg>
        <pc:spChg chg="add mod">
          <ac:chgData name="Veniero Facchetti" userId="f2c6c99af91c4974" providerId="LiveId" clId="{34DF7D6B-EB0F-4B53-B080-BB8D6F5C3D93}" dt="2024-05-10T15:38:53.964" v="102" actId="1076"/>
          <ac:spMkLst>
            <pc:docMk/>
            <pc:sldMk cId="1267351248" sldId="336"/>
            <ac:spMk id="24" creationId="{D3CB8704-C776-31EC-9128-C80A4FDB750A}"/>
          </ac:spMkLst>
        </pc:spChg>
        <pc:spChg chg="add mod">
          <ac:chgData name="Veniero Facchetti" userId="f2c6c99af91c4974" providerId="LiveId" clId="{34DF7D6B-EB0F-4B53-B080-BB8D6F5C3D93}" dt="2024-05-10T15:38:53.964" v="102" actId="1076"/>
          <ac:spMkLst>
            <pc:docMk/>
            <pc:sldMk cId="1267351248" sldId="336"/>
            <ac:spMk id="25" creationId="{AB099EAD-930F-7FCE-92FB-404635969549}"/>
          </ac:spMkLst>
        </pc:spChg>
        <pc:spChg chg="add mod">
          <ac:chgData name="Veniero Facchetti" userId="f2c6c99af91c4974" providerId="LiveId" clId="{34DF7D6B-EB0F-4B53-B080-BB8D6F5C3D93}" dt="2024-05-10T15:38:53.964" v="102" actId="1076"/>
          <ac:spMkLst>
            <pc:docMk/>
            <pc:sldMk cId="1267351248" sldId="336"/>
            <ac:spMk id="26" creationId="{2FD9118B-6450-FDF4-30BB-74D25AD5EB63}"/>
          </ac:spMkLst>
        </pc:spChg>
        <pc:spChg chg="add mod">
          <ac:chgData name="Veniero Facchetti" userId="f2c6c99af91c4974" providerId="LiveId" clId="{34DF7D6B-EB0F-4B53-B080-BB8D6F5C3D93}" dt="2024-05-10T15:38:53.964" v="102" actId="1076"/>
          <ac:spMkLst>
            <pc:docMk/>
            <pc:sldMk cId="1267351248" sldId="336"/>
            <ac:spMk id="27" creationId="{029DBF14-8852-2E8C-EDEE-AFE83069F757}"/>
          </ac:spMkLst>
        </pc:spChg>
        <pc:spChg chg="add mod">
          <ac:chgData name="Veniero Facchetti" userId="f2c6c99af91c4974" providerId="LiveId" clId="{34DF7D6B-EB0F-4B53-B080-BB8D6F5C3D93}" dt="2024-05-10T15:38:53.964" v="102" actId="1076"/>
          <ac:spMkLst>
            <pc:docMk/>
            <pc:sldMk cId="1267351248" sldId="336"/>
            <ac:spMk id="28" creationId="{BBF25871-3F91-CA27-8E95-11BFAA894B58}"/>
          </ac:spMkLst>
        </pc:spChg>
        <pc:spChg chg="add mod">
          <ac:chgData name="Veniero Facchetti" userId="f2c6c99af91c4974" providerId="LiveId" clId="{34DF7D6B-EB0F-4B53-B080-BB8D6F5C3D93}" dt="2024-05-10T15:38:53.964" v="102" actId="1076"/>
          <ac:spMkLst>
            <pc:docMk/>
            <pc:sldMk cId="1267351248" sldId="336"/>
            <ac:spMk id="29" creationId="{01562964-7CEB-38C2-78F9-B8B4909D6924}"/>
          </ac:spMkLst>
        </pc:spChg>
        <pc:spChg chg="add mod">
          <ac:chgData name="Veniero Facchetti" userId="f2c6c99af91c4974" providerId="LiveId" clId="{34DF7D6B-EB0F-4B53-B080-BB8D6F5C3D93}" dt="2024-05-10T15:38:53.964" v="102" actId="1076"/>
          <ac:spMkLst>
            <pc:docMk/>
            <pc:sldMk cId="1267351248" sldId="336"/>
            <ac:spMk id="30" creationId="{BBB83272-B6D2-CA93-09D6-45D8C14B78CC}"/>
          </ac:spMkLst>
        </pc:spChg>
        <pc:spChg chg="add mod">
          <ac:chgData name="Veniero Facchetti" userId="f2c6c99af91c4974" providerId="LiveId" clId="{34DF7D6B-EB0F-4B53-B080-BB8D6F5C3D93}" dt="2024-05-10T15:38:53.964" v="102" actId="1076"/>
          <ac:spMkLst>
            <pc:docMk/>
            <pc:sldMk cId="1267351248" sldId="336"/>
            <ac:spMk id="31" creationId="{69FD8A50-C65B-EEC7-46A8-B8376D4CF222}"/>
          </ac:spMkLst>
        </pc:spChg>
        <pc:spChg chg="add mod">
          <ac:chgData name="Veniero Facchetti" userId="f2c6c99af91c4974" providerId="LiveId" clId="{34DF7D6B-EB0F-4B53-B080-BB8D6F5C3D93}" dt="2024-05-10T15:38:53.964" v="102" actId="1076"/>
          <ac:spMkLst>
            <pc:docMk/>
            <pc:sldMk cId="1267351248" sldId="336"/>
            <ac:spMk id="32" creationId="{A956A66B-2EDD-8467-8974-A5564E742DC4}"/>
          </ac:spMkLst>
        </pc:spChg>
        <pc:spChg chg="add mod">
          <ac:chgData name="Veniero Facchetti" userId="f2c6c99af91c4974" providerId="LiveId" clId="{34DF7D6B-EB0F-4B53-B080-BB8D6F5C3D93}" dt="2024-05-10T15:38:53.964" v="102" actId="1076"/>
          <ac:spMkLst>
            <pc:docMk/>
            <pc:sldMk cId="1267351248" sldId="336"/>
            <ac:spMk id="33" creationId="{7D35DB64-6962-C85E-F948-7F28D7C65B29}"/>
          </ac:spMkLst>
        </pc:spChg>
        <pc:spChg chg="add mod">
          <ac:chgData name="Veniero Facchetti" userId="f2c6c99af91c4974" providerId="LiveId" clId="{34DF7D6B-EB0F-4B53-B080-BB8D6F5C3D93}" dt="2024-05-10T15:38:53.964" v="102" actId="1076"/>
          <ac:spMkLst>
            <pc:docMk/>
            <pc:sldMk cId="1267351248" sldId="336"/>
            <ac:spMk id="34" creationId="{FBB9046D-1311-C250-7DDD-E38259F9E6DF}"/>
          </ac:spMkLst>
        </pc:spChg>
        <pc:spChg chg="add mod">
          <ac:chgData name="Veniero Facchetti" userId="f2c6c99af91c4974" providerId="LiveId" clId="{34DF7D6B-EB0F-4B53-B080-BB8D6F5C3D93}" dt="2024-05-10T15:38:53.964" v="102" actId="1076"/>
          <ac:spMkLst>
            <pc:docMk/>
            <pc:sldMk cId="1267351248" sldId="336"/>
            <ac:spMk id="35" creationId="{842F9609-95EE-7649-03D6-F7CFD72CCDA8}"/>
          </ac:spMkLst>
        </pc:spChg>
        <pc:spChg chg="add mod">
          <ac:chgData name="Veniero Facchetti" userId="f2c6c99af91c4974" providerId="LiveId" clId="{34DF7D6B-EB0F-4B53-B080-BB8D6F5C3D93}" dt="2024-05-10T15:38:53.964" v="102" actId="1076"/>
          <ac:spMkLst>
            <pc:docMk/>
            <pc:sldMk cId="1267351248" sldId="336"/>
            <ac:spMk id="36" creationId="{2DE6E67F-A5BB-4626-AE5A-2DC418F49B94}"/>
          </ac:spMkLst>
        </pc:spChg>
        <pc:spChg chg="add mod">
          <ac:chgData name="Veniero Facchetti" userId="f2c6c99af91c4974" providerId="LiveId" clId="{34DF7D6B-EB0F-4B53-B080-BB8D6F5C3D93}" dt="2024-05-10T15:38:53.964" v="102" actId="1076"/>
          <ac:spMkLst>
            <pc:docMk/>
            <pc:sldMk cId="1267351248" sldId="336"/>
            <ac:spMk id="37" creationId="{C20D7F29-0C83-B56F-2634-66070DBDE088}"/>
          </ac:spMkLst>
        </pc:spChg>
        <pc:spChg chg="add mod">
          <ac:chgData name="Veniero Facchetti" userId="f2c6c99af91c4974" providerId="LiveId" clId="{34DF7D6B-EB0F-4B53-B080-BB8D6F5C3D93}" dt="2024-05-10T15:38:53.964" v="102" actId="1076"/>
          <ac:spMkLst>
            <pc:docMk/>
            <pc:sldMk cId="1267351248" sldId="336"/>
            <ac:spMk id="38" creationId="{FF3171FE-8907-F03E-794B-20BC12559AEF}"/>
          </ac:spMkLst>
        </pc:spChg>
        <pc:spChg chg="add mod">
          <ac:chgData name="Veniero Facchetti" userId="f2c6c99af91c4974" providerId="LiveId" clId="{34DF7D6B-EB0F-4B53-B080-BB8D6F5C3D93}" dt="2024-05-10T15:38:53.964" v="102" actId="1076"/>
          <ac:spMkLst>
            <pc:docMk/>
            <pc:sldMk cId="1267351248" sldId="336"/>
            <ac:spMk id="39" creationId="{D9176926-370E-08F6-5E6E-CA10149384F2}"/>
          </ac:spMkLst>
        </pc:spChg>
        <pc:spChg chg="add mod">
          <ac:chgData name="Veniero Facchetti" userId="f2c6c99af91c4974" providerId="LiveId" clId="{34DF7D6B-EB0F-4B53-B080-BB8D6F5C3D93}" dt="2024-05-10T15:38:53.964" v="102" actId="1076"/>
          <ac:spMkLst>
            <pc:docMk/>
            <pc:sldMk cId="1267351248" sldId="336"/>
            <ac:spMk id="40" creationId="{F9AF0EB1-F8B3-D32B-F6EC-6FBCF9CCD3D6}"/>
          </ac:spMkLst>
        </pc:spChg>
        <pc:spChg chg="add mod">
          <ac:chgData name="Veniero Facchetti" userId="f2c6c99af91c4974" providerId="LiveId" clId="{34DF7D6B-EB0F-4B53-B080-BB8D6F5C3D93}" dt="2024-05-10T15:38:53.964" v="102" actId="1076"/>
          <ac:spMkLst>
            <pc:docMk/>
            <pc:sldMk cId="1267351248" sldId="336"/>
            <ac:spMk id="41" creationId="{5F7EBD84-781E-F4B2-92AB-3962E12D1CAF}"/>
          </ac:spMkLst>
        </pc:spChg>
        <pc:spChg chg="add mod">
          <ac:chgData name="Veniero Facchetti" userId="f2c6c99af91c4974" providerId="LiveId" clId="{34DF7D6B-EB0F-4B53-B080-BB8D6F5C3D93}" dt="2024-05-10T15:38:59.393" v="103" actId="1076"/>
          <ac:spMkLst>
            <pc:docMk/>
            <pc:sldMk cId="1267351248" sldId="336"/>
            <ac:spMk id="43" creationId="{4AC7A716-F391-6C44-6ACE-C5963C4E5734}"/>
          </ac:spMkLst>
        </pc:spChg>
        <pc:spChg chg="add mod">
          <ac:chgData name="Veniero Facchetti" userId="f2c6c99af91c4974" providerId="LiveId" clId="{34DF7D6B-EB0F-4B53-B080-BB8D6F5C3D93}" dt="2024-05-10T15:38:59.393" v="103" actId="1076"/>
          <ac:spMkLst>
            <pc:docMk/>
            <pc:sldMk cId="1267351248" sldId="336"/>
            <ac:spMk id="44" creationId="{3A4C89AA-DCA6-6422-2642-46B19189235C}"/>
          </ac:spMkLst>
        </pc:spChg>
        <pc:spChg chg="add mod">
          <ac:chgData name="Veniero Facchetti" userId="f2c6c99af91c4974" providerId="LiveId" clId="{34DF7D6B-EB0F-4B53-B080-BB8D6F5C3D93}" dt="2024-05-10T15:38:59.393" v="103" actId="1076"/>
          <ac:spMkLst>
            <pc:docMk/>
            <pc:sldMk cId="1267351248" sldId="336"/>
            <ac:spMk id="45" creationId="{502B6FEA-B608-14AB-74E0-17C5D42CCCA7}"/>
          </ac:spMkLst>
        </pc:spChg>
        <pc:spChg chg="del">
          <ac:chgData name="Veniero Facchetti" userId="f2c6c99af91c4974" providerId="LiveId" clId="{34DF7D6B-EB0F-4B53-B080-BB8D6F5C3D93}" dt="2024-05-10T15:38:08.953" v="94" actId="478"/>
          <ac:spMkLst>
            <pc:docMk/>
            <pc:sldMk cId="1267351248" sldId="336"/>
            <ac:spMk id="47" creationId="{70856828-44A6-08C3-0346-ACF7CFA18BFE}"/>
          </ac:spMkLst>
        </pc:spChg>
        <pc:spChg chg="del">
          <ac:chgData name="Veniero Facchetti" userId="f2c6c99af91c4974" providerId="LiveId" clId="{34DF7D6B-EB0F-4B53-B080-BB8D6F5C3D93}" dt="2024-05-10T15:38:08.953" v="94" actId="478"/>
          <ac:spMkLst>
            <pc:docMk/>
            <pc:sldMk cId="1267351248" sldId="336"/>
            <ac:spMk id="48" creationId="{D735A20B-87C4-5366-B702-6523C07DA0CB}"/>
          </ac:spMkLst>
        </pc:spChg>
        <pc:spChg chg="del">
          <ac:chgData name="Veniero Facchetti" userId="f2c6c99af91c4974" providerId="LiveId" clId="{34DF7D6B-EB0F-4B53-B080-BB8D6F5C3D93}" dt="2024-05-10T15:38:08.953" v="94" actId="478"/>
          <ac:spMkLst>
            <pc:docMk/>
            <pc:sldMk cId="1267351248" sldId="336"/>
            <ac:spMk id="49" creationId="{076A5832-1CB3-665E-5308-2F5BB5A8829F}"/>
          </ac:spMkLst>
        </pc:spChg>
        <pc:spChg chg="del">
          <ac:chgData name="Veniero Facchetti" userId="f2c6c99af91c4974" providerId="LiveId" clId="{34DF7D6B-EB0F-4B53-B080-BB8D6F5C3D93}" dt="2024-05-10T15:38:08.953" v="94" actId="478"/>
          <ac:spMkLst>
            <pc:docMk/>
            <pc:sldMk cId="1267351248" sldId="336"/>
            <ac:spMk id="50" creationId="{B9E1BF90-6B14-439B-5258-14FD3160DB39}"/>
          </ac:spMkLst>
        </pc:spChg>
        <pc:spChg chg="del">
          <ac:chgData name="Veniero Facchetti" userId="f2c6c99af91c4974" providerId="LiveId" clId="{34DF7D6B-EB0F-4B53-B080-BB8D6F5C3D93}" dt="2024-05-10T15:38:08.953" v="94" actId="478"/>
          <ac:spMkLst>
            <pc:docMk/>
            <pc:sldMk cId="1267351248" sldId="336"/>
            <ac:spMk id="51" creationId="{08D82F1A-573E-5167-C6C4-CB28325AAC94}"/>
          </ac:spMkLst>
        </pc:spChg>
        <pc:spChg chg="del">
          <ac:chgData name="Veniero Facchetti" userId="f2c6c99af91c4974" providerId="LiveId" clId="{34DF7D6B-EB0F-4B53-B080-BB8D6F5C3D93}" dt="2024-05-10T15:38:08.953" v="94" actId="478"/>
          <ac:spMkLst>
            <pc:docMk/>
            <pc:sldMk cId="1267351248" sldId="336"/>
            <ac:spMk id="52" creationId="{92A4BD23-5FDF-56F3-955C-4291A4815D17}"/>
          </ac:spMkLst>
        </pc:spChg>
        <pc:spChg chg="del">
          <ac:chgData name="Veniero Facchetti" userId="f2c6c99af91c4974" providerId="LiveId" clId="{34DF7D6B-EB0F-4B53-B080-BB8D6F5C3D93}" dt="2024-05-10T15:38:08.953" v="94" actId="478"/>
          <ac:spMkLst>
            <pc:docMk/>
            <pc:sldMk cId="1267351248" sldId="336"/>
            <ac:spMk id="53" creationId="{C6AA405F-4E40-06DD-A244-C11B2DA9F707}"/>
          </ac:spMkLst>
        </pc:spChg>
        <pc:spChg chg="del">
          <ac:chgData name="Veniero Facchetti" userId="f2c6c99af91c4974" providerId="LiveId" clId="{34DF7D6B-EB0F-4B53-B080-BB8D6F5C3D93}" dt="2024-05-10T15:38:08.953" v="94" actId="478"/>
          <ac:spMkLst>
            <pc:docMk/>
            <pc:sldMk cId="1267351248" sldId="336"/>
            <ac:spMk id="54" creationId="{974970A1-6283-B7CA-6A79-87C79D4CDDD2}"/>
          </ac:spMkLst>
        </pc:spChg>
        <pc:spChg chg="del">
          <ac:chgData name="Veniero Facchetti" userId="f2c6c99af91c4974" providerId="LiveId" clId="{34DF7D6B-EB0F-4B53-B080-BB8D6F5C3D93}" dt="2024-05-10T15:38:08.953" v="94" actId="478"/>
          <ac:spMkLst>
            <pc:docMk/>
            <pc:sldMk cId="1267351248" sldId="336"/>
            <ac:spMk id="55" creationId="{BF0D3D94-C594-5005-FDC3-6FF896F3277B}"/>
          </ac:spMkLst>
        </pc:spChg>
        <pc:spChg chg="del">
          <ac:chgData name="Veniero Facchetti" userId="f2c6c99af91c4974" providerId="LiveId" clId="{34DF7D6B-EB0F-4B53-B080-BB8D6F5C3D93}" dt="2024-05-10T15:38:08.953" v="94" actId="478"/>
          <ac:spMkLst>
            <pc:docMk/>
            <pc:sldMk cId="1267351248" sldId="336"/>
            <ac:spMk id="56" creationId="{FA2D7B3A-377F-2A5B-8FF9-A59D8ED47E5B}"/>
          </ac:spMkLst>
        </pc:spChg>
        <pc:spChg chg="del">
          <ac:chgData name="Veniero Facchetti" userId="f2c6c99af91c4974" providerId="LiveId" clId="{34DF7D6B-EB0F-4B53-B080-BB8D6F5C3D93}" dt="2024-05-10T15:38:08.953" v="94" actId="478"/>
          <ac:spMkLst>
            <pc:docMk/>
            <pc:sldMk cId="1267351248" sldId="336"/>
            <ac:spMk id="57" creationId="{514B5EC5-1A88-DF62-038C-24D2DFAB6F87}"/>
          </ac:spMkLst>
        </pc:spChg>
        <pc:spChg chg="del">
          <ac:chgData name="Veniero Facchetti" userId="f2c6c99af91c4974" providerId="LiveId" clId="{34DF7D6B-EB0F-4B53-B080-BB8D6F5C3D93}" dt="2024-05-10T15:38:08.953" v="94" actId="478"/>
          <ac:spMkLst>
            <pc:docMk/>
            <pc:sldMk cId="1267351248" sldId="336"/>
            <ac:spMk id="58" creationId="{E4819F8F-7618-A1B9-DB96-B13594AD6BD5}"/>
          </ac:spMkLst>
        </pc:spChg>
        <pc:spChg chg="del">
          <ac:chgData name="Veniero Facchetti" userId="f2c6c99af91c4974" providerId="LiveId" clId="{34DF7D6B-EB0F-4B53-B080-BB8D6F5C3D93}" dt="2024-05-10T15:38:08.953" v="94" actId="478"/>
          <ac:spMkLst>
            <pc:docMk/>
            <pc:sldMk cId="1267351248" sldId="336"/>
            <ac:spMk id="59" creationId="{ABA43DFA-0637-9C9F-1D0E-8D3B9CFE14D7}"/>
          </ac:spMkLst>
        </pc:spChg>
        <pc:spChg chg="del">
          <ac:chgData name="Veniero Facchetti" userId="f2c6c99af91c4974" providerId="LiveId" clId="{34DF7D6B-EB0F-4B53-B080-BB8D6F5C3D93}" dt="2024-05-10T15:38:08.953" v="94" actId="478"/>
          <ac:spMkLst>
            <pc:docMk/>
            <pc:sldMk cId="1267351248" sldId="336"/>
            <ac:spMk id="60" creationId="{13C071C9-AC0C-1A1D-1995-3B952F49F3F2}"/>
          </ac:spMkLst>
        </pc:spChg>
        <pc:spChg chg="del">
          <ac:chgData name="Veniero Facchetti" userId="f2c6c99af91c4974" providerId="LiveId" clId="{34DF7D6B-EB0F-4B53-B080-BB8D6F5C3D93}" dt="2024-05-10T15:38:08.953" v="94" actId="478"/>
          <ac:spMkLst>
            <pc:docMk/>
            <pc:sldMk cId="1267351248" sldId="336"/>
            <ac:spMk id="61" creationId="{2B3614EE-5E13-EBB2-23D7-8EF7FB418050}"/>
          </ac:spMkLst>
        </pc:spChg>
        <pc:spChg chg="del">
          <ac:chgData name="Veniero Facchetti" userId="f2c6c99af91c4974" providerId="LiveId" clId="{34DF7D6B-EB0F-4B53-B080-BB8D6F5C3D93}" dt="2024-05-10T15:38:08.953" v="94" actId="478"/>
          <ac:spMkLst>
            <pc:docMk/>
            <pc:sldMk cId="1267351248" sldId="336"/>
            <ac:spMk id="62" creationId="{490F5C4A-97CF-AE64-34FF-964FB78E35AF}"/>
          </ac:spMkLst>
        </pc:spChg>
        <pc:spChg chg="del">
          <ac:chgData name="Veniero Facchetti" userId="f2c6c99af91c4974" providerId="LiveId" clId="{34DF7D6B-EB0F-4B53-B080-BB8D6F5C3D93}" dt="2024-05-10T15:38:08.953" v="94" actId="478"/>
          <ac:spMkLst>
            <pc:docMk/>
            <pc:sldMk cId="1267351248" sldId="336"/>
            <ac:spMk id="63" creationId="{3F01CF1E-669D-B61E-F58E-C6F66B01D50C}"/>
          </ac:spMkLst>
        </pc:spChg>
        <pc:spChg chg="del">
          <ac:chgData name="Veniero Facchetti" userId="f2c6c99af91c4974" providerId="LiveId" clId="{34DF7D6B-EB0F-4B53-B080-BB8D6F5C3D93}" dt="2024-05-10T15:38:08.953" v="94" actId="478"/>
          <ac:spMkLst>
            <pc:docMk/>
            <pc:sldMk cId="1267351248" sldId="336"/>
            <ac:spMk id="64" creationId="{66A8EC62-773D-748E-200E-4E353084A81B}"/>
          </ac:spMkLst>
        </pc:spChg>
        <pc:spChg chg="del">
          <ac:chgData name="Veniero Facchetti" userId="f2c6c99af91c4974" providerId="LiveId" clId="{34DF7D6B-EB0F-4B53-B080-BB8D6F5C3D93}" dt="2024-05-10T15:38:08.953" v="94" actId="478"/>
          <ac:spMkLst>
            <pc:docMk/>
            <pc:sldMk cId="1267351248" sldId="336"/>
            <ac:spMk id="65" creationId="{E79F27D8-0ADA-8A61-E3EE-B642DD6B8B73}"/>
          </ac:spMkLst>
        </pc:spChg>
        <pc:spChg chg="del">
          <ac:chgData name="Veniero Facchetti" userId="f2c6c99af91c4974" providerId="LiveId" clId="{34DF7D6B-EB0F-4B53-B080-BB8D6F5C3D93}" dt="2024-05-10T15:38:08.953" v="94" actId="478"/>
          <ac:spMkLst>
            <pc:docMk/>
            <pc:sldMk cId="1267351248" sldId="336"/>
            <ac:spMk id="66" creationId="{A8F9EB09-FEFC-7C1E-B8A8-5DEAB6B34C17}"/>
          </ac:spMkLst>
        </pc:spChg>
        <pc:spChg chg="del">
          <ac:chgData name="Veniero Facchetti" userId="f2c6c99af91c4974" providerId="LiveId" clId="{34DF7D6B-EB0F-4B53-B080-BB8D6F5C3D93}" dt="2024-05-10T15:38:08.953" v="94" actId="478"/>
          <ac:spMkLst>
            <pc:docMk/>
            <pc:sldMk cId="1267351248" sldId="336"/>
            <ac:spMk id="67" creationId="{1FB516AA-71E5-2137-1B1F-495CA98B01A3}"/>
          </ac:spMkLst>
        </pc:spChg>
        <pc:spChg chg="del">
          <ac:chgData name="Veniero Facchetti" userId="f2c6c99af91c4974" providerId="LiveId" clId="{34DF7D6B-EB0F-4B53-B080-BB8D6F5C3D93}" dt="2024-05-10T15:38:08.953" v="94" actId="478"/>
          <ac:spMkLst>
            <pc:docMk/>
            <pc:sldMk cId="1267351248" sldId="336"/>
            <ac:spMk id="68" creationId="{EA02ACE3-139C-6699-6D2A-F3BBAA6A0ABE}"/>
          </ac:spMkLst>
        </pc:spChg>
        <pc:spChg chg="del">
          <ac:chgData name="Veniero Facchetti" userId="f2c6c99af91c4974" providerId="LiveId" clId="{34DF7D6B-EB0F-4B53-B080-BB8D6F5C3D93}" dt="2024-05-10T15:38:08.953" v="94" actId="478"/>
          <ac:spMkLst>
            <pc:docMk/>
            <pc:sldMk cId="1267351248" sldId="336"/>
            <ac:spMk id="69" creationId="{E29F6E03-4397-7F63-7FA8-251DDCFD90FB}"/>
          </ac:spMkLst>
        </pc:spChg>
        <pc:spChg chg="del">
          <ac:chgData name="Veniero Facchetti" userId="f2c6c99af91c4974" providerId="LiveId" clId="{34DF7D6B-EB0F-4B53-B080-BB8D6F5C3D93}" dt="2024-05-10T15:38:08.953" v="94" actId="478"/>
          <ac:spMkLst>
            <pc:docMk/>
            <pc:sldMk cId="1267351248" sldId="336"/>
            <ac:spMk id="70" creationId="{49D5232F-7719-21E5-7B64-6EDDF2911A72}"/>
          </ac:spMkLst>
        </pc:spChg>
        <pc:spChg chg="del">
          <ac:chgData name="Veniero Facchetti" userId="f2c6c99af91c4974" providerId="LiveId" clId="{34DF7D6B-EB0F-4B53-B080-BB8D6F5C3D93}" dt="2024-05-10T15:38:08.953" v="94" actId="478"/>
          <ac:spMkLst>
            <pc:docMk/>
            <pc:sldMk cId="1267351248" sldId="336"/>
            <ac:spMk id="71" creationId="{0D590EEC-7E0E-F78A-F78D-5A788C12BF8F}"/>
          </ac:spMkLst>
        </pc:spChg>
        <pc:spChg chg="del">
          <ac:chgData name="Veniero Facchetti" userId="f2c6c99af91c4974" providerId="LiveId" clId="{34DF7D6B-EB0F-4B53-B080-BB8D6F5C3D93}" dt="2024-05-10T15:38:08.953" v="94" actId="478"/>
          <ac:spMkLst>
            <pc:docMk/>
            <pc:sldMk cId="1267351248" sldId="336"/>
            <ac:spMk id="72" creationId="{31CD8FA6-9038-1EFB-3C88-DE15118E6032}"/>
          </ac:spMkLst>
        </pc:spChg>
        <pc:spChg chg="del">
          <ac:chgData name="Veniero Facchetti" userId="f2c6c99af91c4974" providerId="LiveId" clId="{34DF7D6B-EB0F-4B53-B080-BB8D6F5C3D93}" dt="2024-05-10T15:38:08.953" v="94" actId="478"/>
          <ac:spMkLst>
            <pc:docMk/>
            <pc:sldMk cId="1267351248" sldId="336"/>
            <ac:spMk id="73" creationId="{58D0D261-43DB-4959-9351-D2F0DA33787E}"/>
          </ac:spMkLst>
        </pc:spChg>
        <pc:spChg chg="del">
          <ac:chgData name="Veniero Facchetti" userId="f2c6c99af91c4974" providerId="LiveId" clId="{34DF7D6B-EB0F-4B53-B080-BB8D6F5C3D93}" dt="2024-05-10T15:38:08.953" v="94" actId="478"/>
          <ac:spMkLst>
            <pc:docMk/>
            <pc:sldMk cId="1267351248" sldId="336"/>
            <ac:spMk id="75" creationId="{AAE16ADF-A53F-83AC-4CA5-BDEBBF7B2577}"/>
          </ac:spMkLst>
        </pc:spChg>
        <pc:spChg chg="del">
          <ac:chgData name="Veniero Facchetti" userId="f2c6c99af91c4974" providerId="LiveId" clId="{34DF7D6B-EB0F-4B53-B080-BB8D6F5C3D93}" dt="2024-05-10T15:38:08.953" v="94" actId="478"/>
          <ac:spMkLst>
            <pc:docMk/>
            <pc:sldMk cId="1267351248" sldId="336"/>
            <ac:spMk id="76" creationId="{B6A5D9CE-CF1C-6908-7D03-1FF71F0F3EBC}"/>
          </ac:spMkLst>
        </pc:spChg>
        <pc:spChg chg="del">
          <ac:chgData name="Veniero Facchetti" userId="f2c6c99af91c4974" providerId="LiveId" clId="{34DF7D6B-EB0F-4B53-B080-BB8D6F5C3D93}" dt="2024-05-10T15:38:08.953" v="94" actId="478"/>
          <ac:spMkLst>
            <pc:docMk/>
            <pc:sldMk cId="1267351248" sldId="336"/>
            <ac:spMk id="78" creationId="{ADF04F8C-ED62-90EA-765A-9D329A714550}"/>
          </ac:spMkLst>
        </pc:spChg>
        <pc:spChg chg="del">
          <ac:chgData name="Veniero Facchetti" userId="f2c6c99af91c4974" providerId="LiveId" clId="{34DF7D6B-EB0F-4B53-B080-BB8D6F5C3D93}" dt="2024-05-10T15:38:08.953" v="94" actId="478"/>
          <ac:spMkLst>
            <pc:docMk/>
            <pc:sldMk cId="1267351248" sldId="336"/>
            <ac:spMk id="80" creationId="{D80BB0FC-CE10-B1EC-1912-F2CB6B886200}"/>
          </ac:spMkLst>
        </pc:spChg>
        <pc:spChg chg="del">
          <ac:chgData name="Veniero Facchetti" userId="f2c6c99af91c4974" providerId="LiveId" clId="{34DF7D6B-EB0F-4B53-B080-BB8D6F5C3D93}" dt="2024-05-10T15:38:08.953" v="94" actId="478"/>
          <ac:spMkLst>
            <pc:docMk/>
            <pc:sldMk cId="1267351248" sldId="336"/>
            <ac:spMk id="88" creationId="{FCA02F2C-EFFF-14BB-7597-4DB0C51B600C}"/>
          </ac:spMkLst>
        </pc:spChg>
        <pc:spChg chg="del">
          <ac:chgData name="Veniero Facchetti" userId="f2c6c99af91c4974" providerId="LiveId" clId="{34DF7D6B-EB0F-4B53-B080-BB8D6F5C3D93}" dt="2024-05-10T15:38:08.953" v="94" actId="478"/>
          <ac:spMkLst>
            <pc:docMk/>
            <pc:sldMk cId="1267351248" sldId="336"/>
            <ac:spMk id="90" creationId="{07695EB1-DCE8-4383-A8FE-1101E0648617}"/>
          </ac:spMkLst>
        </pc:spChg>
        <pc:spChg chg="del">
          <ac:chgData name="Veniero Facchetti" userId="f2c6c99af91c4974" providerId="LiveId" clId="{34DF7D6B-EB0F-4B53-B080-BB8D6F5C3D93}" dt="2024-05-10T15:38:08.953" v="94" actId="478"/>
          <ac:spMkLst>
            <pc:docMk/>
            <pc:sldMk cId="1267351248" sldId="336"/>
            <ac:spMk id="91" creationId="{D4A80139-636A-F058-2516-6F5036AF9294}"/>
          </ac:spMkLst>
        </pc:spChg>
        <pc:spChg chg="del">
          <ac:chgData name="Veniero Facchetti" userId="f2c6c99af91c4974" providerId="LiveId" clId="{34DF7D6B-EB0F-4B53-B080-BB8D6F5C3D93}" dt="2024-05-10T15:38:08.953" v="94" actId="478"/>
          <ac:spMkLst>
            <pc:docMk/>
            <pc:sldMk cId="1267351248" sldId="336"/>
            <ac:spMk id="92" creationId="{AED4B766-4060-FD68-BD76-8E08EBB640D7}"/>
          </ac:spMkLst>
        </pc:spChg>
        <pc:spChg chg="del">
          <ac:chgData name="Veniero Facchetti" userId="f2c6c99af91c4974" providerId="LiveId" clId="{34DF7D6B-EB0F-4B53-B080-BB8D6F5C3D93}" dt="2024-05-10T15:38:08.953" v="94" actId="478"/>
          <ac:spMkLst>
            <pc:docMk/>
            <pc:sldMk cId="1267351248" sldId="336"/>
            <ac:spMk id="94" creationId="{0E90B751-3338-B9B6-0E54-19A88BF04A87}"/>
          </ac:spMkLst>
        </pc:spChg>
        <pc:spChg chg="del">
          <ac:chgData name="Veniero Facchetti" userId="f2c6c99af91c4974" providerId="LiveId" clId="{34DF7D6B-EB0F-4B53-B080-BB8D6F5C3D93}" dt="2024-05-10T15:38:08.953" v="94" actId="478"/>
          <ac:spMkLst>
            <pc:docMk/>
            <pc:sldMk cId="1267351248" sldId="336"/>
            <ac:spMk id="95" creationId="{B0BAFB80-2836-238D-A654-BC6E676AA455}"/>
          </ac:spMkLst>
        </pc:spChg>
        <pc:spChg chg="del">
          <ac:chgData name="Veniero Facchetti" userId="f2c6c99af91c4974" providerId="LiveId" clId="{34DF7D6B-EB0F-4B53-B080-BB8D6F5C3D93}" dt="2024-05-10T15:38:08.953" v="94" actId="478"/>
          <ac:spMkLst>
            <pc:docMk/>
            <pc:sldMk cId="1267351248" sldId="336"/>
            <ac:spMk id="96" creationId="{C8B6601B-0BEC-01E2-2D64-FB32DB5DD346}"/>
          </ac:spMkLst>
        </pc:spChg>
        <pc:spChg chg="del">
          <ac:chgData name="Veniero Facchetti" userId="f2c6c99af91c4974" providerId="LiveId" clId="{34DF7D6B-EB0F-4B53-B080-BB8D6F5C3D93}" dt="2024-05-10T15:38:08.953" v="94" actId="478"/>
          <ac:spMkLst>
            <pc:docMk/>
            <pc:sldMk cId="1267351248" sldId="336"/>
            <ac:spMk id="98" creationId="{6E379188-A11E-25AA-34BC-616A927234B0}"/>
          </ac:spMkLst>
        </pc:spChg>
        <pc:spChg chg="del">
          <ac:chgData name="Veniero Facchetti" userId="f2c6c99af91c4974" providerId="LiveId" clId="{34DF7D6B-EB0F-4B53-B080-BB8D6F5C3D93}" dt="2024-05-10T15:38:08.953" v="94" actId="478"/>
          <ac:spMkLst>
            <pc:docMk/>
            <pc:sldMk cId="1267351248" sldId="336"/>
            <ac:spMk id="99" creationId="{C222CD0F-3AE5-0671-CC94-2C570BCBA5FF}"/>
          </ac:spMkLst>
        </pc:spChg>
        <pc:spChg chg="del">
          <ac:chgData name="Veniero Facchetti" userId="f2c6c99af91c4974" providerId="LiveId" clId="{34DF7D6B-EB0F-4B53-B080-BB8D6F5C3D93}" dt="2024-05-10T15:38:08.953" v="94" actId="478"/>
          <ac:spMkLst>
            <pc:docMk/>
            <pc:sldMk cId="1267351248" sldId="336"/>
            <ac:spMk id="100" creationId="{B12D501B-F2FB-2005-037C-D549AC86D9A6}"/>
          </ac:spMkLst>
        </pc:spChg>
        <pc:spChg chg="del">
          <ac:chgData name="Veniero Facchetti" userId="f2c6c99af91c4974" providerId="LiveId" clId="{34DF7D6B-EB0F-4B53-B080-BB8D6F5C3D93}" dt="2024-05-10T15:38:08.953" v="94" actId="478"/>
          <ac:spMkLst>
            <pc:docMk/>
            <pc:sldMk cId="1267351248" sldId="336"/>
            <ac:spMk id="102" creationId="{7D6BCC7C-440C-CFC0-6B87-0CF3BE14EF55}"/>
          </ac:spMkLst>
        </pc:spChg>
        <pc:spChg chg="del">
          <ac:chgData name="Veniero Facchetti" userId="f2c6c99af91c4974" providerId="LiveId" clId="{34DF7D6B-EB0F-4B53-B080-BB8D6F5C3D93}" dt="2024-05-10T15:38:08.953" v="94" actId="478"/>
          <ac:spMkLst>
            <pc:docMk/>
            <pc:sldMk cId="1267351248" sldId="336"/>
            <ac:spMk id="103" creationId="{7FA00403-C6DE-F895-A20D-32DAA956230A}"/>
          </ac:spMkLst>
        </pc:spChg>
        <pc:spChg chg="del">
          <ac:chgData name="Veniero Facchetti" userId="f2c6c99af91c4974" providerId="LiveId" clId="{34DF7D6B-EB0F-4B53-B080-BB8D6F5C3D93}" dt="2024-05-10T15:38:08.953" v="94" actId="478"/>
          <ac:spMkLst>
            <pc:docMk/>
            <pc:sldMk cId="1267351248" sldId="336"/>
            <ac:spMk id="104" creationId="{9C6907D6-AD29-20AB-FBCC-8AEB3E08C17B}"/>
          </ac:spMkLst>
        </pc:spChg>
        <pc:spChg chg="del">
          <ac:chgData name="Veniero Facchetti" userId="f2c6c99af91c4974" providerId="LiveId" clId="{34DF7D6B-EB0F-4B53-B080-BB8D6F5C3D93}" dt="2024-05-10T15:38:08.953" v="94" actId="478"/>
          <ac:spMkLst>
            <pc:docMk/>
            <pc:sldMk cId="1267351248" sldId="336"/>
            <ac:spMk id="106" creationId="{96BCBC4D-9693-0478-2382-9308AEA72529}"/>
          </ac:spMkLst>
        </pc:spChg>
        <pc:spChg chg="del">
          <ac:chgData name="Veniero Facchetti" userId="f2c6c99af91c4974" providerId="LiveId" clId="{34DF7D6B-EB0F-4B53-B080-BB8D6F5C3D93}" dt="2024-05-10T15:38:08.953" v="94" actId="478"/>
          <ac:spMkLst>
            <pc:docMk/>
            <pc:sldMk cId="1267351248" sldId="336"/>
            <ac:spMk id="107" creationId="{E319E303-8C55-36C4-58DC-C710C09EDF11}"/>
          </ac:spMkLst>
        </pc:spChg>
        <pc:spChg chg="del">
          <ac:chgData name="Veniero Facchetti" userId="f2c6c99af91c4974" providerId="LiveId" clId="{34DF7D6B-EB0F-4B53-B080-BB8D6F5C3D93}" dt="2024-05-10T15:38:08.953" v="94" actId="478"/>
          <ac:spMkLst>
            <pc:docMk/>
            <pc:sldMk cId="1267351248" sldId="336"/>
            <ac:spMk id="108" creationId="{31A233A1-FC03-86EE-BAED-4E97F1E5FE65}"/>
          </ac:spMkLst>
        </pc:spChg>
        <pc:spChg chg="del">
          <ac:chgData name="Veniero Facchetti" userId="f2c6c99af91c4974" providerId="LiveId" clId="{34DF7D6B-EB0F-4B53-B080-BB8D6F5C3D93}" dt="2024-05-10T15:38:08.953" v="94" actId="478"/>
          <ac:spMkLst>
            <pc:docMk/>
            <pc:sldMk cId="1267351248" sldId="336"/>
            <ac:spMk id="116" creationId="{0A552104-1B89-9611-4423-ABC7A83384AA}"/>
          </ac:spMkLst>
        </pc:spChg>
        <pc:spChg chg="del">
          <ac:chgData name="Veniero Facchetti" userId="f2c6c99af91c4974" providerId="LiveId" clId="{34DF7D6B-EB0F-4B53-B080-BB8D6F5C3D93}" dt="2024-05-10T15:38:08.953" v="94" actId="478"/>
          <ac:spMkLst>
            <pc:docMk/>
            <pc:sldMk cId="1267351248" sldId="336"/>
            <ac:spMk id="117" creationId="{092436CC-0275-B8B4-F0B7-59A57D153958}"/>
          </ac:spMkLst>
        </pc:spChg>
        <pc:spChg chg="add mod">
          <ac:chgData name="Veniero Facchetti" userId="f2c6c99af91c4974" providerId="LiveId" clId="{34DF7D6B-EB0F-4B53-B080-BB8D6F5C3D93}" dt="2024-05-10T15:38:59.393" v="103" actId="1076"/>
          <ac:spMkLst>
            <pc:docMk/>
            <pc:sldMk cId="1267351248" sldId="336"/>
            <ac:spMk id="118" creationId="{9050BDE0-ADBE-1C64-D84E-2EC4EC7B21B1}"/>
          </ac:spMkLst>
        </pc:spChg>
        <pc:spChg chg="add mod">
          <ac:chgData name="Veniero Facchetti" userId="f2c6c99af91c4974" providerId="LiveId" clId="{34DF7D6B-EB0F-4B53-B080-BB8D6F5C3D93}" dt="2024-05-10T15:38:59.393" v="103" actId="1076"/>
          <ac:spMkLst>
            <pc:docMk/>
            <pc:sldMk cId="1267351248" sldId="336"/>
            <ac:spMk id="119" creationId="{795B6655-556F-11A0-2408-7EADF3DCFC20}"/>
          </ac:spMkLst>
        </pc:spChg>
        <pc:spChg chg="mod">
          <ac:chgData name="Veniero Facchetti" userId="f2c6c99af91c4974" providerId="LiveId" clId="{34DF7D6B-EB0F-4B53-B080-BB8D6F5C3D93}" dt="2024-05-10T15:38:33.805" v="97" actId="1076"/>
          <ac:spMkLst>
            <pc:docMk/>
            <pc:sldMk cId="1267351248" sldId="336"/>
            <ac:spMk id="122" creationId="{8AC9DAEC-5AC2-8AF1-E979-2F0A4D8FB632}"/>
          </ac:spMkLst>
        </pc:spChg>
        <pc:spChg chg="mod">
          <ac:chgData name="Veniero Facchetti" userId="f2c6c99af91c4974" providerId="LiveId" clId="{34DF7D6B-EB0F-4B53-B080-BB8D6F5C3D93}" dt="2024-05-10T15:38:33.805" v="97" actId="1076"/>
          <ac:spMkLst>
            <pc:docMk/>
            <pc:sldMk cId="1267351248" sldId="336"/>
            <ac:spMk id="125" creationId="{5CA0FCCB-4CF8-91E8-70B3-80C42CE6FD85}"/>
          </ac:spMkLst>
        </pc:spChg>
        <pc:spChg chg="mod">
          <ac:chgData name="Veniero Facchetti" userId="f2c6c99af91c4974" providerId="LiveId" clId="{34DF7D6B-EB0F-4B53-B080-BB8D6F5C3D93}" dt="2024-05-10T15:38:53.964" v="102" actId="1076"/>
          <ac:spMkLst>
            <pc:docMk/>
            <pc:sldMk cId="1267351248" sldId="336"/>
            <ac:spMk id="127" creationId="{D526D2D1-953E-089B-AD83-C197DAF23671}"/>
          </ac:spMkLst>
        </pc:spChg>
        <pc:spChg chg="mod">
          <ac:chgData name="Veniero Facchetti" userId="f2c6c99af91c4974" providerId="LiveId" clId="{34DF7D6B-EB0F-4B53-B080-BB8D6F5C3D93}" dt="2024-05-10T15:38:53.964" v="102" actId="1076"/>
          <ac:spMkLst>
            <pc:docMk/>
            <pc:sldMk cId="1267351248" sldId="336"/>
            <ac:spMk id="128" creationId="{006AE076-3F58-DC34-3182-7F9B04856C22}"/>
          </ac:spMkLst>
        </pc:spChg>
        <pc:spChg chg="mod">
          <ac:chgData name="Veniero Facchetti" userId="f2c6c99af91c4974" providerId="LiveId" clId="{34DF7D6B-EB0F-4B53-B080-BB8D6F5C3D93}" dt="2024-05-10T15:38:53.964" v="102" actId="1076"/>
          <ac:spMkLst>
            <pc:docMk/>
            <pc:sldMk cId="1267351248" sldId="336"/>
            <ac:spMk id="129" creationId="{5022A204-CA6B-0652-6475-1BC083A59E27}"/>
          </ac:spMkLst>
        </pc:spChg>
        <pc:spChg chg="mod">
          <ac:chgData name="Veniero Facchetti" userId="f2c6c99af91c4974" providerId="LiveId" clId="{34DF7D6B-EB0F-4B53-B080-BB8D6F5C3D93}" dt="2024-05-10T15:38:53.964" v="102" actId="1076"/>
          <ac:spMkLst>
            <pc:docMk/>
            <pc:sldMk cId="1267351248" sldId="336"/>
            <ac:spMk id="130" creationId="{948B6C64-9C5D-B53A-3B4B-BF8BE98927CA}"/>
          </ac:spMkLst>
        </pc:spChg>
        <pc:spChg chg="mod">
          <ac:chgData name="Veniero Facchetti" userId="f2c6c99af91c4974" providerId="LiveId" clId="{34DF7D6B-EB0F-4B53-B080-BB8D6F5C3D93}" dt="2024-05-10T15:38:53.964" v="102" actId="1076"/>
          <ac:spMkLst>
            <pc:docMk/>
            <pc:sldMk cId="1267351248" sldId="336"/>
            <ac:spMk id="131" creationId="{123E0A86-2FF5-39D2-4CA5-3ABD5FA50D61}"/>
          </ac:spMkLst>
        </pc:spChg>
        <pc:spChg chg="mod">
          <ac:chgData name="Veniero Facchetti" userId="f2c6c99af91c4974" providerId="LiveId" clId="{34DF7D6B-EB0F-4B53-B080-BB8D6F5C3D93}" dt="2024-05-10T15:38:53.964" v="102" actId="1076"/>
          <ac:spMkLst>
            <pc:docMk/>
            <pc:sldMk cId="1267351248" sldId="336"/>
            <ac:spMk id="132" creationId="{3A9E4A07-0F67-E009-D1C1-DBB4B9D99125}"/>
          </ac:spMkLst>
        </pc:spChg>
        <pc:spChg chg="mod">
          <ac:chgData name="Veniero Facchetti" userId="f2c6c99af91c4974" providerId="LiveId" clId="{34DF7D6B-EB0F-4B53-B080-BB8D6F5C3D93}" dt="2024-05-10T15:38:53.964" v="102" actId="1076"/>
          <ac:spMkLst>
            <pc:docMk/>
            <pc:sldMk cId="1267351248" sldId="336"/>
            <ac:spMk id="133" creationId="{4AF9CDC8-18DF-3A89-79C5-C04E3079AEBF}"/>
          </ac:spMkLst>
        </pc:spChg>
        <pc:spChg chg="mod">
          <ac:chgData name="Veniero Facchetti" userId="f2c6c99af91c4974" providerId="LiveId" clId="{34DF7D6B-EB0F-4B53-B080-BB8D6F5C3D93}" dt="2024-05-10T15:38:53.964" v="102" actId="1076"/>
          <ac:spMkLst>
            <pc:docMk/>
            <pc:sldMk cId="1267351248" sldId="336"/>
            <ac:spMk id="134" creationId="{5465CDAC-9D27-CF21-73B5-7058E8FE1389}"/>
          </ac:spMkLst>
        </pc:spChg>
        <pc:spChg chg="mod">
          <ac:chgData name="Veniero Facchetti" userId="f2c6c99af91c4974" providerId="LiveId" clId="{34DF7D6B-EB0F-4B53-B080-BB8D6F5C3D93}" dt="2024-05-10T15:38:53.964" v="102" actId="1076"/>
          <ac:spMkLst>
            <pc:docMk/>
            <pc:sldMk cId="1267351248" sldId="336"/>
            <ac:spMk id="135" creationId="{FDDF6CDE-8B96-54D2-243F-48903C51F105}"/>
          </ac:spMkLst>
        </pc:spChg>
        <pc:spChg chg="mod">
          <ac:chgData name="Veniero Facchetti" userId="f2c6c99af91c4974" providerId="LiveId" clId="{34DF7D6B-EB0F-4B53-B080-BB8D6F5C3D93}" dt="2024-05-10T15:38:53.964" v="102" actId="1076"/>
          <ac:spMkLst>
            <pc:docMk/>
            <pc:sldMk cId="1267351248" sldId="336"/>
            <ac:spMk id="136" creationId="{19E04BAB-8D43-652A-205E-ECB9030EFD2C}"/>
          </ac:spMkLst>
        </pc:spChg>
        <pc:spChg chg="mod">
          <ac:chgData name="Veniero Facchetti" userId="f2c6c99af91c4974" providerId="LiveId" clId="{34DF7D6B-EB0F-4B53-B080-BB8D6F5C3D93}" dt="2024-05-10T15:38:53.964" v="102" actId="1076"/>
          <ac:spMkLst>
            <pc:docMk/>
            <pc:sldMk cId="1267351248" sldId="336"/>
            <ac:spMk id="137" creationId="{13D5B67E-5DC4-54E0-25F5-37CAD2C72857}"/>
          </ac:spMkLst>
        </pc:spChg>
        <pc:spChg chg="mod">
          <ac:chgData name="Veniero Facchetti" userId="f2c6c99af91c4974" providerId="LiveId" clId="{34DF7D6B-EB0F-4B53-B080-BB8D6F5C3D93}" dt="2024-05-10T15:38:53.964" v="102" actId="1076"/>
          <ac:spMkLst>
            <pc:docMk/>
            <pc:sldMk cId="1267351248" sldId="336"/>
            <ac:spMk id="138" creationId="{0E4FC283-D501-EF7A-05F8-B3942D204564}"/>
          </ac:spMkLst>
        </pc:spChg>
        <pc:spChg chg="add mod">
          <ac:chgData name="Veniero Facchetti" userId="f2c6c99af91c4974" providerId="LiveId" clId="{34DF7D6B-EB0F-4B53-B080-BB8D6F5C3D93}" dt="2024-05-10T15:38:37.881" v="98" actId="1076"/>
          <ac:spMkLst>
            <pc:docMk/>
            <pc:sldMk cId="1267351248" sldId="336"/>
            <ac:spMk id="139" creationId="{DB66BA4B-8FD4-AA1C-2248-88A872A8E98D}"/>
          </ac:spMkLst>
        </pc:spChg>
        <pc:spChg chg="add mod">
          <ac:chgData name="Veniero Facchetti" userId="f2c6c99af91c4974" providerId="LiveId" clId="{34DF7D6B-EB0F-4B53-B080-BB8D6F5C3D93}" dt="2024-05-10T15:38:42.178" v="100" actId="571"/>
          <ac:spMkLst>
            <pc:docMk/>
            <pc:sldMk cId="1267351248" sldId="336"/>
            <ac:spMk id="140" creationId="{3C5DBA27-BCD6-34A6-47EC-3195FBF4F238}"/>
          </ac:spMkLst>
        </pc:spChg>
        <pc:grpChg chg="del">
          <ac:chgData name="Veniero Facchetti" userId="f2c6c99af91c4974" providerId="LiveId" clId="{34DF7D6B-EB0F-4B53-B080-BB8D6F5C3D93}" dt="2024-05-10T15:38:08.953" v="94" actId="478"/>
          <ac:grpSpMkLst>
            <pc:docMk/>
            <pc:sldMk cId="1267351248" sldId="336"/>
            <ac:grpSpMk id="83" creationId="{EEFEF77E-D72B-0ABC-69B2-E1E0AED92658}"/>
          </ac:grpSpMkLst>
        </pc:grpChg>
        <pc:grpChg chg="del">
          <ac:chgData name="Veniero Facchetti" userId="f2c6c99af91c4974" providerId="LiveId" clId="{34DF7D6B-EB0F-4B53-B080-BB8D6F5C3D93}" dt="2024-05-10T15:38:08.953" v="94" actId="478"/>
          <ac:grpSpMkLst>
            <pc:docMk/>
            <pc:sldMk cId="1267351248" sldId="336"/>
            <ac:grpSpMk id="110" creationId="{EEA812A0-8BBC-E43C-DB69-88257AA8E8FD}"/>
          </ac:grpSpMkLst>
        </pc:grpChg>
        <pc:grpChg chg="del">
          <ac:chgData name="Veniero Facchetti" userId="f2c6c99af91c4974" providerId="LiveId" clId="{34DF7D6B-EB0F-4B53-B080-BB8D6F5C3D93}" dt="2024-05-10T15:38:08.953" v="94" actId="478"/>
          <ac:grpSpMkLst>
            <pc:docMk/>
            <pc:sldMk cId="1267351248" sldId="336"/>
            <ac:grpSpMk id="113" creationId="{46004DD6-D69C-7F92-3CC0-9449F011E027}"/>
          </ac:grpSpMkLst>
        </pc:grpChg>
        <pc:grpChg chg="add mod">
          <ac:chgData name="Veniero Facchetti" userId="f2c6c99af91c4974" providerId="LiveId" clId="{34DF7D6B-EB0F-4B53-B080-BB8D6F5C3D93}" dt="2024-05-10T15:38:46.931" v="101" actId="1076"/>
          <ac:grpSpMkLst>
            <pc:docMk/>
            <pc:sldMk cId="1267351248" sldId="336"/>
            <ac:grpSpMk id="120" creationId="{BEDB6BE9-2D2A-CD2E-3EA8-292A9325A947}"/>
          </ac:grpSpMkLst>
        </pc:grpChg>
        <pc:grpChg chg="add mod">
          <ac:chgData name="Veniero Facchetti" userId="f2c6c99af91c4974" providerId="LiveId" clId="{34DF7D6B-EB0F-4B53-B080-BB8D6F5C3D93}" dt="2024-05-10T15:38:46.931" v="101" actId="1076"/>
          <ac:grpSpMkLst>
            <pc:docMk/>
            <pc:sldMk cId="1267351248" sldId="336"/>
            <ac:grpSpMk id="123" creationId="{2EE9FE09-C40D-0F04-15DB-321077B2F237}"/>
          </ac:grpSpMkLst>
        </pc:grpChg>
        <pc:grpChg chg="add mod">
          <ac:chgData name="Veniero Facchetti" userId="f2c6c99af91c4974" providerId="LiveId" clId="{34DF7D6B-EB0F-4B53-B080-BB8D6F5C3D93}" dt="2024-05-10T15:38:53.964" v="102" actId="1076"/>
          <ac:grpSpMkLst>
            <pc:docMk/>
            <pc:sldMk cId="1267351248" sldId="336"/>
            <ac:grpSpMk id="126" creationId="{C98F2C92-F10E-E776-C895-D66A4EF0F9DF}"/>
          </ac:grpSpMkLst>
        </pc:grpChg>
        <pc:graphicFrameChg chg="add mod">
          <ac:chgData name="Veniero Facchetti" userId="f2c6c99af91c4974" providerId="LiveId" clId="{34DF7D6B-EB0F-4B53-B080-BB8D6F5C3D93}" dt="2024-05-10T15:38:53.964" v="102" actId="1076"/>
          <ac:graphicFrameMkLst>
            <pc:docMk/>
            <pc:sldMk cId="1267351248" sldId="336"/>
            <ac:graphicFrameMk id="4" creationId="{AEBEF069-F2C0-BFCE-F95A-24C57D056B25}"/>
          </ac:graphicFrameMkLst>
        </pc:graphicFrameChg>
        <pc:graphicFrameChg chg="add mod">
          <ac:chgData name="Veniero Facchetti" userId="f2c6c99af91c4974" providerId="LiveId" clId="{34DF7D6B-EB0F-4B53-B080-BB8D6F5C3D93}" dt="2024-05-10T15:38:59.393" v="103" actId="1076"/>
          <ac:graphicFrameMkLst>
            <pc:docMk/>
            <pc:sldMk cId="1267351248" sldId="336"/>
            <ac:graphicFrameMk id="42" creationId="{2D86DB9A-6FD4-4161-B88F-44D69B41DD6A}"/>
          </ac:graphicFrameMkLst>
        </pc:graphicFrameChg>
        <pc:graphicFrameChg chg="del">
          <ac:chgData name="Veniero Facchetti" userId="f2c6c99af91c4974" providerId="LiveId" clId="{34DF7D6B-EB0F-4B53-B080-BB8D6F5C3D93}" dt="2024-05-10T15:38:08.953" v="94" actId="478"/>
          <ac:graphicFrameMkLst>
            <pc:docMk/>
            <pc:sldMk cId="1267351248" sldId="336"/>
            <ac:graphicFrameMk id="46" creationId="{EC1F8784-B883-700D-DF43-7CB537CD40DF}"/>
          </ac:graphicFrameMkLst>
        </pc:graphicFrameChg>
        <pc:graphicFrameChg chg="del">
          <ac:chgData name="Veniero Facchetti" userId="f2c6c99af91c4974" providerId="LiveId" clId="{34DF7D6B-EB0F-4B53-B080-BB8D6F5C3D93}" dt="2024-05-10T15:38:08.953" v="94" actId="478"/>
          <ac:graphicFrameMkLst>
            <pc:docMk/>
            <pc:sldMk cId="1267351248" sldId="336"/>
            <ac:graphicFrameMk id="82" creationId="{1DE461D6-ABFC-34A0-C461-E108F51079E1}"/>
          </ac:graphicFrameMkLst>
        </pc:graphicFrameChg>
        <pc:picChg chg="del">
          <ac:chgData name="Veniero Facchetti" userId="f2c6c99af91c4974" providerId="LiveId" clId="{34DF7D6B-EB0F-4B53-B080-BB8D6F5C3D93}" dt="2024-05-10T15:38:08.953" v="94" actId="478"/>
          <ac:picMkLst>
            <pc:docMk/>
            <pc:sldMk cId="1267351248" sldId="336"/>
            <ac:picMk id="93" creationId="{D9E7086E-A0D7-B384-510E-0640DD973D6D}"/>
          </ac:picMkLst>
        </pc:picChg>
        <pc:picChg chg="del">
          <ac:chgData name="Veniero Facchetti" userId="f2c6c99af91c4974" providerId="LiveId" clId="{34DF7D6B-EB0F-4B53-B080-BB8D6F5C3D93}" dt="2024-05-10T15:38:08.953" v="94" actId="478"/>
          <ac:picMkLst>
            <pc:docMk/>
            <pc:sldMk cId="1267351248" sldId="336"/>
            <ac:picMk id="97" creationId="{9A21A95B-6B76-8C19-9106-902DB9E3BFA6}"/>
          </ac:picMkLst>
        </pc:picChg>
        <pc:picChg chg="del">
          <ac:chgData name="Veniero Facchetti" userId="f2c6c99af91c4974" providerId="LiveId" clId="{34DF7D6B-EB0F-4B53-B080-BB8D6F5C3D93}" dt="2024-05-10T15:38:08.953" v="94" actId="478"/>
          <ac:picMkLst>
            <pc:docMk/>
            <pc:sldMk cId="1267351248" sldId="336"/>
            <ac:picMk id="101" creationId="{6CE599AA-8A54-3C7A-93E3-EDDF26F66E79}"/>
          </ac:picMkLst>
        </pc:picChg>
        <pc:picChg chg="del">
          <ac:chgData name="Veniero Facchetti" userId="f2c6c99af91c4974" providerId="LiveId" clId="{34DF7D6B-EB0F-4B53-B080-BB8D6F5C3D93}" dt="2024-05-10T15:38:08.953" v="94" actId="478"/>
          <ac:picMkLst>
            <pc:docMk/>
            <pc:sldMk cId="1267351248" sldId="336"/>
            <ac:picMk id="105" creationId="{98538F11-AF14-4355-9F89-60650320E77C}"/>
          </ac:picMkLst>
        </pc:picChg>
        <pc:picChg chg="del">
          <ac:chgData name="Veniero Facchetti" userId="f2c6c99af91c4974" providerId="LiveId" clId="{34DF7D6B-EB0F-4B53-B080-BB8D6F5C3D93}" dt="2024-05-10T15:38:08.953" v="94" actId="478"/>
          <ac:picMkLst>
            <pc:docMk/>
            <pc:sldMk cId="1267351248" sldId="336"/>
            <ac:picMk id="109" creationId="{0D79E1EB-30D4-0FC1-2A54-69399B4B4DD2}"/>
          </ac:picMkLst>
        </pc:picChg>
        <pc:cxnChg chg="add mod">
          <ac:chgData name="Veniero Facchetti" userId="f2c6c99af91c4974" providerId="LiveId" clId="{34DF7D6B-EB0F-4B53-B080-BB8D6F5C3D93}" dt="2024-05-10T15:38:53.964" v="102" actId="1076"/>
          <ac:cxnSpMkLst>
            <pc:docMk/>
            <pc:sldMk cId="1267351248" sldId="336"/>
            <ac:cxnSpMk id="12" creationId="{5D0C6662-68D4-0D82-2E87-B93C508259B0}"/>
          </ac:cxnSpMkLst>
        </pc:cxnChg>
        <pc:cxnChg chg="add mod">
          <ac:chgData name="Veniero Facchetti" userId="f2c6c99af91c4974" providerId="LiveId" clId="{34DF7D6B-EB0F-4B53-B080-BB8D6F5C3D93}" dt="2024-05-10T15:38:53.964" v="102" actId="1076"/>
          <ac:cxnSpMkLst>
            <pc:docMk/>
            <pc:sldMk cId="1267351248" sldId="336"/>
            <ac:cxnSpMk id="13" creationId="{44720F8A-9EBA-0A70-83C7-497C3EEE45E3}"/>
          </ac:cxnSpMkLst>
        </pc:cxnChg>
        <pc:cxnChg chg="del">
          <ac:chgData name="Veniero Facchetti" userId="f2c6c99af91c4974" providerId="LiveId" clId="{34DF7D6B-EB0F-4B53-B080-BB8D6F5C3D93}" dt="2024-05-10T15:38:08.953" v="94" actId="478"/>
          <ac:cxnSpMkLst>
            <pc:docMk/>
            <pc:sldMk cId="1267351248" sldId="336"/>
            <ac:cxnSpMk id="74" creationId="{8F36FB58-2881-A273-2AEB-7BCE66284E83}"/>
          </ac:cxnSpMkLst>
        </pc:cxnChg>
        <pc:cxnChg chg="del">
          <ac:chgData name="Veniero Facchetti" userId="f2c6c99af91c4974" providerId="LiveId" clId="{34DF7D6B-EB0F-4B53-B080-BB8D6F5C3D93}" dt="2024-05-10T15:38:08.953" v="94" actId="478"/>
          <ac:cxnSpMkLst>
            <pc:docMk/>
            <pc:sldMk cId="1267351248" sldId="336"/>
            <ac:cxnSpMk id="77" creationId="{2AEE736E-1A1D-10D7-53D6-4E17770DADB4}"/>
          </ac:cxnSpMkLst>
        </pc:cxnChg>
        <pc:cxnChg chg="del">
          <ac:chgData name="Veniero Facchetti" userId="f2c6c99af91c4974" providerId="LiveId" clId="{34DF7D6B-EB0F-4B53-B080-BB8D6F5C3D93}" dt="2024-05-10T15:38:08.953" v="94" actId="478"/>
          <ac:cxnSpMkLst>
            <pc:docMk/>
            <pc:sldMk cId="1267351248" sldId="336"/>
            <ac:cxnSpMk id="79" creationId="{0D9DE681-1D68-89D8-900E-6E0F09FD1022}"/>
          </ac:cxnSpMkLst>
        </pc:cxnChg>
        <pc:cxnChg chg="del">
          <ac:chgData name="Veniero Facchetti" userId="f2c6c99af91c4974" providerId="LiveId" clId="{34DF7D6B-EB0F-4B53-B080-BB8D6F5C3D93}" dt="2024-05-10T15:38:08.953" v="94" actId="478"/>
          <ac:cxnSpMkLst>
            <pc:docMk/>
            <pc:sldMk cId="1267351248" sldId="336"/>
            <ac:cxnSpMk id="81" creationId="{9979A529-0761-0600-9136-130135236658}"/>
          </ac:cxnSpMkLst>
        </pc:cxnChg>
        <pc:cxnChg chg="del">
          <ac:chgData name="Veniero Facchetti" userId="f2c6c99af91c4974" providerId="LiveId" clId="{34DF7D6B-EB0F-4B53-B080-BB8D6F5C3D93}" dt="2024-05-10T15:38:08.953" v="94" actId="478"/>
          <ac:cxnSpMkLst>
            <pc:docMk/>
            <pc:sldMk cId="1267351248" sldId="336"/>
            <ac:cxnSpMk id="89" creationId="{C1FC7A4F-D887-F76B-3483-7CFB33354D82}"/>
          </ac:cxnSpMkLst>
        </pc:cxnChg>
        <pc:cxnChg chg="mod">
          <ac:chgData name="Veniero Facchetti" userId="f2c6c99af91c4974" providerId="LiveId" clId="{34DF7D6B-EB0F-4B53-B080-BB8D6F5C3D93}" dt="2024-05-10T15:38:33.805" v="97" actId="1076"/>
          <ac:cxnSpMkLst>
            <pc:docMk/>
            <pc:sldMk cId="1267351248" sldId="336"/>
            <ac:cxnSpMk id="121" creationId="{3495D2F6-8942-D4A9-61F4-C8AA1AE60A1E}"/>
          </ac:cxnSpMkLst>
        </pc:cxnChg>
        <pc:cxnChg chg="mod">
          <ac:chgData name="Veniero Facchetti" userId="f2c6c99af91c4974" providerId="LiveId" clId="{34DF7D6B-EB0F-4B53-B080-BB8D6F5C3D93}" dt="2024-05-10T15:38:33.805" v="97" actId="1076"/>
          <ac:cxnSpMkLst>
            <pc:docMk/>
            <pc:sldMk cId="1267351248" sldId="336"/>
            <ac:cxnSpMk id="124" creationId="{9BDD9483-AB1F-DBC1-AAD1-20E283E3F02F}"/>
          </ac:cxnSpMkLst>
        </pc:cxnChg>
      </pc:sldChg>
      <pc:sldChg chg="addSp delSp modSp new mod modClrScheme chgLayout">
        <pc:chgData name="Veniero Facchetti" userId="f2c6c99af91c4974" providerId="LiveId" clId="{34DF7D6B-EB0F-4B53-B080-BB8D6F5C3D93}" dt="2024-05-10T15:39:54.889" v="117" actId="14100"/>
        <pc:sldMkLst>
          <pc:docMk/>
          <pc:sldMk cId="3961579934" sldId="337"/>
        </pc:sldMkLst>
        <pc:spChg chg="del mod ord">
          <ac:chgData name="Veniero Facchetti" userId="f2c6c99af91c4974" providerId="LiveId" clId="{34DF7D6B-EB0F-4B53-B080-BB8D6F5C3D93}" dt="2024-05-10T15:39:26.698" v="106" actId="700"/>
          <ac:spMkLst>
            <pc:docMk/>
            <pc:sldMk cId="3961579934" sldId="337"/>
            <ac:spMk id="2" creationId="{F0F72D7E-3DF1-10BD-97CC-2A3E45E0688E}"/>
          </ac:spMkLst>
        </pc:spChg>
        <pc:spChg chg="del mod ord">
          <ac:chgData name="Veniero Facchetti" userId="f2c6c99af91c4974" providerId="LiveId" clId="{34DF7D6B-EB0F-4B53-B080-BB8D6F5C3D93}" dt="2024-05-10T15:39:26.698" v="106" actId="700"/>
          <ac:spMkLst>
            <pc:docMk/>
            <pc:sldMk cId="3961579934" sldId="337"/>
            <ac:spMk id="3" creationId="{FC9CF72B-11AC-B18F-3C68-AC21CB7134DC}"/>
          </ac:spMkLst>
        </pc:spChg>
        <pc:spChg chg="del mod ord">
          <ac:chgData name="Veniero Facchetti" userId="f2c6c99af91c4974" providerId="LiveId" clId="{34DF7D6B-EB0F-4B53-B080-BB8D6F5C3D93}" dt="2024-05-10T15:39:26.698" v="106" actId="700"/>
          <ac:spMkLst>
            <pc:docMk/>
            <pc:sldMk cId="3961579934" sldId="337"/>
            <ac:spMk id="4" creationId="{C46C3557-325E-506D-85CF-CA3B0EE5581A}"/>
          </ac:spMkLst>
        </pc:spChg>
        <pc:spChg chg="add mod ord">
          <ac:chgData name="Veniero Facchetti" userId="f2c6c99af91c4974" providerId="LiveId" clId="{34DF7D6B-EB0F-4B53-B080-BB8D6F5C3D93}" dt="2024-05-10T15:39:54.889" v="117" actId="14100"/>
          <ac:spMkLst>
            <pc:docMk/>
            <pc:sldMk cId="3961579934" sldId="337"/>
            <ac:spMk id="5" creationId="{FA86CEC4-F4FF-C9A4-049F-65E15836E1C4}"/>
          </ac:spMkLst>
        </pc:spChg>
        <pc:spChg chg="add del mod ord">
          <ac:chgData name="Veniero Facchetti" userId="f2c6c99af91c4974" providerId="LiveId" clId="{34DF7D6B-EB0F-4B53-B080-BB8D6F5C3D93}" dt="2024-05-10T15:39:30.163" v="107" actId="478"/>
          <ac:spMkLst>
            <pc:docMk/>
            <pc:sldMk cId="3961579934" sldId="337"/>
            <ac:spMk id="6" creationId="{7C84E936-1E88-8A44-28D0-5BAC78EA4DB4}"/>
          </ac:spMkLst>
        </pc:spChg>
        <pc:spChg chg="add del mod ord">
          <ac:chgData name="Veniero Facchetti" userId="f2c6c99af91c4974" providerId="LiveId" clId="{34DF7D6B-EB0F-4B53-B080-BB8D6F5C3D93}" dt="2024-05-10T15:39:31.639" v="108" actId="478"/>
          <ac:spMkLst>
            <pc:docMk/>
            <pc:sldMk cId="3961579934" sldId="337"/>
            <ac:spMk id="7" creationId="{ED844163-62F2-B5D6-7A2A-4DC2F2CFBE8A}"/>
          </ac:spMkLst>
        </pc:spChg>
      </pc:sldChg>
      <pc:sldChg chg="addSp delSp modSp new mod modClrScheme chgLayout">
        <pc:chgData name="Veniero Facchetti" userId="f2c6c99af91c4974" providerId="LiveId" clId="{34DF7D6B-EB0F-4B53-B080-BB8D6F5C3D93}" dt="2024-05-10T15:42:29.773" v="146"/>
        <pc:sldMkLst>
          <pc:docMk/>
          <pc:sldMk cId="3559472339" sldId="338"/>
        </pc:sldMkLst>
        <pc:spChg chg="del">
          <ac:chgData name="Veniero Facchetti" userId="f2c6c99af91c4974" providerId="LiveId" clId="{34DF7D6B-EB0F-4B53-B080-BB8D6F5C3D93}" dt="2024-05-10T15:40:05.246" v="119" actId="700"/>
          <ac:spMkLst>
            <pc:docMk/>
            <pc:sldMk cId="3559472339" sldId="338"/>
            <ac:spMk id="2" creationId="{FE3CCB24-48D4-D728-30F5-64482E390C12}"/>
          </ac:spMkLst>
        </pc:spChg>
        <pc:spChg chg="del">
          <ac:chgData name="Veniero Facchetti" userId="f2c6c99af91c4974" providerId="LiveId" clId="{34DF7D6B-EB0F-4B53-B080-BB8D6F5C3D93}" dt="2024-05-10T15:40:05.246" v="119" actId="700"/>
          <ac:spMkLst>
            <pc:docMk/>
            <pc:sldMk cId="3559472339" sldId="338"/>
            <ac:spMk id="3" creationId="{7CEFF51D-462E-CE9C-1A0E-18FCD4178FE4}"/>
          </ac:spMkLst>
        </pc:spChg>
        <pc:spChg chg="del mod ord">
          <ac:chgData name="Veniero Facchetti" userId="f2c6c99af91c4974" providerId="LiveId" clId="{34DF7D6B-EB0F-4B53-B080-BB8D6F5C3D93}" dt="2024-05-10T15:40:08.415" v="120" actId="478"/>
          <ac:spMkLst>
            <pc:docMk/>
            <pc:sldMk cId="3559472339" sldId="338"/>
            <ac:spMk id="4" creationId="{D146DEF5-79EA-1850-D05F-A856569A7717}"/>
          </ac:spMkLst>
        </pc:spChg>
        <pc:spChg chg="del">
          <ac:chgData name="Veniero Facchetti" userId="f2c6c99af91c4974" providerId="LiveId" clId="{34DF7D6B-EB0F-4B53-B080-BB8D6F5C3D93}" dt="2024-05-10T15:40:05.246" v="119" actId="700"/>
          <ac:spMkLst>
            <pc:docMk/>
            <pc:sldMk cId="3559472339" sldId="338"/>
            <ac:spMk id="5" creationId="{2684E5A0-7E0C-CEF9-EB1D-432082DA2ECE}"/>
          </ac:spMkLst>
        </pc:spChg>
        <pc:spChg chg="add mod">
          <ac:chgData name="Veniero Facchetti" userId="f2c6c99af91c4974" providerId="LiveId" clId="{34DF7D6B-EB0F-4B53-B080-BB8D6F5C3D93}" dt="2024-05-10T15:40:53.665" v="128" actId="14100"/>
          <ac:spMkLst>
            <pc:docMk/>
            <pc:sldMk cId="3559472339" sldId="338"/>
            <ac:spMk id="6" creationId="{FB2ACBF7-5010-BED6-EDF4-1D8A7CF5EA39}"/>
          </ac:spMkLst>
        </pc:spChg>
        <pc:spChg chg="add mod">
          <ac:chgData name="Veniero Facchetti" userId="f2c6c99af91c4974" providerId="LiveId" clId="{34DF7D6B-EB0F-4B53-B080-BB8D6F5C3D93}" dt="2024-05-10T15:41:21.862" v="134" actId="404"/>
          <ac:spMkLst>
            <pc:docMk/>
            <pc:sldMk cId="3559472339" sldId="338"/>
            <ac:spMk id="7" creationId="{CF067248-704B-A10F-79B3-632EA5CBD17B}"/>
          </ac:spMkLst>
        </pc:spChg>
        <pc:spChg chg="add mod">
          <ac:chgData name="Veniero Facchetti" userId="f2c6c99af91c4974" providerId="LiveId" clId="{34DF7D6B-EB0F-4B53-B080-BB8D6F5C3D93}" dt="2024-05-10T15:42:10.914" v="143" actId="208"/>
          <ac:spMkLst>
            <pc:docMk/>
            <pc:sldMk cId="3559472339" sldId="338"/>
            <ac:spMk id="8" creationId="{37873F11-8004-B7AC-84FD-B8537F914831}"/>
          </ac:spMkLst>
        </pc:spChg>
        <pc:spChg chg="add mod">
          <ac:chgData name="Veniero Facchetti" userId="f2c6c99af91c4974" providerId="LiveId" clId="{34DF7D6B-EB0F-4B53-B080-BB8D6F5C3D93}" dt="2024-05-10T15:41:21.862" v="134" actId="404"/>
          <ac:spMkLst>
            <pc:docMk/>
            <pc:sldMk cId="3559472339" sldId="338"/>
            <ac:spMk id="9" creationId="{3B1AD068-42F8-99CF-7245-B3687DE8B841}"/>
          </ac:spMkLst>
        </pc:spChg>
        <pc:spChg chg="add mod">
          <ac:chgData name="Veniero Facchetti" userId="f2c6c99af91c4974" providerId="LiveId" clId="{34DF7D6B-EB0F-4B53-B080-BB8D6F5C3D93}" dt="2024-05-10T15:41:21.862" v="134" actId="404"/>
          <ac:spMkLst>
            <pc:docMk/>
            <pc:sldMk cId="3559472339" sldId="338"/>
            <ac:spMk id="10" creationId="{171A6ADB-4C27-9ADB-5230-F686D2017BB5}"/>
          </ac:spMkLst>
        </pc:spChg>
        <pc:spChg chg="add mod">
          <ac:chgData name="Veniero Facchetti" userId="f2c6c99af91c4974" providerId="LiveId" clId="{34DF7D6B-EB0F-4B53-B080-BB8D6F5C3D93}" dt="2024-05-10T15:42:10.914" v="143" actId="208"/>
          <ac:spMkLst>
            <pc:docMk/>
            <pc:sldMk cId="3559472339" sldId="338"/>
            <ac:spMk id="11" creationId="{1C5555B2-688A-3075-38DA-C4D098BDA423}"/>
          </ac:spMkLst>
        </pc:spChg>
        <pc:spChg chg="add mod">
          <ac:chgData name="Veniero Facchetti" userId="f2c6c99af91c4974" providerId="LiveId" clId="{34DF7D6B-EB0F-4B53-B080-BB8D6F5C3D93}" dt="2024-05-10T15:41:21.862" v="134" actId="404"/>
          <ac:spMkLst>
            <pc:docMk/>
            <pc:sldMk cId="3559472339" sldId="338"/>
            <ac:spMk id="12" creationId="{10A621BD-B7FE-E016-7D31-2B552752156A}"/>
          </ac:spMkLst>
        </pc:spChg>
        <pc:spChg chg="add mod">
          <ac:chgData name="Veniero Facchetti" userId="f2c6c99af91c4974" providerId="LiveId" clId="{34DF7D6B-EB0F-4B53-B080-BB8D6F5C3D93}" dt="2024-05-10T15:41:21.862" v="134" actId="404"/>
          <ac:spMkLst>
            <pc:docMk/>
            <pc:sldMk cId="3559472339" sldId="338"/>
            <ac:spMk id="13" creationId="{BABA2438-A6E8-14E7-836E-2CE4828D486D}"/>
          </ac:spMkLst>
        </pc:spChg>
        <pc:spChg chg="add mod">
          <ac:chgData name="Veniero Facchetti" userId="f2c6c99af91c4974" providerId="LiveId" clId="{34DF7D6B-EB0F-4B53-B080-BB8D6F5C3D93}" dt="2024-05-10T15:42:10.914" v="143" actId="208"/>
          <ac:spMkLst>
            <pc:docMk/>
            <pc:sldMk cId="3559472339" sldId="338"/>
            <ac:spMk id="14" creationId="{D6C1F272-08A3-5CD9-6147-474F9C041DBB}"/>
          </ac:spMkLst>
        </pc:spChg>
        <pc:spChg chg="add mod">
          <ac:chgData name="Veniero Facchetti" userId="f2c6c99af91c4974" providerId="LiveId" clId="{34DF7D6B-EB0F-4B53-B080-BB8D6F5C3D93}" dt="2024-05-10T15:41:21.862" v="134" actId="404"/>
          <ac:spMkLst>
            <pc:docMk/>
            <pc:sldMk cId="3559472339" sldId="338"/>
            <ac:spMk id="15" creationId="{51554837-3075-8A9D-0A8A-C838787BF8FA}"/>
          </ac:spMkLst>
        </pc:spChg>
        <pc:spChg chg="add mod">
          <ac:chgData name="Veniero Facchetti" userId="f2c6c99af91c4974" providerId="LiveId" clId="{34DF7D6B-EB0F-4B53-B080-BB8D6F5C3D93}" dt="2024-05-10T15:41:21.862" v="134" actId="404"/>
          <ac:spMkLst>
            <pc:docMk/>
            <pc:sldMk cId="3559472339" sldId="338"/>
            <ac:spMk id="16" creationId="{E1715FB4-7D8C-4075-2CAC-248E3C9A5EEE}"/>
          </ac:spMkLst>
        </pc:spChg>
        <pc:spChg chg="add mod">
          <ac:chgData name="Veniero Facchetti" userId="f2c6c99af91c4974" providerId="LiveId" clId="{34DF7D6B-EB0F-4B53-B080-BB8D6F5C3D93}" dt="2024-05-10T15:42:10.914" v="143" actId="208"/>
          <ac:spMkLst>
            <pc:docMk/>
            <pc:sldMk cId="3559472339" sldId="338"/>
            <ac:spMk id="17" creationId="{2950EA13-ED41-AD6B-9073-7894B6CD094B}"/>
          </ac:spMkLst>
        </pc:spChg>
        <pc:spChg chg="add mod">
          <ac:chgData name="Veniero Facchetti" userId="f2c6c99af91c4974" providerId="LiveId" clId="{34DF7D6B-EB0F-4B53-B080-BB8D6F5C3D93}" dt="2024-05-10T15:41:21.862" v="134" actId="404"/>
          <ac:spMkLst>
            <pc:docMk/>
            <pc:sldMk cId="3559472339" sldId="338"/>
            <ac:spMk id="18" creationId="{AC1D8255-0254-AA72-C1B8-143C05BA2341}"/>
          </ac:spMkLst>
        </pc:spChg>
        <pc:spChg chg="add mod">
          <ac:chgData name="Veniero Facchetti" userId="f2c6c99af91c4974" providerId="LiveId" clId="{34DF7D6B-EB0F-4B53-B080-BB8D6F5C3D93}" dt="2024-05-10T15:41:57.234" v="142" actId="14100"/>
          <ac:spMkLst>
            <pc:docMk/>
            <pc:sldMk cId="3559472339" sldId="338"/>
            <ac:spMk id="23" creationId="{2FBA5084-11DA-E8B8-B788-A5F6ABE53F34}"/>
          </ac:spMkLst>
        </pc:spChg>
        <pc:spChg chg="add mod">
          <ac:chgData name="Veniero Facchetti" userId="f2c6c99af91c4974" providerId="LiveId" clId="{34DF7D6B-EB0F-4B53-B080-BB8D6F5C3D93}" dt="2024-05-10T15:41:21.862" v="134" actId="404"/>
          <ac:spMkLst>
            <pc:docMk/>
            <pc:sldMk cId="3559472339" sldId="338"/>
            <ac:spMk id="24" creationId="{9D407573-7345-BC7C-45B7-230441965235}"/>
          </ac:spMkLst>
        </pc:spChg>
        <pc:spChg chg="add mod">
          <ac:chgData name="Veniero Facchetti" userId="f2c6c99af91c4974" providerId="LiveId" clId="{34DF7D6B-EB0F-4B53-B080-BB8D6F5C3D93}" dt="2024-05-10T15:41:45.650" v="140" actId="1076"/>
          <ac:spMkLst>
            <pc:docMk/>
            <pc:sldMk cId="3559472339" sldId="338"/>
            <ac:spMk id="25" creationId="{B254E64C-6911-63CA-3B3E-A4B64BDCB410}"/>
          </ac:spMkLst>
        </pc:spChg>
        <pc:spChg chg="add mod">
          <ac:chgData name="Veniero Facchetti" userId="f2c6c99af91c4974" providerId="LiveId" clId="{34DF7D6B-EB0F-4B53-B080-BB8D6F5C3D93}" dt="2024-05-10T15:41:21.862" v="134" actId="404"/>
          <ac:spMkLst>
            <pc:docMk/>
            <pc:sldMk cId="3559472339" sldId="338"/>
            <ac:spMk id="26" creationId="{6C9625BF-B659-FE9D-41E4-E50CC7D5B170}"/>
          </ac:spMkLst>
        </pc:spChg>
        <pc:spChg chg="add mod">
          <ac:chgData name="Veniero Facchetti" userId="f2c6c99af91c4974" providerId="LiveId" clId="{34DF7D6B-EB0F-4B53-B080-BB8D6F5C3D93}" dt="2024-05-10T15:41:21.862" v="134" actId="404"/>
          <ac:spMkLst>
            <pc:docMk/>
            <pc:sldMk cId="3559472339" sldId="338"/>
            <ac:spMk id="27" creationId="{6282FF2F-1CD3-AC83-596C-52030928B5B8}"/>
          </ac:spMkLst>
        </pc:spChg>
        <pc:spChg chg="add mod">
          <ac:chgData name="Veniero Facchetti" userId="f2c6c99af91c4974" providerId="LiveId" clId="{34DF7D6B-EB0F-4B53-B080-BB8D6F5C3D93}" dt="2024-05-10T15:41:21.862" v="134" actId="404"/>
          <ac:spMkLst>
            <pc:docMk/>
            <pc:sldMk cId="3559472339" sldId="338"/>
            <ac:spMk id="28" creationId="{5B2787EE-D8E3-D801-AD05-B58A6808EEC0}"/>
          </ac:spMkLst>
        </pc:spChg>
        <pc:spChg chg="add mod">
          <ac:chgData name="Veniero Facchetti" userId="f2c6c99af91c4974" providerId="LiveId" clId="{34DF7D6B-EB0F-4B53-B080-BB8D6F5C3D93}" dt="2024-05-10T15:41:21.862" v="134" actId="404"/>
          <ac:spMkLst>
            <pc:docMk/>
            <pc:sldMk cId="3559472339" sldId="338"/>
            <ac:spMk id="29" creationId="{033BBB3F-5920-E2C2-6578-E91CEAC1CAB6}"/>
          </ac:spMkLst>
        </pc:spChg>
        <pc:picChg chg="add mod">
          <ac:chgData name="Veniero Facchetti" userId="f2c6c99af91c4974" providerId="LiveId" clId="{34DF7D6B-EB0F-4B53-B080-BB8D6F5C3D93}" dt="2024-05-10T15:42:29.773" v="146"/>
          <ac:picMkLst>
            <pc:docMk/>
            <pc:sldMk cId="3559472339" sldId="338"/>
            <ac:picMk id="19" creationId="{0598AF56-73E2-12B3-4A83-C8397718572E}"/>
          </ac:picMkLst>
        </pc:picChg>
        <pc:picChg chg="add mod">
          <ac:chgData name="Veniero Facchetti" userId="f2c6c99af91c4974" providerId="LiveId" clId="{34DF7D6B-EB0F-4B53-B080-BB8D6F5C3D93}" dt="2024-05-10T15:42:29.773" v="146"/>
          <ac:picMkLst>
            <pc:docMk/>
            <pc:sldMk cId="3559472339" sldId="338"/>
            <ac:picMk id="20" creationId="{164281D5-6648-E1DE-52F5-7443818E6A32}"/>
          </ac:picMkLst>
        </pc:picChg>
        <pc:picChg chg="add mod">
          <ac:chgData name="Veniero Facchetti" userId="f2c6c99af91c4974" providerId="LiveId" clId="{34DF7D6B-EB0F-4B53-B080-BB8D6F5C3D93}" dt="2024-05-10T15:42:29.773" v="146"/>
          <ac:picMkLst>
            <pc:docMk/>
            <pc:sldMk cId="3559472339" sldId="338"/>
            <ac:picMk id="21" creationId="{09526757-C7B8-3123-43C7-451C153C722D}"/>
          </ac:picMkLst>
        </pc:picChg>
        <pc:picChg chg="add mod">
          <ac:chgData name="Veniero Facchetti" userId="f2c6c99af91c4974" providerId="LiveId" clId="{34DF7D6B-EB0F-4B53-B080-BB8D6F5C3D93}" dt="2024-05-10T15:42:29.773" v="146"/>
          <ac:picMkLst>
            <pc:docMk/>
            <pc:sldMk cId="3559472339" sldId="338"/>
            <ac:picMk id="22" creationId="{68003A8F-6F8F-747C-83EA-0F898D12120B}"/>
          </ac:picMkLst>
        </pc:picChg>
      </pc:sldChg>
      <pc:sldChg chg="addSp delSp modSp new mod">
        <pc:chgData name="Veniero Facchetti" userId="f2c6c99af91c4974" providerId="LiveId" clId="{34DF7D6B-EB0F-4B53-B080-BB8D6F5C3D93}" dt="2024-05-10T15:46:39.769" v="169" actId="16037"/>
        <pc:sldMkLst>
          <pc:docMk/>
          <pc:sldMk cId="167608270" sldId="339"/>
        </pc:sldMkLst>
        <pc:spChg chg="add mod">
          <ac:chgData name="Veniero Facchetti" userId="f2c6c99af91c4974" providerId="LiveId" clId="{34DF7D6B-EB0F-4B53-B080-BB8D6F5C3D93}" dt="2024-05-10T15:44:31.851" v="162" actId="14100"/>
          <ac:spMkLst>
            <pc:docMk/>
            <pc:sldMk cId="167608270" sldId="339"/>
            <ac:spMk id="2" creationId="{19DF79AD-503E-5D3A-76AA-1C676B5FEDD1}"/>
          </ac:spMkLst>
        </pc:spChg>
        <pc:spChg chg="add mod">
          <ac:chgData name="Veniero Facchetti" userId="f2c6c99af91c4974" providerId="LiveId" clId="{34DF7D6B-EB0F-4B53-B080-BB8D6F5C3D93}" dt="2024-05-10T15:44:38.862" v="163" actId="1076"/>
          <ac:spMkLst>
            <pc:docMk/>
            <pc:sldMk cId="167608270" sldId="339"/>
            <ac:spMk id="3" creationId="{BAFDA19D-811C-9E37-C7F2-955678AE8F08}"/>
          </ac:spMkLst>
        </pc:spChg>
        <pc:spChg chg="add mod">
          <ac:chgData name="Veniero Facchetti" userId="f2c6c99af91c4974" providerId="LiveId" clId="{34DF7D6B-EB0F-4B53-B080-BB8D6F5C3D93}" dt="2024-05-10T15:45:00.453" v="168" actId="1076"/>
          <ac:spMkLst>
            <pc:docMk/>
            <pc:sldMk cId="167608270" sldId="339"/>
            <ac:spMk id="5" creationId="{0B862234-F6A7-A66A-FDB4-6319C83CE00F}"/>
          </ac:spMkLst>
        </pc:spChg>
        <pc:spChg chg="add mod">
          <ac:chgData name="Veniero Facchetti" userId="f2c6c99af91c4974" providerId="LiveId" clId="{34DF7D6B-EB0F-4B53-B080-BB8D6F5C3D93}" dt="2024-05-10T15:45:00.453" v="168" actId="1076"/>
          <ac:spMkLst>
            <pc:docMk/>
            <pc:sldMk cId="167608270" sldId="339"/>
            <ac:spMk id="6" creationId="{EE3CBD22-6E3C-C995-6853-E00E821F070B}"/>
          </ac:spMkLst>
        </pc:spChg>
        <pc:spChg chg="add mod">
          <ac:chgData name="Veniero Facchetti" userId="f2c6c99af91c4974" providerId="LiveId" clId="{34DF7D6B-EB0F-4B53-B080-BB8D6F5C3D93}" dt="2024-05-10T15:45:00.453" v="168" actId="1076"/>
          <ac:spMkLst>
            <pc:docMk/>
            <pc:sldMk cId="167608270" sldId="339"/>
            <ac:spMk id="7" creationId="{C6F6D562-DB46-FB64-AF02-B51397797921}"/>
          </ac:spMkLst>
        </pc:spChg>
        <pc:spChg chg="add mod">
          <ac:chgData name="Veniero Facchetti" userId="f2c6c99af91c4974" providerId="LiveId" clId="{34DF7D6B-EB0F-4B53-B080-BB8D6F5C3D93}" dt="2024-05-10T15:45:00.453" v="168" actId="1076"/>
          <ac:spMkLst>
            <pc:docMk/>
            <pc:sldMk cId="167608270" sldId="339"/>
            <ac:spMk id="8" creationId="{81963E8D-D05A-6795-99DE-4FF7E064BD77}"/>
          </ac:spMkLst>
        </pc:spChg>
        <pc:spChg chg="add mod">
          <ac:chgData name="Veniero Facchetti" userId="f2c6c99af91c4974" providerId="LiveId" clId="{34DF7D6B-EB0F-4B53-B080-BB8D6F5C3D93}" dt="2024-05-10T15:45:00.453" v="168" actId="1076"/>
          <ac:spMkLst>
            <pc:docMk/>
            <pc:sldMk cId="167608270" sldId="339"/>
            <ac:spMk id="9" creationId="{A0F830F8-3CDB-0825-CD69-7A550C9CBFB8}"/>
          </ac:spMkLst>
        </pc:spChg>
        <pc:spChg chg="add mod">
          <ac:chgData name="Veniero Facchetti" userId="f2c6c99af91c4974" providerId="LiveId" clId="{34DF7D6B-EB0F-4B53-B080-BB8D6F5C3D93}" dt="2024-05-10T15:45:00.453" v="168" actId="1076"/>
          <ac:spMkLst>
            <pc:docMk/>
            <pc:sldMk cId="167608270" sldId="339"/>
            <ac:spMk id="10" creationId="{D1E83A9A-5766-00F8-4F16-DBFF6407875F}"/>
          </ac:spMkLst>
        </pc:spChg>
        <pc:spChg chg="add mod">
          <ac:chgData name="Veniero Facchetti" userId="f2c6c99af91c4974" providerId="LiveId" clId="{34DF7D6B-EB0F-4B53-B080-BB8D6F5C3D93}" dt="2024-05-10T15:45:00.453" v="168" actId="1076"/>
          <ac:spMkLst>
            <pc:docMk/>
            <pc:sldMk cId="167608270" sldId="339"/>
            <ac:spMk id="11" creationId="{0AA82D26-6FFF-D4B8-C2BD-E90E6DEA2E7C}"/>
          </ac:spMkLst>
        </pc:spChg>
        <pc:spChg chg="add mod">
          <ac:chgData name="Veniero Facchetti" userId="f2c6c99af91c4974" providerId="LiveId" clId="{34DF7D6B-EB0F-4B53-B080-BB8D6F5C3D93}" dt="2024-05-10T15:45:00.453" v="168" actId="1076"/>
          <ac:spMkLst>
            <pc:docMk/>
            <pc:sldMk cId="167608270" sldId="339"/>
            <ac:spMk id="12" creationId="{FCCC0374-30C8-4DB9-8CB6-92DCDC7D5812}"/>
          </ac:spMkLst>
        </pc:spChg>
        <pc:spChg chg="add mod">
          <ac:chgData name="Veniero Facchetti" userId="f2c6c99af91c4974" providerId="LiveId" clId="{34DF7D6B-EB0F-4B53-B080-BB8D6F5C3D93}" dt="2024-05-10T15:45:00.453" v="168" actId="1076"/>
          <ac:spMkLst>
            <pc:docMk/>
            <pc:sldMk cId="167608270" sldId="339"/>
            <ac:spMk id="13" creationId="{91396B5B-B7BB-CB53-1B6B-16BCEBEA26B6}"/>
          </ac:spMkLst>
        </pc:spChg>
        <pc:spChg chg="add mod">
          <ac:chgData name="Veniero Facchetti" userId="f2c6c99af91c4974" providerId="LiveId" clId="{34DF7D6B-EB0F-4B53-B080-BB8D6F5C3D93}" dt="2024-05-10T15:45:00.453" v="168" actId="1076"/>
          <ac:spMkLst>
            <pc:docMk/>
            <pc:sldMk cId="167608270" sldId="339"/>
            <ac:spMk id="14" creationId="{D59A7194-F2CD-7D9A-BA5B-6B2A4937C636}"/>
          </ac:spMkLst>
        </pc:spChg>
        <pc:spChg chg="add mod">
          <ac:chgData name="Veniero Facchetti" userId="f2c6c99af91c4974" providerId="LiveId" clId="{34DF7D6B-EB0F-4B53-B080-BB8D6F5C3D93}" dt="2024-05-10T15:45:00.453" v="168" actId="1076"/>
          <ac:spMkLst>
            <pc:docMk/>
            <pc:sldMk cId="167608270" sldId="339"/>
            <ac:spMk id="15" creationId="{34B52560-711F-630D-81A8-7DF59980F5BB}"/>
          </ac:spMkLst>
        </pc:spChg>
        <pc:spChg chg="add mod">
          <ac:chgData name="Veniero Facchetti" userId="f2c6c99af91c4974" providerId="LiveId" clId="{34DF7D6B-EB0F-4B53-B080-BB8D6F5C3D93}" dt="2024-05-10T15:45:00.453" v="168" actId="1076"/>
          <ac:spMkLst>
            <pc:docMk/>
            <pc:sldMk cId="167608270" sldId="339"/>
            <ac:spMk id="16" creationId="{60298138-1400-B12E-E2EF-2BB61FFC6862}"/>
          </ac:spMkLst>
        </pc:spChg>
        <pc:spChg chg="add mod">
          <ac:chgData name="Veniero Facchetti" userId="f2c6c99af91c4974" providerId="LiveId" clId="{34DF7D6B-EB0F-4B53-B080-BB8D6F5C3D93}" dt="2024-05-10T15:45:00.453" v="168" actId="1076"/>
          <ac:spMkLst>
            <pc:docMk/>
            <pc:sldMk cId="167608270" sldId="339"/>
            <ac:spMk id="17" creationId="{5B15D4E9-B0AF-F2DD-2BAB-09CBC0C9BCFE}"/>
          </ac:spMkLst>
        </pc:spChg>
        <pc:spChg chg="add mod">
          <ac:chgData name="Veniero Facchetti" userId="f2c6c99af91c4974" providerId="LiveId" clId="{34DF7D6B-EB0F-4B53-B080-BB8D6F5C3D93}" dt="2024-05-10T15:45:00.453" v="168" actId="1076"/>
          <ac:spMkLst>
            <pc:docMk/>
            <pc:sldMk cId="167608270" sldId="339"/>
            <ac:spMk id="18" creationId="{5216D28D-8E2B-AFFB-7411-3A5BA21B5CBE}"/>
          </ac:spMkLst>
        </pc:spChg>
        <pc:spChg chg="add mod">
          <ac:chgData name="Veniero Facchetti" userId="f2c6c99af91c4974" providerId="LiveId" clId="{34DF7D6B-EB0F-4B53-B080-BB8D6F5C3D93}" dt="2024-05-10T15:45:00.453" v="168" actId="1076"/>
          <ac:spMkLst>
            <pc:docMk/>
            <pc:sldMk cId="167608270" sldId="339"/>
            <ac:spMk id="19" creationId="{072BB866-E48E-C6C9-C837-297F01D0E89A}"/>
          </ac:spMkLst>
        </pc:spChg>
        <pc:spChg chg="add mod">
          <ac:chgData name="Veniero Facchetti" userId="f2c6c99af91c4974" providerId="LiveId" clId="{34DF7D6B-EB0F-4B53-B080-BB8D6F5C3D93}" dt="2024-05-10T15:45:00.453" v="168" actId="1076"/>
          <ac:spMkLst>
            <pc:docMk/>
            <pc:sldMk cId="167608270" sldId="339"/>
            <ac:spMk id="20" creationId="{77457421-B7E3-F41B-63D3-3C15EC0167A9}"/>
          </ac:spMkLst>
        </pc:spChg>
        <pc:spChg chg="add mod">
          <ac:chgData name="Veniero Facchetti" userId="f2c6c99af91c4974" providerId="LiveId" clId="{34DF7D6B-EB0F-4B53-B080-BB8D6F5C3D93}" dt="2024-05-10T15:45:00.453" v="168" actId="1076"/>
          <ac:spMkLst>
            <pc:docMk/>
            <pc:sldMk cId="167608270" sldId="339"/>
            <ac:spMk id="21" creationId="{7587CFA8-EA97-FCCC-6205-677C495229D7}"/>
          </ac:spMkLst>
        </pc:spChg>
        <pc:spChg chg="add mod">
          <ac:chgData name="Veniero Facchetti" userId="f2c6c99af91c4974" providerId="LiveId" clId="{34DF7D6B-EB0F-4B53-B080-BB8D6F5C3D93}" dt="2024-05-10T15:45:00.453" v="168" actId="1076"/>
          <ac:spMkLst>
            <pc:docMk/>
            <pc:sldMk cId="167608270" sldId="339"/>
            <ac:spMk id="22" creationId="{DB74A2DD-1F92-CA11-1A5E-DC710AE80F1F}"/>
          </ac:spMkLst>
        </pc:spChg>
        <pc:spChg chg="add mod">
          <ac:chgData name="Veniero Facchetti" userId="f2c6c99af91c4974" providerId="LiveId" clId="{34DF7D6B-EB0F-4B53-B080-BB8D6F5C3D93}" dt="2024-05-10T15:45:00.453" v="168" actId="1076"/>
          <ac:spMkLst>
            <pc:docMk/>
            <pc:sldMk cId="167608270" sldId="339"/>
            <ac:spMk id="23" creationId="{AA16AD36-2782-8640-72F8-BDBD46C95BB5}"/>
          </ac:spMkLst>
        </pc:spChg>
        <pc:spChg chg="add mod">
          <ac:chgData name="Veniero Facchetti" userId="f2c6c99af91c4974" providerId="LiveId" clId="{34DF7D6B-EB0F-4B53-B080-BB8D6F5C3D93}" dt="2024-05-10T15:45:00.453" v="168" actId="1076"/>
          <ac:spMkLst>
            <pc:docMk/>
            <pc:sldMk cId="167608270" sldId="339"/>
            <ac:spMk id="24" creationId="{702B3846-AC96-7C6C-AA95-526DEF65D952}"/>
          </ac:spMkLst>
        </pc:spChg>
        <pc:spChg chg="add mod">
          <ac:chgData name="Veniero Facchetti" userId="f2c6c99af91c4974" providerId="LiveId" clId="{34DF7D6B-EB0F-4B53-B080-BB8D6F5C3D93}" dt="2024-05-10T15:45:00.453" v="168" actId="1076"/>
          <ac:spMkLst>
            <pc:docMk/>
            <pc:sldMk cId="167608270" sldId="339"/>
            <ac:spMk id="25" creationId="{7882799A-D338-A0DE-73D0-A96C02FB7E02}"/>
          </ac:spMkLst>
        </pc:spChg>
        <pc:spChg chg="add mod">
          <ac:chgData name="Veniero Facchetti" userId="f2c6c99af91c4974" providerId="LiveId" clId="{34DF7D6B-EB0F-4B53-B080-BB8D6F5C3D93}" dt="2024-05-10T15:45:00.453" v="168" actId="1076"/>
          <ac:spMkLst>
            <pc:docMk/>
            <pc:sldMk cId="167608270" sldId="339"/>
            <ac:spMk id="26" creationId="{2C4B0047-63D4-1638-98E4-7FA10A317789}"/>
          </ac:spMkLst>
        </pc:spChg>
        <pc:spChg chg="add mod">
          <ac:chgData name="Veniero Facchetti" userId="f2c6c99af91c4974" providerId="LiveId" clId="{34DF7D6B-EB0F-4B53-B080-BB8D6F5C3D93}" dt="2024-05-10T15:45:00.453" v="168" actId="1076"/>
          <ac:spMkLst>
            <pc:docMk/>
            <pc:sldMk cId="167608270" sldId="339"/>
            <ac:spMk id="27" creationId="{E5E0CEE4-A014-66FD-3A96-56623BC19B11}"/>
          </ac:spMkLst>
        </pc:spChg>
        <pc:spChg chg="add mod">
          <ac:chgData name="Veniero Facchetti" userId="f2c6c99af91c4974" providerId="LiveId" clId="{34DF7D6B-EB0F-4B53-B080-BB8D6F5C3D93}" dt="2024-05-10T15:45:00.453" v="168" actId="1076"/>
          <ac:spMkLst>
            <pc:docMk/>
            <pc:sldMk cId="167608270" sldId="339"/>
            <ac:spMk id="28" creationId="{5DCBC56B-FCFE-E9FE-24E1-68C288F3F6AE}"/>
          </ac:spMkLst>
        </pc:spChg>
        <pc:spChg chg="add mod">
          <ac:chgData name="Veniero Facchetti" userId="f2c6c99af91c4974" providerId="LiveId" clId="{34DF7D6B-EB0F-4B53-B080-BB8D6F5C3D93}" dt="2024-05-10T15:45:00.453" v="168" actId="1076"/>
          <ac:spMkLst>
            <pc:docMk/>
            <pc:sldMk cId="167608270" sldId="339"/>
            <ac:spMk id="29" creationId="{D6A128F5-CA0F-E089-962D-F4835F1839D2}"/>
          </ac:spMkLst>
        </pc:spChg>
        <pc:spChg chg="add mod">
          <ac:chgData name="Veniero Facchetti" userId="f2c6c99af91c4974" providerId="LiveId" clId="{34DF7D6B-EB0F-4B53-B080-BB8D6F5C3D93}" dt="2024-05-10T15:45:00.453" v="168" actId="1076"/>
          <ac:spMkLst>
            <pc:docMk/>
            <pc:sldMk cId="167608270" sldId="339"/>
            <ac:spMk id="30" creationId="{A58907A9-0C50-8715-55E5-5A4693CECE4F}"/>
          </ac:spMkLst>
        </pc:spChg>
        <pc:spChg chg="add mod">
          <ac:chgData name="Veniero Facchetti" userId="f2c6c99af91c4974" providerId="LiveId" clId="{34DF7D6B-EB0F-4B53-B080-BB8D6F5C3D93}" dt="2024-05-10T15:45:00.453" v="168" actId="1076"/>
          <ac:spMkLst>
            <pc:docMk/>
            <pc:sldMk cId="167608270" sldId="339"/>
            <ac:spMk id="31" creationId="{B9B8BA03-4F55-A11F-5114-1B15AFB7A82D}"/>
          </ac:spMkLst>
        </pc:spChg>
        <pc:spChg chg="add mod">
          <ac:chgData name="Veniero Facchetti" userId="f2c6c99af91c4974" providerId="LiveId" clId="{34DF7D6B-EB0F-4B53-B080-BB8D6F5C3D93}" dt="2024-05-10T15:45:00.453" v="168" actId="1076"/>
          <ac:spMkLst>
            <pc:docMk/>
            <pc:sldMk cId="167608270" sldId="339"/>
            <ac:spMk id="32" creationId="{C292368F-997B-FF66-D8F2-884425A79282}"/>
          </ac:spMkLst>
        </pc:spChg>
        <pc:spChg chg="add mod">
          <ac:chgData name="Veniero Facchetti" userId="f2c6c99af91c4974" providerId="LiveId" clId="{34DF7D6B-EB0F-4B53-B080-BB8D6F5C3D93}" dt="2024-05-10T15:45:00.453" v="168" actId="1076"/>
          <ac:spMkLst>
            <pc:docMk/>
            <pc:sldMk cId="167608270" sldId="339"/>
            <ac:spMk id="33" creationId="{107C71D2-3649-7957-1F74-8E44669A4947}"/>
          </ac:spMkLst>
        </pc:spChg>
        <pc:spChg chg="add mod">
          <ac:chgData name="Veniero Facchetti" userId="f2c6c99af91c4974" providerId="LiveId" clId="{34DF7D6B-EB0F-4B53-B080-BB8D6F5C3D93}" dt="2024-05-10T15:45:00.453" v="168" actId="1076"/>
          <ac:spMkLst>
            <pc:docMk/>
            <pc:sldMk cId="167608270" sldId="339"/>
            <ac:spMk id="34" creationId="{F02CFF53-CF9B-1983-5118-1A6E40365218}"/>
          </ac:spMkLst>
        </pc:spChg>
        <pc:spChg chg="add mod">
          <ac:chgData name="Veniero Facchetti" userId="f2c6c99af91c4974" providerId="LiveId" clId="{34DF7D6B-EB0F-4B53-B080-BB8D6F5C3D93}" dt="2024-05-10T15:45:00.453" v="168" actId="1076"/>
          <ac:spMkLst>
            <pc:docMk/>
            <pc:sldMk cId="167608270" sldId="339"/>
            <ac:spMk id="35" creationId="{F45A60B8-08F9-A878-AFEC-9CD1F383D3AC}"/>
          </ac:spMkLst>
        </pc:spChg>
        <pc:spChg chg="add mod">
          <ac:chgData name="Veniero Facchetti" userId="f2c6c99af91c4974" providerId="LiveId" clId="{34DF7D6B-EB0F-4B53-B080-BB8D6F5C3D93}" dt="2024-05-10T15:45:00.453" v="168" actId="1076"/>
          <ac:spMkLst>
            <pc:docMk/>
            <pc:sldMk cId="167608270" sldId="339"/>
            <ac:spMk id="36" creationId="{ACD83EFE-D904-9AE9-BF98-67D41D881422}"/>
          </ac:spMkLst>
        </pc:spChg>
        <pc:spChg chg="add mod">
          <ac:chgData name="Veniero Facchetti" userId="f2c6c99af91c4974" providerId="LiveId" clId="{34DF7D6B-EB0F-4B53-B080-BB8D6F5C3D93}" dt="2024-05-10T15:45:00.453" v="168" actId="1076"/>
          <ac:spMkLst>
            <pc:docMk/>
            <pc:sldMk cId="167608270" sldId="339"/>
            <ac:spMk id="37" creationId="{5734152D-488C-BD41-2965-3F00944D136B}"/>
          </ac:spMkLst>
        </pc:spChg>
        <pc:spChg chg="add mod">
          <ac:chgData name="Veniero Facchetti" userId="f2c6c99af91c4974" providerId="LiveId" clId="{34DF7D6B-EB0F-4B53-B080-BB8D6F5C3D93}" dt="2024-05-10T15:45:00.453" v="168" actId="1076"/>
          <ac:spMkLst>
            <pc:docMk/>
            <pc:sldMk cId="167608270" sldId="339"/>
            <ac:spMk id="38" creationId="{173FE264-4DAD-EB11-8BFB-3C02E6E1C09C}"/>
          </ac:spMkLst>
        </pc:spChg>
        <pc:spChg chg="add mod">
          <ac:chgData name="Veniero Facchetti" userId="f2c6c99af91c4974" providerId="LiveId" clId="{34DF7D6B-EB0F-4B53-B080-BB8D6F5C3D93}" dt="2024-05-10T15:45:00.453" v="168" actId="1076"/>
          <ac:spMkLst>
            <pc:docMk/>
            <pc:sldMk cId="167608270" sldId="339"/>
            <ac:spMk id="39" creationId="{6A27474E-FFDC-F04B-2A62-A82E29E63617}"/>
          </ac:spMkLst>
        </pc:spChg>
        <pc:spChg chg="add mod">
          <ac:chgData name="Veniero Facchetti" userId="f2c6c99af91c4974" providerId="LiveId" clId="{34DF7D6B-EB0F-4B53-B080-BB8D6F5C3D93}" dt="2024-05-10T15:45:00.453" v="168" actId="1076"/>
          <ac:spMkLst>
            <pc:docMk/>
            <pc:sldMk cId="167608270" sldId="339"/>
            <ac:spMk id="40" creationId="{B4DD6B3B-1D27-ADA1-40FA-5E9CAEAD3C49}"/>
          </ac:spMkLst>
        </pc:spChg>
        <pc:spChg chg="add mod">
          <ac:chgData name="Veniero Facchetti" userId="f2c6c99af91c4974" providerId="LiveId" clId="{34DF7D6B-EB0F-4B53-B080-BB8D6F5C3D93}" dt="2024-05-10T15:44:38.862" v="163" actId="1076"/>
          <ac:spMkLst>
            <pc:docMk/>
            <pc:sldMk cId="167608270" sldId="339"/>
            <ac:spMk id="41" creationId="{07F6AA95-DF72-0448-7A4B-66695F5922D7}"/>
          </ac:spMkLst>
        </pc:spChg>
        <pc:spChg chg="add mod">
          <ac:chgData name="Veniero Facchetti" userId="f2c6c99af91c4974" providerId="LiveId" clId="{34DF7D6B-EB0F-4B53-B080-BB8D6F5C3D93}" dt="2024-05-10T15:44:38.862" v="163" actId="1076"/>
          <ac:spMkLst>
            <pc:docMk/>
            <pc:sldMk cId="167608270" sldId="339"/>
            <ac:spMk id="42" creationId="{2EAB8956-50CF-7F42-42C2-4005978D6955}"/>
          </ac:spMkLst>
        </pc:spChg>
        <pc:spChg chg="mod">
          <ac:chgData name="Veniero Facchetti" userId="f2c6c99af91c4974" providerId="LiveId" clId="{34DF7D6B-EB0F-4B53-B080-BB8D6F5C3D93}" dt="2024-05-10T15:44:38.862" v="163" actId="1076"/>
          <ac:spMkLst>
            <pc:docMk/>
            <pc:sldMk cId="167608270" sldId="339"/>
            <ac:spMk id="44" creationId="{3217191F-8155-E5D7-8C3B-FF3F6D10CD30}"/>
          </ac:spMkLst>
        </pc:spChg>
        <pc:spChg chg="mod">
          <ac:chgData name="Veniero Facchetti" userId="f2c6c99af91c4974" providerId="LiveId" clId="{34DF7D6B-EB0F-4B53-B080-BB8D6F5C3D93}" dt="2024-05-10T15:44:38.862" v="163" actId="1076"/>
          <ac:spMkLst>
            <pc:docMk/>
            <pc:sldMk cId="167608270" sldId="339"/>
            <ac:spMk id="45" creationId="{2FC34B7A-839B-24E0-35F0-D7D06F7941A2}"/>
          </ac:spMkLst>
        </pc:spChg>
        <pc:spChg chg="mod">
          <ac:chgData name="Veniero Facchetti" userId="f2c6c99af91c4974" providerId="LiveId" clId="{34DF7D6B-EB0F-4B53-B080-BB8D6F5C3D93}" dt="2024-05-10T15:44:38.862" v="163" actId="1076"/>
          <ac:spMkLst>
            <pc:docMk/>
            <pc:sldMk cId="167608270" sldId="339"/>
            <ac:spMk id="46" creationId="{3B14959C-0AF6-6802-8155-28CFB839DE5D}"/>
          </ac:spMkLst>
        </pc:spChg>
        <pc:spChg chg="mod">
          <ac:chgData name="Veniero Facchetti" userId="f2c6c99af91c4974" providerId="LiveId" clId="{34DF7D6B-EB0F-4B53-B080-BB8D6F5C3D93}" dt="2024-05-10T15:44:38.862" v="163" actId="1076"/>
          <ac:spMkLst>
            <pc:docMk/>
            <pc:sldMk cId="167608270" sldId="339"/>
            <ac:spMk id="47" creationId="{18631F42-025B-E2E0-237E-42C23DA11578}"/>
          </ac:spMkLst>
        </pc:spChg>
        <pc:spChg chg="mod">
          <ac:chgData name="Veniero Facchetti" userId="f2c6c99af91c4974" providerId="LiveId" clId="{34DF7D6B-EB0F-4B53-B080-BB8D6F5C3D93}" dt="2024-05-10T15:44:38.862" v="163" actId="1076"/>
          <ac:spMkLst>
            <pc:docMk/>
            <pc:sldMk cId="167608270" sldId="339"/>
            <ac:spMk id="48" creationId="{04D0CB77-B93C-4F09-BDFA-D41FC8215058}"/>
          </ac:spMkLst>
        </pc:spChg>
        <pc:spChg chg="mod">
          <ac:chgData name="Veniero Facchetti" userId="f2c6c99af91c4974" providerId="LiveId" clId="{34DF7D6B-EB0F-4B53-B080-BB8D6F5C3D93}" dt="2024-05-10T15:44:38.862" v="163" actId="1076"/>
          <ac:spMkLst>
            <pc:docMk/>
            <pc:sldMk cId="167608270" sldId="339"/>
            <ac:spMk id="49" creationId="{DDC4447E-412A-899C-C167-342CF8DA7BB8}"/>
          </ac:spMkLst>
        </pc:spChg>
        <pc:spChg chg="add mod">
          <ac:chgData name="Veniero Facchetti" userId="f2c6c99af91c4974" providerId="LiveId" clId="{34DF7D6B-EB0F-4B53-B080-BB8D6F5C3D93}" dt="2024-05-10T15:44:38.862" v="163" actId="1076"/>
          <ac:spMkLst>
            <pc:docMk/>
            <pc:sldMk cId="167608270" sldId="339"/>
            <ac:spMk id="50" creationId="{FD72B3FB-6CE4-4140-D1CD-8FA5903F821C}"/>
          </ac:spMkLst>
        </pc:spChg>
        <pc:spChg chg="add mod">
          <ac:chgData name="Veniero Facchetti" userId="f2c6c99af91c4974" providerId="LiveId" clId="{34DF7D6B-EB0F-4B53-B080-BB8D6F5C3D93}" dt="2024-05-10T15:44:38.862" v="163" actId="1076"/>
          <ac:spMkLst>
            <pc:docMk/>
            <pc:sldMk cId="167608270" sldId="339"/>
            <ac:spMk id="51" creationId="{8D04FDE8-1DA5-9670-987C-9262CCC175BC}"/>
          </ac:spMkLst>
        </pc:spChg>
        <pc:spChg chg="add mod">
          <ac:chgData name="Veniero Facchetti" userId="f2c6c99af91c4974" providerId="LiveId" clId="{34DF7D6B-EB0F-4B53-B080-BB8D6F5C3D93}" dt="2024-05-10T15:44:38.862" v="163" actId="1076"/>
          <ac:spMkLst>
            <pc:docMk/>
            <pc:sldMk cId="167608270" sldId="339"/>
            <ac:spMk id="52" creationId="{753312B5-3EAA-36D8-8F3D-ECE670841D97}"/>
          </ac:spMkLst>
        </pc:spChg>
        <pc:spChg chg="add mod">
          <ac:chgData name="Veniero Facchetti" userId="f2c6c99af91c4974" providerId="LiveId" clId="{34DF7D6B-EB0F-4B53-B080-BB8D6F5C3D93}" dt="2024-05-10T15:44:38.862" v="163" actId="1076"/>
          <ac:spMkLst>
            <pc:docMk/>
            <pc:sldMk cId="167608270" sldId="339"/>
            <ac:spMk id="53" creationId="{03E8B115-8157-D0FE-F1DD-5DD0F694F809}"/>
          </ac:spMkLst>
        </pc:spChg>
        <pc:spChg chg="add mod">
          <ac:chgData name="Veniero Facchetti" userId="f2c6c99af91c4974" providerId="LiveId" clId="{34DF7D6B-EB0F-4B53-B080-BB8D6F5C3D93}" dt="2024-05-10T15:44:38.862" v="163" actId="1076"/>
          <ac:spMkLst>
            <pc:docMk/>
            <pc:sldMk cId="167608270" sldId="339"/>
            <ac:spMk id="54" creationId="{F3DFA1DA-CE9A-D57A-943B-288F8D781868}"/>
          </ac:spMkLst>
        </pc:spChg>
        <pc:spChg chg="add mod">
          <ac:chgData name="Veniero Facchetti" userId="f2c6c99af91c4974" providerId="LiveId" clId="{34DF7D6B-EB0F-4B53-B080-BB8D6F5C3D93}" dt="2024-05-10T15:44:38.862" v="163" actId="1076"/>
          <ac:spMkLst>
            <pc:docMk/>
            <pc:sldMk cId="167608270" sldId="339"/>
            <ac:spMk id="55" creationId="{0479DF55-DB09-896B-69B0-FC6F17149E6E}"/>
          </ac:spMkLst>
        </pc:spChg>
        <pc:spChg chg="add del mod">
          <ac:chgData name="Veniero Facchetti" userId="f2c6c99af91c4974" providerId="LiveId" clId="{34DF7D6B-EB0F-4B53-B080-BB8D6F5C3D93}" dt="2024-05-10T15:46:39.769" v="169" actId="16037"/>
          <ac:spMkLst>
            <pc:docMk/>
            <pc:sldMk cId="167608270" sldId="339"/>
            <ac:spMk id="56" creationId="{453F88A4-E041-66C2-14FA-3541A9D7617F}"/>
          </ac:spMkLst>
        </pc:spChg>
        <pc:spChg chg="add mod">
          <ac:chgData name="Veniero Facchetti" userId="f2c6c99af91c4974" providerId="LiveId" clId="{34DF7D6B-EB0F-4B53-B080-BB8D6F5C3D93}" dt="2024-05-10T15:45:00.453" v="168" actId="1076"/>
          <ac:spMkLst>
            <pc:docMk/>
            <pc:sldMk cId="167608270" sldId="339"/>
            <ac:spMk id="57" creationId="{6303CF9B-2F84-B7D3-0ADB-56F6607A6B67}"/>
          </ac:spMkLst>
        </pc:spChg>
        <pc:spChg chg="add mod">
          <ac:chgData name="Veniero Facchetti" userId="f2c6c99af91c4974" providerId="LiveId" clId="{34DF7D6B-EB0F-4B53-B080-BB8D6F5C3D93}" dt="2024-05-10T15:45:00.453" v="168" actId="1076"/>
          <ac:spMkLst>
            <pc:docMk/>
            <pc:sldMk cId="167608270" sldId="339"/>
            <ac:spMk id="58" creationId="{C33DC149-1474-AFE1-A762-84E2E33CE300}"/>
          </ac:spMkLst>
        </pc:spChg>
        <pc:spChg chg="mod">
          <ac:chgData name="Veniero Facchetti" userId="f2c6c99af91c4974" providerId="LiveId" clId="{34DF7D6B-EB0F-4B53-B080-BB8D6F5C3D93}" dt="2024-05-10T15:44:17.213" v="154" actId="404"/>
          <ac:spMkLst>
            <pc:docMk/>
            <pc:sldMk cId="167608270" sldId="339"/>
            <ac:spMk id="60" creationId="{8571D6BB-8034-DE74-0283-F9EE6BC2C3A5}"/>
          </ac:spMkLst>
        </pc:spChg>
        <pc:spChg chg="mod">
          <ac:chgData name="Veniero Facchetti" userId="f2c6c99af91c4974" providerId="LiveId" clId="{34DF7D6B-EB0F-4B53-B080-BB8D6F5C3D93}" dt="2024-05-10T15:44:17.213" v="154" actId="404"/>
          <ac:spMkLst>
            <pc:docMk/>
            <pc:sldMk cId="167608270" sldId="339"/>
            <ac:spMk id="61" creationId="{66461F65-7AF6-A0A9-DCC7-A028C339ABB4}"/>
          </ac:spMkLst>
        </pc:spChg>
        <pc:grpChg chg="add mod">
          <ac:chgData name="Veniero Facchetti" userId="f2c6c99af91c4974" providerId="LiveId" clId="{34DF7D6B-EB0F-4B53-B080-BB8D6F5C3D93}" dt="2024-05-10T15:44:38.862" v="163" actId="1076"/>
          <ac:grpSpMkLst>
            <pc:docMk/>
            <pc:sldMk cId="167608270" sldId="339"/>
            <ac:grpSpMk id="43" creationId="{3130F1EA-4EF0-CEF5-B13D-21FB43F7BF4A}"/>
          </ac:grpSpMkLst>
        </pc:grpChg>
        <pc:grpChg chg="add mod">
          <ac:chgData name="Veniero Facchetti" userId="f2c6c99af91c4974" providerId="LiveId" clId="{34DF7D6B-EB0F-4B53-B080-BB8D6F5C3D93}" dt="2024-05-10T15:44:09.746" v="150" actId="1076"/>
          <ac:grpSpMkLst>
            <pc:docMk/>
            <pc:sldMk cId="167608270" sldId="339"/>
            <ac:grpSpMk id="59" creationId="{26816D50-DB88-6623-4357-F963BF44B9E8}"/>
          </ac:grpSpMkLst>
        </pc:grpChg>
        <pc:graphicFrameChg chg="add mod">
          <ac:chgData name="Veniero Facchetti" userId="f2c6c99af91c4974" providerId="LiveId" clId="{34DF7D6B-EB0F-4B53-B080-BB8D6F5C3D93}" dt="2024-05-10T15:45:00.453" v="168" actId="1076"/>
          <ac:graphicFrameMkLst>
            <pc:docMk/>
            <pc:sldMk cId="167608270" sldId="339"/>
            <ac:graphicFrameMk id="4" creationId="{A1C9724E-050B-B912-13AA-B701ADECD63F}"/>
          </ac:graphicFrameMkLst>
        </pc:graphicFrameChg>
      </pc:sldChg>
      <pc:sldChg chg="addSp delSp modSp add mod">
        <pc:chgData name="Veniero Facchetti" userId="f2c6c99af91c4974" providerId="LiveId" clId="{34DF7D6B-EB0F-4B53-B080-BB8D6F5C3D93}" dt="2024-05-10T15:48:57.893" v="195" actId="1076"/>
        <pc:sldMkLst>
          <pc:docMk/>
          <pc:sldMk cId="2238674106" sldId="340"/>
        </pc:sldMkLst>
        <pc:spChg chg="del">
          <ac:chgData name="Veniero Facchetti" userId="f2c6c99af91c4974" providerId="LiveId" clId="{34DF7D6B-EB0F-4B53-B080-BB8D6F5C3D93}" dt="2024-05-10T15:47:02.611" v="171" actId="478"/>
          <ac:spMkLst>
            <pc:docMk/>
            <pc:sldMk cId="2238674106" sldId="340"/>
            <ac:spMk id="2" creationId="{19DF79AD-503E-5D3A-76AA-1C676B5FEDD1}"/>
          </ac:spMkLst>
        </pc:spChg>
        <pc:spChg chg="del">
          <ac:chgData name="Veniero Facchetti" userId="f2c6c99af91c4974" providerId="LiveId" clId="{34DF7D6B-EB0F-4B53-B080-BB8D6F5C3D93}" dt="2024-05-10T15:47:02.611" v="171" actId="478"/>
          <ac:spMkLst>
            <pc:docMk/>
            <pc:sldMk cId="2238674106" sldId="340"/>
            <ac:spMk id="3" creationId="{BAFDA19D-811C-9E37-C7F2-955678AE8F08}"/>
          </ac:spMkLst>
        </pc:spChg>
        <pc:spChg chg="del">
          <ac:chgData name="Veniero Facchetti" userId="f2c6c99af91c4974" providerId="LiveId" clId="{34DF7D6B-EB0F-4B53-B080-BB8D6F5C3D93}" dt="2024-05-10T15:47:02.611" v="171" actId="478"/>
          <ac:spMkLst>
            <pc:docMk/>
            <pc:sldMk cId="2238674106" sldId="340"/>
            <ac:spMk id="5" creationId="{0B862234-F6A7-A66A-FDB4-6319C83CE00F}"/>
          </ac:spMkLst>
        </pc:spChg>
        <pc:spChg chg="del">
          <ac:chgData name="Veniero Facchetti" userId="f2c6c99af91c4974" providerId="LiveId" clId="{34DF7D6B-EB0F-4B53-B080-BB8D6F5C3D93}" dt="2024-05-10T15:47:02.611" v="171" actId="478"/>
          <ac:spMkLst>
            <pc:docMk/>
            <pc:sldMk cId="2238674106" sldId="340"/>
            <ac:spMk id="6" creationId="{EE3CBD22-6E3C-C995-6853-E00E821F070B}"/>
          </ac:spMkLst>
        </pc:spChg>
        <pc:spChg chg="del">
          <ac:chgData name="Veniero Facchetti" userId="f2c6c99af91c4974" providerId="LiveId" clId="{34DF7D6B-EB0F-4B53-B080-BB8D6F5C3D93}" dt="2024-05-10T15:47:02.611" v="171" actId="478"/>
          <ac:spMkLst>
            <pc:docMk/>
            <pc:sldMk cId="2238674106" sldId="340"/>
            <ac:spMk id="7" creationId="{C6F6D562-DB46-FB64-AF02-B51397797921}"/>
          </ac:spMkLst>
        </pc:spChg>
        <pc:spChg chg="del">
          <ac:chgData name="Veniero Facchetti" userId="f2c6c99af91c4974" providerId="LiveId" clId="{34DF7D6B-EB0F-4B53-B080-BB8D6F5C3D93}" dt="2024-05-10T15:47:02.611" v="171" actId="478"/>
          <ac:spMkLst>
            <pc:docMk/>
            <pc:sldMk cId="2238674106" sldId="340"/>
            <ac:spMk id="8" creationId="{81963E8D-D05A-6795-99DE-4FF7E064BD77}"/>
          </ac:spMkLst>
        </pc:spChg>
        <pc:spChg chg="del">
          <ac:chgData name="Veniero Facchetti" userId="f2c6c99af91c4974" providerId="LiveId" clId="{34DF7D6B-EB0F-4B53-B080-BB8D6F5C3D93}" dt="2024-05-10T15:47:02.611" v="171" actId="478"/>
          <ac:spMkLst>
            <pc:docMk/>
            <pc:sldMk cId="2238674106" sldId="340"/>
            <ac:spMk id="9" creationId="{A0F830F8-3CDB-0825-CD69-7A550C9CBFB8}"/>
          </ac:spMkLst>
        </pc:spChg>
        <pc:spChg chg="del">
          <ac:chgData name="Veniero Facchetti" userId="f2c6c99af91c4974" providerId="LiveId" clId="{34DF7D6B-EB0F-4B53-B080-BB8D6F5C3D93}" dt="2024-05-10T15:47:02.611" v="171" actId="478"/>
          <ac:spMkLst>
            <pc:docMk/>
            <pc:sldMk cId="2238674106" sldId="340"/>
            <ac:spMk id="10" creationId="{D1E83A9A-5766-00F8-4F16-DBFF6407875F}"/>
          </ac:spMkLst>
        </pc:spChg>
        <pc:spChg chg="del">
          <ac:chgData name="Veniero Facchetti" userId="f2c6c99af91c4974" providerId="LiveId" clId="{34DF7D6B-EB0F-4B53-B080-BB8D6F5C3D93}" dt="2024-05-10T15:47:02.611" v="171" actId="478"/>
          <ac:spMkLst>
            <pc:docMk/>
            <pc:sldMk cId="2238674106" sldId="340"/>
            <ac:spMk id="11" creationId="{0AA82D26-6FFF-D4B8-C2BD-E90E6DEA2E7C}"/>
          </ac:spMkLst>
        </pc:spChg>
        <pc:spChg chg="del">
          <ac:chgData name="Veniero Facchetti" userId="f2c6c99af91c4974" providerId="LiveId" clId="{34DF7D6B-EB0F-4B53-B080-BB8D6F5C3D93}" dt="2024-05-10T15:47:02.611" v="171" actId="478"/>
          <ac:spMkLst>
            <pc:docMk/>
            <pc:sldMk cId="2238674106" sldId="340"/>
            <ac:spMk id="12" creationId="{FCCC0374-30C8-4DB9-8CB6-92DCDC7D5812}"/>
          </ac:spMkLst>
        </pc:spChg>
        <pc:spChg chg="del">
          <ac:chgData name="Veniero Facchetti" userId="f2c6c99af91c4974" providerId="LiveId" clId="{34DF7D6B-EB0F-4B53-B080-BB8D6F5C3D93}" dt="2024-05-10T15:47:02.611" v="171" actId="478"/>
          <ac:spMkLst>
            <pc:docMk/>
            <pc:sldMk cId="2238674106" sldId="340"/>
            <ac:spMk id="13" creationId="{91396B5B-B7BB-CB53-1B6B-16BCEBEA26B6}"/>
          </ac:spMkLst>
        </pc:spChg>
        <pc:spChg chg="del">
          <ac:chgData name="Veniero Facchetti" userId="f2c6c99af91c4974" providerId="LiveId" clId="{34DF7D6B-EB0F-4B53-B080-BB8D6F5C3D93}" dt="2024-05-10T15:47:02.611" v="171" actId="478"/>
          <ac:spMkLst>
            <pc:docMk/>
            <pc:sldMk cId="2238674106" sldId="340"/>
            <ac:spMk id="14" creationId="{D59A7194-F2CD-7D9A-BA5B-6B2A4937C636}"/>
          </ac:spMkLst>
        </pc:spChg>
        <pc:spChg chg="del">
          <ac:chgData name="Veniero Facchetti" userId="f2c6c99af91c4974" providerId="LiveId" clId="{34DF7D6B-EB0F-4B53-B080-BB8D6F5C3D93}" dt="2024-05-10T15:47:02.611" v="171" actId="478"/>
          <ac:spMkLst>
            <pc:docMk/>
            <pc:sldMk cId="2238674106" sldId="340"/>
            <ac:spMk id="15" creationId="{34B52560-711F-630D-81A8-7DF59980F5BB}"/>
          </ac:spMkLst>
        </pc:spChg>
        <pc:spChg chg="del">
          <ac:chgData name="Veniero Facchetti" userId="f2c6c99af91c4974" providerId="LiveId" clId="{34DF7D6B-EB0F-4B53-B080-BB8D6F5C3D93}" dt="2024-05-10T15:47:02.611" v="171" actId="478"/>
          <ac:spMkLst>
            <pc:docMk/>
            <pc:sldMk cId="2238674106" sldId="340"/>
            <ac:spMk id="16" creationId="{60298138-1400-B12E-E2EF-2BB61FFC6862}"/>
          </ac:spMkLst>
        </pc:spChg>
        <pc:spChg chg="del">
          <ac:chgData name="Veniero Facchetti" userId="f2c6c99af91c4974" providerId="LiveId" clId="{34DF7D6B-EB0F-4B53-B080-BB8D6F5C3D93}" dt="2024-05-10T15:47:02.611" v="171" actId="478"/>
          <ac:spMkLst>
            <pc:docMk/>
            <pc:sldMk cId="2238674106" sldId="340"/>
            <ac:spMk id="17" creationId="{5B15D4E9-B0AF-F2DD-2BAB-09CBC0C9BCFE}"/>
          </ac:spMkLst>
        </pc:spChg>
        <pc:spChg chg="del">
          <ac:chgData name="Veniero Facchetti" userId="f2c6c99af91c4974" providerId="LiveId" clId="{34DF7D6B-EB0F-4B53-B080-BB8D6F5C3D93}" dt="2024-05-10T15:47:02.611" v="171" actId="478"/>
          <ac:spMkLst>
            <pc:docMk/>
            <pc:sldMk cId="2238674106" sldId="340"/>
            <ac:spMk id="18" creationId="{5216D28D-8E2B-AFFB-7411-3A5BA21B5CBE}"/>
          </ac:spMkLst>
        </pc:spChg>
        <pc:spChg chg="del">
          <ac:chgData name="Veniero Facchetti" userId="f2c6c99af91c4974" providerId="LiveId" clId="{34DF7D6B-EB0F-4B53-B080-BB8D6F5C3D93}" dt="2024-05-10T15:47:02.611" v="171" actId="478"/>
          <ac:spMkLst>
            <pc:docMk/>
            <pc:sldMk cId="2238674106" sldId="340"/>
            <ac:spMk id="19" creationId="{072BB866-E48E-C6C9-C837-297F01D0E89A}"/>
          </ac:spMkLst>
        </pc:spChg>
        <pc:spChg chg="del">
          <ac:chgData name="Veniero Facchetti" userId="f2c6c99af91c4974" providerId="LiveId" clId="{34DF7D6B-EB0F-4B53-B080-BB8D6F5C3D93}" dt="2024-05-10T15:47:02.611" v="171" actId="478"/>
          <ac:spMkLst>
            <pc:docMk/>
            <pc:sldMk cId="2238674106" sldId="340"/>
            <ac:spMk id="20" creationId="{77457421-B7E3-F41B-63D3-3C15EC0167A9}"/>
          </ac:spMkLst>
        </pc:spChg>
        <pc:spChg chg="del">
          <ac:chgData name="Veniero Facchetti" userId="f2c6c99af91c4974" providerId="LiveId" clId="{34DF7D6B-EB0F-4B53-B080-BB8D6F5C3D93}" dt="2024-05-10T15:47:02.611" v="171" actId="478"/>
          <ac:spMkLst>
            <pc:docMk/>
            <pc:sldMk cId="2238674106" sldId="340"/>
            <ac:spMk id="21" creationId="{7587CFA8-EA97-FCCC-6205-677C495229D7}"/>
          </ac:spMkLst>
        </pc:spChg>
        <pc:spChg chg="del">
          <ac:chgData name="Veniero Facchetti" userId="f2c6c99af91c4974" providerId="LiveId" clId="{34DF7D6B-EB0F-4B53-B080-BB8D6F5C3D93}" dt="2024-05-10T15:47:02.611" v="171" actId="478"/>
          <ac:spMkLst>
            <pc:docMk/>
            <pc:sldMk cId="2238674106" sldId="340"/>
            <ac:spMk id="22" creationId="{DB74A2DD-1F92-CA11-1A5E-DC710AE80F1F}"/>
          </ac:spMkLst>
        </pc:spChg>
        <pc:spChg chg="del">
          <ac:chgData name="Veniero Facchetti" userId="f2c6c99af91c4974" providerId="LiveId" clId="{34DF7D6B-EB0F-4B53-B080-BB8D6F5C3D93}" dt="2024-05-10T15:47:02.611" v="171" actId="478"/>
          <ac:spMkLst>
            <pc:docMk/>
            <pc:sldMk cId="2238674106" sldId="340"/>
            <ac:spMk id="23" creationId="{AA16AD36-2782-8640-72F8-BDBD46C95BB5}"/>
          </ac:spMkLst>
        </pc:spChg>
        <pc:spChg chg="del">
          <ac:chgData name="Veniero Facchetti" userId="f2c6c99af91c4974" providerId="LiveId" clId="{34DF7D6B-EB0F-4B53-B080-BB8D6F5C3D93}" dt="2024-05-10T15:47:02.611" v="171" actId="478"/>
          <ac:spMkLst>
            <pc:docMk/>
            <pc:sldMk cId="2238674106" sldId="340"/>
            <ac:spMk id="24" creationId="{702B3846-AC96-7C6C-AA95-526DEF65D952}"/>
          </ac:spMkLst>
        </pc:spChg>
        <pc:spChg chg="del">
          <ac:chgData name="Veniero Facchetti" userId="f2c6c99af91c4974" providerId="LiveId" clId="{34DF7D6B-EB0F-4B53-B080-BB8D6F5C3D93}" dt="2024-05-10T15:47:02.611" v="171" actId="478"/>
          <ac:spMkLst>
            <pc:docMk/>
            <pc:sldMk cId="2238674106" sldId="340"/>
            <ac:spMk id="25" creationId="{7882799A-D338-A0DE-73D0-A96C02FB7E02}"/>
          </ac:spMkLst>
        </pc:spChg>
        <pc:spChg chg="del">
          <ac:chgData name="Veniero Facchetti" userId="f2c6c99af91c4974" providerId="LiveId" clId="{34DF7D6B-EB0F-4B53-B080-BB8D6F5C3D93}" dt="2024-05-10T15:47:02.611" v="171" actId="478"/>
          <ac:spMkLst>
            <pc:docMk/>
            <pc:sldMk cId="2238674106" sldId="340"/>
            <ac:spMk id="26" creationId="{2C4B0047-63D4-1638-98E4-7FA10A317789}"/>
          </ac:spMkLst>
        </pc:spChg>
        <pc:spChg chg="del">
          <ac:chgData name="Veniero Facchetti" userId="f2c6c99af91c4974" providerId="LiveId" clId="{34DF7D6B-EB0F-4B53-B080-BB8D6F5C3D93}" dt="2024-05-10T15:47:02.611" v="171" actId="478"/>
          <ac:spMkLst>
            <pc:docMk/>
            <pc:sldMk cId="2238674106" sldId="340"/>
            <ac:spMk id="27" creationId="{E5E0CEE4-A014-66FD-3A96-56623BC19B11}"/>
          </ac:spMkLst>
        </pc:spChg>
        <pc:spChg chg="del">
          <ac:chgData name="Veniero Facchetti" userId="f2c6c99af91c4974" providerId="LiveId" clId="{34DF7D6B-EB0F-4B53-B080-BB8D6F5C3D93}" dt="2024-05-10T15:47:02.611" v="171" actId="478"/>
          <ac:spMkLst>
            <pc:docMk/>
            <pc:sldMk cId="2238674106" sldId="340"/>
            <ac:spMk id="28" creationId="{5DCBC56B-FCFE-E9FE-24E1-68C288F3F6AE}"/>
          </ac:spMkLst>
        </pc:spChg>
        <pc:spChg chg="del">
          <ac:chgData name="Veniero Facchetti" userId="f2c6c99af91c4974" providerId="LiveId" clId="{34DF7D6B-EB0F-4B53-B080-BB8D6F5C3D93}" dt="2024-05-10T15:47:02.611" v="171" actId="478"/>
          <ac:spMkLst>
            <pc:docMk/>
            <pc:sldMk cId="2238674106" sldId="340"/>
            <ac:spMk id="29" creationId="{D6A128F5-CA0F-E089-962D-F4835F1839D2}"/>
          </ac:spMkLst>
        </pc:spChg>
        <pc:spChg chg="del">
          <ac:chgData name="Veniero Facchetti" userId="f2c6c99af91c4974" providerId="LiveId" clId="{34DF7D6B-EB0F-4B53-B080-BB8D6F5C3D93}" dt="2024-05-10T15:47:02.611" v="171" actId="478"/>
          <ac:spMkLst>
            <pc:docMk/>
            <pc:sldMk cId="2238674106" sldId="340"/>
            <ac:spMk id="30" creationId="{A58907A9-0C50-8715-55E5-5A4693CECE4F}"/>
          </ac:spMkLst>
        </pc:spChg>
        <pc:spChg chg="del">
          <ac:chgData name="Veniero Facchetti" userId="f2c6c99af91c4974" providerId="LiveId" clId="{34DF7D6B-EB0F-4B53-B080-BB8D6F5C3D93}" dt="2024-05-10T15:47:02.611" v="171" actId="478"/>
          <ac:spMkLst>
            <pc:docMk/>
            <pc:sldMk cId="2238674106" sldId="340"/>
            <ac:spMk id="31" creationId="{B9B8BA03-4F55-A11F-5114-1B15AFB7A82D}"/>
          </ac:spMkLst>
        </pc:spChg>
        <pc:spChg chg="del">
          <ac:chgData name="Veniero Facchetti" userId="f2c6c99af91c4974" providerId="LiveId" clId="{34DF7D6B-EB0F-4B53-B080-BB8D6F5C3D93}" dt="2024-05-10T15:47:02.611" v="171" actId="478"/>
          <ac:spMkLst>
            <pc:docMk/>
            <pc:sldMk cId="2238674106" sldId="340"/>
            <ac:spMk id="32" creationId="{C292368F-997B-FF66-D8F2-884425A79282}"/>
          </ac:spMkLst>
        </pc:spChg>
        <pc:spChg chg="del">
          <ac:chgData name="Veniero Facchetti" userId="f2c6c99af91c4974" providerId="LiveId" clId="{34DF7D6B-EB0F-4B53-B080-BB8D6F5C3D93}" dt="2024-05-10T15:47:02.611" v="171" actId="478"/>
          <ac:spMkLst>
            <pc:docMk/>
            <pc:sldMk cId="2238674106" sldId="340"/>
            <ac:spMk id="33" creationId="{107C71D2-3649-7957-1F74-8E44669A4947}"/>
          </ac:spMkLst>
        </pc:spChg>
        <pc:spChg chg="del">
          <ac:chgData name="Veniero Facchetti" userId="f2c6c99af91c4974" providerId="LiveId" clId="{34DF7D6B-EB0F-4B53-B080-BB8D6F5C3D93}" dt="2024-05-10T15:47:02.611" v="171" actId="478"/>
          <ac:spMkLst>
            <pc:docMk/>
            <pc:sldMk cId="2238674106" sldId="340"/>
            <ac:spMk id="34" creationId="{F02CFF53-CF9B-1983-5118-1A6E40365218}"/>
          </ac:spMkLst>
        </pc:spChg>
        <pc:spChg chg="del">
          <ac:chgData name="Veniero Facchetti" userId="f2c6c99af91c4974" providerId="LiveId" clId="{34DF7D6B-EB0F-4B53-B080-BB8D6F5C3D93}" dt="2024-05-10T15:47:02.611" v="171" actId="478"/>
          <ac:spMkLst>
            <pc:docMk/>
            <pc:sldMk cId="2238674106" sldId="340"/>
            <ac:spMk id="35" creationId="{F45A60B8-08F9-A878-AFEC-9CD1F383D3AC}"/>
          </ac:spMkLst>
        </pc:spChg>
        <pc:spChg chg="del">
          <ac:chgData name="Veniero Facchetti" userId="f2c6c99af91c4974" providerId="LiveId" clId="{34DF7D6B-EB0F-4B53-B080-BB8D6F5C3D93}" dt="2024-05-10T15:47:02.611" v="171" actId="478"/>
          <ac:spMkLst>
            <pc:docMk/>
            <pc:sldMk cId="2238674106" sldId="340"/>
            <ac:spMk id="36" creationId="{ACD83EFE-D904-9AE9-BF98-67D41D881422}"/>
          </ac:spMkLst>
        </pc:spChg>
        <pc:spChg chg="del">
          <ac:chgData name="Veniero Facchetti" userId="f2c6c99af91c4974" providerId="LiveId" clId="{34DF7D6B-EB0F-4B53-B080-BB8D6F5C3D93}" dt="2024-05-10T15:47:02.611" v="171" actId="478"/>
          <ac:spMkLst>
            <pc:docMk/>
            <pc:sldMk cId="2238674106" sldId="340"/>
            <ac:spMk id="37" creationId="{5734152D-488C-BD41-2965-3F00944D136B}"/>
          </ac:spMkLst>
        </pc:spChg>
        <pc:spChg chg="del">
          <ac:chgData name="Veniero Facchetti" userId="f2c6c99af91c4974" providerId="LiveId" clId="{34DF7D6B-EB0F-4B53-B080-BB8D6F5C3D93}" dt="2024-05-10T15:47:02.611" v="171" actId="478"/>
          <ac:spMkLst>
            <pc:docMk/>
            <pc:sldMk cId="2238674106" sldId="340"/>
            <ac:spMk id="38" creationId="{173FE264-4DAD-EB11-8BFB-3C02E6E1C09C}"/>
          </ac:spMkLst>
        </pc:spChg>
        <pc:spChg chg="del">
          <ac:chgData name="Veniero Facchetti" userId="f2c6c99af91c4974" providerId="LiveId" clId="{34DF7D6B-EB0F-4B53-B080-BB8D6F5C3D93}" dt="2024-05-10T15:47:02.611" v="171" actId="478"/>
          <ac:spMkLst>
            <pc:docMk/>
            <pc:sldMk cId="2238674106" sldId="340"/>
            <ac:spMk id="39" creationId="{6A27474E-FFDC-F04B-2A62-A82E29E63617}"/>
          </ac:spMkLst>
        </pc:spChg>
        <pc:spChg chg="del">
          <ac:chgData name="Veniero Facchetti" userId="f2c6c99af91c4974" providerId="LiveId" clId="{34DF7D6B-EB0F-4B53-B080-BB8D6F5C3D93}" dt="2024-05-10T15:47:02.611" v="171" actId="478"/>
          <ac:spMkLst>
            <pc:docMk/>
            <pc:sldMk cId="2238674106" sldId="340"/>
            <ac:spMk id="40" creationId="{B4DD6B3B-1D27-ADA1-40FA-5E9CAEAD3C49}"/>
          </ac:spMkLst>
        </pc:spChg>
        <pc:spChg chg="del">
          <ac:chgData name="Veniero Facchetti" userId="f2c6c99af91c4974" providerId="LiveId" clId="{34DF7D6B-EB0F-4B53-B080-BB8D6F5C3D93}" dt="2024-05-10T15:47:02.611" v="171" actId="478"/>
          <ac:spMkLst>
            <pc:docMk/>
            <pc:sldMk cId="2238674106" sldId="340"/>
            <ac:spMk id="41" creationId="{07F6AA95-DF72-0448-7A4B-66695F5922D7}"/>
          </ac:spMkLst>
        </pc:spChg>
        <pc:spChg chg="del">
          <ac:chgData name="Veniero Facchetti" userId="f2c6c99af91c4974" providerId="LiveId" clId="{34DF7D6B-EB0F-4B53-B080-BB8D6F5C3D93}" dt="2024-05-10T15:47:02.611" v="171" actId="478"/>
          <ac:spMkLst>
            <pc:docMk/>
            <pc:sldMk cId="2238674106" sldId="340"/>
            <ac:spMk id="42" creationId="{2EAB8956-50CF-7F42-42C2-4005978D6955}"/>
          </ac:spMkLst>
        </pc:spChg>
        <pc:spChg chg="del">
          <ac:chgData name="Veniero Facchetti" userId="f2c6c99af91c4974" providerId="LiveId" clId="{34DF7D6B-EB0F-4B53-B080-BB8D6F5C3D93}" dt="2024-05-10T15:47:02.611" v="171" actId="478"/>
          <ac:spMkLst>
            <pc:docMk/>
            <pc:sldMk cId="2238674106" sldId="340"/>
            <ac:spMk id="50" creationId="{FD72B3FB-6CE4-4140-D1CD-8FA5903F821C}"/>
          </ac:spMkLst>
        </pc:spChg>
        <pc:spChg chg="del">
          <ac:chgData name="Veniero Facchetti" userId="f2c6c99af91c4974" providerId="LiveId" clId="{34DF7D6B-EB0F-4B53-B080-BB8D6F5C3D93}" dt="2024-05-10T15:47:02.611" v="171" actId="478"/>
          <ac:spMkLst>
            <pc:docMk/>
            <pc:sldMk cId="2238674106" sldId="340"/>
            <ac:spMk id="51" creationId="{8D04FDE8-1DA5-9670-987C-9262CCC175BC}"/>
          </ac:spMkLst>
        </pc:spChg>
        <pc:spChg chg="del">
          <ac:chgData name="Veniero Facchetti" userId="f2c6c99af91c4974" providerId="LiveId" clId="{34DF7D6B-EB0F-4B53-B080-BB8D6F5C3D93}" dt="2024-05-10T15:47:02.611" v="171" actId="478"/>
          <ac:spMkLst>
            <pc:docMk/>
            <pc:sldMk cId="2238674106" sldId="340"/>
            <ac:spMk id="52" creationId="{753312B5-3EAA-36D8-8F3D-ECE670841D97}"/>
          </ac:spMkLst>
        </pc:spChg>
        <pc:spChg chg="del">
          <ac:chgData name="Veniero Facchetti" userId="f2c6c99af91c4974" providerId="LiveId" clId="{34DF7D6B-EB0F-4B53-B080-BB8D6F5C3D93}" dt="2024-05-10T15:47:02.611" v="171" actId="478"/>
          <ac:spMkLst>
            <pc:docMk/>
            <pc:sldMk cId="2238674106" sldId="340"/>
            <ac:spMk id="53" creationId="{03E8B115-8157-D0FE-F1DD-5DD0F694F809}"/>
          </ac:spMkLst>
        </pc:spChg>
        <pc:spChg chg="del">
          <ac:chgData name="Veniero Facchetti" userId="f2c6c99af91c4974" providerId="LiveId" clId="{34DF7D6B-EB0F-4B53-B080-BB8D6F5C3D93}" dt="2024-05-10T15:47:02.611" v="171" actId="478"/>
          <ac:spMkLst>
            <pc:docMk/>
            <pc:sldMk cId="2238674106" sldId="340"/>
            <ac:spMk id="54" creationId="{F3DFA1DA-CE9A-D57A-943B-288F8D781868}"/>
          </ac:spMkLst>
        </pc:spChg>
        <pc:spChg chg="del">
          <ac:chgData name="Veniero Facchetti" userId="f2c6c99af91c4974" providerId="LiveId" clId="{34DF7D6B-EB0F-4B53-B080-BB8D6F5C3D93}" dt="2024-05-10T15:47:02.611" v="171" actId="478"/>
          <ac:spMkLst>
            <pc:docMk/>
            <pc:sldMk cId="2238674106" sldId="340"/>
            <ac:spMk id="55" creationId="{0479DF55-DB09-896B-69B0-FC6F17149E6E}"/>
          </ac:spMkLst>
        </pc:spChg>
        <pc:spChg chg="del">
          <ac:chgData name="Veniero Facchetti" userId="f2c6c99af91c4974" providerId="LiveId" clId="{34DF7D6B-EB0F-4B53-B080-BB8D6F5C3D93}" dt="2024-05-10T15:47:02.611" v="171" actId="478"/>
          <ac:spMkLst>
            <pc:docMk/>
            <pc:sldMk cId="2238674106" sldId="340"/>
            <ac:spMk id="56" creationId="{453F88A4-E041-66C2-14FA-3541A9D7617F}"/>
          </ac:spMkLst>
        </pc:spChg>
        <pc:spChg chg="del">
          <ac:chgData name="Veniero Facchetti" userId="f2c6c99af91c4974" providerId="LiveId" clId="{34DF7D6B-EB0F-4B53-B080-BB8D6F5C3D93}" dt="2024-05-10T15:47:02.611" v="171" actId="478"/>
          <ac:spMkLst>
            <pc:docMk/>
            <pc:sldMk cId="2238674106" sldId="340"/>
            <ac:spMk id="57" creationId="{6303CF9B-2F84-B7D3-0ADB-56F6607A6B67}"/>
          </ac:spMkLst>
        </pc:spChg>
        <pc:spChg chg="del">
          <ac:chgData name="Veniero Facchetti" userId="f2c6c99af91c4974" providerId="LiveId" clId="{34DF7D6B-EB0F-4B53-B080-BB8D6F5C3D93}" dt="2024-05-10T15:47:02.611" v="171" actId="478"/>
          <ac:spMkLst>
            <pc:docMk/>
            <pc:sldMk cId="2238674106" sldId="340"/>
            <ac:spMk id="58" creationId="{C33DC149-1474-AFE1-A762-84E2E33CE300}"/>
          </ac:spMkLst>
        </pc:spChg>
        <pc:spChg chg="add mod">
          <ac:chgData name="Veniero Facchetti" userId="f2c6c99af91c4974" providerId="LiveId" clId="{34DF7D6B-EB0F-4B53-B080-BB8D6F5C3D93}" dt="2024-05-10T15:47:25.897" v="180" actId="14100"/>
          <ac:spMkLst>
            <pc:docMk/>
            <pc:sldMk cId="2238674106" sldId="340"/>
            <ac:spMk id="62" creationId="{CA0B4356-7AF0-C5EB-82FD-49F7FE70BCAB}"/>
          </ac:spMkLst>
        </pc:spChg>
        <pc:spChg chg="add mod">
          <ac:chgData name="Veniero Facchetti" userId="f2c6c99af91c4974" providerId="LiveId" clId="{34DF7D6B-EB0F-4B53-B080-BB8D6F5C3D93}" dt="2024-05-10T15:48:31.018" v="191" actId="1076"/>
          <ac:spMkLst>
            <pc:docMk/>
            <pc:sldMk cId="2238674106" sldId="340"/>
            <ac:spMk id="63" creationId="{D68500E5-F15E-D971-4D11-21D9C4A11F0A}"/>
          </ac:spMkLst>
        </pc:spChg>
        <pc:spChg chg="add mod">
          <ac:chgData name="Veniero Facchetti" userId="f2c6c99af91c4974" providerId="LiveId" clId="{34DF7D6B-EB0F-4B53-B080-BB8D6F5C3D93}" dt="2024-05-10T15:48:48.810" v="194" actId="1076"/>
          <ac:spMkLst>
            <pc:docMk/>
            <pc:sldMk cId="2238674106" sldId="340"/>
            <ac:spMk id="64" creationId="{7758B9E1-ABE4-113D-E53A-2DAA088B2D65}"/>
          </ac:spMkLst>
        </pc:spChg>
        <pc:spChg chg="add mod">
          <ac:chgData name="Veniero Facchetti" userId="f2c6c99af91c4974" providerId="LiveId" clId="{34DF7D6B-EB0F-4B53-B080-BB8D6F5C3D93}" dt="2024-05-10T15:48:57.893" v="195" actId="1076"/>
          <ac:spMkLst>
            <pc:docMk/>
            <pc:sldMk cId="2238674106" sldId="340"/>
            <ac:spMk id="65" creationId="{0B4AB199-389F-71CB-D39C-3F9337328366}"/>
          </ac:spMkLst>
        </pc:spChg>
        <pc:spChg chg="add mod">
          <ac:chgData name="Veniero Facchetti" userId="f2c6c99af91c4974" providerId="LiveId" clId="{34DF7D6B-EB0F-4B53-B080-BB8D6F5C3D93}" dt="2024-05-10T15:48:44.125" v="193" actId="1076"/>
          <ac:spMkLst>
            <pc:docMk/>
            <pc:sldMk cId="2238674106" sldId="340"/>
            <ac:spMk id="66" creationId="{4011B87E-CA3E-A7F6-FFB7-0C77D9793EF1}"/>
          </ac:spMkLst>
        </pc:spChg>
        <pc:spChg chg="add mod">
          <ac:chgData name="Veniero Facchetti" userId="f2c6c99af91c4974" providerId="LiveId" clId="{34DF7D6B-EB0F-4B53-B080-BB8D6F5C3D93}" dt="2024-05-10T15:48:57.893" v="195" actId="1076"/>
          <ac:spMkLst>
            <pc:docMk/>
            <pc:sldMk cId="2238674106" sldId="340"/>
            <ac:spMk id="68" creationId="{BCAFFEAB-79D1-C62E-8746-E3846BC95D77}"/>
          </ac:spMkLst>
        </pc:spChg>
        <pc:spChg chg="add mod">
          <ac:chgData name="Veniero Facchetti" userId="f2c6c99af91c4974" providerId="LiveId" clId="{34DF7D6B-EB0F-4B53-B080-BB8D6F5C3D93}" dt="2024-05-10T15:48:57.893" v="195" actId="1076"/>
          <ac:spMkLst>
            <pc:docMk/>
            <pc:sldMk cId="2238674106" sldId="340"/>
            <ac:spMk id="69" creationId="{7A41924C-5938-F448-E31B-2036BBD3B1D4}"/>
          </ac:spMkLst>
        </pc:spChg>
        <pc:spChg chg="add mod">
          <ac:chgData name="Veniero Facchetti" userId="f2c6c99af91c4974" providerId="LiveId" clId="{34DF7D6B-EB0F-4B53-B080-BB8D6F5C3D93}" dt="2024-05-10T15:48:57.893" v="195" actId="1076"/>
          <ac:spMkLst>
            <pc:docMk/>
            <pc:sldMk cId="2238674106" sldId="340"/>
            <ac:spMk id="70" creationId="{2E4D6059-5825-A03C-BD85-B1BAFC38BB87}"/>
          </ac:spMkLst>
        </pc:spChg>
        <pc:spChg chg="add mod">
          <ac:chgData name="Veniero Facchetti" userId="f2c6c99af91c4974" providerId="LiveId" clId="{34DF7D6B-EB0F-4B53-B080-BB8D6F5C3D93}" dt="2024-05-10T15:48:57.893" v="195" actId="1076"/>
          <ac:spMkLst>
            <pc:docMk/>
            <pc:sldMk cId="2238674106" sldId="340"/>
            <ac:spMk id="71" creationId="{047897AC-02AC-A3E0-17EC-75718E11C372}"/>
          </ac:spMkLst>
        </pc:spChg>
        <pc:spChg chg="add mod">
          <ac:chgData name="Veniero Facchetti" userId="f2c6c99af91c4974" providerId="LiveId" clId="{34DF7D6B-EB0F-4B53-B080-BB8D6F5C3D93}" dt="2024-05-10T15:48:57.893" v="195" actId="1076"/>
          <ac:spMkLst>
            <pc:docMk/>
            <pc:sldMk cId="2238674106" sldId="340"/>
            <ac:spMk id="72" creationId="{FD492B62-874D-75FE-CC1A-48AEF1D247B5}"/>
          </ac:spMkLst>
        </pc:spChg>
        <pc:spChg chg="add mod">
          <ac:chgData name="Veniero Facchetti" userId="f2c6c99af91c4974" providerId="LiveId" clId="{34DF7D6B-EB0F-4B53-B080-BB8D6F5C3D93}" dt="2024-05-10T15:48:57.893" v="195" actId="1076"/>
          <ac:spMkLst>
            <pc:docMk/>
            <pc:sldMk cId="2238674106" sldId="340"/>
            <ac:spMk id="73" creationId="{3DC87E7E-BC65-3227-A721-0C431750594F}"/>
          </ac:spMkLst>
        </pc:spChg>
        <pc:spChg chg="add mod">
          <ac:chgData name="Veniero Facchetti" userId="f2c6c99af91c4974" providerId="LiveId" clId="{34DF7D6B-EB0F-4B53-B080-BB8D6F5C3D93}" dt="2024-05-10T15:48:48.810" v="194" actId="1076"/>
          <ac:spMkLst>
            <pc:docMk/>
            <pc:sldMk cId="2238674106" sldId="340"/>
            <ac:spMk id="74" creationId="{7174FE6F-46DD-D781-18A6-FD8C1883A965}"/>
          </ac:spMkLst>
        </pc:spChg>
        <pc:spChg chg="add mod">
          <ac:chgData name="Veniero Facchetti" userId="f2c6c99af91c4974" providerId="LiveId" clId="{34DF7D6B-EB0F-4B53-B080-BB8D6F5C3D93}" dt="2024-05-10T15:48:15.112" v="186" actId="14100"/>
          <ac:spMkLst>
            <pc:docMk/>
            <pc:sldMk cId="2238674106" sldId="340"/>
            <ac:spMk id="76" creationId="{60C354F9-8D05-EA88-CA3A-C92B3284081C}"/>
          </ac:spMkLst>
        </pc:spChg>
        <pc:spChg chg="add mod">
          <ac:chgData name="Veniero Facchetti" userId="f2c6c99af91c4974" providerId="LiveId" clId="{34DF7D6B-EB0F-4B53-B080-BB8D6F5C3D93}" dt="2024-05-10T15:48:31.018" v="191" actId="1076"/>
          <ac:spMkLst>
            <pc:docMk/>
            <pc:sldMk cId="2238674106" sldId="340"/>
            <ac:spMk id="77" creationId="{C0F106C5-16E7-4AF5-5B79-5BF9AA0ADE73}"/>
          </ac:spMkLst>
        </pc:spChg>
        <pc:spChg chg="add mod">
          <ac:chgData name="Veniero Facchetti" userId="f2c6c99af91c4974" providerId="LiveId" clId="{34DF7D6B-EB0F-4B53-B080-BB8D6F5C3D93}" dt="2024-05-10T15:48:44.125" v="193" actId="1076"/>
          <ac:spMkLst>
            <pc:docMk/>
            <pc:sldMk cId="2238674106" sldId="340"/>
            <ac:spMk id="78" creationId="{7B988D05-8396-05FA-FD26-A29F7F66129E}"/>
          </ac:spMkLst>
        </pc:spChg>
        <pc:spChg chg="add mod">
          <ac:chgData name="Veniero Facchetti" userId="f2c6c99af91c4974" providerId="LiveId" clId="{34DF7D6B-EB0F-4B53-B080-BB8D6F5C3D93}" dt="2024-05-10T15:48:57.893" v="195" actId="1076"/>
          <ac:spMkLst>
            <pc:docMk/>
            <pc:sldMk cId="2238674106" sldId="340"/>
            <ac:spMk id="79" creationId="{50F0AF6C-EA2A-B983-68F1-FA7ED038041B}"/>
          </ac:spMkLst>
        </pc:spChg>
        <pc:spChg chg="add mod">
          <ac:chgData name="Veniero Facchetti" userId="f2c6c99af91c4974" providerId="LiveId" clId="{34DF7D6B-EB0F-4B53-B080-BB8D6F5C3D93}" dt="2024-05-10T15:48:48.810" v="194" actId="1076"/>
          <ac:spMkLst>
            <pc:docMk/>
            <pc:sldMk cId="2238674106" sldId="340"/>
            <ac:spMk id="80" creationId="{C6BDDC77-6EE2-8AA5-4544-D1FC8F24EE55}"/>
          </ac:spMkLst>
        </pc:spChg>
        <pc:spChg chg="add mod">
          <ac:chgData name="Veniero Facchetti" userId="f2c6c99af91c4974" providerId="LiveId" clId="{34DF7D6B-EB0F-4B53-B080-BB8D6F5C3D93}" dt="2024-05-10T15:48:15.112" v="186" actId="14100"/>
          <ac:spMkLst>
            <pc:docMk/>
            <pc:sldMk cId="2238674106" sldId="340"/>
            <ac:spMk id="82" creationId="{4D31DF68-188B-C17A-4269-8C265ADB027B}"/>
          </ac:spMkLst>
        </pc:spChg>
        <pc:spChg chg="add mod">
          <ac:chgData name="Veniero Facchetti" userId="f2c6c99af91c4974" providerId="LiveId" clId="{34DF7D6B-EB0F-4B53-B080-BB8D6F5C3D93}" dt="2024-05-10T15:48:31.018" v="191" actId="1076"/>
          <ac:spMkLst>
            <pc:docMk/>
            <pc:sldMk cId="2238674106" sldId="340"/>
            <ac:spMk id="83" creationId="{334ED66E-8EC9-E1BE-4BCF-A64ECD22FF67}"/>
          </ac:spMkLst>
        </pc:spChg>
        <pc:spChg chg="add mod">
          <ac:chgData name="Veniero Facchetti" userId="f2c6c99af91c4974" providerId="LiveId" clId="{34DF7D6B-EB0F-4B53-B080-BB8D6F5C3D93}" dt="2024-05-10T15:48:44.125" v="193" actId="1076"/>
          <ac:spMkLst>
            <pc:docMk/>
            <pc:sldMk cId="2238674106" sldId="340"/>
            <ac:spMk id="84" creationId="{8255B64B-D171-0F4F-CBBF-77F322DF40C6}"/>
          </ac:spMkLst>
        </pc:spChg>
        <pc:spChg chg="add mod">
          <ac:chgData name="Veniero Facchetti" userId="f2c6c99af91c4974" providerId="LiveId" clId="{34DF7D6B-EB0F-4B53-B080-BB8D6F5C3D93}" dt="2024-05-10T15:48:57.893" v="195" actId="1076"/>
          <ac:spMkLst>
            <pc:docMk/>
            <pc:sldMk cId="2238674106" sldId="340"/>
            <ac:spMk id="85" creationId="{CE2D7096-426C-AD83-B3AE-1E282F1C62F4}"/>
          </ac:spMkLst>
        </pc:spChg>
        <pc:spChg chg="add mod">
          <ac:chgData name="Veniero Facchetti" userId="f2c6c99af91c4974" providerId="LiveId" clId="{34DF7D6B-EB0F-4B53-B080-BB8D6F5C3D93}" dt="2024-05-10T15:48:48.810" v="194" actId="1076"/>
          <ac:spMkLst>
            <pc:docMk/>
            <pc:sldMk cId="2238674106" sldId="340"/>
            <ac:spMk id="86" creationId="{935DC7D8-C7DD-85D3-CC73-87BF1C534058}"/>
          </ac:spMkLst>
        </pc:spChg>
        <pc:spChg chg="add mod">
          <ac:chgData name="Veniero Facchetti" userId="f2c6c99af91c4974" providerId="LiveId" clId="{34DF7D6B-EB0F-4B53-B080-BB8D6F5C3D93}" dt="2024-05-10T15:48:15.112" v="186" actId="14100"/>
          <ac:spMkLst>
            <pc:docMk/>
            <pc:sldMk cId="2238674106" sldId="340"/>
            <ac:spMk id="87" creationId="{20201B71-2DFC-C996-8620-7109E058D45A}"/>
          </ac:spMkLst>
        </pc:spChg>
        <pc:spChg chg="add mod">
          <ac:chgData name="Veniero Facchetti" userId="f2c6c99af91c4974" providerId="LiveId" clId="{34DF7D6B-EB0F-4B53-B080-BB8D6F5C3D93}" dt="2024-05-10T15:48:31.018" v="191" actId="1076"/>
          <ac:spMkLst>
            <pc:docMk/>
            <pc:sldMk cId="2238674106" sldId="340"/>
            <ac:spMk id="88" creationId="{130AF4FB-2096-647E-9D95-BF6D6E194D18}"/>
          </ac:spMkLst>
        </pc:spChg>
        <pc:spChg chg="add mod">
          <ac:chgData name="Veniero Facchetti" userId="f2c6c99af91c4974" providerId="LiveId" clId="{34DF7D6B-EB0F-4B53-B080-BB8D6F5C3D93}" dt="2024-05-10T15:48:44.125" v="193" actId="1076"/>
          <ac:spMkLst>
            <pc:docMk/>
            <pc:sldMk cId="2238674106" sldId="340"/>
            <ac:spMk id="90" creationId="{A6E5AEE1-5150-D924-B2DB-E232A1038764}"/>
          </ac:spMkLst>
        </pc:spChg>
        <pc:spChg chg="add mod">
          <ac:chgData name="Veniero Facchetti" userId="f2c6c99af91c4974" providerId="LiveId" clId="{34DF7D6B-EB0F-4B53-B080-BB8D6F5C3D93}" dt="2024-05-10T15:48:57.893" v="195" actId="1076"/>
          <ac:spMkLst>
            <pc:docMk/>
            <pc:sldMk cId="2238674106" sldId="340"/>
            <ac:spMk id="91" creationId="{6FB8F3EC-54ED-0294-C2A9-50997F65A680}"/>
          </ac:spMkLst>
        </pc:spChg>
        <pc:spChg chg="add mod">
          <ac:chgData name="Veniero Facchetti" userId="f2c6c99af91c4974" providerId="LiveId" clId="{34DF7D6B-EB0F-4B53-B080-BB8D6F5C3D93}" dt="2024-05-10T15:48:48.810" v="194" actId="1076"/>
          <ac:spMkLst>
            <pc:docMk/>
            <pc:sldMk cId="2238674106" sldId="340"/>
            <ac:spMk id="92" creationId="{9F1A7A7B-5DD1-6AF9-6F2C-C51F784E411D}"/>
          </ac:spMkLst>
        </pc:spChg>
        <pc:spChg chg="add mod">
          <ac:chgData name="Veniero Facchetti" userId="f2c6c99af91c4974" providerId="LiveId" clId="{34DF7D6B-EB0F-4B53-B080-BB8D6F5C3D93}" dt="2024-05-10T15:48:15.112" v="186" actId="14100"/>
          <ac:spMkLst>
            <pc:docMk/>
            <pc:sldMk cId="2238674106" sldId="340"/>
            <ac:spMk id="94" creationId="{E366DCEB-C86B-FF5F-6FC6-52E1A06873EA}"/>
          </ac:spMkLst>
        </pc:spChg>
        <pc:spChg chg="add mod">
          <ac:chgData name="Veniero Facchetti" userId="f2c6c99af91c4974" providerId="LiveId" clId="{34DF7D6B-EB0F-4B53-B080-BB8D6F5C3D93}" dt="2024-05-10T15:48:31.018" v="191" actId="1076"/>
          <ac:spMkLst>
            <pc:docMk/>
            <pc:sldMk cId="2238674106" sldId="340"/>
            <ac:spMk id="95" creationId="{96A29CE9-819F-95D4-2C5A-6A2FCD3E7773}"/>
          </ac:spMkLst>
        </pc:spChg>
        <pc:spChg chg="add mod">
          <ac:chgData name="Veniero Facchetti" userId="f2c6c99af91c4974" providerId="LiveId" clId="{34DF7D6B-EB0F-4B53-B080-BB8D6F5C3D93}" dt="2024-05-10T15:48:44.125" v="193" actId="1076"/>
          <ac:spMkLst>
            <pc:docMk/>
            <pc:sldMk cId="2238674106" sldId="340"/>
            <ac:spMk id="96" creationId="{AD86EB8B-019D-F4E6-7290-1762DF4E182D}"/>
          </ac:spMkLst>
        </pc:spChg>
        <pc:spChg chg="add mod">
          <ac:chgData name="Veniero Facchetti" userId="f2c6c99af91c4974" providerId="LiveId" clId="{34DF7D6B-EB0F-4B53-B080-BB8D6F5C3D93}" dt="2024-05-10T15:48:57.893" v="195" actId="1076"/>
          <ac:spMkLst>
            <pc:docMk/>
            <pc:sldMk cId="2238674106" sldId="340"/>
            <ac:spMk id="97" creationId="{237AB5E7-61C8-683E-C851-4B93933046B0}"/>
          </ac:spMkLst>
        </pc:spChg>
        <pc:spChg chg="add mod">
          <ac:chgData name="Veniero Facchetti" userId="f2c6c99af91c4974" providerId="LiveId" clId="{34DF7D6B-EB0F-4B53-B080-BB8D6F5C3D93}" dt="2024-05-10T15:48:48.810" v="194" actId="1076"/>
          <ac:spMkLst>
            <pc:docMk/>
            <pc:sldMk cId="2238674106" sldId="340"/>
            <ac:spMk id="98" creationId="{16909792-CC3A-AEC2-2546-87773B6DCBDB}"/>
          </ac:spMkLst>
        </pc:spChg>
        <pc:spChg chg="add mod">
          <ac:chgData name="Veniero Facchetti" userId="f2c6c99af91c4974" providerId="LiveId" clId="{34DF7D6B-EB0F-4B53-B080-BB8D6F5C3D93}" dt="2024-05-10T15:48:15.112" v="186" actId="14100"/>
          <ac:spMkLst>
            <pc:docMk/>
            <pc:sldMk cId="2238674106" sldId="340"/>
            <ac:spMk id="99" creationId="{21265A8C-FCCA-E1DB-324F-15D4BCEAC36C}"/>
          </ac:spMkLst>
        </pc:spChg>
        <pc:spChg chg="add mod">
          <ac:chgData name="Veniero Facchetti" userId="f2c6c99af91c4974" providerId="LiveId" clId="{34DF7D6B-EB0F-4B53-B080-BB8D6F5C3D93}" dt="2024-05-10T15:48:31.018" v="191" actId="1076"/>
          <ac:spMkLst>
            <pc:docMk/>
            <pc:sldMk cId="2238674106" sldId="340"/>
            <ac:spMk id="100" creationId="{C76A4AD4-C284-699E-EC24-F26897B2271C}"/>
          </ac:spMkLst>
        </pc:spChg>
        <pc:spChg chg="add mod">
          <ac:chgData name="Veniero Facchetti" userId="f2c6c99af91c4974" providerId="LiveId" clId="{34DF7D6B-EB0F-4B53-B080-BB8D6F5C3D93}" dt="2024-05-10T15:48:44.125" v="193" actId="1076"/>
          <ac:spMkLst>
            <pc:docMk/>
            <pc:sldMk cId="2238674106" sldId="340"/>
            <ac:spMk id="102" creationId="{7EBC5DD2-466B-946E-3F68-0C8635A8899F}"/>
          </ac:spMkLst>
        </pc:spChg>
        <pc:spChg chg="add mod">
          <ac:chgData name="Veniero Facchetti" userId="f2c6c99af91c4974" providerId="LiveId" clId="{34DF7D6B-EB0F-4B53-B080-BB8D6F5C3D93}" dt="2024-05-10T15:48:57.893" v="195" actId="1076"/>
          <ac:spMkLst>
            <pc:docMk/>
            <pc:sldMk cId="2238674106" sldId="340"/>
            <ac:spMk id="103" creationId="{1EB357E8-2B4D-9C9D-3B6D-25C47E3E1D9C}"/>
          </ac:spMkLst>
        </pc:spChg>
        <pc:spChg chg="add mod">
          <ac:chgData name="Veniero Facchetti" userId="f2c6c99af91c4974" providerId="LiveId" clId="{34DF7D6B-EB0F-4B53-B080-BB8D6F5C3D93}" dt="2024-05-10T15:48:57.893" v="195" actId="1076"/>
          <ac:spMkLst>
            <pc:docMk/>
            <pc:sldMk cId="2238674106" sldId="340"/>
            <ac:spMk id="105" creationId="{AFEBF764-C0B0-BE17-7159-C178DBDDD52E}"/>
          </ac:spMkLst>
        </pc:spChg>
        <pc:spChg chg="add mod">
          <ac:chgData name="Veniero Facchetti" userId="f2c6c99af91c4974" providerId="LiveId" clId="{34DF7D6B-EB0F-4B53-B080-BB8D6F5C3D93}" dt="2024-05-10T15:48:57.893" v="195" actId="1076"/>
          <ac:spMkLst>
            <pc:docMk/>
            <pc:sldMk cId="2238674106" sldId="340"/>
            <ac:spMk id="106" creationId="{1D29743E-E39F-53E3-40C0-83FECD84778A}"/>
          </ac:spMkLst>
        </pc:spChg>
        <pc:spChg chg="add mod">
          <ac:chgData name="Veniero Facchetti" userId="f2c6c99af91c4974" providerId="LiveId" clId="{34DF7D6B-EB0F-4B53-B080-BB8D6F5C3D93}" dt="2024-05-10T15:48:57.893" v="195" actId="1076"/>
          <ac:spMkLst>
            <pc:docMk/>
            <pc:sldMk cId="2238674106" sldId="340"/>
            <ac:spMk id="107" creationId="{D6922118-943D-1FD8-4290-5C82B00C7ACC}"/>
          </ac:spMkLst>
        </pc:spChg>
        <pc:spChg chg="add mod">
          <ac:chgData name="Veniero Facchetti" userId="f2c6c99af91c4974" providerId="LiveId" clId="{34DF7D6B-EB0F-4B53-B080-BB8D6F5C3D93}" dt="2024-05-10T15:48:57.893" v="195" actId="1076"/>
          <ac:spMkLst>
            <pc:docMk/>
            <pc:sldMk cId="2238674106" sldId="340"/>
            <ac:spMk id="108" creationId="{717511FF-7661-280F-6E01-FA3F6416B715}"/>
          </ac:spMkLst>
        </pc:spChg>
        <pc:spChg chg="add mod">
          <ac:chgData name="Veniero Facchetti" userId="f2c6c99af91c4974" providerId="LiveId" clId="{34DF7D6B-EB0F-4B53-B080-BB8D6F5C3D93}" dt="2024-05-10T15:48:57.893" v="195" actId="1076"/>
          <ac:spMkLst>
            <pc:docMk/>
            <pc:sldMk cId="2238674106" sldId="340"/>
            <ac:spMk id="109" creationId="{C23C6CFA-E6CE-2535-D086-10408E0ED052}"/>
          </ac:spMkLst>
        </pc:spChg>
        <pc:spChg chg="add mod">
          <ac:chgData name="Veniero Facchetti" userId="f2c6c99af91c4974" providerId="LiveId" clId="{34DF7D6B-EB0F-4B53-B080-BB8D6F5C3D93}" dt="2024-05-10T15:48:57.893" v="195" actId="1076"/>
          <ac:spMkLst>
            <pc:docMk/>
            <pc:sldMk cId="2238674106" sldId="340"/>
            <ac:spMk id="110" creationId="{424697C5-18DC-32CA-DAEE-26090BE9B225}"/>
          </ac:spMkLst>
        </pc:spChg>
        <pc:spChg chg="add mod">
          <ac:chgData name="Veniero Facchetti" userId="f2c6c99af91c4974" providerId="LiveId" clId="{34DF7D6B-EB0F-4B53-B080-BB8D6F5C3D93}" dt="2024-05-10T15:48:57.893" v="195" actId="1076"/>
          <ac:spMkLst>
            <pc:docMk/>
            <pc:sldMk cId="2238674106" sldId="340"/>
            <ac:spMk id="112" creationId="{61D7BC21-DCC2-B453-AEC8-29F00EFE8430}"/>
          </ac:spMkLst>
        </pc:spChg>
        <pc:spChg chg="add mod">
          <ac:chgData name="Veniero Facchetti" userId="f2c6c99af91c4974" providerId="LiveId" clId="{34DF7D6B-EB0F-4B53-B080-BB8D6F5C3D93}" dt="2024-05-10T15:48:57.893" v="195" actId="1076"/>
          <ac:spMkLst>
            <pc:docMk/>
            <pc:sldMk cId="2238674106" sldId="340"/>
            <ac:spMk id="113" creationId="{EB0FD8D8-BCE8-8D72-5762-DC8EA40DF71B}"/>
          </ac:spMkLst>
        </pc:spChg>
        <pc:spChg chg="add mod">
          <ac:chgData name="Veniero Facchetti" userId="f2c6c99af91c4974" providerId="LiveId" clId="{34DF7D6B-EB0F-4B53-B080-BB8D6F5C3D93}" dt="2024-05-10T15:48:57.893" v="195" actId="1076"/>
          <ac:spMkLst>
            <pc:docMk/>
            <pc:sldMk cId="2238674106" sldId="340"/>
            <ac:spMk id="114" creationId="{8B54D523-0615-F15E-FF8E-B84BA47B8AAD}"/>
          </ac:spMkLst>
        </pc:spChg>
        <pc:spChg chg="add mod">
          <ac:chgData name="Veniero Facchetti" userId="f2c6c99af91c4974" providerId="LiveId" clId="{34DF7D6B-EB0F-4B53-B080-BB8D6F5C3D93}" dt="2024-05-10T15:48:57.893" v="195" actId="1076"/>
          <ac:spMkLst>
            <pc:docMk/>
            <pc:sldMk cId="2238674106" sldId="340"/>
            <ac:spMk id="115" creationId="{F37FD799-FF69-0705-D2E4-30375DF81CAB}"/>
          </ac:spMkLst>
        </pc:spChg>
        <pc:spChg chg="add mod">
          <ac:chgData name="Veniero Facchetti" userId="f2c6c99af91c4974" providerId="LiveId" clId="{34DF7D6B-EB0F-4B53-B080-BB8D6F5C3D93}" dt="2024-05-10T15:48:57.893" v="195" actId="1076"/>
          <ac:spMkLst>
            <pc:docMk/>
            <pc:sldMk cId="2238674106" sldId="340"/>
            <ac:spMk id="116" creationId="{A8BA1562-49E9-1283-6A64-BFCA67D11582}"/>
          </ac:spMkLst>
        </pc:spChg>
        <pc:spChg chg="add mod">
          <ac:chgData name="Veniero Facchetti" userId="f2c6c99af91c4974" providerId="LiveId" clId="{34DF7D6B-EB0F-4B53-B080-BB8D6F5C3D93}" dt="2024-05-10T15:48:57.893" v="195" actId="1076"/>
          <ac:spMkLst>
            <pc:docMk/>
            <pc:sldMk cId="2238674106" sldId="340"/>
            <ac:spMk id="117" creationId="{051E7AA5-6B15-38A3-47A9-1C9C49FD89CC}"/>
          </ac:spMkLst>
        </pc:spChg>
        <pc:spChg chg="add mod">
          <ac:chgData name="Veniero Facchetti" userId="f2c6c99af91c4974" providerId="LiveId" clId="{34DF7D6B-EB0F-4B53-B080-BB8D6F5C3D93}" dt="2024-05-10T15:48:57.893" v="195" actId="1076"/>
          <ac:spMkLst>
            <pc:docMk/>
            <pc:sldMk cId="2238674106" sldId="340"/>
            <ac:spMk id="119" creationId="{6F2F3C3F-1A0F-E816-9ACD-30BF8E89C066}"/>
          </ac:spMkLst>
        </pc:spChg>
        <pc:spChg chg="add mod">
          <ac:chgData name="Veniero Facchetti" userId="f2c6c99af91c4974" providerId="LiveId" clId="{34DF7D6B-EB0F-4B53-B080-BB8D6F5C3D93}" dt="2024-05-10T15:48:57.893" v="195" actId="1076"/>
          <ac:spMkLst>
            <pc:docMk/>
            <pc:sldMk cId="2238674106" sldId="340"/>
            <ac:spMk id="120" creationId="{F7966AB1-5842-8A13-66F5-4F115BC7310A}"/>
          </ac:spMkLst>
        </pc:spChg>
        <pc:spChg chg="add mod">
          <ac:chgData name="Veniero Facchetti" userId="f2c6c99af91c4974" providerId="LiveId" clId="{34DF7D6B-EB0F-4B53-B080-BB8D6F5C3D93}" dt="2024-05-10T15:48:57.893" v="195" actId="1076"/>
          <ac:spMkLst>
            <pc:docMk/>
            <pc:sldMk cId="2238674106" sldId="340"/>
            <ac:spMk id="121" creationId="{D38F922A-217A-4EA3-C34D-C49EEC3AABF6}"/>
          </ac:spMkLst>
        </pc:spChg>
        <pc:spChg chg="add mod">
          <ac:chgData name="Veniero Facchetti" userId="f2c6c99af91c4974" providerId="LiveId" clId="{34DF7D6B-EB0F-4B53-B080-BB8D6F5C3D93}" dt="2024-05-10T15:48:57.893" v="195" actId="1076"/>
          <ac:spMkLst>
            <pc:docMk/>
            <pc:sldMk cId="2238674106" sldId="340"/>
            <ac:spMk id="122" creationId="{9E709888-BC03-B40D-D1EF-F30B2C8F09A7}"/>
          </ac:spMkLst>
        </pc:spChg>
        <pc:spChg chg="add mod">
          <ac:chgData name="Veniero Facchetti" userId="f2c6c99af91c4974" providerId="LiveId" clId="{34DF7D6B-EB0F-4B53-B080-BB8D6F5C3D93}" dt="2024-05-10T15:48:57.893" v="195" actId="1076"/>
          <ac:spMkLst>
            <pc:docMk/>
            <pc:sldMk cId="2238674106" sldId="340"/>
            <ac:spMk id="123" creationId="{5F654B94-36B6-CCBD-79D8-FD197835E9F2}"/>
          </ac:spMkLst>
        </pc:spChg>
        <pc:spChg chg="add mod">
          <ac:chgData name="Veniero Facchetti" userId="f2c6c99af91c4974" providerId="LiveId" clId="{34DF7D6B-EB0F-4B53-B080-BB8D6F5C3D93}" dt="2024-05-10T15:48:57.893" v="195" actId="1076"/>
          <ac:spMkLst>
            <pc:docMk/>
            <pc:sldMk cId="2238674106" sldId="340"/>
            <ac:spMk id="124" creationId="{18D170F7-4867-650C-CF1F-472DD96CA332}"/>
          </ac:spMkLst>
        </pc:spChg>
        <pc:spChg chg="add mod">
          <ac:chgData name="Veniero Facchetti" userId="f2c6c99af91c4974" providerId="LiveId" clId="{34DF7D6B-EB0F-4B53-B080-BB8D6F5C3D93}" dt="2024-05-10T15:48:57.893" v="195" actId="1076"/>
          <ac:spMkLst>
            <pc:docMk/>
            <pc:sldMk cId="2238674106" sldId="340"/>
            <ac:spMk id="126" creationId="{604DACEE-82A4-23C0-06E8-F72463330406}"/>
          </ac:spMkLst>
        </pc:spChg>
        <pc:spChg chg="add mod">
          <ac:chgData name="Veniero Facchetti" userId="f2c6c99af91c4974" providerId="LiveId" clId="{34DF7D6B-EB0F-4B53-B080-BB8D6F5C3D93}" dt="2024-05-10T15:48:57.893" v="195" actId="1076"/>
          <ac:spMkLst>
            <pc:docMk/>
            <pc:sldMk cId="2238674106" sldId="340"/>
            <ac:spMk id="127" creationId="{ECFE9A22-A90B-393E-9440-526AFB9B35A0}"/>
          </ac:spMkLst>
        </pc:spChg>
        <pc:spChg chg="add mod">
          <ac:chgData name="Veniero Facchetti" userId="f2c6c99af91c4974" providerId="LiveId" clId="{34DF7D6B-EB0F-4B53-B080-BB8D6F5C3D93}" dt="2024-05-10T15:48:57.893" v="195" actId="1076"/>
          <ac:spMkLst>
            <pc:docMk/>
            <pc:sldMk cId="2238674106" sldId="340"/>
            <ac:spMk id="128" creationId="{D33D65C7-7997-593C-BD89-28E27BAD4091}"/>
          </ac:spMkLst>
        </pc:spChg>
        <pc:spChg chg="add mod">
          <ac:chgData name="Veniero Facchetti" userId="f2c6c99af91c4974" providerId="LiveId" clId="{34DF7D6B-EB0F-4B53-B080-BB8D6F5C3D93}" dt="2024-05-10T15:48:57.893" v="195" actId="1076"/>
          <ac:spMkLst>
            <pc:docMk/>
            <pc:sldMk cId="2238674106" sldId="340"/>
            <ac:spMk id="129" creationId="{12DE7F17-1AF8-7DBC-9881-FE350E424465}"/>
          </ac:spMkLst>
        </pc:spChg>
        <pc:spChg chg="add mod">
          <ac:chgData name="Veniero Facchetti" userId="f2c6c99af91c4974" providerId="LiveId" clId="{34DF7D6B-EB0F-4B53-B080-BB8D6F5C3D93}" dt="2024-05-10T15:48:57.893" v="195" actId="1076"/>
          <ac:spMkLst>
            <pc:docMk/>
            <pc:sldMk cId="2238674106" sldId="340"/>
            <ac:spMk id="130" creationId="{C92CA912-8707-4571-BE6C-7F288225CD2B}"/>
          </ac:spMkLst>
        </pc:spChg>
        <pc:spChg chg="add mod">
          <ac:chgData name="Veniero Facchetti" userId="f2c6c99af91c4974" providerId="LiveId" clId="{34DF7D6B-EB0F-4B53-B080-BB8D6F5C3D93}" dt="2024-05-10T15:48:57.893" v="195" actId="1076"/>
          <ac:spMkLst>
            <pc:docMk/>
            <pc:sldMk cId="2238674106" sldId="340"/>
            <ac:spMk id="131" creationId="{BC28E816-EDB6-8DFE-3CA0-79BB613C1E52}"/>
          </ac:spMkLst>
        </pc:spChg>
        <pc:spChg chg="add mod">
          <ac:chgData name="Veniero Facchetti" userId="f2c6c99af91c4974" providerId="LiveId" clId="{34DF7D6B-EB0F-4B53-B080-BB8D6F5C3D93}" dt="2024-05-10T15:48:15.112" v="186" actId="14100"/>
          <ac:spMkLst>
            <pc:docMk/>
            <pc:sldMk cId="2238674106" sldId="340"/>
            <ac:spMk id="132" creationId="{36FCA7CE-E988-9AC7-97E2-A1E22EBC0D45}"/>
          </ac:spMkLst>
        </pc:spChg>
        <pc:spChg chg="add mod">
          <ac:chgData name="Veniero Facchetti" userId="f2c6c99af91c4974" providerId="LiveId" clId="{34DF7D6B-EB0F-4B53-B080-BB8D6F5C3D93}" dt="2024-05-10T15:48:15.112" v="186" actId="14100"/>
          <ac:spMkLst>
            <pc:docMk/>
            <pc:sldMk cId="2238674106" sldId="340"/>
            <ac:spMk id="133" creationId="{19CB7B52-0C15-4281-C61B-37667C7B9BDE}"/>
          </ac:spMkLst>
        </pc:spChg>
        <pc:spChg chg="mod">
          <ac:chgData name="Veniero Facchetti" userId="f2c6c99af91c4974" providerId="LiveId" clId="{34DF7D6B-EB0F-4B53-B080-BB8D6F5C3D93}" dt="2024-05-10T15:47:08.995" v="173"/>
          <ac:spMkLst>
            <pc:docMk/>
            <pc:sldMk cId="2238674106" sldId="340"/>
            <ac:spMk id="135" creationId="{6FB26889-A095-E25E-06C0-DD392BC01BE8}"/>
          </ac:spMkLst>
        </pc:spChg>
        <pc:spChg chg="mod">
          <ac:chgData name="Veniero Facchetti" userId="f2c6c99af91c4974" providerId="LiveId" clId="{34DF7D6B-EB0F-4B53-B080-BB8D6F5C3D93}" dt="2024-05-10T15:47:08.995" v="173"/>
          <ac:spMkLst>
            <pc:docMk/>
            <pc:sldMk cId="2238674106" sldId="340"/>
            <ac:spMk id="136" creationId="{FB8AAD38-E5D2-A30F-0DC8-96E0F8E5AB2D}"/>
          </ac:spMkLst>
        </pc:spChg>
        <pc:grpChg chg="del">
          <ac:chgData name="Veniero Facchetti" userId="f2c6c99af91c4974" providerId="LiveId" clId="{34DF7D6B-EB0F-4B53-B080-BB8D6F5C3D93}" dt="2024-05-10T15:47:02.611" v="171" actId="478"/>
          <ac:grpSpMkLst>
            <pc:docMk/>
            <pc:sldMk cId="2238674106" sldId="340"/>
            <ac:grpSpMk id="43" creationId="{3130F1EA-4EF0-CEF5-B13D-21FB43F7BF4A}"/>
          </ac:grpSpMkLst>
        </pc:grpChg>
        <pc:grpChg chg="del">
          <ac:chgData name="Veniero Facchetti" userId="f2c6c99af91c4974" providerId="LiveId" clId="{34DF7D6B-EB0F-4B53-B080-BB8D6F5C3D93}" dt="2024-05-10T15:47:03.735" v="172" actId="478"/>
          <ac:grpSpMkLst>
            <pc:docMk/>
            <pc:sldMk cId="2238674106" sldId="340"/>
            <ac:grpSpMk id="59" creationId="{26816D50-DB88-6623-4357-F963BF44B9E8}"/>
          </ac:grpSpMkLst>
        </pc:grpChg>
        <pc:grpChg chg="add mod">
          <ac:chgData name="Veniero Facchetti" userId="f2c6c99af91c4974" providerId="LiveId" clId="{34DF7D6B-EB0F-4B53-B080-BB8D6F5C3D93}" dt="2024-05-10T15:47:08.995" v="173"/>
          <ac:grpSpMkLst>
            <pc:docMk/>
            <pc:sldMk cId="2238674106" sldId="340"/>
            <ac:grpSpMk id="134" creationId="{E6C3A6B3-3909-2D97-4FA3-60617BF96166}"/>
          </ac:grpSpMkLst>
        </pc:grpChg>
        <pc:graphicFrameChg chg="del">
          <ac:chgData name="Veniero Facchetti" userId="f2c6c99af91c4974" providerId="LiveId" clId="{34DF7D6B-EB0F-4B53-B080-BB8D6F5C3D93}" dt="2024-05-10T15:47:02.611" v="171" actId="478"/>
          <ac:graphicFrameMkLst>
            <pc:docMk/>
            <pc:sldMk cId="2238674106" sldId="340"/>
            <ac:graphicFrameMk id="4" creationId="{A1C9724E-050B-B912-13AA-B701ADECD63F}"/>
          </ac:graphicFrameMkLst>
        </pc:graphicFrameChg>
        <pc:graphicFrameChg chg="add mod">
          <ac:chgData name="Veniero Facchetti" userId="f2c6c99af91c4974" providerId="LiveId" clId="{34DF7D6B-EB0F-4B53-B080-BB8D6F5C3D93}" dt="2024-05-10T15:48:57.893" v="195" actId="1076"/>
          <ac:graphicFrameMkLst>
            <pc:docMk/>
            <pc:sldMk cId="2238674106" sldId="340"/>
            <ac:graphicFrameMk id="67" creationId="{6D5AA3CA-FF48-4063-8EF9-9EC5377EB0ED}"/>
          </ac:graphicFrameMkLst>
        </pc:graphicFrameChg>
        <pc:graphicFrameChg chg="add mod">
          <ac:chgData name="Veniero Facchetti" userId="f2c6c99af91c4974" providerId="LiveId" clId="{34DF7D6B-EB0F-4B53-B080-BB8D6F5C3D93}" dt="2024-05-10T15:48:57.893" v="195" actId="1076"/>
          <ac:graphicFrameMkLst>
            <pc:docMk/>
            <pc:sldMk cId="2238674106" sldId="340"/>
            <ac:graphicFrameMk id="104" creationId="{AE7B5C5B-00C3-FF42-5D5F-08226D4E9998}"/>
          </ac:graphicFrameMkLst>
        </pc:graphicFrameChg>
        <pc:graphicFrameChg chg="add mod">
          <ac:chgData name="Veniero Facchetti" userId="f2c6c99af91c4974" providerId="LiveId" clId="{34DF7D6B-EB0F-4B53-B080-BB8D6F5C3D93}" dt="2024-05-10T15:48:57.893" v="195" actId="1076"/>
          <ac:graphicFrameMkLst>
            <pc:docMk/>
            <pc:sldMk cId="2238674106" sldId="340"/>
            <ac:graphicFrameMk id="111" creationId="{1938FDAB-FD19-6EA8-4CA7-AA7CC2C8D156}"/>
          </ac:graphicFrameMkLst>
        </pc:graphicFrameChg>
        <pc:graphicFrameChg chg="add mod">
          <ac:chgData name="Veniero Facchetti" userId="f2c6c99af91c4974" providerId="LiveId" clId="{34DF7D6B-EB0F-4B53-B080-BB8D6F5C3D93}" dt="2024-05-10T15:48:57.893" v="195" actId="1076"/>
          <ac:graphicFrameMkLst>
            <pc:docMk/>
            <pc:sldMk cId="2238674106" sldId="340"/>
            <ac:graphicFrameMk id="118" creationId="{EB88EE46-A932-2123-3A5C-945FB4633888}"/>
          </ac:graphicFrameMkLst>
        </pc:graphicFrameChg>
        <pc:graphicFrameChg chg="add mod">
          <ac:chgData name="Veniero Facchetti" userId="f2c6c99af91c4974" providerId="LiveId" clId="{34DF7D6B-EB0F-4B53-B080-BB8D6F5C3D93}" dt="2024-05-10T15:48:57.893" v="195" actId="1076"/>
          <ac:graphicFrameMkLst>
            <pc:docMk/>
            <pc:sldMk cId="2238674106" sldId="340"/>
            <ac:graphicFrameMk id="125" creationId="{E8225127-97C1-355F-8324-DAFC7CF05872}"/>
          </ac:graphicFrameMkLst>
        </pc:graphicFrameChg>
        <pc:picChg chg="add mod">
          <ac:chgData name="Veniero Facchetti" userId="f2c6c99af91c4974" providerId="LiveId" clId="{34DF7D6B-EB0F-4B53-B080-BB8D6F5C3D93}" dt="2024-05-10T15:48:37.259" v="192" actId="1076"/>
          <ac:picMkLst>
            <pc:docMk/>
            <pc:sldMk cId="2238674106" sldId="340"/>
            <ac:picMk id="75" creationId="{16E44C90-BB87-2D4D-13D0-4483E87D9DE6}"/>
          </ac:picMkLst>
        </pc:picChg>
        <pc:picChg chg="add mod">
          <ac:chgData name="Veniero Facchetti" userId="f2c6c99af91c4974" providerId="LiveId" clId="{34DF7D6B-EB0F-4B53-B080-BB8D6F5C3D93}" dt="2024-05-10T15:48:37.259" v="192" actId="1076"/>
          <ac:picMkLst>
            <pc:docMk/>
            <pc:sldMk cId="2238674106" sldId="340"/>
            <ac:picMk id="81" creationId="{EBA53009-8271-8AA4-F67B-DCA3DBF44DB9}"/>
          </ac:picMkLst>
        </pc:picChg>
        <pc:picChg chg="add mod">
          <ac:chgData name="Veniero Facchetti" userId="f2c6c99af91c4974" providerId="LiveId" clId="{34DF7D6B-EB0F-4B53-B080-BB8D6F5C3D93}" dt="2024-05-10T15:48:37.259" v="192" actId="1076"/>
          <ac:picMkLst>
            <pc:docMk/>
            <pc:sldMk cId="2238674106" sldId="340"/>
            <ac:picMk id="89" creationId="{6E387CC5-1BBD-3067-28CE-EC2C76C6627C}"/>
          </ac:picMkLst>
        </pc:picChg>
        <pc:picChg chg="add mod">
          <ac:chgData name="Veniero Facchetti" userId="f2c6c99af91c4974" providerId="LiveId" clId="{34DF7D6B-EB0F-4B53-B080-BB8D6F5C3D93}" dt="2024-05-10T15:48:37.259" v="192" actId="1076"/>
          <ac:picMkLst>
            <pc:docMk/>
            <pc:sldMk cId="2238674106" sldId="340"/>
            <ac:picMk id="93" creationId="{9DB934CD-9466-9FFD-A2E5-D430498EB128}"/>
          </ac:picMkLst>
        </pc:picChg>
        <pc:picChg chg="add mod">
          <ac:chgData name="Veniero Facchetti" userId="f2c6c99af91c4974" providerId="LiveId" clId="{34DF7D6B-EB0F-4B53-B080-BB8D6F5C3D93}" dt="2024-05-10T15:48:37.259" v="192" actId="1076"/>
          <ac:picMkLst>
            <pc:docMk/>
            <pc:sldMk cId="2238674106" sldId="340"/>
            <ac:picMk id="101" creationId="{4281995C-1262-E255-6361-1CDFE02CA136}"/>
          </ac:picMkLst>
        </pc:picChg>
      </pc:sldChg>
      <pc:sldChg chg="addSp modSp new mod">
        <pc:chgData name="Veniero Facchetti" userId="f2c6c99af91c4974" providerId="LiveId" clId="{34DF7D6B-EB0F-4B53-B080-BB8D6F5C3D93}" dt="2024-05-10T15:53:01.873" v="459" actId="1036"/>
        <pc:sldMkLst>
          <pc:docMk/>
          <pc:sldMk cId="171340940" sldId="341"/>
        </pc:sldMkLst>
        <pc:spChg chg="add mod">
          <ac:chgData name="Veniero Facchetti" userId="f2c6c99af91c4974" providerId="LiveId" clId="{34DF7D6B-EB0F-4B53-B080-BB8D6F5C3D93}" dt="2024-05-10T15:49:37.115" v="203" actId="14100"/>
          <ac:spMkLst>
            <pc:docMk/>
            <pc:sldMk cId="171340940" sldId="341"/>
            <ac:spMk id="2" creationId="{404A7496-5E22-C44B-8B76-78EFE50AE9CC}"/>
          </ac:spMkLst>
        </pc:spChg>
        <pc:spChg chg="add mod">
          <ac:chgData name="Veniero Facchetti" userId="f2c6c99af91c4974" providerId="LiveId" clId="{34DF7D6B-EB0F-4B53-B080-BB8D6F5C3D93}" dt="2024-05-10T15:49:57.201" v="206" actId="1076"/>
          <ac:spMkLst>
            <pc:docMk/>
            <pc:sldMk cId="171340940" sldId="341"/>
            <ac:spMk id="5" creationId="{49016040-F3A8-1F55-9496-933DF8026355}"/>
          </ac:spMkLst>
        </pc:spChg>
        <pc:spChg chg="add mod">
          <ac:chgData name="Veniero Facchetti" userId="f2c6c99af91c4974" providerId="LiveId" clId="{34DF7D6B-EB0F-4B53-B080-BB8D6F5C3D93}" dt="2024-05-10T15:51:00.255" v="266" actId="1035"/>
          <ac:spMkLst>
            <pc:docMk/>
            <pc:sldMk cId="171340940" sldId="341"/>
            <ac:spMk id="6" creationId="{CD621658-B5D1-79A1-549E-78ADB266E1F8}"/>
          </ac:spMkLst>
        </pc:spChg>
        <pc:spChg chg="add mod">
          <ac:chgData name="Veniero Facchetti" userId="f2c6c99af91c4974" providerId="LiveId" clId="{34DF7D6B-EB0F-4B53-B080-BB8D6F5C3D93}" dt="2024-05-10T15:51:00.255" v="266" actId="1035"/>
          <ac:spMkLst>
            <pc:docMk/>
            <pc:sldMk cId="171340940" sldId="341"/>
            <ac:spMk id="7" creationId="{30329830-35DB-B1D3-F298-01166F517CF5}"/>
          </ac:spMkLst>
        </pc:spChg>
        <pc:spChg chg="add mod">
          <ac:chgData name="Veniero Facchetti" userId="f2c6c99af91c4974" providerId="LiveId" clId="{34DF7D6B-EB0F-4B53-B080-BB8D6F5C3D93}" dt="2024-05-10T15:49:57.201" v="206" actId="1076"/>
          <ac:spMkLst>
            <pc:docMk/>
            <pc:sldMk cId="171340940" sldId="341"/>
            <ac:spMk id="8" creationId="{6F37B8B2-27ED-4BC6-85C2-8274775DCAC4}"/>
          </ac:spMkLst>
        </pc:spChg>
        <pc:spChg chg="add mod">
          <ac:chgData name="Veniero Facchetti" userId="f2c6c99af91c4974" providerId="LiveId" clId="{34DF7D6B-EB0F-4B53-B080-BB8D6F5C3D93}" dt="2024-05-10T15:49:57.201" v="206" actId="1076"/>
          <ac:spMkLst>
            <pc:docMk/>
            <pc:sldMk cId="171340940" sldId="341"/>
            <ac:spMk id="9" creationId="{025C987D-8D44-D9BE-0854-CE7DD43F5217}"/>
          </ac:spMkLst>
        </pc:spChg>
        <pc:spChg chg="add mod">
          <ac:chgData name="Veniero Facchetti" userId="f2c6c99af91c4974" providerId="LiveId" clId="{34DF7D6B-EB0F-4B53-B080-BB8D6F5C3D93}" dt="2024-05-10T15:51:00.255" v="266" actId="1035"/>
          <ac:spMkLst>
            <pc:docMk/>
            <pc:sldMk cId="171340940" sldId="341"/>
            <ac:spMk id="10" creationId="{DE6E2BB3-9AB3-1659-F212-F3D5C2148F5C}"/>
          </ac:spMkLst>
        </pc:spChg>
        <pc:spChg chg="add mod">
          <ac:chgData name="Veniero Facchetti" userId="f2c6c99af91c4974" providerId="LiveId" clId="{34DF7D6B-EB0F-4B53-B080-BB8D6F5C3D93}" dt="2024-05-10T15:51:00.255" v="266" actId="1035"/>
          <ac:spMkLst>
            <pc:docMk/>
            <pc:sldMk cId="171340940" sldId="341"/>
            <ac:spMk id="11" creationId="{A692D639-1E22-ED9C-DB12-2A64E6B9FFB4}"/>
          </ac:spMkLst>
        </pc:spChg>
        <pc:spChg chg="add mod">
          <ac:chgData name="Veniero Facchetti" userId="f2c6c99af91c4974" providerId="LiveId" clId="{34DF7D6B-EB0F-4B53-B080-BB8D6F5C3D93}" dt="2024-05-10T15:49:57.201" v="206" actId="1076"/>
          <ac:spMkLst>
            <pc:docMk/>
            <pc:sldMk cId="171340940" sldId="341"/>
            <ac:spMk id="12" creationId="{016FE1F7-CADC-EB9E-8CB8-CD0308E7D26B}"/>
          </ac:spMkLst>
        </pc:spChg>
        <pc:spChg chg="add mod">
          <ac:chgData name="Veniero Facchetti" userId="f2c6c99af91c4974" providerId="LiveId" clId="{34DF7D6B-EB0F-4B53-B080-BB8D6F5C3D93}" dt="2024-05-10T15:49:57.201" v="206" actId="1076"/>
          <ac:spMkLst>
            <pc:docMk/>
            <pc:sldMk cId="171340940" sldId="341"/>
            <ac:spMk id="13" creationId="{B3D50180-F23C-1B96-2D77-C477AD5B6E59}"/>
          </ac:spMkLst>
        </pc:spChg>
        <pc:spChg chg="add mod">
          <ac:chgData name="Veniero Facchetti" userId="f2c6c99af91c4974" providerId="LiveId" clId="{34DF7D6B-EB0F-4B53-B080-BB8D6F5C3D93}" dt="2024-05-10T15:49:57.201" v="206" actId="1076"/>
          <ac:spMkLst>
            <pc:docMk/>
            <pc:sldMk cId="171340940" sldId="341"/>
            <ac:spMk id="14" creationId="{65249778-920B-4EF4-606F-CC40F69E4217}"/>
          </ac:spMkLst>
        </pc:spChg>
        <pc:spChg chg="add mod">
          <ac:chgData name="Veniero Facchetti" userId="f2c6c99af91c4974" providerId="LiveId" clId="{34DF7D6B-EB0F-4B53-B080-BB8D6F5C3D93}" dt="2024-05-10T15:51:00.255" v="266" actId="1035"/>
          <ac:spMkLst>
            <pc:docMk/>
            <pc:sldMk cId="171340940" sldId="341"/>
            <ac:spMk id="15" creationId="{2E11FF5A-7BBC-48B1-5997-7CE2781E2391}"/>
          </ac:spMkLst>
        </pc:spChg>
        <pc:spChg chg="add mod">
          <ac:chgData name="Veniero Facchetti" userId="f2c6c99af91c4974" providerId="LiveId" clId="{34DF7D6B-EB0F-4B53-B080-BB8D6F5C3D93}" dt="2024-05-10T15:49:57.201" v="206" actId="1076"/>
          <ac:spMkLst>
            <pc:docMk/>
            <pc:sldMk cId="171340940" sldId="341"/>
            <ac:spMk id="16" creationId="{BC9A3C42-0DE4-6610-F225-BC8DBA004B42}"/>
          </ac:spMkLst>
        </pc:spChg>
        <pc:spChg chg="add mod">
          <ac:chgData name="Veniero Facchetti" userId="f2c6c99af91c4974" providerId="LiveId" clId="{34DF7D6B-EB0F-4B53-B080-BB8D6F5C3D93}" dt="2024-05-10T15:49:57.201" v="206" actId="1076"/>
          <ac:spMkLst>
            <pc:docMk/>
            <pc:sldMk cId="171340940" sldId="341"/>
            <ac:spMk id="17" creationId="{5C4C349A-D950-62E7-A5F2-690056FE769E}"/>
          </ac:spMkLst>
        </pc:spChg>
        <pc:spChg chg="add mod">
          <ac:chgData name="Veniero Facchetti" userId="f2c6c99af91c4974" providerId="LiveId" clId="{34DF7D6B-EB0F-4B53-B080-BB8D6F5C3D93}" dt="2024-05-10T15:49:57.201" v="206" actId="1076"/>
          <ac:spMkLst>
            <pc:docMk/>
            <pc:sldMk cId="171340940" sldId="341"/>
            <ac:spMk id="18" creationId="{8966DC7E-56E1-9B20-6FCF-2F1582B41EE6}"/>
          </ac:spMkLst>
        </pc:spChg>
        <pc:spChg chg="add mod">
          <ac:chgData name="Veniero Facchetti" userId="f2c6c99af91c4974" providerId="LiveId" clId="{34DF7D6B-EB0F-4B53-B080-BB8D6F5C3D93}" dt="2024-05-10T15:51:00.255" v="266" actId="1035"/>
          <ac:spMkLst>
            <pc:docMk/>
            <pc:sldMk cId="171340940" sldId="341"/>
            <ac:spMk id="19" creationId="{E5571BD9-1E7D-B6F5-9EEF-F0186FB8BC92}"/>
          </ac:spMkLst>
        </pc:spChg>
        <pc:spChg chg="add mod">
          <ac:chgData name="Veniero Facchetti" userId="f2c6c99af91c4974" providerId="LiveId" clId="{34DF7D6B-EB0F-4B53-B080-BB8D6F5C3D93}" dt="2024-05-10T15:52:43.560" v="401" actId="1035"/>
          <ac:spMkLst>
            <pc:docMk/>
            <pc:sldMk cId="171340940" sldId="341"/>
            <ac:spMk id="20" creationId="{874C9981-326A-5EAA-18DD-F078F864C59A}"/>
          </ac:spMkLst>
        </pc:spChg>
        <pc:spChg chg="add mod">
          <ac:chgData name="Veniero Facchetti" userId="f2c6c99af91c4974" providerId="LiveId" clId="{34DF7D6B-EB0F-4B53-B080-BB8D6F5C3D93}" dt="2024-05-10T15:52:48.063" v="419" actId="1036"/>
          <ac:spMkLst>
            <pc:docMk/>
            <pc:sldMk cId="171340940" sldId="341"/>
            <ac:spMk id="21" creationId="{46C81AAA-99F7-668B-1779-DE8676284588}"/>
          </ac:spMkLst>
        </pc:spChg>
        <pc:spChg chg="add mod">
          <ac:chgData name="Veniero Facchetti" userId="f2c6c99af91c4974" providerId="LiveId" clId="{34DF7D6B-EB0F-4B53-B080-BB8D6F5C3D93}" dt="2024-05-10T15:52:52.058" v="430" actId="1035"/>
          <ac:spMkLst>
            <pc:docMk/>
            <pc:sldMk cId="171340940" sldId="341"/>
            <ac:spMk id="22" creationId="{02A63F81-8DA2-5F90-EB7C-DABE21D70F15}"/>
          </ac:spMkLst>
        </pc:spChg>
        <pc:spChg chg="add mod">
          <ac:chgData name="Veniero Facchetti" userId="f2c6c99af91c4974" providerId="LiveId" clId="{34DF7D6B-EB0F-4B53-B080-BB8D6F5C3D93}" dt="2024-05-10T15:49:57.201" v="206" actId="1076"/>
          <ac:spMkLst>
            <pc:docMk/>
            <pc:sldMk cId="171340940" sldId="341"/>
            <ac:spMk id="23" creationId="{E952A096-EC13-F9ED-8ADF-2CFCBE5C1757}"/>
          </ac:spMkLst>
        </pc:spChg>
        <pc:spChg chg="add mod">
          <ac:chgData name="Veniero Facchetti" userId="f2c6c99af91c4974" providerId="LiveId" clId="{34DF7D6B-EB0F-4B53-B080-BB8D6F5C3D93}" dt="2024-05-10T15:49:57.201" v="206" actId="1076"/>
          <ac:spMkLst>
            <pc:docMk/>
            <pc:sldMk cId="171340940" sldId="341"/>
            <ac:spMk id="24" creationId="{66063996-ECE6-0756-8482-5B23231C2563}"/>
          </ac:spMkLst>
        </pc:spChg>
        <pc:spChg chg="add mod">
          <ac:chgData name="Veniero Facchetti" userId="f2c6c99af91c4974" providerId="LiveId" clId="{34DF7D6B-EB0F-4B53-B080-BB8D6F5C3D93}" dt="2024-05-10T15:49:57.201" v="206" actId="1076"/>
          <ac:spMkLst>
            <pc:docMk/>
            <pc:sldMk cId="171340940" sldId="341"/>
            <ac:spMk id="25" creationId="{FD15B585-B8E1-32A4-B251-DA3A9EAED206}"/>
          </ac:spMkLst>
        </pc:spChg>
        <pc:spChg chg="add mod">
          <ac:chgData name="Veniero Facchetti" userId="f2c6c99af91c4974" providerId="LiveId" clId="{34DF7D6B-EB0F-4B53-B080-BB8D6F5C3D93}" dt="2024-05-10T15:49:57.201" v="206" actId="1076"/>
          <ac:spMkLst>
            <pc:docMk/>
            <pc:sldMk cId="171340940" sldId="341"/>
            <ac:spMk id="26" creationId="{FC64F522-6FE7-FEAC-FEC4-9C01B0B915F1}"/>
          </ac:spMkLst>
        </pc:spChg>
        <pc:spChg chg="add mod">
          <ac:chgData name="Veniero Facchetti" userId="f2c6c99af91c4974" providerId="LiveId" clId="{34DF7D6B-EB0F-4B53-B080-BB8D6F5C3D93}" dt="2024-05-10T15:49:57.201" v="206" actId="1076"/>
          <ac:spMkLst>
            <pc:docMk/>
            <pc:sldMk cId="171340940" sldId="341"/>
            <ac:spMk id="27" creationId="{DDB6B36F-1FA9-FCEC-F47D-3E3F25FFFEBC}"/>
          </ac:spMkLst>
        </pc:spChg>
        <pc:spChg chg="add mod">
          <ac:chgData name="Veniero Facchetti" userId="f2c6c99af91c4974" providerId="LiveId" clId="{34DF7D6B-EB0F-4B53-B080-BB8D6F5C3D93}" dt="2024-05-10T15:49:57.201" v="206" actId="1076"/>
          <ac:spMkLst>
            <pc:docMk/>
            <pc:sldMk cId="171340940" sldId="341"/>
            <ac:spMk id="28" creationId="{47134DCA-E8ED-D01C-DB23-A0F522070D17}"/>
          </ac:spMkLst>
        </pc:spChg>
        <pc:spChg chg="add mod">
          <ac:chgData name="Veniero Facchetti" userId="f2c6c99af91c4974" providerId="LiveId" clId="{34DF7D6B-EB0F-4B53-B080-BB8D6F5C3D93}" dt="2024-05-10T15:49:57.201" v="206" actId="1076"/>
          <ac:spMkLst>
            <pc:docMk/>
            <pc:sldMk cId="171340940" sldId="341"/>
            <ac:spMk id="29" creationId="{E70EEED9-5445-4FF5-BCD6-0ED402625EC2}"/>
          </ac:spMkLst>
        </pc:spChg>
        <pc:spChg chg="add mod">
          <ac:chgData name="Veniero Facchetti" userId="f2c6c99af91c4974" providerId="LiveId" clId="{34DF7D6B-EB0F-4B53-B080-BB8D6F5C3D93}" dt="2024-05-10T15:49:57.201" v="206" actId="1076"/>
          <ac:spMkLst>
            <pc:docMk/>
            <pc:sldMk cId="171340940" sldId="341"/>
            <ac:spMk id="30" creationId="{B5EE88CF-77C3-958B-2482-FC3BCF6384FB}"/>
          </ac:spMkLst>
        </pc:spChg>
        <pc:spChg chg="add mod">
          <ac:chgData name="Veniero Facchetti" userId="f2c6c99af91c4974" providerId="LiveId" clId="{34DF7D6B-EB0F-4B53-B080-BB8D6F5C3D93}" dt="2024-05-10T15:51:46.931" v="301" actId="1035"/>
          <ac:spMkLst>
            <pc:docMk/>
            <pc:sldMk cId="171340940" sldId="341"/>
            <ac:spMk id="32" creationId="{E15806D9-6494-60CC-D170-28640E062E27}"/>
          </ac:spMkLst>
        </pc:spChg>
        <pc:spChg chg="add mod">
          <ac:chgData name="Veniero Facchetti" userId="f2c6c99af91c4974" providerId="LiveId" clId="{34DF7D6B-EB0F-4B53-B080-BB8D6F5C3D93}" dt="2024-05-10T15:51:46.931" v="301" actId="1035"/>
          <ac:spMkLst>
            <pc:docMk/>
            <pc:sldMk cId="171340940" sldId="341"/>
            <ac:spMk id="33" creationId="{5342CDBA-7F36-9EB6-DFC0-EA58019D7E2B}"/>
          </ac:spMkLst>
        </pc:spChg>
        <pc:spChg chg="add mod">
          <ac:chgData name="Veniero Facchetti" userId="f2c6c99af91c4974" providerId="LiveId" clId="{34DF7D6B-EB0F-4B53-B080-BB8D6F5C3D93}" dt="2024-05-10T15:52:18.832" v="358" actId="1036"/>
          <ac:spMkLst>
            <pc:docMk/>
            <pc:sldMk cId="171340940" sldId="341"/>
            <ac:spMk id="34" creationId="{B77E1B7F-9DC4-FE44-D78A-C8B8FB692226}"/>
          </ac:spMkLst>
        </pc:spChg>
        <pc:spChg chg="add mod">
          <ac:chgData name="Veniero Facchetti" userId="f2c6c99af91c4974" providerId="LiveId" clId="{34DF7D6B-EB0F-4B53-B080-BB8D6F5C3D93}" dt="2024-05-10T15:51:56.243" v="302" actId="1076"/>
          <ac:spMkLst>
            <pc:docMk/>
            <pc:sldMk cId="171340940" sldId="341"/>
            <ac:spMk id="35" creationId="{48E6071B-B53F-5E4F-6D64-6545E01786CF}"/>
          </ac:spMkLst>
        </pc:spChg>
        <pc:spChg chg="add mod">
          <ac:chgData name="Veniero Facchetti" userId="f2c6c99af91c4974" providerId="LiveId" clId="{34DF7D6B-EB0F-4B53-B080-BB8D6F5C3D93}" dt="2024-05-10T15:51:58.819" v="303" actId="1076"/>
          <ac:spMkLst>
            <pc:docMk/>
            <pc:sldMk cId="171340940" sldId="341"/>
            <ac:spMk id="36" creationId="{71A2B9B0-9D81-B463-AF52-B97B9AB7DF74}"/>
          </ac:spMkLst>
        </pc:spChg>
        <pc:spChg chg="add mod">
          <ac:chgData name="Veniero Facchetti" userId="f2c6c99af91c4974" providerId="LiveId" clId="{34DF7D6B-EB0F-4B53-B080-BB8D6F5C3D93}" dt="2024-05-10T15:51:46.931" v="301" actId="1035"/>
          <ac:spMkLst>
            <pc:docMk/>
            <pc:sldMk cId="171340940" sldId="341"/>
            <ac:spMk id="37" creationId="{C211DFA5-F0CC-212D-12C4-A996599CE1A3}"/>
          </ac:spMkLst>
        </pc:spChg>
        <pc:spChg chg="add mod">
          <ac:chgData name="Veniero Facchetti" userId="f2c6c99af91c4974" providerId="LiveId" clId="{34DF7D6B-EB0F-4B53-B080-BB8D6F5C3D93}" dt="2024-05-10T15:49:57.201" v="206" actId="1076"/>
          <ac:spMkLst>
            <pc:docMk/>
            <pc:sldMk cId="171340940" sldId="341"/>
            <ac:spMk id="38" creationId="{FD43AB11-8335-209D-22D7-2F6B8FF90239}"/>
          </ac:spMkLst>
        </pc:spChg>
        <pc:spChg chg="add mod">
          <ac:chgData name="Veniero Facchetti" userId="f2c6c99af91c4974" providerId="LiveId" clId="{34DF7D6B-EB0F-4B53-B080-BB8D6F5C3D93}" dt="2024-05-10T15:52:32.474" v="381" actId="1036"/>
          <ac:spMkLst>
            <pc:docMk/>
            <pc:sldMk cId="171340940" sldId="341"/>
            <ac:spMk id="39" creationId="{EFD33B13-D7C4-5BA1-D42B-3AF98D39C0C5}"/>
          </ac:spMkLst>
        </pc:spChg>
        <pc:spChg chg="add mod">
          <ac:chgData name="Veniero Facchetti" userId="f2c6c99af91c4974" providerId="LiveId" clId="{34DF7D6B-EB0F-4B53-B080-BB8D6F5C3D93}" dt="2024-05-10T15:51:46.931" v="301" actId="1035"/>
          <ac:spMkLst>
            <pc:docMk/>
            <pc:sldMk cId="171340940" sldId="341"/>
            <ac:spMk id="40" creationId="{012DD1E3-B2D6-A825-600D-992CBEB11A11}"/>
          </ac:spMkLst>
        </pc:spChg>
        <pc:spChg chg="add mod">
          <ac:chgData name="Veniero Facchetti" userId="f2c6c99af91c4974" providerId="LiveId" clId="{34DF7D6B-EB0F-4B53-B080-BB8D6F5C3D93}" dt="2024-05-10T15:51:46.931" v="301" actId="1035"/>
          <ac:spMkLst>
            <pc:docMk/>
            <pc:sldMk cId="171340940" sldId="341"/>
            <ac:spMk id="41" creationId="{271D53A0-190E-3F39-5BDE-2CD48D76151A}"/>
          </ac:spMkLst>
        </pc:spChg>
        <pc:spChg chg="add mod">
          <ac:chgData name="Veniero Facchetti" userId="f2c6c99af91c4974" providerId="LiveId" clId="{34DF7D6B-EB0F-4B53-B080-BB8D6F5C3D93}" dt="2024-05-10T15:49:57.201" v="206" actId="1076"/>
          <ac:spMkLst>
            <pc:docMk/>
            <pc:sldMk cId="171340940" sldId="341"/>
            <ac:spMk id="42" creationId="{16232B9E-AE26-92B2-B462-D78D24C7EA27}"/>
          </ac:spMkLst>
        </pc:spChg>
        <pc:spChg chg="add mod">
          <ac:chgData name="Veniero Facchetti" userId="f2c6c99af91c4974" providerId="LiveId" clId="{34DF7D6B-EB0F-4B53-B080-BB8D6F5C3D93}" dt="2024-05-10T15:49:57.201" v="206" actId="1076"/>
          <ac:spMkLst>
            <pc:docMk/>
            <pc:sldMk cId="171340940" sldId="341"/>
            <ac:spMk id="43" creationId="{C83E0FD4-CBF0-B850-8D15-B250F50CFCEC}"/>
          </ac:spMkLst>
        </pc:spChg>
        <pc:spChg chg="add mod">
          <ac:chgData name="Veniero Facchetti" userId="f2c6c99af91c4974" providerId="LiveId" clId="{34DF7D6B-EB0F-4B53-B080-BB8D6F5C3D93}" dt="2024-05-10T15:51:46.931" v="301" actId="1035"/>
          <ac:spMkLst>
            <pc:docMk/>
            <pc:sldMk cId="171340940" sldId="341"/>
            <ac:spMk id="44" creationId="{F835E5DF-8857-3EDE-E27B-BE09E4665F19}"/>
          </ac:spMkLst>
        </pc:spChg>
        <pc:spChg chg="add mod">
          <ac:chgData name="Veniero Facchetti" userId="f2c6c99af91c4974" providerId="LiveId" clId="{34DF7D6B-EB0F-4B53-B080-BB8D6F5C3D93}" dt="2024-05-10T15:51:46.931" v="301" actId="1035"/>
          <ac:spMkLst>
            <pc:docMk/>
            <pc:sldMk cId="171340940" sldId="341"/>
            <ac:spMk id="45" creationId="{664D4C37-ADAE-011F-0597-A4593413FE1A}"/>
          </ac:spMkLst>
        </pc:spChg>
        <pc:spChg chg="add mod">
          <ac:chgData name="Veniero Facchetti" userId="f2c6c99af91c4974" providerId="LiveId" clId="{34DF7D6B-EB0F-4B53-B080-BB8D6F5C3D93}" dt="2024-05-10T15:52:11.480" v="322" actId="1035"/>
          <ac:spMkLst>
            <pc:docMk/>
            <pc:sldMk cId="171340940" sldId="341"/>
            <ac:spMk id="46" creationId="{6B0590BD-AFE1-EF67-7394-F1E480C5EDD2}"/>
          </ac:spMkLst>
        </pc:spChg>
        <pc:spChg chg="add mod">
          <ac:chgData name="Veniero Facchetti" userId="f2c6c99af91c4974" providerId="LiveId" clId="{34DF7D6B-EB0F-4B53-B080-BB8D6F5C3D93}" dt="2024-05-10T15:52:15.727" v="340" actId="1036"/>
          <ac:spMkLst>
            <pc:docMk/>
            <pc:sldMk cId="171340940" sldId="341"/>
            <ac:spMk id="47" creationId="{5CF0E30A-38A0-5240-9508-306DF3D7FFE8}"/>
          </ac:spMkLst>
        </pc:spChg>
        <pc:spChg chg="add mod">
          <ac:chgData name="Veniero Facchetti" userId="f2c6c99af91c4974" providerId="LiveId" clId="{34DF7D6B-EB0F-4B53-B080-BB8D6F5C3D93}" dt="2024-05-10T15:52:25.049" v="374" actId="1035"/>
          <ac:spMkLst>
            <pc:docMk/>
            <pc:sldMk cId="171340940" sldId="341"/>
            <ac:spMk id="48" creationId="{4552753C-3C55-B537-3C98-CF380092D40A}"/>
          </ac:spMkLst>
        </pc:spChg>
        <pc:spChg chg="add mod">
          <ac:chgData name="Veniero Facchetti" userId="f2c6c99af91c4974" providerId="LiveId" clId="{34DF7D6B-EB0F-4B53-B080-BB8D6F5C3D93}" dt="2024-05-10T15:49:57.201" v="206" actId="1076"/>
          <ac:spMkLst>
            <pc:docMk/>
            <pc:sldMk cId="171340940" sldId="341"/>
            <ac:spMk id="49" creationId="{BAF88333-FC97-0672-9DC8-50D37FD5349D}"/>
          </ac:spMkLst>
        </pc:spChg>
        <pc:spChg chg="add mod">
          <ac:chgData name="Veniero Facchetti" userId="f2c6c99af91c4974" providerId="LiveId" clId="{34DF7D6B-EB0F-4B53-B080-BB8D6F5C3D93}" dt="2024-05-10T15:49:57.201" v="206" actId="1076"/>
          <ac:spMkLst>
            <pc:docMk/>
            <pc:sldMk cId="171340940" sldId="341"/>
            <ac:spMk id="50" creationId="{42D0BDBE-656C-AE12-71AF-B61E250E7868}"/>
          </ac:spMkLst>
        </pc:spChg>
        <pc:spChg chg="add mod">
          <ac:chgData name="Veniero Facchetti" userId="f2c6c99af91c4974" providerId="LiveId" clId="{34DF7D6B-EB0F-4B53-B080-BB8D6F5C3D93}" dt="2024-05-10T15:49:57.201" v="206" actId="1076"/>
          <ac:spMkLst>
            <pc:docMk/>
            <pc:sldMk cId="171340940" sldId="341"/>
            <ac:spMk id="51" creationId="{1C1D308C-C8A9-077A-FD55-3553EF6497E1}"/>
          </ac:spMkLst>
        </pc:spChg>
        <pc:spChg chg="add mod">
          <ac:chgData name="Veniero Facchetti" userId="f2c6c99af91c4974" providerId="LiveId" clId="{34DF7D6B-EB0F-4B53-B080-BB8D6F5C3D93}" dt="2024-05-10T15:49:57.201" v="206" actId="1076"/>
          <ac:spMkLst>
            <pc:docMk/>
            <pc:sldMk cId="171340940" sldId="341"/>
            <ac:spMk id="52" creationId="{259796C6-EB43-2FE5-F6C3-D8D949F1658F}"/>
          </ac:spMkLst>
        </pc:spChg>
        <pc:spChg chg="add mod">
          <ac:chgData name="Veniero Facchetti" userId="f2c6c99af91c4974" providerId="LiveId" clId="{34DF7D6B-EB0F-4B53-B080-BB8D6F5C3D93}" dt="2024-05-10T15:50:28.952" v="226" actId="1035"/>
          <ac:spMkLst>
            <pc:docMk/>
            <pc:sldMk cId="171340940" sldId="341"/>
            <ac:spMk id="54" creationId="{B71F88DD-1476-26CA-AE4C-C636C6CC1C65}"/>
          </ac:spMkLst>
        </pc:spChg>
        <pc:spChg chg="add mod">
          <ac:chgData name="Veniero Facchetti" userId="f2c6c99af91c4974" providerId="LiveId" clId="{34DF7D6B-EB0F-4B53-B080-BB8D6F5C3D93}" dt="2024-05-10T15:50:28.952" v="226" actId="1035"/>
          <ac:spMkLst>
            <pc:docMk/>
            <pc:sldMk cId="171340940" sldId="341"/>
            <ac:spMk id="55" creationId="{129D5844-C31C-913E-2F72-25D14D015B4C}"/>
          </ac:spMkLst>
        </pc:spChg>
        <pc:spChg chg="add mod">
          <ac:chgData name="Veniero Facchetti" userId="f2c6c99af91c4974" providerId="LiveId" clId="{34DF7D6B-EB0F-4B53-B080-BB8D6F5C3D93}" dt="2024-05-10T15:50:28.952" v="226" actId="1035"/>
          <ac:spMkLst>
            <pc:docMk/>
            <pc:sldMk cId="171340940" sldId="341"/>
            <ac:spMk id="56" creationId="{02FBCEA9-4B88-6C8B-7889-6560AB4A3647}"/>
          </ac:spMkLst>
        </pc:spChg>
        <pc:spChg chg="add mod">
          <ac:chgData name="Veniero Facchetti" userId="f2c6c99af91c4974" providerId="LiveId" clId="{34DF7D6B-EB0F-4B53-B080-BB8D6F5C3D93}" dt="2024-05-10T15:50:28.952" v="226" actId="1035"/>
          <ac:spMkLst>
            <pc:docMk/>
            <pc:sldMk cId="171340940" sldId="341"/>
            <ac:spMk id="57" creationId="{235F04CF-DB7E-BDBD-B3EA-21A1B5F3B40F}"/>
          </ac:spMkLst>
        </pc:spChg>
        <pc:spChg chg="add mod">
          <ac:chgData name="Veniero Facchetti" userId="f2c6c99af91c4974" providerId="LiveId" clId="{34DF7D6B-EB0F-4B53-B080-BB8D6F5C3D93}" dt="2024-05-10T15:50:28.952" v="226" actId="1035"/>
          <ac:spMkLst>
            <pc:docMk/>
            <pc:sldMk cId="171340940" sldId="341"/>
            <ac:spMk id="58" creationId="{42135201-F930-13DF-F121-514918016121}"/>
          </ac:spMkLst>
        </pc:spChg>
        <pc:spChg chg="add mod">
          <ac:chgData name="Veniero Facchetti" userId="f2c6c99af91c4974" providerId="LiveId" clId="{34DF7D6B-EB0F-4B53-B080-BB8D6F5C3D93}" dt="2024-05-10T15:53:01.873" v="459" actId="1036"/>
          <ac:spMkLst>
            <pc:docMk/>
            <pc:sldMk cId="171340940" sldId="341"/>
            <ac:spMk id="59" creationId="{185497FE-C65C-E60E-9AB5-801F1F29C8F9}"/>
          </ac:spMkLst>
        </pc:spChg>
        <pc:spChg chg="add mod">
          <ac:chgData name="Veniero Facchetti" userId="f2c6c99af91c4974" providerId="LiveId" clId="{34DF7D6B-EB0F-4B53-B080-BB8D6F5C3D93}" dt="2024-05-10T15:49:57.201" v="206" actId="1076"/>
          <ac:spMkLst>
            <pc:docMk/>
            <pc:sldMk cId="171340940" sldId="341"/>
            <ac:spMk id="60" creationId="{4BFF6D60-D6D4-A2A2-1A40-CC40E19E0316}"/>
          </ac:spMkLst>
        </pc:spChg>
        <pc:spChg chg="add mod">
          <ac:chgData name="Veniero Facchetti" userId="f2c6c99af91c4974" providerId="LiveId" clId="{34DF7D6B-EB0F-4B53-B080-BB8D6F5C3D93}" dt="2024-05-10T15:49:57.201" v="206" actId="1076"/>
          <ac:spMkLst>
            <pc:docMk/>
            <pc:sldMk cId="171340940" sldId="341"/>
            <ac:spMk id="61" creationId="{9D550C4D-81EA-DF12-48A0-FA1826316387}"/>
          </ac:spMkLst>
        </pc:spChg>
        <pc:spChg chg="add mod">
          <ac:chgData name="Veniero Facchetti" userId="f2c6c99af91c4974" providerId="LiveId" clId="{34DF7D6B-EB0F-4B53-B080-BB8D6F5C3D93}" dt="2024-05-10T15:49:57.201" v="206" actId="1076"/>
          <ac:spMkLst>
            <pc:docMk/>
            <pc:sldMk cId="171340940" sldId="341"/>
            <ac:spMk id="62" creationId="{48210F40-77B7-2FD3-FC90-254BAF61C2C8}"/>
          </ac:spMkLst>
        </pc:spChg>
        <pc:spChg chg="add mod">
          <ac:chgData name="Veniero Facchetti" userId="f2c6c99af91c4974" providerId="LiveId" clId="{34DF7D6B-EB0F-4B53-B080-BB8D6F5C3D93}" dt="2024-05-10T15:49:57.201" v="206" actId="1076"/>
          <ac:spMkLst>
            <pc:docMk/>
            <pc:sldMk cId="171340940" sldId="341"/>
            <ac:spMk id="63" creationId="{D8FFA18F-3BD9-4974-7DF3-5A66B6AFBDBE}"/>
          </ac:spMkLst>
        </pc:spChg>
        <pc:spChg chg="add mod">
          <ac:chgData name="Veniero Facchetti" userId="f2c6c99af91c4974" providerId="LiveId" clId="{34DF7D6B-EB0F-4B53-B080-BB8D6F5C3D93}" dt="2024-05-10T15:49:57.201" v="206" actId="1076"/>
          <ac:spMkLst>
            <pc:docMk/>
            <pc:sldMk cId="171340940" sldId="341"/>
            <ac:spMk id="64" creationId="{ED87F573-DB5C-E06D-3B41-1700EEB5D906}"/>
          </ac:spMkLst>
        </pc:spChg>
        <pc:spChg chg="add mod">
          <ac:chgData name="Veniero Facchetti" userId="f2c6c99af91c4974" providerId="LiveId" clId="{34DF7D6B-EB0F-4B53-B080-BB8D6F5C3D93}" dt="2024-05-10T15:49:57.201" v="206" actId="1076"/>
          <ac:spMkLst>
            <pc:docMk/>
            <pc:sldMk cId="171340940" sldId="341"/>
            <ac:spMk id="65" creationId="{170B30AD-44E5-1DF1-D403-7938E725B7E4}"/>
          </ac:spMkLst>
        </pc:spChg>
        <pc:spChg chg="add mod">
          <ac:chgData name="Veniero Facchetti" userId="f2c6c99af91c4974" providerId="LiveId" clId="{34DF7D6B-EB0F-4B53-B080-BB8D6F5C3D93}" dt="2024-05-10T15:49:57.201" v="206" actId="1076"/>
          <ac:spMkLst>
            <pc:docMk/>
            <pc:sldMk cId="171340940" sldId="341"/>
            <ac:spMk id="66" creationId="{EA9F240C-5B7D-712A-B6FB-DBAF39D3268F}"/>
          </ac:spMkLst>
        </pc:spChg>
        <pc:spChg chg="add mod">
          <ac:chgData name="Veniero Facchetti" userId="f2c6c99af91c4974" providerId="LiveId" clId="{34DF7D6B-EB0F-4B53-B080-BB8D6F5C3D93}" dt="2024-05-10T15:51:14.363" v="268" actId="14100"/>
          <ac:spMkLst>
            <pc:docMk/>
            <pc:sldMk cId="171340940" sldId="341"/>
            <ac:spMk id="67" creationId="{47EE8D78-07E3-F091-B1DE-BD68927D2799}"/>
          </ac:spMkLst>
        </pc:spChg>
        <pc:spChg chg="add mod">
          <ac:chgData name="Veniero Facchetti" userId="f2c6c99af91c4974" providerId="LiveId" clId="{34DF7D6B-EB0F-4B53-B080-BB8D6F5C3D93}" dt="2024-05-10T15:51:09.107" v="267" actId="14100"/>
          <ac:spMkLst>
            <pc:docMk/>
            <pc:sldMk cId="171340940" sldId="341"/>
            <ac:spMk id="68" creationId="{DC970AF2-54B2-FDC7-DB29-6751903F8569}"/>
          </ac:spMkLst>
        </pc:spChg>
        <pc:spChg chg="add mod">
          <ac:chgData name="Veniero Facchetti" userId="f2c6c99af91c4974" providerId="LiveId" clId="{34DF7D6B-EB0F-4B53-B080-BB8D6F5C3D93}" dt="2024-05-10T15:50:35.099" v="227" actId="14100"/>
          <ac:spMkLst>
            <pc:docMk/>
            <pc:sldMk cId="171340940" sldId="341"/>
            <ac:spMk id="69" creationId="{8460E094-CCB0-6133-2D1F-186B64B86CA4}"/>
          </ac:spMkLst>
        </pc:spChg>
        <pc:spChg chg="add mod">
          <ac:chgData name="Veniero Facchetti" userId="f2c6c99af91c4974" providerId="LiveId" clId="{34DF7D6B-EB0F-4B53-B080-BB8D6F5C3D93}" dt="2024-05-10T15:49:57.201" v="206" actId="1076"/>
          <ac:spMkLst>
            <pc:docMk/>
            <pc:sldMk cId="171340940" sldId="341"/>
            <ac:spMk id="70" creationId="{38029E8E-BBB9-A6DB-8FD5-ACE80012A212}"/>
          </ac:spMkLst>
        </pc:spChg>
        <pc:spChg chg="add mod">
          <ac:chgData name="Veniero Facchetti" userId="f2c6c99af91c4974" providerId="LiveId" clId="{34DF7D6B-EB0F-4B53-B080-BB8D6F5C3D93}" dt="2024-05-10T15:49:57.201" v="206" actId="1076"/>
          <ac:spMkLst>
            <pc:docMk/>
            <pc:sldMk cId="171340940" sldId="341"/>
            <ac:spMk id="71" creationId="{35227B18-F8E7-97F5-051D-F7238349D141}"/>
          </ac:spMkLst>
        </pc:spChg>
        <pc:spChg chg="add mod">
          <ac:chgData name="Veniero Facchetti" userId="f2c6c99af91c4974" providerId="LiveId" clId="{34DF7D6B-EB0F-4B53-B080-BB8D6F5C3D93}" dt="2024-05-10T15:49:57.201" v="206" actId="1076"/>
          <ac:spMkLst>
            <pc:docMk/>
            <pc:sldMk cId="171340940" sldId="341"/>
            <ac:spMk id="72" creationId="{F3DFD089-1ED5-D2CB-5CFF-5BB74A5BE5F3}"/>
          </ac:spMkLst>
        </pc:spChg>
        <pc:spChg chg="add mod">
          <ac:chgData name="Veniero Facchetti" userId="f2c6c99af91c4974" providerId="LiveId" clId="{34DF7D6B-EB0F-4B53-B080-BB8D6F5C3D93}" dt="2024-05-10T15:49:57.201" v="206" actId="1076"/>
          <ac:spMkLst>
            <pc:docMk/>
            <pc:sldMk cId="171340940" sldId="341"/>
            <ac:spMk id="73" creationId="{227F6B22-5F90-5490-DB77-84F7674DAED2}"/>
          </ac:spMkLst>
        </pc:spChg>
        <pc:spChg chg="add mod">
          <ac:chgData name="Veniero Facchetti" userId="f2c6c99af91c4974" providerId="LiveId" clId="{34DF7D6B-EB0F-4B53-B080-BB8D6F5C3D93}" dt="2024-05-10T15:49:57.201" v="206" actId="1076"/>
          <ac:spMkLst>
            <pc:docMk/>
            <pc:sldMk cId="171340940" sldId="341"/>
            <ac:spMk id="74" creationId="{16BBE53A-3977-D811-3C7B-BBC181E9F6F3}"/>
          </ac:spMkLst>
        </pc:spChg>
        <pc:spChg chg="add mod">
          <ac:chgData name="Veniero Facchetti" userId="f2c6c99af91c4974" providerId="LiveId" clId="{34DF7D6B-EB0F-4B53-B080-BB8D6F5C3D93}" dt="2024-05-10T15:49:57.201" v="206" actId="1076"/>
          <ac:spMkLst>
            <pc:docMk/>
            <pc:sldMk cId="171340940" sldId="341"/>
            <ac:spMk id="75" creationId="{07943D52-DD59-47AD-DFD1-F3393559284C}"/>
          </ac:spMkLst>
        </pc:spChg>
        <pc:spChg chg="add mod">
          <ac:chgData name="Veniero Facchetti" userId="f2c6c99af91c4974" providerId="LiveId" clId="{34DF7D6B-EB0F-4B53-B080-BB8D6F5C3D93}" dt="2024-05-10T15:49:57.201" v="206" actId="1076"/>
          <ac:spMkLst>
            <pc:docMk/>
            <pc:sldMk cId="171340940" sldId="341"/>
            <ac:spMk id="76" creationId="{A79B9681-85E3-667D-E347-453AD712B951}"/>
          </ac:spMkLst>
        </pc:spChg>
        <pc:spChg chg="add mod">
          <ac:chgData name="Veniero Facchetti" userId="f2c6c99af91c4974" providerId="LiveId" clId="{34DF7D6B-EB0F-4B53-B080-BB8D6F5C3D93}" dt="2024-05-10T15:51:46.931" v="301" actId="1035"/>
          <ac:spMkLst>
            <pc:docMk/>
            <pc:sldMk cId="171340940" sldId="341"/>
            <ac:spMk id="77" creationId="{DDACFE33-23AD-3AC2-B844-3B4BB67BD0B9}"/>
          </ac:spMkLst>
        </pc:spChg>
        <pc:spChg chg="add mod">
          <ac:chgData name="Veniero Facchetti" userId="f2c6c99af91c4974" providerId="LiveId" clId="{34DF7D6B-EB0F-4B53-B080-BB8D6F5C3D93}" dt="2024-05-10T15:49:49.594" v="205" actId="1076"/>
          <ac:spMkLst>
            <pc:docMk/>
            <pc:sldMk cId="171340940" sldId="341"/>
            <ac:spMk id="78" creationId="{119E31A4-462E-42A7-6ED4-D84398F3D594}"/>
          </ac:spMkLst>
        </pc:spChg>
        <pc:spChg chg="mod">
          <ac:chgData name="Veniero Facchetti" userId="f2c6c99af91c4974" providerId="LiveId" clId="{34DF7D6B-EB0F-4B53-B080-BB8D6F5C3D93}" dt="2024-05-10T15:49:20.355" v="197"/>
          <ac:spMkLst>
            <pc:docMk/>
            <pc:sldMk cId="171340940" sldId="341"/>
            <ac:spMk id="80" creationId="{4E61C130-CD51-4D3D-FC34-EF274736FCA4}"/>
          </ac:spMkLst>
        </pc:spChg>
        <pc:spChg chg="mod">
          <ac:chgData name="Veniero Facchetti" userId="f2c6c99af91c4974" providerId="LiveId" clId="{34DF7D6B-EB0F-4B53-B080-BB8D6F5C3D93}" dt="2024-05-10T15:49:20.355" v="197"/>
          <ac:spMkLst>
            <pc:docMk/>
            <pc:sldMk cId="171340940" sldId="341"/>
            <ac:spMk id="81" creationId="{7FFC9C2A-8B19-BFFC-B1FC-2A7C71743AFD}"/>
          </ac:spMkLst>
        </pc:spChg>
        <pc:grpChg chg="add mod">
          <ac:chgData name="Veniero Facchetti" userId="f2c6c99af91c4974" providerId="LiveId" clId="{34DF7D6B-EB0F-4B53-B080-BB8D6F5C3D93}" dt="2024-05-10T15:49:20.355" v="197"/>
          <ac:grpSpMkLst>
            <pc:docMk/>
            <pc:sldMk cId="171340940" sldId="341"/>
            <ac:grpSpMk id="79" creationId="{10669F2E-AFA2-7914-D692-9901B990B359}"/>
          </ac:grpSpMkLst>
        </pc:grpChg>
        <pc:graphicFrameChg chg="add mod">
          <ac:chgData name="Veniero Facchetti" userId="f2c6c99af91c4974" providerId="LiveId" clId="{34DF7D6B-EB0F-4B53-B080-BB8D6F5C3D93}" dt="2024-05-10T15:50:38.698" v="228" actId="14100"/>
          <ac:graphicFrameMkLst>
            <pc:docMk/>
            <pc:sldMk cId="171340940" sldId="341"/>
            <ac:graphicFrameMk id="3" creationId="{DA263AD2-16EC-3F1A-8193-9EB5F275C153}"/>
          </ac:graphicFrameMkLst>
        </pc:graphicFrameChg>
        <pc:graphicFrameChg chg="add mod">
          <ac:chgData name="Veniero Facchetti" userId="f2c6c99af91c4974" providerId="LiveId" clId="{34DF7D6B-EB0F-4B53-B080-BB8D6F5C3D93}" dt="2024-05-10T15:52:02.041" v="305" actId="1076"/>
          <ac:graphicFrameMkLst>
            <pc:docMk/>
            <pc:sldMk cId="171340940" sldId="341"/>
            <ac:graphicFrameMk id="31" creationId="{0B8B72B6-7F10-14DE-A251-EDC7BA710D65}"/>
          </ac:graphicFrameMkLst>
        </pc:graphicFrameChg>
        <pc:graphicFrameChg chg="add mod">
          <ac:chgData name="Veniero Facchetti" userId="f2c6c99af91c4974" providerId="LiveId" clId="{34DF7D6B-EB0F-4B53-B080-BB8D6F5C3D93}" dt="2024-05-10T15:50:09.146" v="209" actId="14100"/>
          <ac:graphicFrameMkLst>
            <pc:docMk/>
            <pc:sldMk cId="171340940" sldId="341"/>
            <ac:graphicFrameMk id="53" creationId="{0A61C4CB-2930-6F53-C46E-797C9FBD5431}"/>
          </ac:graphicFrameMkLst>
        </pc:graphicFrameChg>
        <pc:cxnChg chg="add mod">
          <ac:chgData name="Veniero Facchetti" userId="f2c6c99af91c4974" providerId="LiveId" clId="{34DF7D6B-EB0F-4B53-B080-BB8D6F5C3D93}" dt="2024-05-10T15:51:00.255" v="266" actId="1035"/>
          <ac:cxnSpMkLst>
            <pc:docMk/>
            <pc:sldMk cId="171340940" sldId="341"/>
            <ac:cxnSpMk id="4" creationId="{4DADECB0-A61F-F831-B019-193BBDDCD482}"/>
          </ac:cxnSpMkLst>
        </pc:cxnChg>
      </pc:sldChg>
      <pc:sldChg chg="addSp modSp new mod">
        <pc:chgData name="Veniero Facchetti" userId="f2c6c99af91c4974" providerId="LiveId" clId="{34DF7D6B-EB0F-4B53-B080-BB8D6F5C3D93}" dt="2024-05-10T15:55:22.508" v="475" actId="1076"/>
        <pc:sldMkLst>
          <pc:docMk/>
          <pc:sldMk cId="968692997" sldId="342"/>
        </pc:sldMkLst>
        <pc:spChg chg="add mod">
          <ac:chgData name="Veniero Facchetti" userId="f2c6c99af91c4974" providerId="LiveId" clId="{34DF7D6B-EB0F-4B53-B080-BB8D6F5C3D93}" dt="2024-05-10T15:54:47.411" v="471" actId="1076"/>
          <ac:spMkLst>
            <pc:docMk/>
            <pc:sldMk cId="968692997" sldId="342"/>
            <ac:spMk id="2" creationId="{8F4510CB-0AAE-ECD1-25DC-9DCAD1830F90}"/>
          </ac:spMkLst>
        </pc:spChg>
        <pc:spChg chg="add mod">
          <ac:chgData name="Veniero Facchetti" userId="f2c6c99af91c4974" providerId="LiveId" clId="{34DF7D6B-EB0F-4B53-B080-BB8D6F5C3D93}" dt="2024-05-10T15:55:05.827" v="473" actId="1076"/>
          <ac:spMkLst>
            <pc:docMk/>
            <pc:sldMk cId="968692997" sldId="342"/>
            <ac:spMk id="3" creationId="{102BF4D8-02E1-AD1B-EAB0-8CDF52E5DDD6}"/>
          </ac:spMkLst>
        </pc:spChg>
        <pc:spChg chg="add mod">
          <ac:chgData name="Veniero Facchetti" userId="f2c6c99af91c4974" providerId="LiveId" clId="{34DF7D6B-EB0F-4B53-B080-BB8D6F5C3D93}" dt="2024-05-10T15:55:05.827" v="473" actId="1076"/>
          <ac:spMkLst>
            <pc:docMk/>
            <pc:sldMk cId="968692997" sldId="342"/>
            <ac:spMk id="4" creationId="{CEE526A4-C611-08B7-8A7A-AF9BE994C80D}"/>
          </ac:spMkLst>
        </pc:spChg>
        <pc:spChg chg="add mod">
          <ac:chgData name="Veniero Facchetti" userId="f2c6c99af91c4974" providerId="LiveId" clId="{34DF7D6B-EB0F-4B53-B080-BB8D6F5C3D93}" dt="2024-05-10T15:55:22.508" v="475" actId="1076"/>
          <ac:spMkLst>
            <pc:docMk/>
            <pc:sldMk cId="968692997" sldId="342"/>
            <ac:spMk id="5" creationId="{5A718775-8C37-EDFC-F895-95EAA5C4A853}"/>
          </ac:spMkLst>
        </pc:spChg>
        <pc:spChg chg="add mod">
          <ac:chgData name="Veniero Facchetti" userId="f2c6c99af91c4974" providerId="LiveId" clId="{34DF7D6B-EB0F-4B53-B080-BB8D6F5C3D93}" dt="2024-05-10T15:55:16.820" v="474" actId="1076"/>
          <ac:spMkLst>
            <pc:docMk/>
            <pc:sldMk cId="968692997" sldId="342"/>
            <ac:spMk id="6" creationId="{89777A8A-DE49-0DC0-66AB-8008ABA5C39B}"/>
          </ac:spMkLst>
        </pc:spChg>
        <pc:spChg chg="add mod">
          <ac:chgData name="Veniero Facchetti" userId="f2c6c99af91c4974" providerId="LiveId" clId="{34DF7D6B-EB0F-4B53-B080-BB8D6F5C3D93}" dt="2024-05-10T15:55:16.820" v="474" actId="1076"/>
          <ac:spMkLst>
            <pc:docMk/>
            <pc:sldMk cId="968692997" sldId="342"/>
            <ac:spMk id="7" creationId="{E81807C6-8F79-F0E4-939B-0BAA4172099A}"/>
          </ac:spMkLst>
        </pc:spChg>
        <pc:spChg chg="add mod">
          <ac:chgData name="Veniero Facchetti" userId="f2c6c99af91c4974" providerId="LiveId" clId="{34DF7D6B-EB0F-4B53-B080-BB8D6F5C3D93}" dt="2024-05-10T15:55:16.820" v="474" actId="1076"/>
          <ac:spMkLst>
            <pc:docMk/>
            <pc:sldMk cId="968692997" sldId="342"/>
            <ac:spMk id="8" creationId="{2C226449-91CA-86E3-81A4-4E5BA3806FEC}"/>
          </ac:spMkLst>
        </pc:spChg>
        <pc:spChg chg="add mod">
          <ac:chgData name="Veniero Facchetti" userId="f2c6c99af91c4974" providerId="LiveId" clId="{34DF7D6B-EB0F-4B53-B080-BB8D6F5C3D93}" dt="2024-05-10T15:55:16.820" v="474" actId="1076"/>
          <ac:spMkLst>
            <pc:docMk/>
            <pc:sldMk cId="968692997" sldId="342"/>
            <ac:spMk id="9" creationId="{D0932905-CDE8-9194-AF1C-DF90A9A92C1E}"/>
          </ac:spMkLst>
        </pc:spChg>
        <pc:spChg chg="add mod">
          <ac:chgData name="Veniero Facchetti" userId="f2c6c99af91c4974" providerId="LiveId" clId="{34DF7D6B-EB0F-4B53-B080-BB8D6F5C3D93}" dt="2024-05-10T15:55:16.820" v="474" actId="1076"/>
          <ac:spMkLst>
            <pc:docMk/>
            <pc:sldMk cId="968692997" sldId="342"/>
            <ac:spMk id="10" creationId="{B11B7968-E4F4-92A9-2959-BBB5631A4AE5}"/>
          </ac:spMkLst>
        </pc:spChg>
        <pc:spChg chg="add mod">
          <ac:chgData name="Veniero Facchetti" userId="f2c6c99af91c4974" providerId="LiveId" clId="{34DF7D6B-EB0F-4B53-B080-BB8D6F5C3D93}" dt="2024-05-10T15:55:16.820" v="474" actId="1076"/>
          <ac:spMkLst>
            <pc:docMk/>
            <pc:sldMk cId="968692997" sldId="342"/>
            <ac:spMk id="11" creationId="{AD04BFD6-5F50-D6F4-3134-4A0F99C491EF}"/>
          </ac:spMkLst>
        </pc:spChg>
        <pc:spChg chg="add mod">
          <ac:chgData name="Veniero Facchetti" userId="f2c6c99af91c4974" providerId="LiveId" clId="{34DF7D6B-EB0F-4B53-B080-BB8D6F5C3D93}" dt="2024-05-10T15:55:16.820" v="474" actId="1076"/>
          <ac:spMkLst>
            <pc:docMk/>
            <pc:sldMk cId="968692997" sldId="342"/>
            <ac:spMk id="12" creationId="{806541E3-3231-57D4-57E3-3F7E9C1328E1}"/>
          </ac:spMkLst>
        </pc:spChg>
        <pc:spChg chg="add mod">
          <ac:chgData name="Veniero Facchetti" userId="f2c6c99af91c4974" providerId="LiveId" clId="{34DF7D6B-EB0F-4B53-B080-BB8D6F5C3D93}" dt="2024-05-10T15:55:16.820" v="474" actId="1076"/>
          <ac:spMkLst>
            <pc:docMk/>
            <pc:sldMk cId="968692997" sldId="342"/>
            <ac:spMk id="13" creationId="{09B04DB4-1278-0179-7796-16290C2EEA0D}"/>
          </ac:spMkLst>
        </pc:spChg>
        <pc:spChg chg="add mod">
          <ac:chgData name="Veniero Facchetti" userId="f2c6c99af91c4974" providerId="LiveId" clId="{34DF7D6B-EB0F-4B53-B080-BB8D6F5C3D93}" dt="2024-05-10T15:55:16.820" v="474" actId="1076"/>
          <ac:spMkLst>
            <pc:docMk/>
            <pc:sldMk cId="968692997" sldId="342"/>
            <ac:spMk id="14" creationId="{B2887F39-E3F5-F9B5-5511-245693D60202}"/>
          </ac:spMkLst>
        </pc:spChg>
        <pc:spChg chg="add mod">
          <ac:chgData name="Veniero Facchetti" userId="f2c6c99af91c4974" providerId="LiveId" clId="{34DF7D6B-EB0F-4B53-B080-BB8D6F5C3D93}" dt="2024-05-10T15:55:16.820" v="474" actId="1076"/>
          <ac:spMkLst>
            <pc:docMk/>
            <pc:sldMk cId="968692997" sldId="342"/>
            <ac:spMk id="15" creationId="{BD4973BE-4204-8CF3-3AB6-278D22FC2DDE}"/>
          </ac:spMkLst>
        </pc:spChg>
        <pc:spChg chg="add mod">
          <ac:chgData name="Veniero Facchetti" userId="f2c6c99af91c4974" providerId="LiveId" clId="{34DF7D6B-EB0F-4B53-B080-BB8D6F5C3D93}" dt="2024-05-10T15:55:16.820" v="474" actId="1076"/>
          <ac:spMkLst>
            <pc:docMk/>
            <pc:sldMk cId="968692997" sldId="342"/>
            <ac:spMk id="16" creationId="{7A414186-4C80-E4B0-9018-5EFA76A2941B}"/>
          </ac:spMkLst>
        </pc:spChg>
        <pc:spChg chg="add mod">
          <ac:chgData name="Veniero Facchetti" userId="f2c6c99af91c4974" providerId="LiveId" clId="{34DF7D6B-EB0F-4B53-B080-BB8D6F5C3D93}" dt="2024-05-10T15:55:16.820" v="474" actId="1076"/>
          <ac:spMkLst>
            <pc:docMk/>
            <pc:sldMk cId="968692997" sldId="342"/>
            <ac:spMk id="17" creationId="{D70A961B-BF9B-5496-782F-402AC5913579}"/>
          </ac:spMkLst>
        </pc:spChg>
        <pc:spChg chg="add mod">
          <ac:chgData name="Veniero Facchetti" userId="f2c6c99af91c4974" providerId="LiveId" clId="{34DF7D6B-EB0F-4B53-B080-BB8D6F5C3D93}" dt="2024-05-10T15:55:16.820" v="474" actId="1076"/>
          <ac:spMkLst>
            <pc:docMk/>
            <pc:sldMk cId="968692997" sldId="342"/>
            <ac:spMk id="18" creationId="{902721C8-6CCF-4E7B-CE9B-FC1F7CD30F23}"/>
          </ac:spMkLst>
        </pc:spChg>
        <pc:spChg chg="add mod">
          <ac:chgData name="Veniero Facchetti" userId="f2c6c99af91c4974" providerId="LiveId" clId="{34DF7D6B-EB0F-4B53-B080-BB8D6F5C3D93}" dt="2024-05-10T15:55:16.820" v="474" actId="1076"/>
          <ac:spMkLst>
            <pc:docMk/>
            <pc:sldMk cId="968692997" sldId="342"/>
            <ac:spMk id="19" creationId="{56F594CB-CF0B-1D7D-FC67-AD469D35F00A}"/>
          </ac:spMkLst>
        </pc:spChg>
        <pc:spChg chg="add mod">
          <ac:chgData name="Veniero Facchetti" userId="f2c6c99af91c4974" providerId="LiveId" clId="{34DF7D6B-EB0F-4B53-B080-BB8D6F5C3D93}" dt="2024-05-10T15:55:16.820" v="474" actId="1076"/>
          <ac:spMkLst>
            <pc:docMk/>
            <pc:sldMk cId="968692997" sldId="342"/>
            <ac:spMk id="20" creationId="{D6B51929-7B0F-1ECE-B437-AEB4523447C3}"/>
          </ac:spMkLst>
        </pc:spChg>
        <pc:spChg chg="add mod">
          <ac:chgData name="Veniero Facchetti" userId="f2c6c99af91c4974" providerId="LiveId" clId="{34DF7D6B-EB0F-4B53-B080-BB8D6F5C3D93}" dt="2024-05-10T15:55:16.820" v="474" actId="1076"/>
          <ac:spMkLst>
            <pc:docMk/>
            <pc:sldMk cId="968692997" sldId="342"/>
            <ac:spMk id="21" creationId="{9C32F3C4-0351-BF9B-E1A5-FA383D0B7299}"/>
          </ac:spMkLst>
        </pc:spChg>
        <pc:spChg chg="add mod">
          <ac:chgData name="Veniero Facchetti" userId="f2c6c99af91c4974" providerId="LiveId" clId="{34DF7D6B-EB0F-4B53-B080-BB8D6F5C3D93}" dt="2024-05-10T15:55:16.820" v="474" actId="1076"/>
          <ac:spMkLst>
            <pc:docMk/>
            <pc:sldMk cId="968692997" sldId="342"/>
            <ac:spMk id="22" creationId="{4313984F-7837-92F2-9187-6CFF4066EB3F}"/>
          </ac:spMkLst>
        </pc:spChg>
        <pc:spChg chg="add mod">
          <ac:chgData name="Veniero Facchetti" userId="f2c6c99af91c4974" providerId="LiveId" clId="{34DF7D6B-EB0F-4B53-B080-BB8D6F5C3D93}" dt="2024-05-10T15:55:16.820" v="474" actId="1076"/>
          <ac:spMkLst>
            <pc:docMk/>
            <pc:sldMk cId="968692997" sldId="342"/>
            <ac:spMk id="23" creationId="{77A85EA6-7200-9407-C708-B9F818B6DE53}"/>
          </ac:spMkLst>
        </pc:spChg>
        <pc:spChg chg="add mod">
          <ac:chgData name="Veniero Facchetti" userId="f2c6c99af91c4974" providerId="LiveId" clId="{34DF7D6B-EB0F-4B53-B080-BB8D6F5C3D93}" dt="2024-05-10T15:55:16.820" v="474" actId="1076"/>
          <ac:spMkLst>
            <pc:docMk/>
            <pc:sldMk cId="968692997" sldId="342"/>
            <ac:spMk id="24" creationId="{41227B48-E93E-AFF7-BBB4-0E1F3B0DB7A9}"/>
          </ac:spMkLst>
        </pc:spChg>
        <pc:spChg chg="add mod">
          <ac:chgData name="Veniero Facchetti" userId="f2c6c99af91c4974" providerId="LiveId" clId="{34DF7D6B-EB0F-4B53-B080-BB8D6F5C3D93}" dt="2024-05-10T15:55:16.820" v="474" actId="1076"/>
          <ac:spMkLst>
            <pc:docMk/>
            <pc:sldMk cId="968692997" sldId="342"/>
            <ac:spMk id="25" creationId="{E49EC650-2929-4580-19B2-CBDE6BA3A76F}"/>
          </ac:spMkLst>
        </pc:spChg>
        <pc:spChg chg="add mod">
          <ac:chgData name="Veniero Facchetti" userId="f2c6c99af91c4974" providerId="LiveId" clId="{34DF7D6B-EB0F-4B53-B080-BB8D6F5C3D93}" dt="2024-05-10T15:55:16.820" v="474" actId="1076"/>
          <ac:spMkLst>
            <pc:docMk/>
            <pc:sldMk cId="968692997" sldId="342"/>
            <ac:spMk id="26" creationId="{8DEEEED4-502E-EB04-ADE4-9ADC589464FF}"/>
          </ac:spMkLst>
        </pc:spChg>
        <pc:spChg chg="add mod">
          <ac:chgData name="Veniero Facchetti" userId="f2c6c99af91c4974" providerId="LiveId" clId="{34DF7D6B-EB0F-4B53-B080-BB8D6F5C3D93}" dt="2024-05-10T15:55:16.820" v="474" actId="1076"/>
          <ac:spMkLst>
            <pc:docMk/>
            <pc:sldMk cId="968692997" sldId="342"/>
            <ac:spMk id="27" creationId="{7FCC526C-FBCF-B2EB-092C-DDE5862949B6}"/>
          </ac:spMkLst>
        </pc:spChg>
        <pc:spChg chg="add mod">
          <ac:chgData name="Veniero Facchetti" userId="f2c6c99af91c4974" providerId="LiveId" clId="{34DF7D6B-EB0F-4B53-B080-BB8D6F5C3D93}" dt="2024-05-10T15:55:16.820" v="474" actId="1076"/>
          <ac:spMkLst>
            <pc:docMk/>
            <pc:sldMk cId="968692997" sldId="342"/>
            <ac:spMk id="28" creationId="{01A03304-8EE5-F09D-B8B1-175788973A30}"/>
          </ac:spMkLst>
        </pc:spChg>
        <pc:spChg chg="add mod">
          <ac:chgData name="Veniero Facchetti" userId="f2c6c99af91c4974" providerId="LiveId" clId="{34DF7D6B-EB0F-4B53-B080-BB8D6F5C3D93}" dt="2024-05-10T15:55:16.820" v="474" actId="1076"/>
          <ac:spMkLst>
            <pc:docMk/>
            <pc:sldMk cId="968692997" sldId="342"/>
            <ac:spMk id="29" creationId="{0D1F7E10-88A4-7FA5-2F7A-839659C43B94}"/>
          </ac:spMkLst>
        </pc:spChg>
        <pc:spChg chg="add mod">
          <ac:chgData name="Veniero Facchetti" userId="f2c6c99af91c4974" providerId="LiveId" clId="{34DF7D6B-EB0F-4B53-B080-BB8D6F5C3D93}" dt="2024-05-10T15:55:16.820" v="474" actId="1076"/>
          <ac:spMkLst>
            <pc:docMk/>
            <pc:sldMk cId="968692997" sldId="342"/>
            <ac:spMk id="30" creationId="{D31A1D6C-2184-3168-1007-CCCDD2A01EB1}"/>
          </ac:spMkLst>
        </pc:spChg>
        <pc:spChg chg="add mod">
          <ac:chgData name="Veniero Facchetti" userId="f2c6c99af91c4974" providerId="LiveId" clId="{34DF7D6B-EB0F-4B53-B080-BB8D6F5C3D93}" dt="2024-05-10T15:55:16.820" v="474" actId="1076"/>
          <ac:spMkLst>
            <pc:docMk/>
            <pc:sldMk cId="968692997" sldId="342"/>
            <ac:spMk id="31" creationId="{5F4F80A9-EC3A-542F-877F-7E9806968526}"/>
          </ac:spMkLst>
        </pc:spChg>
        <pc:spChg chg="add mod">
          <ac:chgData name="Veniero Facchetti" userId="f2c6c99af91c4974" providerId="LiveId" clId="{34DF7D6B-EB0F-4B53-B080-BB8D6F5C3D93}" dt="2024-05-10T15:55:16.820" v="474" actId="1076"/>
          <ac:spMkLst>
            <pc:docMk/>
            <pc:sldMk cId="968692997" sldId="342"/>
            <ac:spMk id="32" creationId="{FF73A431-9426-38F7-EA30-8D40F6102E88}"/>
          </ac:spMkLst>
        </pc:spChg>
        <pc:spChg chg="add mod">
          <ac:chgData name="Veniero Facchetti" userId="f2c6c99af91c4974" providerId="LiveId" clId="{34DF7D6B-EB0F-4B53-B080-BB8D6F5C3D93}" dt="2024-05-10T15:55:16.820" v="474" actId="1076"/>
          <ac:spMkLst>
            <pc:docMk/>
            <pc:sldMk cId="968692997" sldId="342"/>
            <ac:spMk id="33" creationId="{8CD6D2E8-A41E-0680-5E49-171C8D1F0445}"/>
          </ac:spMkLst>
        </pc:spChg>
        <pc:spChg chg="add mod">
          <ac:chgData name="Veniero Facchetti" userId="f2c6c99af91c4974" providerId="LiveId" clId="{34DF7D6B-EB0F-4B53-B080-BB8D6F5C3D93}" dt="2024-05-10T15:55:16.820" v="474" actId="1076"/>
          <ac:spMkLst>
            <pc:docMk/>
            <pc:sldMk cId="968692997" sldId="342"/>
            <ac:spMk id="34" creationId="{C9D61D07-B94D-2A63-86B1-DE15C24CDCB2}"/>
          </ac:spMkLst>
        </pc:spChg>
        <pc:spChg chg="add mod">
          <ac:chgData name="Veniero Facchetti" userId="f2c6c99af91c4974" providerId="LiveId" clId="{34DF7D6B-EB0F-4B53-B080-BB8D6F5C3D93}" dt="2024-05-10T15:55:16.820" v="474" actId="1076"/>
          <ac:spMkLst>
            <pc:docMk/>
            <pc:sldMk cId="968692997" sldId="342"/>
            <ac:spMk id="35" creationId="{63C4361C-997C-1865-2539-3701C5D80F16}"/>
          </ac:spMkLst>
        </pc:spChg>
        <pc:spChg chg="add mod">
          <ac:chgData name="Veniero Facchetti" userId="f2c6c99af91c4974" providerId="LiveId" clId="{34DF7D6B-EB0F-4B53-B080-BB8D6F5C3D93}" dt="2024-05-10T15:55:16.820" v="474" actId="1076"/>
          <ac:spMkLst>
            <pc:docMk/>
            <pc:sldMk cId="968692997" sldId="342"/>
            <ac:spMk id="36" creationId="{EC49DCD4-EF10-384D-ADD7-18E93B46974B}"/>
          </ac:spMkLst>
        </pc:spChg>
        <pc:spChg chg="add mod">
          <ac:chgData name="Veniero Facchetti" userId="f2c6c99af91c4974" providerId="LiveId" clId="{34DF7D6B-EB0F-4B53-B080-BB8D6F5C3D93}" dt="2024-05-10T15:55:16.820" v="474" actId="1076"/>
          <ac:spMkLst>
            <pc:docMk/>
            <pc:sldMk cId="968692997" sldId="342"/>
            <ac:spMk id="37" creationId="{E686AB1B-2799-BBE8-36E2-B9F432276078}"/>
          </ac:spMkLst>
        </pc:spChg>
        <pc:spChg chg="add mod">
          <ac:chgData name="Veniero Facchetti" userId="f2c6c99af91c4974" providerId="LiveId" clId="{34DF7D6B-EB0F-4B53-B080-BB8D6F5C3D93}" dt="2024-05-10T15:55:16.820" v="474" actId="1076"/>
          <ac:spMkLst>
            <pc:docMk/>
            <pc:sldMk cId="968692997" sldId="342"/>
            <ac:spMk id="38" creationId="{6B79D7F2-96E1-AD16-55D5-5049FF30A3B1}"/>
          </ac:spMkLst>
        </pc:spChg>
        <pc:spChg chg="add mod">
          <ac:chgData name="Veniero Facchetti" userId="f2c6c99af91c4974" providerId="LiveId" clId="{34DF7D6B-EB0F-4B53-B080-BB8D6F5C3D93}" dt="2024-05-10T15:55:16.820" v="474" actId="1076"/>
          <ac:spMkLst>
            <pc:docMk/>
            <pc:sldMk cId="968692997" sldId="342"/>
            <ac:spMk id="39" creationId="{D55805E8-3ECE-8093-BB5C-49CB5011F946}"/>
          </ac:spMkLst>
        </pc:spChg>
        <pc:spChg chg="add mod">
          <ac:chgData name="Veniero Facchetti" userId="f2c6c99af91c4974" providerId="LiveId" clId="{34DF7D6B-EB0F-4B53-B080-BB8D6F5C3D93}" dt="2024-05-10T15:55:16.820" v="474" actId="1076"/>
          <ac:spMkLst>
            <pc:docMk/>
            <pc:sldMk cId="968692997" sldId="342"/>
            <ac:spMk id="40" creationId="{34A4B93B-A3FE-6AC2-687A-0815D1C3D4DC}"/>
          </ac:spMkLst>
        </pc:spChg>
        <pc:spChg chg="add mod">
          <ac:chgData name="Veniero Facchetti" userId="f2c6c99af91c4974" providerId="LiveId" clId="{34DF7D6B-EB0F-4B53-B080-BB8D6F5C3D93}" dt="2024-05-10T15:55:16.820" v="474" actId="1076"/>
          <ac:spMkLst>
            <pc:docMk/>
            <pc:sldMk cId="968692997" sldId="342"/>
            <ac:spMk id="41" creationId="{3B9EB67B-5D90-3444-F442-1F0823F69CC1}"/>
          </ac:spMkLst>
        </pc:spChg>
        <pc:spChg chg="add mod">
          <ac:chgData name="Veniero Facchetti" userId="f2c6c99af91c4974" providerId="LiveId" clId="{34DF7D6B-EB0F-4B53-B080-BB8D6F5C3D93}" dt="2024-05-10T15:55:16.820" v="474" actId="1076"/>
          <ac:spMkLst>
            <pc:docMk/>
            <pc:sldMk cId="968692997" sldId="342"/>
            <ac:spMk id="42" creationId="{10B96077-E494-F526-94E2-B18A42D2F63A}"/>
          </ac:spMkLst>
        </pc:spChg>
        <pc:spChg chg="add mod">
          <ac:chgData name="Veniero Facchetti" userId="f2c6c99af91c4974" providerId="LiveId" clId="{34DF7D6B-EB0F-4B53-B080-BB8D6F5C3D93}" dt="2024-05-10T15:55:16.820" v="474" actId="1076"/>
          <ac:spMkLst>
            <pc:docMk/>
            <pc:sldMk cId="968692997" sldId="342"/>
            <ac:spMk id="43" creationId="{035D513F-4366-3535-6596-93B31220256D}"/>
          </ac:spMkLst>
        </pc:spChg>
        <pc:spChg chg="add mod">
          <ac:chgData name="Veniero Facchetti" userId="f2c6c99af91c4974" providerId="LiveId" clId="{34DF7D6B-EB0F-4B53-B080-BB8D6F5C3D93}" dt="2024-05-10T15:55:16.820" v="474" actId="1076"/>
          <ac:spMkLst>
            <pc:docMk/>
            <pc:sldMk cId="968692997" sldId="342"/>
            <ac:spMk id="44" creationId="{13336927-BC57-DBDF-2342-599135B1C76A}"/>
          </ac:spMkLst>
        </pc:spChg>
        <pc:spChg chg="add mod">
          <ac:chgData name="Veniero Facchetti" userId="f2c6c99af91c4974" providerId="LiveId" clId="{34DF7D6B-EB0F-4B53-B080-BB8D6F5C3D93}" dt="2024-05-10T15:55:16.820" v="474" actId="1076"/>
          <ac:spMkLst>
            <pc:docMk/>
            <pc:sldMk cId="968692997" sldId="342"/>
            <ac:spMk id="45" creationId="{287EBF1D-42AE-E85F-D43D-07EFBA3F2AD6}"/>
          </ac:spMkLst>
        </pc:spChg>
        <pc:spChg chg="add mod">
          <ac:chgData name="Veniero Facchetti" userId="f2c6c99af91c4974" providerId="LiveId" clId="{34DF7D6B-EB0F-4B53-B080-BB8D6F5C3D93}" dt="2024-05-10T15:55:16.820" v="474" actId="1076"/>
          <ac:spMkLst>
            <pc:docMk/>
            <pc:sldMk cId="968692997" sldId="342"/>
            <ac:spMk id="46" creationId="{8BDB1643-FC45-3963-CA16-F21E5C9CCDB1}"/>
          </ac:spMkLst>
        </pc:spChg>
        <pc:spChg chg="add mod">
          <ac:chgData name="Veniero Facchetti" userId="f2c6c99af91c4974" providerId="LiveId" clId="{34DF7D6B-EB0F-4B53-B080-BB8D6F5C3D93}" dt="2024-05-10T15:55:16.820" v="474" actId="1076"/>
          <ac:spMkLst>
            <pc:docMk/>
            <pc:sldMk cId="968692997" sldId="342"/>
            <ac:spMk id="47" creationId="{E6797A98-9861-7917-D43E-1AA78646E93E}"/>
          </ac:spMkLst>
        </pc:spChg>
        <pc:spChg chg="add mod">
          <ac:chgData name="Veniero Facchetti" userId="f2c6c99af91c4974" providerId="LiveId" clId="{34DF7D6B-EB0F-4B53-B080-BB8D6F5C3D93}" dt="2024-05-10T15:55:16.820" v="474" actId="1076"/>
          <ac:spMkLst>
            <pc:docMk/>
            <pc:sldMk cId="968692997" sldId="342"/>
            <ac:spMk id="48" creationId="{09A6536E-0EC7-7D85-EC75-190F78E64300}"/>
          </ac:spMkLst>
        </pc:spChg>
        <pc:spChg chg="add mod">
          <ac:chgData name="Veniero Facchetti" userId="f2c6c99af91c4974" providerId="LiveId" clId="{34DF7D6B-EB0F-4B53-B080-BB8D6F5C3D93}" dt="2024-05-10T15:55:16.820" v="474" actId="1076"/>
          <ac:spMkLst>
            <pc:docMk/>
            <pc:sldMk cId="968692997" sldId="342"/>
            <ac:spMk id="49" creationId="{5F4684C1-9709-7174-D0A0-294CA97BE692}"/>
          </ac:spMkLst>
        </pc:spChg>
        <pc:spChg chg="add mod">
          <ac:chgData name="Veniero Facchetti" userId="f2c6c99af91c4974" providerId="LiveId" clId="{34DF7D6B-EB0F-4B53-B080-BB8D6F5C3D93}" dt="2024-05-10T15:55:16.820" v="474" actId="1076"/>
          <ac:spMkLst>
            <pc:docMk/>
            <pc:sldMk cId="968692997" sldId="342"/>
            <ac:spMk id="50" creationId="{4C25AE16-0769-6A05-0F82-8CAE1F09E236}"/>
          </ac:spMkLst>
        </pc:spChg>
        <pc:spChg chg="add mod">
          <ac:chgData name="Veniero Facchetti" userId="f2c6c99af91c4974" providerId="LiveId" clId="{34DF7D6B-EB0F-4B53-B080-BB8D6F5C3D93}" dt="2024-05-10T15:55:16.820" v="474" actId="1076"/>
          <ac:spMkLst>
            <pc:docMk/>
            <pc:sldMk cId="968692997" sldId="342"/>
            <ac:spMk id="51" creationId="{20AA83E0-0D1F-B89D-1219-540B21F2A5A4}"/>
          </ac:spMkLst>
        </pc:spChg>
        <pc:spChg chg="add mod">
          <ac:chgData name="Veniero Facchetti" userId="f2c6c99af91c4974" providerId="LiveId" clId="{34DF7D6B-EB0F-4B53-B080-BB8D6F5C3D93}" dt="2024-05-10T15:55:16.820" v="474" actId="1076"/>
          <ac:spMkLst>
            <pc:docMk/>
            <pc:sldMk cId="968692997" sldId="342"/>
            <ac:spMk id="52" creationId="{557CC4E2-97B2-FB01-E7D4-DDF99B927C12}"/>
          </ac:spMkLst>
        </pc:spChg>
        <pc:spChg chg="add mod">
          <ac:chgData name="Veniero Facchetti" userId="f2c6c99af91c4974" providerId="LiveId" clId="{34DF7D6B-EB0F-4B53-B080-BB8D6F5C3D93}" dt="2024-05-10T15:55:16.820" v="474" actId="1076"/>
          <ac:spMkLst>
            <pc:docMk/>
            <pc:sldMk cId="968692997" sldId="342"/>
            <ac:spMk id="53" creationId="{FF3272C3-2FA7-060C-EE61-859C946792B2}"/>
          </ac:spMkLst>
        </pc:spChg>
        <pc:spChg chg="add mod">
          <ac:chgData name="Veniero Facchetti" userId="f2c6c99af91c4974" providerId="LiveId" clId="{34DF7D6B-EB0F-4B53-B080-BB8D6F5C3D93}" dt="2024-05-10T15:55:16.820" v="474" actId="1076"/>
          <ac:spMkLst>
            <pc:docMk/>
            <pc:sldMk cId="968692997" sldId="342"/>
            <ac:spMk id="54" creationId="{2DA6C284-09B5-B640-BBF1-89C1DD1C9AFF}"/>
          </ac:spMkLst>
        </pc:spChg>
        <pc:spChg chg="add mod">
          <ac:chgData name="Veniero Facchetti" userId="f2c6c99af91c4974" providerId="LiveId" clId="{34DF7D6B-EB0F-4B53-B080-BB8D6F5C3D93}" dt="2024-05-10T15:55:16.820" v="474" actId="1076"/>
          <ac:spMkLst>
            <pc:docMk/>
            <pc:sldMk cId="968692997" sldId="342"/>
            <ac:spMk id="55" creationId="{36EB8453-8279-3476-D9EB-16E56454C9B4}"/>
          </ac:spMkLst>
        </pc:spChg>
        <pc:spChg chg="add mod">
          <ac:chgData name="Veniero Facchetti" userId="f2c6c99af91c4974" providerId="LiveId" clId="{34DF7D6B-EB0F-4B53-B080-BB8D6F5C3D93}" dt="2024-05-10T15:55:16.820" v="474" actId="1076"/>
          <ac:spMkLst>
            <pc:docMk/>
            <pc:sldMk cId="968692997" sldId="342"/>
            <ac:spMk id="56" creationId="{509EB682-2711-DE0C-3C7C-942A1A7F25FB}"/>
          </ac:spMkLst>
        </pc:spChg>
        <pc:spChg chg="add mod">
          <ac:chgData name="Veniero Facchetti" userId="f2c6c99af91c4974" providerId="LiveId" clId="{34DF7D6B-EB0F-4B53-B080-BB8D6F5C3D93}" dt="2024-05-10T15:55:16.820" v="474" actId="1076"/>
          <ac:spMkLst>
            <pc:docMk/>
            <pc:sldMk cId="968692997" sldId="342"/>
            <ac:spMk id="57" creationId="{A753A2CA-2384-8402-9C10-CF812B53EB04}"/>
          </ac:spMkLst>
        </pc:spChg>
        <pc:spChg chg="add mod">
          <ac:chgData name="Veniero Facchetti" userId="f2c6c99af91c4974" providerId="LiveId" clId="{34DF7D6B-EB0F-4B53-B080-BB8D6F5C3D93}" dt="2024-05-10T15:55:16.820" v="474" actId="1076"/>
          <ac:spMkLst>
            <pc:docMk/>
            <pc:sldMk cId="968692997" sldId="342"/>
            <ac:spMk id="58" creationId="{BA5B60C7-CADA-DAAC-9A8C-12D93A143173}"/>
          </ac:spMkLst>
        </pc:spChg>
        <pc:spChg chg="add mod">
          <ac:chgData name="Veniero Facchetti" userId="f2c6c99af91c4974" providerId="LiveId" clId="{34DF7D6B-EB0F-4B53-B080-BB8D6F5C3D93}" dt="2024-05-10T15:55:16.820" v="474" actId="1076"/>
          <ac:spMkLst>
            <pc:docMk/>
            <pc:sldMk cId="968692997" sldId="342"/>
            <ac:spMk id="59" creationId="{70C1D462-143D-CE3C-65D9-6C4E3953993E}"/>
          </ac:spMkLst>
        </pc:spChg>
        <pc:spChg chg="add mod">
          <ac:chgData name="Veniero Facchetti" userId="f2c6c99af91c4974" providerId="LiveId" clId="{34DF7D6B-EB0F-4B53-B080-BB8D6F5C3D93}" dt="2024-05-10T15:55:16.820" v="474" actId="1076"/>
          <ac:spMkLst>
            <pc:docMk/>
            <pc:sldMk cId="968692997" sldId="342"/>
            <ac:spMk id="60" creationId="{564C864B-D839-AD7F-8B72-BCFD47935249}"/>
          </ac:spMkLst>
        </pc:spChg>
        <pc:spChg chg="add mod">
          <ac:chgData name="Veniero Facchetti" userId="f2c6c99af91c4974" providerId="LiveId" clId="{34DF7D6B-EB0F-4B53-B080-BB8D6F5C3D93}" dt="2024-05-10T15:55:16.820" v="474" actId="1076"/>
          <ac:spMkLst>
            <pc:docMk/>
            <pc:sldMk cId="968692997" sldId="342"/>
            <ac:spMk id="61" creationId="{D86C00C7-5F57-BC64-65C5-2BEBD77635DC}"/>
          </ac:spMkLst>
        </pc:spChg>
        <pc:spChg chg="add mod">
          <ac:chgData name="Veniero Facchetti" userId="f2c6c99af91c4974" providerId="LiveId" clId="{34DF7D6B-EB0F-4B53-B080-BB8D6F5C3D93}" dt="2024-05-10T15:55:16.820" v="474" actId="1076"/>
          <ac:spMkLst>
            <pc:docMk/>
            <pc:sldMk cId="968692997" sldId="342"/>
            <ac:spMk id="62" creationId="{517A3790-3B77-9E6F-7935-24D16373B02F}"/>
          </ac:spMkLst>
        </pc:spChg>
        <pc:spChg chg="add mod">
          <ac:chgData name="Veniero Facchetti" userId="f2c6c99af91c4974" providerId="LiveId" clId="{34DF7D6B-EB0F-4B53-B080-BB8D6F5C3D93}" dt="2024-05-10T15:55:16.820" v="474" actId="1076"/>
          <ac:spMkLst>
            <pc:docMk/>
            <pc:sldMk cId="968692997" sldId="342"/>
            <ac:spMk id="63" creationId="{11DEF1E9-BA75-DF11-1AB1-D5203B2CCFB7}"/>
          </ac:spMkLst>
        </pc:spChg>
        <pc:spChg chg="add mod">
          <ac:chgData name="Veniero Facchetti" userId="f2c6c99af91c4974" providerId="LiveId" clId="{34DF7D6B-EB0F-4B53-B080-BB8D6F5C3D93}" dt="2024-05-10T15:55:16.820" v="474" actId="1076"/>
          <ac:spMkLst>
            <pc:docMk/>
            <pc:sldMk cId="968692997" sldId="342"/>
            <ac:spMk id="64" creationId="{989B1E42-AA87-0AA8-92BC-70F48D6E585F}"/>
          </ac:spMkLst>
        </pc:spChg>
        <pc:spChg chg="add mod">
          <ac:chgData name="Veniero Facchetti" userId="f2c6c99af91c4974" providerId="LiveId" clId="{34DF7D6B-EB0F-4B53-B080-BB8D6F5C3D93}" dt="2024-05-10T15:55:16.820" v="474" actId="1076"/>
          <ac:spMkLst>
            <pc:docMk/>
            <pc:sldMk cId="968692997" sldId="342"/>
            <ac:spMk id="65" creationId="{ADFA640E-0F88-8BE2-B618-C3D346229D09}"/>
          </ac:spMkLst>
        </pc:spChg>
        <pc:spChg chg="add mod">
          <ac:chgData name="Veniero Facchetti" userId="f2c6c99af91c4974" providerId="LiveId" clId="{34DF7D6B-EB0F-4B53-B080-BB8D6F5C3D93}" dt="2024-05-10T15:55:16.820" v="474" actId="1076"/>
          <ac:spMkLst>
            <pc:docMk/>
            <pc:sldMk cId="968692997" sldId="342"/>
            <ac:spMk id="66" creationId="{9723E7EA-C1AB-33BF-E86A-8C37F76C9F40}"/>
          </ac:spMkLst>
        </pc:spChg>
        <pc:spChg chg="add mod">
          <ac:chgData name="Veniero Facchetti" userId="f2c6c99af91c4974" providerId="LiveId" clId="{34DF7D6B-EB0F-4B53-B080-BB8D6F5C3D93}" dt="2024-05-10T15:55:16.820" v="474" actId="1076"/>
          <ac:spMkLst>
            <pc:docMk/>
            <pc:sldMk cId="968692997" sldId="342"/>
            <ac:spMk id="67" creationId="{4498374F-37C2-49BA-FF6A-FF0339B46012}"/>
          </ac:spMkLst>
        </pc:spChg>
        <pc:spChg chg="add mod">
          <ac:chgData name="Veniero Facchetti" userId="f2c6c99af91c4974" providerId="LiveId" clId="{34DF7D6B-EB0F-4B53-B080-BB8D6F5C3D93}" dt="2024-05-10T15:55:16.820" v="474" actId="1076"/>
          <ac:spMkLst>
            <pc:docMk/>
            <pc:sldMk cId="968692997" sldId="342"/>
            <ac:spMk id="68" creationId="{E18E0ECB-BC96-88D1-0E60-489EA00B34B3}"/>
          </ac:spMkLst>
        </pc:spChg>
        <pc:spChg chg="add mod">
          <ac:chgData name="Veniero Facchetti" userId="f2c6c99af91c4974" providerId="LiveId" clId="{34DF7D6B-EB0F-4B53-B080-BB8D6F5C3D93}" dt="2024-05-10T15:55:16.820" v="474" actId="1076"/>
          <ac:spMkLst>
            <pc:docMk/>
            <pc:sldMk cId="968692997" sldId="342"/>
            <ac:spMk id="69" creationId="{C7EE6B73-EB12-AFCE-BF6C-2676C098E7FB}"/>
          </ac:spMkLst>
        </pc:spChg>
        <pc:spChg chg="add mod">
          <ac:chgData name="Veniero Facchetti" userId="f2c6c99af91c4974" providerId="LiveId" clId="{34DF7D6B-EB0F-4B53-B080-BB8D6F5C3D93}" dt="2024-05-10T15:55:16.820" v="474" actId="1076"/>
          <ac:spMkLst>
            <pc:docMk/>
            <pc:sldMk cId="968692997" sldId="342"/>
            <ac:spMk id="70" creationId="{986110C4-9ABA-0AEB-5DFC-4A62B98F3853}"/>
          </ac:spMkLst>
        </pc:spChg>
        <pc:spChg chg="add mod">
          <ac:chgData name="Veniero Facchetti" userId="f2c6c99af91c4974" providerId="LiveId" clId="{34DF7D6B-EB0F-4B53-B080-BB8D6F5C3D93}" dt="2024-05-10T15:55:16.820" v="474" actId="1076"/>
          <ac:spMkLst>
            <pc:docMk/>
            <pc:sldMk cId="968692997" sldId="342"/>
            <ac:spMk id="71" creationId="{F76FE349-348D-BD27-138B-5F8511062628}"/>
          </ac:spMkLst>
        </pc:spChg>
        <pc:spChg chg="add mod">
          <ac:chgData name="Veniero Facchetti" userId="f2c6c99af91c4974" providerId="LiveId" clId="{34DF7D6B-EB0F-4B53-B080-BB8D6F5C3D93}" dt="2024-05-10T15:55:16.820" v="474" actId="1076"/>
          <ac:spMkLst>
            <pc:docMk/>
            <pc:sldMk cId="968692997" sldId="342"/>
            <ac:spMk id="72" creationId="{3D02A672-5081-3FD0-52D9-2202DA4BE980}"/>
          </ac:spMkLst>
        </pc:spChg>
        <pc:spChg chg="add mod">
          <ac:chgData name="Veniero Facchetti" userId="f2c6c99af91c4974" providerId="LiveId" clId="{34DF7D6B-EB0F-4B53-B080-BB8D6F5C3D93}" dt="2024-05-10T15:55:16.820" v="474" actId="1076"/>
          <ac:spMkLst>
            <pc:docMk/>
            <pc:sldMk cId="968692997" sldId="342"/>
            <ac:spMk id="73" creationId="{C7837632-2BB3-6623-6AF0-C1C5B2C97212}"/>
          </ac:spMkLst>
        </pc:spChg>
        <pc:spChg chg="add mod">
          <ac:chgData name="Veniero Facchetti" userId="f2c6c99af91c4974" providerId="LiveId" clId="{34DF7D6B-EB0F-4B53-B080-BB8D6F5C3D93}" dt="2024-05-10T15:55:16.820" v="474" actId="1076"/>
          <ac:spMkLst>
            <pc:docMk/>
            <pc:sldMk cId="968692997" sldId="342"/>
            <ac:spMk id="74" creationId="{9737EC56-F0A8-FD80-D53E-5D4872326855}"/>
          </ac:spMkLst>
        </pc:spChg>
        <pc:spChg chg="add mod">
          <ac:chgData name="Veniero Facchetti" userId="f2c6c99af91c4974" providerId="LiveId" clId="{34DF7D6B-EB0F-4B53-B080-BB8D6F5C3D93}" dt="2024-05-10T15:55:16.820" v="474" actId="1076"/>
          <ac:spMkLst>
            <pc:docMk/>
            <pc:sldMk cId="968692997" sldId="342"/>
            <ac:spMk id="75" creationId="{AAEFF779-ECD6-CE1B-70C5-0F4CFFA727C7}"/>
          </ac:spMkLst>
        </pc:spChg>
        <pc:spChg chg="add mod">
          <ac:chgData name="Veniero Facchetti" userId="f2c6c99af91c4974" providerId="LiveId" clId="{34DF7D6B-EB0F-4B53-B080-BB8D6F5C3D93}" dt="2024-05-10T15:55:16.820" v="474" actId="1076"/>
          <ac:spMkLst>
            <pc:docMk/>
            <pc:sldMk cId="968692997" sldId="342"/>
            <ac:spMk id="76" creationId="{3BAA1569-87F2-55DB-FD46-DEE1B9507AC3}"/>
          </ac:spMkLst>
        </pc:spChg>
        <pc:spChg chg="add mod">
          <ac:chgData name="Veniero Facchetti" userId="f2c6c99af91c4974" providerId="LiveId" clId="{34DF7D6B-EB0F-4B53-B080-BB8D6F5C3D93}" dt="2024-05-10T15:55:16.820" v="474" actId="1076"/>
          <ac:spMkLst>
            <pc:docMk/>
            <pc:sldMk cId="968692997" sldId="342"/>
            <ac:spMk id="77" creationId="{793E7257-52DF-ED93-D6B3-3CE2218257FB}"/>
          </ac:spMkLst>
        </pc:spChg>
        <pc:spChg chg="add mod">
          <ac:chgData name="Veniero Facchetti" userId="f2c6c99af91c4974" providerId="LiveId" clId="{34DF7D6B-EB0F-4B53-B080-BB8D6F5C3D93}" dt="2024-05-10T15:55:16.820" v="474" actId="1076"/>
          <ac:spMkLst>
            <pc:docMk/>
            <pc:sldMk cId="968692997" sldId="342"/>
            <ac:spMk id="78" creationId="{464EC7E1-EA29-D4D3-39C1-BD0086BFDC63}"/>
          </ac:spMkLst>
        </pc:spChg>
        <pc:spChg chg="add mod">
          <ac:chgData name="Veniero Facchetti" userId="f2c6c99af91c4974" providerId="LiveId" clId="{34DF7D6B-EB0F-4B53-B080-BB8D6F5C3D93}" dt="2024-05-10T15:55:16.820" v="474" actId="1076"/>
          <ac:spMkLst>
            <pc:docMk/>
            <pc:sldMk cId="968692997" sldId="342"/>
            <ac:spMk id="79" creationId="{0C544343-FB51-8602-9D0A-D84EB25AB7C0}"/>
          </ac:spMkLst>
        </pc:spChg>
        <pc:spChg chg="add mod">
          <ac:chgData name="Veniero Facchetti" userId="f2c6c99af91c4974" providerId="LiveId" clId="{34DF7D6B-EB0F-4B53-B080-BB8D6F5C3D93}" dt="2024-05-10T15:55:16.820" v="474" actId="1076"/>
          <ac:spMkLst>
            <pc:docMk/>
            <pc:sldMk cId="968692997" sldId="342"/>
            <ac:spMk id="80" creationId="{207262EA-F8F9-0FCB-96A3-7A1BD0EFC8C8}"/>
          </ac:spMkLst>
        </pc:spChg>
        <pc:spChg chg="add mod">
          <ac:chgData name="Veniero Facchetti" userId="f2c6c99af91c4974" providerId="LiveId" clId="{34DF7D6B-EB0F-4B53-B080-BB8D6F5C3D93}" dt="2024-05-10T15:55:16.820" v="474" actId="1076"/>
          <ac:spMkLst>
            <pc:docMk/>
            <pc:sldMk cId="968692997" sldId="342"/>
            <ac:spMk id="81" creationId="{6208AD1C-8607-1C97-683F-39C8FD554D99}"/>
          </ac:spMkLst>
        </pc:spChg>
        <pc:spChg chg="add mod">
          <ac:chgData name="Veniero Facchetti" userId="f2c6c99af91c4974" providerId="LiveId" clId="{34DF7D6B-EB0F-4B53-B080-BB8D6F5C3D93}" dt="2024-05-10T15:55:16.820" v="474" actId="1076"/>
          <ac:spMkLst>
            <pc:docMk/>
            <pc:sldMk cId="968692997" sldId="342"/>
            <ac:spMk id="82" creationId="{FA75C7A5-2E10-F8A3-D368-6B5CEA26C9A0}"/>
          </ac:spMkLst>
        </pc:spChg>
        <pc:spChg chg="add mod">
          <ac:chgData name="Veniero Facchetti" userId="f2c6c99af91c4974" providerId="LiveId" clId="{34DF7D6B-EB0F-4B53-B080-BB8D6F5C3D93}" dt="2024-05-10T15:55:16.820" v="474" actId="1076"/>
          <ac:spMkLst>
            <pc:docMk/>
            <pc:sldMk cId="968692997" sldId="342"/>
            <ac:spMk id="83" creationId="{A99AC126-40BC-7295-7614-56086F07EB17}"/>
          </ac:spMkLst>
        </pc:spChg>
        <pc:spChg chg="add mod">
          <ac:chgData name="Veniero Facchetti" userId="f2c6c99af91c4974" providerId="LiveId" clId="{34DF7D6B-EB0F-4B53-B080-BB8D6F5C3D93}" dt="2024-05-10T15:55:16.820" v="474" actId="1076"/>
          <ac:spMkLst>
            <pc:docMk/>
            <pc:sldMk cId="968692997" sldId="342"/>
            <ac:spMk id="85" creationId="{0CAA4024-0C1C-E109-9CF9-30F87D6A5DB1}"/>
          </ac:spMkLst>
        </pc:spChg>
        <pc:spChg chg="add mod">
          <ac:chgData name="Veniero Facchetti" userId="f2c6c99af91c4974" providerId="LiveId" clId="{34DF7D6B-EB0F-4B53-B080-BB8D6F5C3D93}" dt="2024-05-10T15:55:16.820" v="474" actId="1076"/>
          <ac:spMkLst>
            <pc:docMk/>
            <pc:sldMk cId="968692997" sldId="342"/>
            <ac:spMk id="86" creationId="{E84004A3-3887-822E-657E-9966E93D1099}"/>
          </ac:spMkLst>
        </pc:spChg>
        <pc:spChg chg="add mod">
          <ac:chgData name="Veniero Facchetti" userId="f2c6c99af91c4974" providerId="LiveId" clId="{34DF7D6B-EB0F-4B53-B080-BB8D6F5C3D93}" dt="2024-05-10T15:55:16.820" v="474" actId="1076"/>
          <ac:spMkLst>
            <pc:docMk/>
            <pc:sldMk cId="968692997" sldId="342"/>
            <ac:spMk id="87" creationId="{B358C5E8-C54D-E91C-DD25-B9C80BDEE9EF}"/>
          </ac:spMkLst>
        </pc:spChg>
        <pc:spChg chg="add mod">
          <ac:chgData name="Veniero Facchetti" userId="f2c6c99af91c4974" providerId="LiveId" clId="{34DF7D6B-EB0F-4B53-B080-BB8D6F5C3D93}" dt="2024-05-10T15:55:16.820" v="474" actId="1076"/>
          <ac:spMkLst>
            <pc:docMk/>
            <pc:sldMk cId="968692997" sldId="342"/>
            <ac:spMk id="88" creationId="{F39A5BA1-59D1-4DA2-47B2-276D9E80F21F}"/>
          </ac:spMkLst>
        </pc:spChg>
        <pc:spChg chg="add mod">
          <ac:chgData name="Veniero Facchetti" userId="f2c6c99af91c4974" providerId="LiveId" clId="{34DF7D6B-EB0F-4B53-B080-BB8D6F5C3D93}" dt="2024-05-10T15:55:16.820" v="474" actId="1076"/>
          <ac:spMkLst>
            <pc:docMk/>
            <pc:sldMk cId="968692997" sldId="342"/>
            <ac:spMk id="89" creationId="{AC42E0A9-D2B1-4F44-707C-0CB109749B72}"/>
          </ac:spMkLst>
        </pc:spChg>
        <pc:spChg chg="add mod">
          <ac:chgData name="Veniero Facchetti" userId="f2c6c99af91c4974" providerId="LiveId" clId="{34DF7D6B-EB0F-4B53-B080-BB8D6F5C3D93}" dt="2024-05-10T15:55:16.820" v="474" actId="1076"/>
          <ac:spMkLst>
            <pc:docMk/>
            <pc:sldMk cId="968692997" sldId="342"/>
            <ac:spMk id="90" creationId="{320E7481-1E98-870B-CEF7-3E5E7FA79A74}"/>
          </ac:spMkLst>
        </pc:spChg>
        <pc:spChg chg="add mod">
          <ac:chgData name="Veniero Facchetti" userId="f2c6c99af91c4974" providerId="LiveId" clId="{34DF7D6B-EB0F-4B53-B080-BB8D6F5C3D93}" dt="2024-05-10T15:55:16.820" v="474" actId="1076"/>
          <ac:spMkLst>
            <pc:docMk/>
            <pc:sldMk cId="968692997" sldId="342"/>
            <ac:spMk id="91" creationId="{A1A9DCD4-5F65-C2DA-9CEF-674E8512012C}"/>
          </ac:spMkLst>
        </pc:spChg>
        <pc:spChg chg="add mod">
          <ac:chgData name="Veniero Facchetti" userId="f2c6c99af91c4974" providerId="LiveId" clId="{34DF7D6B-EB0F-4B53-B080-BB8D6F5C3D93}" dt="2024-05-10T15:55:16.820" v="474" actId="1076"/>
          <ac:spMkLst>
            <pc:docMk/>
            <pc:sldMk cId="968692997" sldId="342"/>
            <ac:spMk id="92" creationId="{B5B6CD31-21EE-8E19-66D7-6E4B301835CD}"/>
          </ac:spMkLst>
        </pc:spChg>
        <pc:spChg chg="add mod">
          <ac:chgData name="Veniero Facchetti" userId="f2c6c99af91c4974" providerId="LiveId" clId="{34DF7D6B-EB0F-4B53-B080-BB8D6F5C3D93}" dt="2024-05-10T15:55:16.820" v="474" actId="1076"/>
          <ac:spMkLst>
            <pc:docMk/>
            <pc:sldMk cId="968692997" sldId="342"/>
            <ac:spMk id="93" creationId="{ABCAB522-3C3C-9DAB-7B38-28BEF83CE69F}"/>
          </ac:spMkLst>
        </pc:spChg>
        <pc:spChg chg="add mod">
          <ac:chgData name="Veniero Facchetti" userId="f2c6c99af91c4974" providerId="LiveId" clId="{34DF7D6B-EB0F-4B53-B080-BB8D6F5C3D93}" dt="2024-05-10T15:55:16.820" v="474" actId="1076"/>
          <ac:spMkLst>
            <pc:docMk/>
            <pc:sldMk cId="968692997" sldId="342"/>
            <ac:spMk id="94" creationId="{86481F7F-36F4-E54E-F7E6-C8C6FB44E628}"/>
          </ac:spMkLst>
        </pc:spChg>
        <pc:spChg chg="add mod">
          <ac:chgData name="Veniero Facchetti" userId="f2c6c99af91c4974" providerId="LiveId" clId="{34DF7D6B-EB0F-4B53-B080-BB8D6F5C3D93}" dt="2024-05-10T15:55:16.820" v="474" actId="1076"/>
          <ac:spMkLst>
            <pc:docMk/>
            <pc:sldMk cId="968692997" sldId="342"/>
            <ac:spMk id="95" creationId="{65CFE334-9AD9-1316-0A6F-4CE3A2B03888}"/>
          </ac:spMkLst>
        </pc:spChg>
        <pc:spChg chg="add mod">
          <ac:chgData name="Veniero Facchetti" userId="f2c6c99af91c4974" providerId="LiveId" clId="{34DF7D6B-EB0F-4B53-B080-BB8D6F5C3D93}" dt="2024-05-10T15:55:16.820" v="474" actId="1076"/>
          <ac:spMkLst>
            <pc:docMk/>
            <pc:sldMk cId="968692997" sldId="342"/>
            <ac:spMk id="96" creationId="{37C833EB-C6C7-B58C-4351-6BE17883AD6E}"/>
          </ac:spMkLst>
        </pc:spChg>
        <pc:spChg chg="add mod">
          <ac:chgData name="Veniero Facchetti" userId="f2c6c99af91c4974" providerId="LiveId" clId="{34DF7D6B-EB0F-4B53-B080-BB8D6F5C3D93}" dt="2024-05-10T15:55:16.820" v="474" actId="1076"/>
          <ac:spMkLst>
            <pc:docMk/>
            <pc:sldMk cId="968692997" sldId="342"/>
            <ac:spMk id="97" creationId="{6B68A86C-E67B-C442-2276-5F56DB4918C6}"/>
          </ac:spMkLst>
        </pc:spChg>
        <pc:spChg chg="add mod">
          <ac:chgData name="Veniero Facchetti" userId="f2c6c99af91c4974" providerId="LiveId" clId="{34DF7D6B-EB0F-4B53-B080-BB8D6F5C3D93}" dt="2024-05-10T15:55:16.820" v="474" actId="1076"/>
          <ac:spMkLst>
            <pc:docMk/>
            <pc:sldMk cId="968692997" sldId="342"/>
            <ac:spMk id="98" creationId="{696084DC-2D49-2D65-9830-15D2CAC499B0}"/>
          </ac:spMkLst>
        </pc:spChg>
        <pc:spChg chg="add mod">
          <ac:chgData name="Veniero Facchetti" userId="f2c6c99af91c4974" providerId="LiveId" clId="{34DF7D6B-EB0F-4B53-B080-BB8D6F5C3D93}" dt="2024-05-10T15:55:16.820" v="474" actId="1076"/>
          <ac:spMkLst>
            <pc:docMk/>
            <pc:sldMk cId="968692997" sldId="342"/>
            <ac:spMk id="99" creationId="{C8D87F91-47F4-6F76-FC9D-184EE95AB7AE}"/>
          </ac:spMkLst>
        </pc:spChg>
        <pc:spChg chg="add mod">
          <ac:chgData name="Veniero Facchetti" userId="f2c6c99af91c4974" providerId="LiveId" clId="{34DF7D6B-EB0F-4B53-B080-BB8D6F5C3D93}" dt="2024-05-10T15:55:16.820" v="474" actId="1076"/>
          <ac:spMkLst>
            <pc:docMk/>
            <pc:sldMk cId="968692997" sldId="342"/>
            <ac:spMk id="100" creationId="{9CE1A98D-8F38-5AF1-0EF4-63D826D03479}"/>
          </ac:spMkLst>
        </pc:spChg>
        <pc:spChg chg="add mod">
          <ac:chgData name="Veniero Facchetti" userId="f2c6c99af91c4974" providerId="LiveId" clId="{34DF7D6B-EB0F-4B53-B080-BB8D6F5C3D93}" dt="2024-05-10T15:55:16.820" v="474" actId="1076"/>
          <ac:spMkLst>
            <pc:docMk/>
            <pc:sldMk cId="968692997" sldId="342"/>
            <ac:spMk id="101" creationId="{EA1DAC6C-DD98-E779-C8A6-01301F8F4420}"/>
          </ac:spMkLst>
        </pc:spChg>
        <pc:spChg chg="add mod">
          <ac:chgData name="Veniero Facchetti" userId="f2c6c99af91c4974" providerId="LiveId" clId="{34DF7D6B-EB0F-4B53-B080-BB8D6F5C3D93}" dt="2024-05-10T15:55:16.820" v="474" actId="1076"/>
          <ac:spMkLst>
            <pc:docMk/>
            <pc:sldMk cId="968692997" sldId="342"/>
            <ac:spMk id="102" creationId="{A098D013-7F2E-FA51-8534-AE0F77ED06B0}"/>
          </ac:spMkLst>
        </pc:spChg>
        <pc:spChg chg="add mod">
          <ac:chgData name="Veniero Facchetti" userId="f2c6c99af91c4974" providerId="LiveId" clId="{34DF7D6B-EB0F-4B53-B080-BB8D6F5C3D93}" dt="2024-05-10T15:55:16.820" v="474" actId="1076"/>
          <ac:spMkLst>
            <pc:docMk/>
            <pc:sldMk cId="968692997" sldId="342"/>
            <ac:spMk id="103" creationId="{4AF26957-0BCF-8C19-5F17-851E5D3E8FF1}"/>
          </ac:spMkLst>
        </pc:spChg>
        <pc:spChg chg="add mod">
          <ac:chgData name="Veniero Facchetti" userId="f2c6c99af91c4974" providerId="LiveId" clId="{34DF7D6B-EB0F-4B53-B080-BB8D6F5C3D93}" dt="2024-05-10T15:55:16.820" v="474" actId="1076"/>
          <ac:spMkLst>
            <pc:docMk/>
            <pc:sldMk cId="968692997" sldId="342"/>
            <ac:spMk id="104" creationId="{4247786A-ED4B-44B3-D936-1834F82D5E41}"/>
          </ac:spMkLst>
        </pc:spChg>
        <pc:spChg chg="mod">
          <ac:chgData name="Veniero Facchetti" userId="f2c6c99af91c4974" providerId="LiveId" clId="{34DF7D6B-EB0F-4B53-B080-BB8D6F5C3D93}" dt="2024-05-10T15:55:16.820" v="474" actId="1076"/>
          <ac:spMkLst>
            <pc:docMk/>
            <pc:sldMk cId="968692997" sldId="342"/>
            <ac:spMk id="106" creationId="{C05C2D1A-BAB2-696F-1BEC-F34BD104AE9F}"/>
          </ac:spMkLst>
        </pc:spChg>
        <pc:spChg chg="mod">
          <ac:chgData name="Veniero Facchetti" userId="f2c6c99af91c4974" providerId="LiveId" clId="{34DF7D6B-EB0F-4B53-B080-BB8D6F5C3D93}" dt="2024-05-10T15:55:16.820" v="474" actId="1076"/>
          <ac:spMkLst>
            <pc:docMk/>
            <pc:sldMk cId="968692997" sldId="342"/>
            <ac:spMk id="107" creationId="{27ACB0E0-DBC4-780F-AEB6-739A047C5DB2}"/>
          </ac:spMkLst>
        </pc:spChg>
        <pc:spChg chg="add mod">
          <ac:chgData name="Veniero Facchetti" userId="f2c6c99af91c4974" providerId="LiveId" clId="{34DF7D6B-EB0F-4B53-B080-BB8D6F5C3D93}" dt="2024-05-10T15:55:16.820" v="474" actId="1076"/>
          <ac:spMkLst>
            <pc:docMk/>
            <pc:sldMk cId="968692997" sldId="342"/>
            <ac:spMk id="108" creationId="{CB98E033-0856-2FCB-674D-4C79DCDB0167}"/>
          </ac:spMkLst>
        </pc:spChg>
        <pc:spChg chg="add mod">
          <ac:chgData name="Veniero Facchetti" userId="f2c6c99af91c4974" providerId="LiveId" clId="{34DF7D6B-EB0F-4B53-B080-BB8D6F5C3D93}" dt="2024-05-10T15:55:16.820" v="474" actId="1076"/>
          <ac:spMkLst>
            <pc:docMk/>
            <pc:sldMk cId="968692997" sldId="342"/>
            <ac:spMk id="109" creationId="{86AF1375-D7B7-8C70-90D1-A7CC9AF89156}"/>
          </ac:spMkLst>
        </pc:spChg>
        <pc:spChg chg="add mod">
          <ac:chgData name="Veniero Facchetti" userId="f2c6c99af91c4974" providerId="LiveId" clId="{34DF7D6B-EB0F-4B53-B080-BB8D6F5C3D93}" dt="2024-05-10T15:55:16.820" v="474" actId="1076"/>
          <ac:spMkLst>
            <pc:docMk/>
            <pc:sldMk cId="968692997" sldId="342"/>
            <ac:spMk id="110" creationId="{45CDEEC4-B739-7772-9F7A-480FBB8B87DF}"/>
          </ac:spMkLst>
        </pc:spChg>
        <pc:spChg chg="add mod">
          <ac:chgData name="Veniero Facchetti" userId="f2c6c99af91c4974" providerId="LiveId" clId="{34DF7D6B-EB0F-4B53-B080-BB8D6F5C3D93}" dt="2024-05-10T15:55:16.820" v="474" actId="1076"/>
          <ac:spMkLst>
            <pc:docMk/>
            <pc:sldMk cId="968692997" sldId="342"/>
            <ac:spMk id="111" creationId="{9EC4893F-B481-CEC5-E7BA-5AEB227F54FA}"/>
          </ac:spMkLst>
        </pc:spChg>
        <pc:spChg chg="add mod">
          <ac:chgData name="Veniero Facchetti" userId="f2c6c99af91c4974" providerId="LiveId" clId="{34DF7D6B-EB0F-4B53-B080-BB8D6F5C3D93}" dt="2024-05-10T15:55:16.820" v="474" actId="1076"/>
          <ac:spMkLst>
            <pc:docMk/>
            <pc:sldMk cId="968692997" sldId="342"/>
            <ac:spMk id="112" creationId="{65A74FCB-FB82-9589-1429-736F9D983C82}"/>
          </ac:spMkLst>
        </pc:spChg>
        <pc:spChg chg="add mod">
          <ac:chgData name="Veniero Facchetti" userId="f2c6c99af91c4974" providerId="LiveId" clId="{34DF7D6B-EB0F-4B53-B080-BB8D6F5C3D93}" dt="2024-05-10T15:55:16.820" v="474" actId="1076"/>
          <ac:spMkLst>
            <pc:docMk/>
            <pc:sldMk cId="968692997" sldId="342"/>
            <ac:spMk id="113" creationId="{F3165FEF-1636-F1CB-2A5A-D6F5AE821328}"/>
          </ac:spMkLst>
        </pc:spChg>
        <pc:spChg chg="add mod">
          <ac:chgData name="Veniero Facchetti" userId="f2c6c99af91c4974" providerId="LiveId" clId="{34DF7D6B-EB0F-4B53-B080-BB8D6F5C3D93}" dt="2024-05-10T15:55:16.820" v="474" actId="1076"/>
          <ac:spMkLst>
            <pc:docMk/>
            <pc:sldMk cId="968692997" sldId="342"/>
            <ac:spMk id="114" creationId="{6C4EE017-1BCA-6958-F08D-26AC13480B2A}"/>
          </ac:spMkLst>
        </pc:spChg>
        <pc:spChg chg="add mod">
          <ac:chgData name="Veniero Facchetti" userId="f2c6c99af91c4974" providerId="LiveId" clId="{34DF7D6B-EB0F-4B53-B080-BB8D6F5C3D93}" dt="2024-05-10T15:55:16.820" v="474" actId="1076"/>
          <ac:spMkLst>
            <pc:docMk/>
            <pc:sldMk cId="968692997" sldId="342"/>
            <ac:spMk id="117" creationId="{78DCC09F-B731-9B10-9611-596F4E3DB268}"/>
          </ac:spMkLst>
        </pc:spChg>
        <pc:spChg chg="add mod">
          <ac:chgData name="Veniero Facchetti" userId="f2c6c99af91c4974" providerId="LiveId" clId="{34DF7D6B-EB0F-4B53-B080-BB8D6F5C3D93}" dt="2024-05-10T15:55:16.820" v="474" actId="1076"/>
          <ac:spMkLst>
            <pc:docMk/>
            <pc:sldMk cId="968692997" sldId="342"/>
            <ac:spMk id="118" creationId="{7312CB73-CBBA-2F46-8DFB-D2315D62C952}"/>
          </ac:spMkLst>
        </pc:spChg>
        <pc:spChg chg="add mod">
          <ac:chgData name="Veniero Facchetti" userId="f2c6c99af91c4974" providerId="LiveId" clId="{34DF7D6B-EB0F-4B53-B080-BB8D6F5C3D93}" dt="2024-05-10T15:55:16.820" v="474" actId="1076"/>
          <ac:spMkLst>
            <pc:docMk/>
            <pc:sldMk cId="968692997" sldId="342"/>
            <ac:spMk id="119" creationId="{CBFE2CAA-DC12-481E-1D64-E36B1B856442}"/>
          </ac:spMkLst>
        </pc:spChg>
        <pc:spChg chg="add mod">
          <ac:chgData name="Veniero Facchetti" userId="f2c6c99af91c4974" providerId="LiveId" clId="{34DF7D6B-EB0F-4B53-B080-BB8D6F5C3D93}" dt="2024-05-10T15:55:16.820" v="474" actId="1076"/>
          <ac:spMkLst>
            <pc:docMk/>
            <pc:sldMk cId="968692997" sldId="342"/>
            <ac:spMk id="120" creationId="{758721A3-2EAD-8754-3897-740D959F24C9}"/>
          </ac:spMkLst>
        </pc:spChg>
        <pc:spChg chg="add mod">
          <ac:chgData name="Veniero Facchetti" userId="f2c6c99af91c4974" providerId="LiveId" clId="{34DF7D6B-EB0F-4B53-B080-BB8D6F5C3D93}" dt="2024-05-10T15:55:16.820" v="474" actId="1076"/>
          <ac:spMkLst>
            <pc:docMk/>
            <pc:sldMk cId="968692997" sldId="342"/>
            <ac:spMk id="121" creationId="{2DDA0A92-7834-5BB0-08DE-BE2B8971E0E0}"/>
          </ac:spMkLst>
        </pc:spChg>
        <pc:spChg chg="add mod">
          <ac:chgData name="Veniero Facchetti" userId="f2c6c99af91c4974" providerId="LiveId" clId="{34DF7D6B-EB0F-4B53-B080-BB8D6F5C3D93}" dt="2024-05-10T15:55:16.820" v="474" actId="1076"/>
          <ac:spMkLst>
            <pc:docMk/>
            <pc:sldMk cId="968692997" sldId="342"/>
            <ac:spMk id="122" creationId="{DFA16CFD-F9C6-26E2-7F4B-FE80CEF34261}"/>
          </ac:spMkLst>
        </pc:spChg>
        <pc:spChg chg="add mod">
          <ac:chgData name="Veniero Facchetti" userId="f2c6c99af91c4974" providerId="LiveId" clId="{34DF7D6B-EB0F-4B53-B080-BB8D6F5C3D93}" dt="2024-05-10T15:55:16.820" v="474" actId="1076"/>
          <ac:spMkLst>
            <pc:docMk/>
            <pc:sldMk cId="968692997" sldId="342"/>
            <ac:spMk id="123" creationId="{77601EBD-9729-3B6D-260A-5101D3188AD7}"/>
          </ac:spMkLst>
        </pc:spChg>
        <pc:spChg chg="add mod">
          <ac:chgData name="Veniero Facchetti" userId="f2c6c99af91c4974" providerId="LiveId" clId="{34DF7D6B-EB0F-4B53-B080-BB8D6F5C3D93}" dt="2024-05-10T15:55:16.820" v="474" actId="1076"/>
          <ac:spMkLst>
            <pc:docMk/>
            <pc:sldMk cId="968692997" sldId="342"/>
            <ac:spMk id="124" creationId="{991EACE5-CABA-A65C-BBF3-9FA19F0B3E0A}"/>
          </ac:spMkLst>
        </pc:spChg>
        <pc:spChg chg="add mod">
          <ac:chgData name="Veniero Facchetti" userId="f2c6c99af91c4974" providerId="LiveId" clId="{34DF7D6B-EB0F-4B53-B080-BB8D6F5C3D93}" dt="2024-05-10T15:55:16.820" v="474" actId="1076"/>
          <ac:spMkLst>
            <pc:docMk/>
            <pc:sldMk cId="968692997" sldId="342"/>
            <ac:spMk id="125" creationId="{B85B1F2B-E28D-B2CA-B848-82D01B770246}"/>
          </ac:spMkLst>
        </pc:spChg>
        <pc:spChg chg="add mod">
          <ac:chgData name="Veniero Facchetti" userId="f2c6c99af91c4974" providerId="LiveId" clId="{34DF7D6B-EB0F-4B53-B080-BB8D6F5C3D93}" dt="2024-05-10T15:55:16.820" v="474" actId="1076"/>
          <ac:spMkLst>
            <pc:docMk/>
            <pc:sldMk cId="968692997" sldId="342"/>
            <ac:spMk id="126" creationId="{E64845B6-04D4-381B-CA46-634359C55281}"/>
          </ac:spMkLst>
        </pc:spChg>
        <pc:spChg chg="add mod">
          <ac:chgData name="Veniero Facchetti" userId="f2c6c99af91c4974" providerId="LiveId" clId="{34DF7D6B-EB0F-4B53-B080-BB8D6F5C3D93}" dt="2024-05-10T15:55:16.820" v="474" actId="1076"/>
          <ac:spMkLst>
            <pc:docMk/>
            <pc:sldMk cId="968692997" sldId="342"/>
            <ac:spMk id="130" creationId="{D28A16D7-16B1-378C-C76D-CEC42AC132FF}"/>
          </ac:spMkLst>
        </pc:spChg>
        <pc:spChg chg="add mod">
          <ac:chgData name="Veniero Facchetti" userId="f2c6c99af91c4974" providerId="LiveId" clId="{34DF7D6B-EB0F-4B53-B080-BB8D6F5C3D93}" dt="2024-05-10T15:55:16.820" v="474" actId="1076"/>
          <ac:spMkLst>
            <pc:docMk/>
            <pc:sldMk cId="968692997" sldId="342"/>
            <ac:spMk id="131" creationId="{C09CD1D0-B106-8AA6-BBEC-1ACA863BD01C}"/>
          </ac:spMkLst>
        </pc:spChg>
        <pc:spChg chg="add mod">
          <ac:chgData name="Veniero Facchetti" userId="f2c6c99af91c4974" providerId="LiveId" clId="{34DF7D6B-EB0F-4B53-B080-BB8D6F5C3D93}" dt="2024-05-10T15:55:16.820" v="474" actId="1076"/>
          <ac:spMkLst>
            <pc:docMk/>
            <pc:sldMk cId="968692997" sldId="342"/>
            <ac:spMk id="132" creationId="{221C0925-0889-69D5-D1EA-3D3CE5C3377E}"/>
          </ac:spMkLst>
        </pc:spChg>
        <pc:spChg chg="add mod">
          <ac:chgData name="Veniero Facchetti" userId="f2c6c99af91c4974" providerId="LiveId" clId="{34DF7D6B-EB0F-4B53-B080-BB8D6F5C3D93}" dt="2024-05-10T15:55:16.820" v="474" actId="1076"/>
          <ac:spMkLst>
            <pc:docMk/>
            <pc:sldMk cId="968692997" sldId="342"/>
            <ac:spMk id="133" creationId="{136E3615-3513-530C-1765-8D735F2A91E0}"/>
          </ac:spMkLst>
        </pc:spChg>
        <pc:spChg chg="add mod">
          <ac:chgData name="Veniero Facchetti" userId="f2c6c99af91c4974" providerId="LiveId" clId="{34DF7D6B-EB0F-4B53-B080-BB8D6F5C3D93}" dt="2024-05-10T15:55:16.820" v="474" actId="1076"/>
          <ac:spMkLst>
            <pc:docMk/>
            <pc:sldMk cId="968692997" sldId="342"/>
            <ac:spMk id="137" creationId="{B96270BA-336B-A8D3-1003-8A49FF40C13E}"/>
          </ac:spMkLst>
        </pc:spChg>
        <pc:spChg chg="add mod">
          <ac:chgData name="Veniero Facchetti" userId="f2c6c99af91c4974" providerId="LiveId" clId="{34DF7D6B-EB0F-4B53-B080-BB8D6F5C3D93}" dt="2024-05-10T15:55:16.820" v="474" actId="1076"/>
          <ac:spMkLst>
            <pc:docMk/>
            <pc:sldMk cId="968692997" sldId="342"/>
            <ac:spMk id="138" creationId="{1012CDAC-B7C8-79ED-358A-2622C7088F69}"/>
          </ac:spMkLst>
        </pc:spChg>
        <pc:spChg chg="add mod">
          <ac:chgData name="Veniero Facchetti" userId="f2c6c99af91c4974" providerId="LiveId" clId="{34DF7D6B-EB0F-4B53-B080-BB8D6F5C3D93}" dt="2024-05-10T15:55:16.820" v="474" actId="1076"/>
          <ac:spMkLst>
            <pc:docMk/>
            <pc:sldMk cId="968692997" sldId="342"/>
            <ac:spMk id="139" creationId="{C598C88B-B26F-C412-2AC1-1AA9129C451E}"/>
          </ac:spMkLst>
        </pc:spChg>
        <pc:spChg chg="add mod">
          <ac:chgData name="Veniero Facchetti" userId="f2c6c99af91c4974" providerId="LiveId" clId="{34DF7D6B-EB0F-4B53-B080-BB8D6F5C3D93}" dt="2024-05-10T15:55:16.820" v="474" actId="1076"/>
          <ac:spMkLst>
            <pc:docMk/>
            <pc:sldMk cId="968692997" sldId="342"/>
            <ac:spMk id="140" creationId="{3F605E17-7FC3-DBE1-7412-2ED3936760F8}"/>
          </ac:spMkLst>
        </pc:spChg>
        <pc:spChg chg="add mod">
          <ac:chgData name="Veniero Facchetti" userId="f2c6c99af91c4974" providerId="LiveId" clId="{34DF7D6B-EB0F-4B53-B080-BB8D6F5C3D93}" dt="2024-05-10T15:55:16.820" v="474" actId="1076"/>
          <ac:spMkLst>
            <pc:docMk/>
            <pc:sldMk cId="968692997" sldId="342"/>
            <ac:spMk id="144" creationId="{BCC77539-AA65-AE22-A375-F8DBBF5CBE3D}"/>
          </ac:spMkLst>
        </pc:spChg>
        <pc:spChg chg="add mod">
          <ac:chgData name="Veniero Facchetti" userId="f2c6c99af91c4974" providerId="LiveId" clId="{34DF7D6B-EB0F-4B53-B080-BB8D6F5C3D93}" dt="2024-05-10T15:55:16.820" v="474" actId="1076"/>
          <ac:spMkLst>
            <pc:docMk/>
            <pc:sldMk cId="968692997" sldId="342"/>
            <ac:spMk id="145" creationId="{37A2A7AA-8EF5-8F86-5BE1-BBB79459393A}"/>
          </ac:spMkLst>
        </pc:spChg>
        <pc:spChg chg="add mod">
          <ac:chgData name="Veniero Facchetti" userId="f2c6c99af91c4974" providerId="LiveId" clId="{34DF7D6B-EB0F-4B53-B080-BB8D6F5C3D93}" dt="2024-05-10T15:55:16.820" v="474" actId="1076"/>
          <ac:spMkLst>
            <pc:docMk/>
            <pc:sldMk cId="968692997" sldId="342"/>
            <ac:spMk id="146" creationId="{91FC90D6-8183-20BC-C719-8D143141A333}"/>
          </ac:spMkLst>
        </pc:spChg>
        <pc:spChg chg="add mod">
          <ac:chgData name="Veniero Facchetti" userId="f2c6c99af91c4974" providerId="LiveId" clId="{34DF7D6B-EB0F-4B53-B080-BB8D6F5C3D93}" dt="2024-05-10T15:55:16.820" v="474" actId="1076"/>
          <ac:spMkLst>
            <pc:docMk/>
            <pc:sldMk cId="968692997" sldId="342"/>
            <ac:spMk id="147" creationId="{2C79391B-4633-A02A-7E66-116754DF5A00}"/>
          </ac:spMkLst>
        </pc:spChg>
        <pc:spChg chg="add mod">
          <ac:chgData name="Veniero Facchetti" userId="f2c6c99af91c4974" providerId="LiveId" clId="{34DF7D6B-EB0F-4B53-B080-BB8D6F5C3D93}" dt="2024-05-10T15:55:16.820" v="474" actId="1076"/>
          <ac:spMkLst>
            <pc:docMk/>
            <pc:sldMk cId="968692997" sldId="342"/>
            <ac:spMk id="151" creationId="{7C6D121F-8717-3AF4-0507-73A60604CAF7}"/>
          </ac:spMkLst>
        </pc:spChg>
        <pc:spChg chg="add mod">
          <ac:chgData name="Veniero Facchetti" userId="f2c6c99af91c4974" providerId="LiveId" clId="{34DF7D6B-EB0F-4B53-B080-BB8D6F5C3D93}" dt="2024-05-10T15:55:16.820" v="474" actId="1076"/>
          <ac:spMkLst>
            <pc:docMk/>
            <pc:sldMk cId="968692997" sldId="342"/>
            <ac:spMk id="153" creationId="{FEF6D8FD-BCF8-19DE-B26A-B6C08D7FDC17}"/>
          </ac:spMkLst>
        </pc:spChg>
        <pc:spChg chg="add mod">
          <ac:chgData name="Veniero Facchetti" userId="f2c6c99af91c4974" providerId="LiveId" clId="{34DF7D6B-EB0F-4B53-B080-BB8D6F5C3D93}" dt="2024-05-10T15:55:16.820" v="474" actId="1076"/>
          <ac:spMkLst>
            <pc:docMk/>
            <pc:sldMk cId="968692997" sldId="342"/>
            <ac:spMk id="154" creationId="{F63A9860-EBBD-03A6-91A2-7B83EDB28B7C}"/>
          </ac:spMkLst>
        </pc:spChg>
        <pc:spChg chg="add mod">
          <ac:chgData name="Veniero Facchetti" userId="f2c6c99af91c4974" providerId="LiveId" clId="{34DF7D6B-EB0F-4B53-B080-BB8D6F5C3D93}" dt="2024-05-10T15:55:16.820" v="474" actId="1076"/>
          <ac:spMkLst>
            <pc:docMk/>
            <pc:sldMk cId="968692997" sldId="342"/>
            <ac:spMk id="155" creationId="{ABF70C9C-A73A-02F3-5F28-C535D3111A31}"/>
          </ac:spMkLst>
        </pc:spChg>
        <pc:spChg chg="add mod">
          <ac:chgData name="Veniero Facchetti" userId="f2c6c99af91c4974" providerId="LiveId" clId="{34DF7D6B-EB0F-4B53-B080-BB8D6F5C3D93}" dt="2024-05-10T15:55:16.820" v="474" actId="1076"/>
          <ac:spMkLst>
            <pc:docMk/>
            <pc:sldMk cId="968692997" sldId="342"/>
            <ac:spMk id="156" creationId="{2DAEBF17-1677-6EF0-8AE7-5767398D00FD}"/>
          </ac:spMkLst>
        </pc:spChg>
        <pc:spChg chg="add mod">
          <ac:chgData name="Veniero Facchetti" userId="f2c6c99af91c4974" providerId="LiveId" clId="{34DF7D6B-EB0F-4B53-B080-BB8D6F5C3D93}" dt="2024-05-10T15:55:16.820" v="474" actId="1076"/>
          <ac:spMkLst>
            <pc:docMk/>
            <pc:sldMk cId="968692997" sldId="342"/>
            <ac:spMk id="158" creationId="{0CAD8FDB-EC10-2F03-6A0B-136159A2AA74}"/>
          </ac:spMkLst>
        </pc:spChg>
        <pc:spChg chg="add mod">
          <ac:chgData name="Veniero Facchetti" userId="f2c6c99af91c4974" providerId="LiveId" clId="{34DF7D6B-EB0F-4B53-B080-BB8D6F5C3D93}" dt="2024-05-10T15:55:16.820" v="474" actId="1076"/>
          <ac:spMkLst>
            <pc:docMk/>
            <pc:sldMk cId="968692997" sldId="342"/>
            <ac:spMk id="159" creationId="{42273472-A351-D869-E796-E72AE638DC44}"/>
          </ac:spMkLst>
        </pc:spChg>
        <pc:spChg chg="add mod">
          <ac:chgData name="Veniero Facchetti" userId="f2c6c99af91c4974" providerId="LiveId" clId="{34DF7D6B-EB0F-4B53-B080-BB8D6F5C3D93}" dt="2024-05-10T15:55:16.820" v="474" actId="1076"/>
          <ac:spMkLst>
            <pc:docMk/>
            <pc:sldMk cId="968692997" sldId="342"/>
            <ac:spMk id="160" creationId="{19F8017A-6FCC-BCFD-2CAD-C9CA99777924}"/>
          </ac:spMkLst>
        </pc:spChg>
        <pc:spChg chg="add mod">
          <ac:chgData name="Veniero Facchetti" userId="f2c6c99af91c4974" providerId="LiveId" clId="{34DF7D6B-EB0F-4B53-B080-BB8D6F5C3D93}" dt="2024-05-10T15:55:16.820" v="474" actId="1076"/>
          <ac:spMkLst>
            <pc:docMk/>
            <pc:sldMk cId="968692997" sldId="342"/>
            <ac:spMk id="161" creationId="{FD0B2DDC-FDD0-B636-064A-2D06098B413C}"/>
          </ac:spMkLst>
        </pc:spChg>
        <pc:spChg chg="add mod">
          <ac:chgData name="Veniero Facchetti" userId="f2c6c99af91c4974" providerId="LiveId" clId="{34DF7D6B-EB0F-4B53-B080-BB8D6F5C3D93}" dt="2024-05-10T15:55:16.820" v="474" actId="1076"/>
          <ac:spMkLst>
            <pc:docMk/>
            <pc:sldMk cId="968692997" sldId="342"/>
            <ac:spMk id="163" creationId="{53783CAF-EE65-F34F-6281-6DE4CC832413}"/>
          </ac:spMkLst>
        </pc:spChg>
        <pc:spChg chg="add mod">
          <ac:chgData name="Veniero Facchetti" userId="f2c6c99af91c4974" providerId="LiveId" clId="{34DF7D6B-EB0F-4B53-B080-BB8D6F5C3D93}" dt="2024-05-10T15:55:16.820" v="474" actId="1076"/>
          <ac:spMkLst>
            <pc:docMk/>
            <pc:sldMk cId="968692997" sldId="342"/>
            <ac:spMk id="167" creationId="{094CEA71-6A67-F64E-D166-793070050C0C}"/>
          </ac:spMkLst>
        </pc:spChg>
        <pc:spChg chg="add mod">
          <ac:chgData name="Veniero Facchetti" userId="f2c6c99af91c4974" providerId="LiveId" clId="{34DF7D6B-EB0F-4B53-B080-BB8D6F5C3D93}" dt="2024-05-10T15:55:16.820" v="474" actId="1076"/>
          <ac:spMkLst>
            <pc:docMk/>
            <pc:sldMk cId="968692997" sldId="342"/>
            <ac:spMk id="168" creationId="{09D7AFED-52FC-31F5-0BE6-2F97018278A9}"/>
          </ac:spMkLst>
        </pc:spChg>
        <pc:spChg chg="add mod">
          <ac:chgData name="Veniero Facchetti" userId="f2c6c99af91c4974" providerId="LiveId" clId="{34DF7D6B-EB0F-4B53-B080-BB8D6F5C3D93}" dt="2024-05-10T15:55:16.820" v="474" actId="1076"/>
          <ac:spMkLst>
            <pc:docMk/>
            <pc:sldMk cId="968692997" sldId="342"/>
            <ac:spMk id="169" creationId="{C6AA312B-E1E2-AAC8-87A5-5031C45A6462}"/>
          </ac:spMkLst>
        </pc:spChg>
        <pc:spChg chg="add mod">
          <ac:chgData name="Veniero Facchetti" userId="f2c6c99af91c4974" providerId="LiveId" clId="{34DF7D6B-EB0F-4B53-B080-BB8D6F5C3D93}" dt="2024-05-10T15:55:16.820" v="474" actId="1076"/>
          <ac:spMkLst>
            <pc:docMk/>
            <pc:sldMk cId="968692997" sldId="342"/>
            <ac:spMk id="170" creationId="{F4F40C86-C3EE-5F6B-0713-7F1BFFE923B7}"/>
          </ac:spMkLst>
        </pc:spChg>
        <pc:spChg chg="add mod">
          <ac:chgData name="Veniero Facchetti" userId="f2c6c99af91c4974" providerId="LiveId" clId="{34DF7D6B-EB0F-4B53-B080-BB8D6F5C3D93}" dt="2024-05-10T15:55:16.820" v="474" actId="1076"/>
          <ac:spMkLst>
            <pc:docMk/>
            <pc:sldMk cId="968692997" sldId="342"/>
            <ac:spMk id="171" creationId="{7E94121A-8FEA-12A1-79B9-76D0B483F80F}"/>
          </ac:spMkLst>
        </pc:spChg>
        <pc:spChg chg="mod">
          <ac:chgData name="Veniero Facchetti" userId="f2c6c99af91c4974" providerId="LiveId" clId="{34DF7D6B-EB0F-4B53-B080-BB8D6F5C3D93}" dt="2024-05-10T15:54:17.274" v="462"/>
          <ac:spMkLst>
            <pc:docMk/>
            <pc:sldMk cId="968692997" sldId="342"/>
            <ac:spMk id="173" creationId="{DD48F432-E75A-18F3-FF53-0188E447B27D}"/>
          </ac:spMkLst>
        </pc:spChg>
        <pc:spChg chg="mod">
          <ac:chgData name="Veniero Facchetti" userId="f2c6c99af91c4974" providerId="LiveId" clId="{34DF7D6B-EB0F-4B53-B080-BB8D6F5C3D93}" dt="2024-05-10T15:54:17.274" v="462"/>
          <ac:spMkLst>
            <pc:docMk/>
            <pc:sldMk cId="968692997" sldId="342"/>
            <ac:spMk id="174" creationId="{50211F37-AA52-AFFC-9426-8E03A3594B7B}"/>
          </ac:spMkLst>
        </pc:spChg>
        <pc:grpChg chg="add mod">
          <ac:chgData name="Veniero Facchetti" userId="f2c6c99af91c4974" providerId="LiveId" clId="{34DF7D6B-EB0F-4B53-B080-BB8D6F5C3D93}" dt="2024-05-10T15:55:16.820" v="474" actId="1076"/>
          <ac:grpSpMkLst>
            <pc:docMk/>
            <pc:sldMk cId="968692997" sldId="342"/>
            <ac:grpSpMk id="105" creationId="{034F424C-D881-0C0A-F6EB-FF0931851A0B}"/>
          </ac:grpSpMkLst>
        </pc:grpChg>
        <pc:grpChg chg="add mod">
          <ac:chgData name="Veniero Facchetti" userId="f2c6c99af91c4974" providerId="LiveId" clId="{34DF7D6B-EB0F-4B53-B080-BB8D6F5C3D93}" dt="2024-05-10T15:54:17.274" v="462"/>
          <ac:grpSpMkLst>
            <pc:docMk/>
            <pc:sldMk cId="968692997" sldId="342"/>
            <ac:grpSpMk id="172" creationId="{DF1F3DCF-4F7A-560C-5328-1FC6F56301E0}"/>
          </ac:grpSpMkLst>
        </pc:grpChg>
        <pc:graphicFrameChg chg="add mod">
          <ac:chgData name="Veniero Facchetti" userId="f2c6c99af91c4974" providerId="LiveId" clId="{34DF7D6B-EB0F-4B53-B080-BB8D6F5C3D93}" dt="2024-05-10T15:55:16.820" v="474" actId="1076"/>
          <ac:graphicFrameMkLst>
            <pc:docMk/>
            <pc:sldMk cId="968692997" sldId="342"/>
            <ac:graphicFrameMk id="84" creationId="{55905AD7-0B8E-3725-D696-8259D88EAF76}"/>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15" creationId="{A406CD33-298B-21B7-2018-431D03EFDA76}"/>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16" creationId="{1E5D7F6F-667B-262B-5518-7CC69F4D6529}"/>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27" creationId="{A1EF45D1-00CD-2D7C-C643-DFF94DE871E9}"/>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28" creationId="{8AA1D9A5-7E3F-8764-312A-AEA0D85BCF6F}"/>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29" creationId="{F5F0E94D-4011-2AAC-F30A-4DA1A8D5A983}"/>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34" creationId="{997E9D21-9ABA-2915-431A-6EA3F473E5DE}"/>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35" creationId="{673B211F-5EA3-2191-B285-D16E2CCA0600}"/>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36" creationId="{8FA67A59-76AA-48DA-2393-FC9FE3CEC0E7}"/>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41" creationId="{3020C3DA-EF3D-3BC4-63BE-67A3738FF255}"/>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42" creationId="{90658F14-50F1-9217-F1C1-A802955761F4}"/>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43" creationId="{9FB79859-AE2C-CA30-B7A7-1B64435EA538}"/>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48" creationId="{8BC744F1-CA8C-AE0E-9EE3-83FD38E65C5C}"/>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49" creationId="{EE1449FB-6B4F-3212-6374-4DC4E8E56BB8}"/>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50" creationId="{D2F5BA54-36C2-D955-CB3F-B5236ED76242}"/>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52" creationId="{81818BE2-CE73-454F-C300-041784DD979D}"/>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57" creationId="{0AAE207B-8358-746B-2CB3-FDAD80800CBB}"/>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62" creationId="{44D165BE-A248-86DA-313F-05D5D0B8F1FF}"/>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64" creationId="{CDF8AEAD-0916-5F39-F6E9-DA8A947F239B}"/>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65" creationId="{59228510-CF05-491C-320B-AF4DA1EEC502}"/>
          </ac:graphicFrameMkLst>
        </pc:graphicFrameChg>
        <pc:graphicFrameChg chg="add mod">
          <ac:chgData name="Veniero Facchetti" userId="f2c6c99af91c4974" providerId="LiveId" clId="{34DF7D6B-EB0F-4B53-B080-BB8D6F5C3D93}" dt="2024-05-10T15:55:16.820" v="474" actId="1076"/>
          <ac:graphicFrameMkLst>
            <pc:docMk/>
            <pc:sldMk cId="968692997" sldId="342"/>
            <ac:graphicFrameMk id="166" creationId="{9374F7C4-CEE4-5C9D-5ED5-3D66DA3EB6C0}"/>
          </ac:graphicFrameMkLst>
        </pc:graphicFrameChg>
      </pc:sldChg>
      <pc:sldChg chg="addSp modSp new mod">
        <pc:chgData name="Veniero Facchetti" userId="f2c6c99af91c4974" providerId="LiveId" clId="{34DF7D6B-EB0F-4B53-B080-BB8D6F5C3D93}" dt="2024-05-10T15:57:05.780" v="501" actId="14100"/>
        <pc:sldMkLst>
          <pc:docMk/>
          <pc:sldMk cId="1865091163" sldId="343"/>
        </pc:sldMkLst>
        <pc:spChg chg="add mod">
          <ac:chgData name="Veniero Facchetti" userId="f2c6c99af91c4974" providerId="LiveId" clId="{34DF7D6B-EB0F-4B53-B080-BB8D6F5C3D93}" dt="2024-05-10T15:56:16.195" v="491" actId="14100"/>
          <ac:spMkLst>
            <pc:docMk/>
            <pc:sldMk cId="1865091163" sldId="343"/>
            <ac:spMk id="2" creationId="{00BDAAC7-FB3E-DF76-669B-D307CA901527}"/>
          </ac:spMkLst>
        </pc:spChg>
        <pc:spChg chg="mod">
          <ac:chgData name="Veniero Facchetti" userId="f2c6c99af91c4974" providerId="LiveId" clId="{34DF7D6B-EB0F-4B53-B080-BB8D6F5C3D93}" dt="2024-05-10T15:55:39.778" v="477"/>
          <ac:spMkLst>
            <pc:docMk/>
            <pc:sldMk cId="1865091163" sldId="343"/>
            <ac:spMk id="4" creationId="{813501B8-D30B-9749-690A-6AAA0B34B693}"/>
          </ac:spMkLst>
        </pc:spChg>
        <pc:spChg chg="mod">
          <ac:chgData name="Veniero Facchetti" userId="f2c6c99af91c4974" providerId="LiveId" clId="{34DF7D6B-EB0F-4B53-B080-BB8D6F5C3D93}" dt="2024-05-10T15:55:39.778" v="477"/>
          <ac:spMkLst>
            <pc:docMk/>
            <pc:sldMk cId="1865091163" sldId="343"/>
            <ac:spMk id="5" creationId="{DA3A6C5F-79F9-C2A0-45AD-663CFDB8F87F}"/>
          </ac:spMkLst>
        </pc:spChg>
        <pc:spChg chg="mod">
          <ac:chgData name="Veniero Facchetti" userId="f2c6c99af91c4974" providerId="LiveId" clId="{34DF7D6B-EB0F-4B53-B080-BB8D6F5C3D93}" dt="2024-05-10T15:55:39.778" v="477"/>
          <ac:spMkLst>
            <pc:docMk/>
            <pc:sldMk cId="1865091163" sldId="343"/>
            <ac:spMk id="6" creationId="{D6A4B6BD-B783-6BA4-CCB3-03D8F1722B6C}"/>
          </ac:spMkLst>
        </pc:spChg>
        <pc:spChg chg="mod">
          <ac:chgData name="Veniero Facchetti" userId="f2c6c99af91c4974" providerId="LiveId" clId="{34DF7D6B-EB0F-4B53-B080-BB8D6F5C3D93}" dt="2024-05-10T15:55:39.778" v="477"/>
          <ac:spMkLst>
            <pc:docMk/>
            <pc:sldMk cId="1865091163" sldId="343"/>
            <ac:spMk id="7" creationId="{4752D81C-70F1-C2DF-E63E-55FEF498CE56}"/>
          </ac:spMkLst>
        </pc:spChg>
        <pc:spChg chg="mod">
          <ac:chgData name="Veniero Facchetti" userId="f2c6c99af91c4974" providerId="LiveId" clId="{34DF7D6B-EB0F-4B53-B080-BB8D6F5C3D93}" dt="2024-05-10T15:55:39.778" v="477"/>
          <ac:spMkLst>
            <pc:docMk/>
            <pc:sldMk cId="1865091163" sldId="343"/>
            <ac:spMk id="8" creationId="{7F1CA3E6-BD66-F0DC-22A2-C0068FCB11B9}"/>
          </ac:spMkLst>
        </pc:spChg>
        <pc:spChg chg="mod">
          <ac:chgData name="Veniero Facchetti" userId="f2c6c99af91c4974" providerId="LiveId" clId="{34DF7D6B-EB0F-4B53-B080-BB8D6F5C3D93}" dt="2024-05-10T15:55:39.778" v="477"/>
          <ac:spMkLst>
            <pc:docMk/>
            <pc:sldMk cId="1865091163" sldId="343"/>
            <ac:spMk id="9" creationId="{B33F62E2-5E2B-F89F-3590-759613501A5E}"/>
          </ac:spMkLst>
        </pc:spChg>
        <pc:spChg chg="mod">
          <ac:chgData name="Veniero Facchetti" userId="f2c6c99af91c4974" providerId="LiveId" clId="{34DF7D6B-EB0F-4B53-B080-BB8D6F5C3D93}" dt="2024-05-10T15:55:39.778" v="477"/>
          <ac:spMkLst>
            <pc:docMk/>
            <pc:sldMk cId="1865091163" sldId="343"/>
            <ac:spMk id="10" creationId="{385FD148-371C-D9B4-12B5-73C43C1E8C78}"/>
          </ac:spMkLst>
        </pc:spChg>
        <pc:spChg chg="mod">
          <ac:chgData name="Veniero Facchetti" userId="f2c6c99af91c4974" providerId="LiveId" clId="{34DF7D6B-EB0F-4B53-B080-BB8D6F5C3D93}" dt="2024-05-10T15:55:39.778" v="477"/>
          <ac:spMkLst>
            <pc:docMk/>
            <pc:sldMk cId="1865091163" sldId="343"/>
            <ac:spMk id="11" creationId="{DCCD11C4-F594-7F57-E548-79AB3C404870}"/>
          </ac:spMkLst>
        </pc:spChg>
        <pc:spChg chg="mod">
          <ac:chgData name="Veniero Facchetti" userId="f2c6c99af91c4974" providerId="LiveId" clId="{34DF7D6B-EB0F-4B53-B080-BB8D6F5C3D93}" dt="2024-05-10T15:55:39.778" v="477"/>
          <ac:spMkLst>
            <pc:docMk/>
            <pc:sldMk cId="1865091163" sldId="343"/>
            <ac:spMk id="13" creationId="{AAD3BCEE-D65A-4C33-D9B6-8CE8BF0898A7}"/>
          </ac:spMkLst>
        </pc:spChg>
        <pc:spChg chg="mod">
          <ac:chgData name="Veniero Facchetti" userId="f2c6c99af91c4974" providerId="LiveId" clId="{34DF7D6B-EB0F-4B53-B080-BB8D6F5C3D93}" dt="2024-05-10T15:55:39.778" v="477"/>
          <ac:spMkLst>
            <pc:docMk/>
            <pc:sldMk cId="1865091163" sldId="343"/>
            <ac:spMk id="14" creationId="{595FFF26-2674-3924-6CA8-AF6EB8740EE1}"/>
          </ac:spMkLst>
        </pc:spChg>
        <pc:spChg chg="mod">
          <ac:chgData name="Veniero Facchetti" userId="f2c6c99af91c4974" providerId="LiveId" clId="{34DF7D6B-EB0F-4B53-B080-BB8D6F5C3D93}" dt="2024-05-10T15:55:39.778" v="477"/>
          <ac:spMkLst>
            <pc:docMk/>
            <pc:sldMk cId="1865091163" sldId="343"/>
            <ac:spMk id="15" creationId="{604EF494-A176-BE3F-988B-C7FE7F4B38E8}"/>
          </ac:spMkLst>
        </pc:spChg>
        <pc:spChg chg="mod">
          <ac:chgData name="Veniero Facchetti" userId="f2c6c99af91c4974" providerId="LiveId" clId="{34DF7D6B-EB0F-4B53-B080-BB8D6F5C3D93}" dt="2024-05-10T15:56:33.851" v="494" actId="1076"/>
          <ac:spMkLst>
            <pc:docMk/>
            <pc:sldMk cId="1865091163" sldId="343"/>
            <ac:spMk id="17" creationId="{66FE012C-718E-7324-8127-52BC047ECA3D}"/>
          </ac:spMkLst>
        </pc:spChg>
        <pc:spChg chg="add mod">
          <ac:chgData name="Veniero Facchetti" userId="f2c6c99af91c4974" providerId="LiveId" clId="{34DF7D6B-EB0F-4B53-B080-BB8D6F5C3D93}" dt="2024-05-10T15:56:05.298" v="489" actId="14100"/>
          <ac:spMkLst>
            <pc:docMk/>
            <pc:sldMk cId="1865091163" sldId="343"/>
            <ac:spMk id="19" creationId="{3A8B5519-B9EF-72C9-20B0-882F8DB3AC99}"/>
          </ac:spMkLst>
        </pc:spChg>
        <pc:spChg chg="add mod">
          <ac:chgData name="Veniero Facchetti" userId="f2c6c99af91c4974" providerId="LiveId" clId="{34DF7D6B-EB0F-4B53-B080-BB8D6F5C3D93}" dt="2024-05-10T15:56:02.802" v="488" actId="1076"/>
          <ac:spMkLst>
            <pc:docMk/>
            <pc:sldMk cId="1865091163" sldId="343"/>
            <ac:spMk id="20" creationId="{6D8A068B-F5ED-BF9C-6B1A-C49A2A4B7746}"/>
          </ac:spMkLst>
        </pc:spChg>
        <pc:spChg chg="add mod">
          <ac:chgData name="Veniero Facchetti" userId="f2c6c99af91c4974" providerId="LiveId" clId="{34DF7D6B-EB0F-4B53-B080-BB8D6F5C3D93}" dt="2024-05-10T15:56:02.802" v="488" actId="1076"/>
          <ac:spMkLst>
            <pc:docMk/>
            <pc:sldMk cId="1865091163" sldId="343"/>
            <ac:spMk id="21" creationId="{A45CC687-D293-6BEA-0CE3-0C76F11C7434}"/>
          </ac:spMkLst>
        </pc:spChg>
        <pc:spChg chg="add mod">
          <ac:chgData name="Veniero Facchetti" userId="f2c6c99af91c4974" providerId="LiveId" clId="{34DF7D6B-EB0F-4B53-B080-BB8D6F5C3D93}" dt="2024-05-10T15:56:58.027" v="499" actId="14100"/>
          <ac:spMkLst>
            <pc:docMk/>
            <pc:sldMk cId="1865091163" sldId="343"/>
            <ac:spMk id="22" creationId="{121D6A41-F59E-96E3-4DF6-2AA336C45C2B}"/>
          </ac:spMkLst>
        </pc:spChg>
        <pc:spChg chg="add mod">
          <ac:chgData name="Veniero Facchetti" userId="f2c6c99af91c4974" providerId="LiveId" clId="{34DF7D6B-EB0F-4B53-B080-BB8D6F5C3D93}" dt="2024-05-10T15:57:05.780" v="501" actId="14100"/>
          <ac:spMkLst>
            <pc:docMk/>
            <pc:sldMk cId="1865091163" sldId="343"/>
            <ac:spMk id="23" creationId="{9CDF7A96-3E67-73CD-1A0A-7A85EBD8CD4D}"/>
          </ac:spMkLst>
        </pc:spChg>
        <pc:spChg chg="add mod">
          <ac:chgData name="Veniero Facchetti" userId="f2c6c99af91c4974" providerId="LiveId" clId="{34DF7D6B-EB0F-4B53-B080-BB8D6F5C3D93}" dt="2024-05-10T15:57:01.363" v="500" actId="1076"/>
          <ac:spMkLst>
            <pc:docMk/>
            <pc:sldMk cId="1865091163" sldId="343"/>
            <ac:spMk id="24" creationId="{6D8587BD-AB52-9BA0-3BF8-8FB2E5F4905B}"/>
          </ac:spMkLst>
        </pc:spChg>
        <pc:spChg chg="mod">
          <ac:chgData name="Veniero Facchetti" userId="f2c6c99af91c4974" providerId="LiveId" clId="{34DF7D6B-EB0F-4B53-B080-BB8D6F5C3D93}" dt="2024-05-10T15:55:39.778" v="477"/>
          <ac:spMkLst>
            <pc:docMk/>
            <pc:sldMk cId="1865091163" sldId="343"/>
            <ac:spMk id="26" creationId="{ABBEC390-F7A1-8206-3E0B-737B1CF808BE}"/>
          </ac:spMkLst>
        </pc:spChg>
        <pc:spChg chg="mod">
          <ac:chgData name="Veniero Facchetti" userId="f2c6c99af91c4974" providerId="LiveId" clId="{34DF7D6B-EB0F-4B53-B080-BB8D6F5C3D93}" dt="2024-05-10T15:55:39.778" v="477"/>
          <ac:spMkLst>
            <pc:docMk/>
            <pc:sldMk cId="1865091163" sldId="343"/>
            <ac:spMk id="27" creationId="{BD8EA1F1-EE3E-05D0-AB38-24E7E027C095}"/>
          </ac:spMkLst>
        </pc:spChg>
        <pc:grpChg chg="add mod">
          <ac:chgData name="Veniero Facchetti" userId="f2c6c99af91c4974" providerId="LiveId" clId="{34DF7D6B-EB0F-4B53-B080-BB8D6F5C3D93}" dt="2024-05-10T15:56:41.411" v="495" actId="14100"/>
          <ac:grpSpMkLst>
            <pc:docMk/>
            <pc:sldMk cId="1865091163" sldId="343"/>
            <ac:grpSpMk id="3" creationId="{8F4F6018-368D-2014-4F5A-33CA02C4C097}"/>
          </ac:grpSpMkLst>
        </pc:grpChg>
        <pc:grpChg chg="add mod">
          <ac:chgData name="Veniero Facchetti" userId="f2c6c99af91c4974" providerId="LiveId" clId="{34DF7D6B-EB0F-4B53-B080-BB8D6F5C3D93}" dt="2024-05-10T15:56:26.108" v="492" actId="1076"/>
          <ac:grpSpMkLst>
            <pc:docMk/>
            <pc:sldMk cId="1865091163" sldId="343"/>
            <ac:grpSpMk id="16" creationId="{F7E9E644-DE13-FAF7-E4F6-17A8FB157A09}"/>
          </ac:grpSpMkLst>
        </pc:grpChg>
        <pc:grpChg chg="add mod">
          <ac:chgData name="Veniero Facchetti" userId="f2c6c99af91c4974" providerId="LiveId" clId="{34DF7D6B-EB0F-4B53-B080-BB8D6F5C3D93}" dt="2024-05-10T15:55:39.778" v="477"/>
          <ac:grpSpMkLst>
            <pc:docMk/>
            <pc:sldMk cId="1865091163" sldId="343"/>
            <ac:grpSpMk id="25" creationId="{BF5F8536-9193-F5A4-E4E5-26A165F98373}"/>
          </ac:grpSpMkLst>
        </pc:grpChg>
        <pc:cxnChg chg="mod">
          <ac:chgData name="Veniero Facchetti" userId="f2c6c99af91c4974" providerId="LiveId" clId="{34DF7D6B-EB0F-4B53-B080-BB8D6F5C3D93}" dt="2024-05-10T15:55:39.778" v="477"/>
          <ac:cxnSpMkLst>
            <pc:docMk/>
            <pc:sldMk cId="1865091163" sldId="343"/>
            <ac:cxnSpMk id="12" creationId="{A4AF5BC0-16C2-91E1-03FB-B33390EEC067}"/>
          </ac:cxnSpMkLst>
        </pc:cxnChg>
        <pc:cxnChg chg="mod">
          <ac:chgData name="Veniero Facchetti" userId="f2c6c99af91c4974" providerId="LiveId" clId="{34DF7D6B-EB0F-4B53-B080-BB8D6F5C3D93}" dt="2024-05-10T15:55:39.778" v="477"/>
          <ac:cxnSpMkLst>
            <pc:docMk/>
            <pc:sldMk cId="1865091163" sldId="343"/>
            <ac:cxnSpMk id="18" creationId="{E631CC12-9904-DC5A-FC05-741D06F56ABC}"/>
          </ac:cxnSpMkLst>
        </pc:cxnChg>
      </pc:sldChg>
      <pc:sldChg chg="addSp modSp new mod">
        <pc:chgData name="Veniero Facchetti" userId="f2c6c99af91c4974" providerId="LiveId" clId="{34DF7D6B-EB0F-4B53-B080-BB8D6F5C3D93}" dt="2024-05-10T15:58:02.395" v="514" actId="14100"/>
        <pc:sldMkLst>
          <pc:docMk/>
          <pc:sldMk cId="1489675482" sldId="344"/>
        </pc:sldMkLst>
        <pc:spChg chg="add mod">
          <ac:chgData name="Veniero Facchetti" userId="f2c6c99af91c4974" providerId="LiveId" clId="{34DF7D6B-EB0F-4B53-B080-BB8D6F5C3D93}" dt="2024-05-10T15:58:02.395" v="514" actId="14100"/>
          <ac:spMkLst>
            <pc:docMk/>
            <pc:sldMk cId="1489675482" sldId="344"/>
            <ac:spMk id="2" creationId="{717ADF24-4AC1-267D-01DF-521C89D0BB08}"/>
          </ac:spMkLst>
        </pc:spChg>
        <pc:spChg chg="add mod">
          <ac:chgData name="Veniero Facchetti" userId="f2c6c99af91c4974" providerId="LiveId" clId="{34DF7D6B-EB0F-4B53-B080-BB8D6F5C3D93}" dt="2024-05-10T15:57:29.467" v="503"/>
          <ac:spMkLst>
            <pc:docMk/>
            <pc:sldMk cId="1489675482" sldId="344"/>
            <ac:spMk id="3" creationId="{C4118B68-2A70-D09E-8003-921F040CDF60}"/>
          </ac:spMkLst>
        </pc:spChg>
        <pc:spChg chg="add mod">
          <ac:chgData name="Veniero Facchetti" userId="f2c6c99af91c4974" providerId="LiveId" clId="{34DF7D6B-EB0F-4B53-B080-BB8D6F5C3D93}" dt="2024-05-10T15:57:54.251" v="512" actId="1076"/>
          <ac:spMkLst>
            <pc:docMk/>
            <pc:sldMk cId="1489675482" sldId="344"/>
            <ac:spMk id="4" creationId="{D1F3A1B8-B5CA-9E0E-0AFA-1D4D61D863F4}"/>
          </ac:spMkLst>
        </pc:spChg>
        <pc:spChg chg="add mod">
          <ac:chgData name="Veniero Facchetti" userId="f2c6c99af91c4974" providerId="LiveId" clId="{34DF7D6B-EB0F-4B53-B080-BB8D6F5C3D93}" dt="2024-05-10T15:57:29.467" v="503"/>
          <ac:spMkLst>
            <pc:docMk/>
            <pc:sldMk cId="1489675482" sldId="344"/>
            <ac:spMk id="5" creationId="{92ADD119-55F3-FDC7-E063-6C09010F2F1E}"/>
          </ac:spMkLst>
        </pc:spChg>
        <pc:spChg chg="add mod">
          <ac:chgData name="Veniero Facchetti" userId="f2c6c99af91c4974" providerId="LiveId" clId="{34DF7D6B-EB0F-4B53-B080-BB8D6F5C3D93}" dt="2024-05-10T15:57:29.467" v="503"/>
          <ac:spMkLst>
            <pc:docMk/>
            <pc:sldMk cId="1489675482" sldId="344"/>
            <ac:spMk id="6" creationId="{9FDC2C08-8CE7-6F5E-B48F-C0AB8DFCC20F}"/>
          </ac:spMkLst>
        </pc:spChg>
        <pc:spChg chg="add mod">
          <ac:chgData name="Veniero Facchetti" userId="f2c6c99af91c4974" providerId="LiveId" clId="{34DF7D6B-EB0F-4B53-B080-BB8D6F5C3D93}" dt="2024-05-10T15:57:29.467" v="503"/>
          <ac:spMkLst>
            <pc:docMk/>
            <pc:sldMk cId="1489675482" sldId="344"/>
            <ac:spMk id="7" creationId="{76B82812-D3FA-75DC-D57B-F55C0795C8DB}"/>
          </ac:spMkLst>
        </pc:spChg>
        <pc:spChg chg="add mod">
          <ac:chgData name="Veniero Facchetti" userId="f2c6c99af91c4974" providerId="LiveId" clId="{34DF7D6B-EB0F-4B53-B080-BB8D6F5C3D93}" dt="2024-05-10T15:57:29.467" v="503"/>
          <ac:spMkLst>
            <pc:docMk/>
            <pc:sldMk cId="1489675482" sldId="344"/>
            <ac:spMk id="8" creationId="{333983EF-1E80-0888-403B-649DAF4B8656}"/>
          </ac:spMkLst>
        </pc:spChg>
        <pc:spChg chg="add mod">
          <ac:chgData name="Veniero Facchetti" userId="f2c6c99af91c4974" providerId="LiveId" clId="{34DF7D6B-EB0F-4B53-B080-BB8D6F5C3D93}" dt="2024-05-10T15:57:29.467" v="503"/>
          <ac:spMkLst>
            <pc:docMk/>
            <pc:sldMk cId="1489675482" sldId="344"/>
            <ac:spMk id="9" creationId="{EFDD27B9-DEEF-6355-A653-4131DE752D36}"/>
          </ac:spMkLst>
        </pc:spChg>
        <pc:spChg chg="add mod">
          <ac:chgData name="Veniero Facchetti" userId="f2c6c99af91c4974" providerId="LiveId" clId="{34DF7D6B-EB0F-4B53-B080-BB8D6F5C3D93}" dt="2024-05-10T15:57:29.467" v="503"/>
          <ac:spMkLst>
            <pc:docMk/>
            <pc:sldMk cId="1489675482" sldId="344"/>
            <ac:spMk id="10" creationId="{6656809D-8518-32A2-B718-D86722FAD922}"/>
          </ac:spMkLst>
        </pc:spChg>
        <pc:spChg chg="add mod">
          <ac:chgData name="Veniero Facchetti" userId="f2c6c99af91c4974" providerId="LiveId" clId="{34DF7D6B-EB0F-4B53-B080-BB8D6F5C3D93}" dt="2024-05-10T15:57:29.467" v="503"/>
          <ac:spMkLst>
            <pc:docMk/>
            <pc:sldMk cId="1489675482" sldId="344"/>
            <ac:spMk id="11" creationId="{464B98A4-6904-D033-5405-C7293F8FB545}"/>
          </ac:spMkLst>
        </pc:spChg>
        <pc:spChg chg="add mod">
          <ac:chgData name="Veniero Facchetti" userId="f2c6c99af91c4974" providerId="LiveId" clId="{34DF7D6B-EB0F-4B53-B080-BB8D6F5C3D93}" dt="2024-05-10T15:57:29.467" v="503"/>
          <ac:spMkLst>
            <pc:docMk/>
            <pc:sldMk cId="1489675482" sldId="344"/>
            <ac:spMk id="12" creationId="{6299BB5F-E203-751C-80C7-A28772EAC561}"/>
          </ac:spMkLst>
        </pc:spChg>
        <pc:spChg chg="add mod">
          <ac:chgData name="Veniero Facchetti" userId="f2c6c99af91c4974" providerId="LiveId" clId="{34DF7D6B-EB0F-4B53-B080-BB8D6F5C3D93}" dt="2024-05-10T15:57:29.467" v="503"/>
          <ac:spMkLst>
            <pc:docMk/>
            <pc:sldMk cId="1489675482" sldId="344"/>
            <ac:spMk id="13" creationId="{78F31BC7-7286-342F-1ACA-099886A072E4}"/>
          </ac:spMkLst>
        </pc:spChg>
        <pc:spChg chg="add mod">
          <ac:chgData name="Veniero Facchetti" userId="f2c6c99af91c4974" providerId="LiveId" clId="{34DF7D6B-EB0F-4B53-B080-BB8D6F5C3D93}" dt="2024-05-10T15:57:29.467" v="503"/>
          <ac:spMkLst>
            <pc:docMk/>
            <pc:sldMk cId="1489675482" sldId="344"/>
            <ac:spMk id="14" creationId="{0BDDBD77-04D4-D41F-1CB2-3318F0A1D431}"/>
          </ac:spMkLst>
        </pc:spChg>
        <pc:spChg chg="add mod">
          <ac:chgData name="Veniero Facchetti" userId="f2c6c99af91c4974" providerId="LiveId" clId="{34DF7D6B-EB0F-4B53-B080-BB8D6F5C3D93}" dt="2024-05-10T15:57:29.467" v="503"/>
          <ac:spMkLst>
            <pc:docMk/>
            <pc:sldMk cId="1489675482" sldId="344"/>
            <ac:spMk id="15" creationId="{C396BDF7-4D6A-719A-B25F-608C3913BB36}"/>
          </ac:spMkLst>
        </pc:spChg>
        <pc:spChg chg="add mod">
          <ac:chgData name="Veniero Facchetti" userId="f2c6c99af91c4974" providerId="LiveId" clId="{34DF7D6B-EB0F-4B53-B080-BB8D6F5C3D93}" dt="2024-05-10T15:57:29.467" v="503"/>
          <ac:spMkLst>
            <pc:docMk/>
            <pc:sldMk cId="1489675482" sldId="344"/>
            <ac:spMk id="16" creationId="{17EC9FD9-BABA-767B-5F58-1AF271FEB8C9}"/>
          </ac:spMkLst>
        </pc:spChg>
        <pc:spChg chg="add mod">
          <ac:chgData name="Veniero Facchetti" userId="f2c6c99af91c4974" providerId="LiveId" clId="{34DF7D6B-EB0F-4B53-B080-BB8D6F5C3D93}" dt="2024-05-10T15:57:29.467" v="503"/>
          <ac:spMkLst>
            <pc:docMk/>
            <pc:sldMk cId="1489675482" sldId="344"/>
            <ac:spMk id="17" creationId="{C14A698B-927B-AAC0-9BBC-3A2A90EE8818}"/>
          </ac:spMkLst>
        </pc:spChg>
        <pc:spChg chg="add mod">
          <ac:chgData name="Veniero Facchetti" userId="f2c6c99af91c4974" providerId="LiveId" clId="{34DF7D6B-EB0F-4B53-B080-BB8D6F5C3D93}" dt="2024-05-10T15:57:29.467" v="503"/>
          <ac:spMkLst>
            <pc:docMk/>
            <pc:sldMk cId="1489675482" sldId="344"/>
            <ac:spMk id="19" creationId="{582E3F5F-D72D-5DF4-F70F-67C1CE996A3F}"/>
          </ac:spMkLst>
        </pc:spChg>
        <pc:spChg chg="add mod">
          <ac:chgData name="Veniero Facchetti" userId="f2c6c99af91c4974" providerId="LiveId" clId="{34DF7D6B-EB0F-4B53-B080-BB8D6F5C3D93}" dt="2024-05-10T15:57:29.467" v="503"/>
          <ac:spMkLst>
            <pc:docMk/>
            <pc:sldMk cId="1489675482" sldId="344"/>
            <ac:spMk id="21" creationId="{131A4CBD-2CD8-CA1D-9EEC-DD29E8DB15F0}"/>
          </ac:spMkLst>
        </pc:spChg>
        <pc:spChg chg="add mod">
          <ac:chgData name="Veniero Facchetti" userId="f2c6c99af91c4974" providerId="LiveId" clId="{34DF7D6B-EB0F-4B53-B080-BB8D6F5C3D93}" dt="2024-05-10T15:57:29.467" v="503"/>
          <ac:spMkLst>
            <pc:docMk/>
            <pc:sldMk cId="1489675482" sldId="344"/>
            <ac:spMk id="22" creationId="{26E19F37-E7A2-6EA1-15AF-8A017F97B096}"/>
          </ac:spMkLst>
        </pc:spChg>
        <pc:spChg chg="mod">
          <ac:chgData name="Veniero Facchetti" userId="f2c6c99af91c4974" providerId="LiveId" clId="{34DF7D6B-EB0F-4B53-B080-BB8D6F5C3D93}" dt="2024-05-10T15:57:29.467" v="503"/>
          <ac:spMkLst>
            <pc:docMk/>
            <pc:sldMk cId="1489675482" sldId="344"/>
            <ac:spMk id="24" creationId="{1180C521-5646-8010-620A-284FE5E94DB6}"/>
          </ac:spMkLst>
        </pc:spChg>
        <pc:spChg chg="mod">
          <ac:chgData name="Veniero Facchetti" userId="f2c6c99af91c4974" providerId="LiveId" clId="{34DF7D6B-EB0F-4B53-B080-BB8D6F5C3D93}" dt="2024-05-10T15:57:29.467" v="503"/>
          <ac:spMkLst>
            <pc:docMk/>
            <pc:sldMk cId="1489675482" sldId="344"/>
            <ac:spMk id="25" creationId="{CCFED7A8-276F-F1B3-BA3A-F42B7352D039}"/>
          </ac:spMkLst>
        </pc:spChg>
        <pc:spChg chg="mod">
          <ac:chgData name="Veniero Facchetti" userId="f2c6c99af91c4974" providerId="LiveId" clId="{34DF7D6B-EB0F-4B53-B080-BB8D6F5C3D93}" dt="2024-05-10T15:57:29.467" v="503"/>
          <ac:spMkLst>
            <pc:docMk/>
            <pc:sldMk cId="1489675482" sldId="344"/>
            <ac:spMk id="26" creationId="{55A15443-369C-A9DB-DB86-AC025E6C2DE1}"/>
          </ac:spMkLst>
        </pc:spChg>
        <pc:spChg chg="mod">
          <ac:chgData name="Veniero Facchetti" userId="f2c6c99af91c4974" providerId="LiveId" clId="{34DF7D6B-EB0F-4B53-B080-BB8D6F5C3D93}" dt="2024-05-10T15:57:29.467" v="503"/>
          <ac:spMkLst>
            <pc:docMk/>
            <pc:sldMk cId="1489675482" sldId="344"/>
            <ac:spMk id="27" creationId="{A3A1874A-CADF-21B0-9265-F4ED4C68B781}"/>
          </ac:spMkLst>
        </pc:spChg>
        <pc:spChg chg="mod">
          <ac:chgData name="Veniero Facchetti" userId="f2c6c99af91c4974" providerId="LiveId" clId="{34DF7D6B-EB0F-4B53-B080-BB8D6F5C3D93}" dt="2024-05-10T15:57:29.467" v="503"/>
          <ac:spMkLst>
            <pc:docMk/>
            <pc:sldMk cId="1489675482" sldId="344"/>
            <ac:spMk id="28" creationId="{B53EFDB5-FC23-325D-38AF-36FD180BB09C}"/>
          </ac:spMkLst>
        </pc:spChg>
        <pc:spChg chg="mod">
          <ac:chgData name="Veniero Facchetti" userId="f2c6c99af91c4974" providerId="LiveId" clId="{34DF7D6B-EB0F-4B53-B080-BB8D6F5C3D93}" dt="2024-05-10T15:57:29.467" v="503"/>
          <ac:spMkLst>
            <pc:docMk/>
            <pc:sldMk cId="1489675482" sldId="344"/>
            <ac:spMk id="29" creationId="{1DA0040E-C23C-8312-6626-D2447430EEC8}"/>
          </ac:spMkLst>
        </pc:spChg>
        <pc:spChg chg="mod">
          <ac:chgData name="Veniero Facchetti" userId="f2c6c99af91c4974" providerId="LiveId" clId="{34DF7D6B-EB0F-4B53-B080-BB8D6F5C3D93}" dt="2024-05-10T15:57:29.467" v="503"/>
          <ac:spMkLst>
            <pc:docMk/>
            <pc:sldMk cId="1489675482" sldId="344"/>
            <ac:spMk id="30" creationId="{E04D921E-449E-6BFD-4C3D-97DA0FB68BE0}"/>
          </ac:spMkLst>
        </pc:spChg>
        <pc:spChg chg="mod">
          <ac:chgData name="Veniero Facchetti" userId="f2c6c99af91c4974" providerId="LiveId" clId="{34DF7D6B-EB0F-4B53-B080-BB8D6F5C3D93}" dt="2024-05-10T15:57:29.467" v="503"/>
          <ac:spMkLst>
            <pc:docMk/>
            <pc:sldMk cId="1489675482" sldId="344"/>
            <ac:spMk id="31" creationId="{BF08EFA8-387E-EA7F-2E27-F4EEDF4BEE34}"/>
          </ac:spMkLst>
        </pc:spChg>
        <pc:spChg chg="mod">
          <ac:chgData name="Veniero Facchetti" userId="f2c6c99af91c4974" providerId="LiveId" clId="{34DF7D6B-EB0F-4B53-B080-BB8D6F5C3D93}" dt="2024-05-10T15:57:29.467" v="503"/>
          <ac:spMkLst>
            <pc:docMk/>
            <pc:sldMk cId="1489675482" sldId="344"/>
            <ac:spMk id="32" creationId="{F2C4DE5E-9B02-D57E-817B-7158A0151715}"/>
          </ac:spMkLst>
        </pc:spChg>
        <pc:spChg chg="mod">
          <ac:chgData name="Veniero Facchetti" userId="f2c6c99af91c4974" providerId="LiveId" clId="{34DF7D6B-EB0F-4B53-B080-BB8D6F5C3D93}" dt="2024-05-10T15:57:29.467" v="503"/>
          <ac:spMkLst>
            <pc:docMk/>
            <pc:sldMk cId="1489675482" sldId="344"/>
            <ac:spMk id="33" creationId="{AE8B6C11-104D-CF85-2CAC-7DCD153A3035}"/>
          </ac:spMkLst>
        </pc:spChg>
        <pc:spChg chg="mod">
          <ac:chgData name="Veniero Facchetti" userId="f2c6c99af91c4974" providerId="LiveId" clId="{34DF7D6B-EB0F-4B53-B080-BB8D6F5C3D93}" dt="2024-05-10T15:57:29.467" v="503"/>
          <ac:spMkLst>
            <pc:docMk/>
            <pc:sldMk cId="1489675482" sldId="344"/>
            <ac:spMk id="34" creationId="{3BDA7D12-9B36-22EB-38C5-0D8C334B112A}"/>
          </ac:spMkLst>
        </pc:spChg>
        <pc:spChg chg="mod">
          <ac:chgData name="Veniero Facchetti" userId="f2c6c99af91c4974" providerId="LiveId" clId="{34DF7D6B-EB0F-4B53-B080-BB8D6F5C3D93}" dt="2024-05-10T15:57:29.467" v="503"/>
          <ac:spMkLst>
            <pc:docMk/>
            <pc:sldMk cId="1489675482" sldId="344"/>
            <ac:spMk id="35" creationId="{1A6E5ACE-72E9-01F8-01F0-8240A093270F}"/>
          </ac:spMkLst>
        </pc:spChg>
        <pc:spChg chg="mod">
          <ac:chgData name="Veniero Facchetti" userId="f2c6c99af91c4974" providerId="LiveId" clId="{34DF7D6B-EB0F-4B53-B080-BB8D6F5C3D93}" dt="2024-05-10T15:57:29.467" v="503"/>
          <ac:spMkLst>
            <pc:docMk/>
            <pc:sldMk cId="1489675482" sldId="344"/>
            <ac:spMk id="36" creationId="{EBA5A616-12CA-1C4F-DF15-4E1D0456A76D}"/>
          </ac:spMkLst>
        </pc:spChg>
        <pc:spChg chg="mod">
          <ac:chgData name="Veniero Facchetti" userId="f2c6c99af91c4974" providerId="LiveId" clId="{34DF7D6B-EB0F-4B53-B080-BB8D6F5C3D93}" dt="2024-05-10T15:57:29.467" v="503"/>
          <ac:spMkLst>
            <pc:docMk/>
            <pc:sldMk cId="1489675482" sldId="344"/>
            <ac:spMk id="37" creationId="{61FB0C11-C689-7443-4BAD-E6C81377B7CA}"/>
          </ac:spMkLst>
        </pc:spChg>
        <pc:spChg chg="mod">
          <ac:chgData name="Veniero Facchetti" userId="f2c6c99af91c4974" providerId="LiveId" clId="{34DF7D6B-EB0F-4B53-B080-BB8D6F5C3D93}" dt="2024-05-10T15:57:29.467" v="503"/>
          <ac:spMkLst>
            <pc:docMk/>
            <pc:sldMk cId="1489675482" sldId="344"/>
            <ac:spMk id="38" creationId="{0967BC63-5552-8ADF-68B2-4292E1A6B8AC}"/>
          </ac:spMkLst>
        </pc:spChg>
        <pc:spChg chg="mod">
          <ac:chgData name="Veniero Facchetti" userId="f2c6c99af91c4974" providerId="LiveId" clId="{34DF7D6B-EB0F-4B53-B080-BB8D6F5C3D93}" dt="2024-05-10T15:57:29.467" v="503"/>
          <ac:spMkLst>
            <pc:docMk/>
            <pc:sldMk cId="1489675482" sldId="344"/>
            <ac:spMk id="39" creationId="{1E315B93-3EBB-5944-A1AC-1A351F81A379}"/>
          </ac:spMkLst>
        </pc:spChg>
        <pc:spChg chg="mod">
          <ac:chgData name="Veniero Facchetti" userId="f2c6c99af91c4974" providerId="LiveId" clId="{34DF7D6B-EB0F-4B53-B080-BB8D6F5C3D93}" dt="2024-05-10T15:57:29.467" v="503"/>
          <ac:spMkLst>
            <pc:docMk/>
            <pc:sldMk cId="1489675482" sldId="344"/>
            <ac:spMk id="40" creationId="{25C031A9-0B70-BECC-2665-1A94FFB388ED}"/>
          </ac:spMkLst>
        </pc:spChg>
        <pc:spChg chg="mod">
          <ac:chgData name="Veniero Facchetti" userId="f2c6c99af91c4974" providerId="LiveId" clId="{34DF7D6B-EB0F-4B53-B080-BB8D6F5C3D93}" dt="2024-05-10T15:57:29.467" v="503"/>
          <ac:spMkLst>
            <pc:docMk/>
            <pc:sldMk cId="1489675482" sldId="344"/>
            <ac:spMk id="41" creationId="{345A1410-92FE-4C5D-1FDA-AE1081029001}"/>
          </ac:spMkLst>
        </pc:spChg>
        <pc:spChg chg="mod">
          <ac:chgData name="Veniero Facchetti" userId="f2c6c99af91c4974" providerId="LiveId" clId="{34DF7D6B-EB0F-4B53-B080-BB8D6F5C3D93}" dt="2024-05-10T15:57:29.467" v="503"/>
          <ac:spMkLst>
            <pc:docMk/>
            <pc:sldMk cId="1489675482" sldId="344"/>
            <ac:spMk id="42" creationId="{3061D63B-0B75-AC7E-2DAA-178D2B89C4E3}"/>
          </ac:spMkLst>
        </pc:spChg>
        <pc:spChg chg="mod">
          <ac:chgData name="Veniero Facchetti" userId="f2c6c99af91c4974" providerId="LiveId" clId="{34DF7D6B-EB0F-4B53-B080-BB8D6F5C3D93}" dt="2024-05-10T15:57:29.467" v="503"/>
          <ac:spMkLst>
            <pc:docMk/>
            <pc:sldMk cId="1489675482" sldId="344"/>
            <ac:spMk id="43" creationId="{085B452B-9884-F509-714F-E20A5790C5A5}"/>
          </ac:spMkLst>
        </pc:spChg>
        <pc:spChg chg="mod">
          <ac:chgData name="Veniero Facchetti" userId="f2c6c99af91c4974" providerId="LiveId" clId="{34DF7D6B-EB0F-4B53-B080-BB8D6F5C3D93}" dt="2024-05-10T15:57:29.467" v="503"/>
          <ac:spMkLst>
            <pc:docMk/>
            <pc:sldMk cId="1489675482" sldId="344"/>
            <ac:spMk id="44" creationId="{7138FC95-8EFF-5DBB-39AD-5FF8802ABBE5}"/>
          </ac:spMkLst>
        </pc:spChg>
        <pc:spChg chg="mod">
          <ac:chgData name="Veniero Facchetti" userId="f2c6c99af91c4974" providerId="LiveId" clId="{34DF7D6B-EB0F-4B53-B080-BB8D6F5C3D93}" dt="2024-05-10T15:57:29.467" v="503"/>
          <ac:spMkLst>
            <pc:docMk/>
            <pc:sldMk cId="1489675482" sldId="344"/>
            <ac:spMk id="45" creationId="{A6B3CDF4-D49F-D99B-8C8D-B5217C65EA94}"/>
          </ac:spMkLst>
        </pc:spChg>
        <pc:spChg chg="mod">
          <ac:chgData name="Veniero Facchetti" userId="f2c6c99af91c4974" providerId="LiveId" clId="{34DF7D6B-EB0F-4B53-B080-BB8D6F5C3D93}" dt="2024-05-10T15:57:29.467" v="503"/>
          <ac:spMkLst>
            <pc:docMk/>
            <pc:sldMk cId="1489675482" sldId="344"/>
            <ac:spMk id="46" creationId="{78950A78-B4ED-D55E-8A02-86E72AD4195F}"/>
          </ac:spMkLst>
        </pc:spChg>
        <pc:spChg chg="mod">
          <ac:chgData name="Veniero Facchetti" userId="f2c6c99af91c4974" providerId="LiveId" clId="{34DF7D6B-EB0F-4B53-B080-BB8D6F5C3D93}" dt="2024-05-10T15:57:29.467" v="503"/>
          <ac:spMkLst>
            <pc:docMk/>
            <pc:sldMk cId="1489675482" sldId="344"/>
            <ac:spMk id="47" creationId="{E3FD9EC3-9C7D-E188-14F7-D6E87C9283FA}"/>
          </ac:spMkLst>
        </pc:spChg>
        <pc:spChg chg="mod">
          <ac:chgData name="Veniero Facchetti" userId="f2c6c99af91c4974" providerId="LiveId" clId="{34DF7D6B-EB0F-4B53-B080-BB8D6F5C3D93}" dt="2024-05-10T15:57:29.467" v="503"/>
          <ac:spMkLst>
            <pc:docMk/>
            <pc:sldMk cId="1489675482" sldId="344"/>
            <ac:spMk id="48" creationId="{97770FBB-B6B2-F585-F3C3-828B3036B817}"/>
          </ac:spMkLst>
        </pc:spChg>
        <pc:spChg chg="mod">
          <ac:chgData name="Veniero Facchetti" userId="f2c6c99af91c4974" providerId="LiveId" clId="{34DF7D6B-EB0F-4B53-B080-BB8D6F5C3D93}" dt="2024-05-10T15:57:29.467" v="503"/>
          <ac:spMkLst>
            <pc:docMk/>
            <pc:sldMk cId="1489675482" sldId="344"/>
            <ac:spMk id="49" creationId="{99D267B4-A042-6089-A1F1-2F93204CAEEA}"/>
          </ac:spMkLst>
        </pc:spChg>
        <pc:spChg chg="mod">
          <ac:chgData name="Veniero Facchetti" userId="f2c6c99af91c4974" providerId="LiveId" clId="{34DF7D6B-EB0F-4B53-B080-BB8D6F5C3D93}" dt="2024-05-10T15:57:29.467" v="503"/>
          <ac:spMkLst>
            <pc:docMk/>
            <pc:sldMk cId="1489675482" sldId="344"/>
            <ac:spMk id="50" creationId="{8599EA1B-4970-7492-4706-CA4F2F1FAB14}"/>
          </ac:spMkLst>
        </pc:spChg>
        <pc:spChg chg="mod">
          <ac:chgData name="Veniero Facchetti" userId="f2c6c99af91c4974" providerId="LiveId" clId="{34DF7D6B-EB0F-4B53-B080-BB8D6F5C3D93}" dt="2024-05-10T15:57:29.467" v="503"/>
          <ac:spMkLst>
            <pc:docMk/>
            <pc:sldMk cId="1489675482" sldId="344"/>
            <ac:spMk id="51" creationId="{67694A11-066A-7E67-DB36-FAE8DC2C90B1}"/>
          </ac:spMkLst>
        </pc:spChg>
        <pc:spChg chg="mod">
          <ac:chgData name="Veniero Facchetti" userId="f2c6c99af91c4974" providerId="LiveId" clId="{34DF7D6B-EB0F-4B53-B080-BB8D6F5C3D93}" dt="2024-05-10T15:57:29.467" v="503"/>
          <ac:spMkLst>
            <pc:docMk/>
            <pc:sldMk cId="1489675482" sldId="344"/>
            <ac:spMk id="52" creationId="{89ACCADC-2208-9566-B2B3-4325AB3CDE3F}"/>
          </ac:spMkLst>
        </pc:spChg>
        <pc:spChg chg="mod">
          <ac:chgData name="Veniero Facchetti" userId="f2c6c99af91c4974" providerId="LiveId" clId="{34DF7D6B-EB0F-4B53-B080-BB8D6F5C3D93}" dt="2024-05-10T15:57:29.467" v="503"/>
          <ac:spMkLst>
            <pc:docMk/>
            <pc:sldMk cId="1489675482" sldId="344"/>
            <ac:spMk id="53" creationId="{063C2E11-A7A8-1FAD-94D2-DD6CE0E58236}"/>
          </ac:spMkLst>
        </pc:spChg>
        <pc:spChg chg="mod">
          <ac:chgData name="Veniero Facchetti" userId="f2c6c99af91c4974" providerId="LiveId" clId="{34DF7D6B-EB0F-4B53-B080-BB8D6F5C3D93}" dt="2024-05-10T15:57:29.467" v="503"/>
          <ac:spMkLst>
            <pc:docMk/>
            <pc:sldMk cId="1489675482" sldId="344"/>
            <ac:spMk id="54" creationId="{C5AAD584-A093-F73D-A057-D294D2B1B1EE}"/>
          </ac:spMkLst>
        </pc:spChg>
        <pc:spChg chg="mod">
          <ac:chgData name="Veniero Facchetti" userId="f2c6c99af91c4974" providerId="LiveId" clId="{34DF7D6B-EB0F-4B53-B080-BB8D6F5C3D93}" dt="2024-05-10T15:57:29.467" v="503"/>
          <ac:spMkLst>
            <pc:docMk/>
            <pc:sldMk cId="1489675482" sldId="344"/>
            <ac:spMk id="55" creationId="{7EA561A7-22F5-E335-43FE-6F60DA8D3819}"/>
          </ac:spMkLst>
        </pc:spChg>
        <pc:spChg chg="mod">
          <ac:chgData name="Veniero Facchetti" userId="f2c6c99af91c4974" providerId="LiveId" clId="{34DF7D6B-EB0F-4B53-B080-BB8D6F5C3D93}" dt="2024-05-10T15:57:29.467" v="503"/>
          <ac:spMkLst>
            <pc:docMk/>
            <pc:sldMk cId="1489675482" sldId="344"/>
            <ac:spMk id="56" creationId="{59020F65-EFA5-694C-9F86-E4FCECCF533D}"/>
          </ac:spMkLst>
        </pc:spChg>
        <pc:spChg chg="mod">
          <ac:chgData name="Veniero Facchetti" userId="f2c6c99af91c4974" providerId="LiveId" clId="{34DF7D6B-EB0F-4B53-B080-BB8D6F5C3D93}" dt="2024-05-10T15:57:29.467" v="503"/>
          <ac:spMkLst>
            <pc:docMk/>
            <pc:sldMk cId="1489675482" sldId="344"/>
            <ac:spMk id="57" creationId="{E3A76DC0-95B8-DC03-7B71-964293575146}"/>
          </ac:spMkLst>
        </pc:spChg>
        <pc:spChg chg="mod">
          <ac:chgData name="Veniero Facchetti" userId="f2c6c99af91c4974" providerId="LiveId" clId="{34DF7D6B-EB0F-4B53-B080-BB8D6F5C3D93}" dt="2024-05-10T15:57:29.467" v="503"/>
          <ac:spMkLst>
            <pc:docMk/>
            <pc:sldMk cId="1489675482" sldId="344"/>
            <ac:spMk id="58" creationId="{C61CEB2F-75C2-245B-A1E1-5C9EC10C366C}"/>
          </ac:spMkLst>
        </pc:spChg>
        <pc:spChg chg="mod">
          <ac:chgData name="Veniero Facchetti" userId="f2c6c99af91c4974" providerId="LiveId" clId="{34DF7D6B-EB0F-4B53-B080-BB8D6F5C3D93}" dt="2024-05-10T15:57:29.467" v="503"/>
          <ac:spMkLst>
            <pc:docMk/>
            <pc:sldMk cId="1489675482" sldId="344"/>
            <ac:spMk id="59" creationId="{7F75FE80-BCBB-9271-979F-78C93E7D376C}"/>
          </ac:spMkLst>
        </pc:spChg>
        <pc:spChg chg="mod">
          <ac:chgData name="Veniero Facchetti" userId="f2c6c99af91c4974" providerId="LiveId" clId="{34DF7D6B-EB0F-4B53-B080-BB8D6F5C3D93}" dt="2024-05-10T15:57:29.467" v="503"/>
          <ac:spMkLst>
            <pc:docMk/>
            <pc:sldMk cId="1489675482" sldId="344"/>
            <ac:spMk id="60" creationId="{E693FCFA-87F8-3FF2-3021-04346E578921}"/>
          </ac:spMkLst>
        </pc:spChg>
        <pc:spChg chg="mod">
          <ac:chgData name="Veniero Facchetti" userId="f2c6c99af91c4974" providerId="LiveId" clId="{34DF7D6B-EB0F-4B53-B080-BB8D6F5C3D93}" dt="2024-05-10T15:57:29.467" v="503"/>
          <ac:spMkLst>
            <pc:docMk/>
            <pc:sldMk cId="1489675482" sldId="344"/>
            <ac:spMk id="61" creationId="{7BD11B05-9034-585A-724B-52237B882488}"/>
          </ac:spMkLst>
        </pc:spChg>
        <pc:spChg chg="mod">
          <ac:chgData name="Veniero Facchetti" userId="f2c6c99af91c4974" providerId="LiveId" clId="{34DF7D6B-EB0F-4B53-B080-BB8D6F5C3D93}" dt="2024-05-10T15:57:29.467" v="503"/>
          <ac:spMkLst>
            <pc:docMk/>
            <pc:sldMk cId="1489675482" sldId="344"/>
            <ac:spMk id="62" creationId="{8EFCEE0B-44A3-22A9-3D1D-E09EC6D98073}"/>
          </ac:spMkLst>
        </pc:spChg>
        <pc:spChg chg="mod">
          <ac:chgData name="Veniero Facchetti" userId="f2c6c99af91c4974" providerId="LiveId" clId="{34DF7D6B-EB0F-4B53-B080-BB8D6F5C3D93}" dt="2024-05-10T15:57:29.467" v="503"/>
          <ac:spMkLst>
            <pc:docMk/>
            <pc:sldMk cId="1489675482" sldId="344"/>
            <ac:spMk id="63" creationId="{C1EFF6CA-9458-191F-F4A8-53FBFC53325B}"/>
          </ac:spMkLst>
        </pc:spChg>
        <pc:spChg chg="mod">
          <ac:chgData name="Veniero Facchetti" userId="f2c6c99af91c4974" providerId="LiveId" clId="{34DF7D6B-EB0F-4B53-B080-BB8D6F5C3D93}" dt="2024-05-10T15:57:29.467" v="503"/>
          <ac:spMkLst>
            <pc:docMk/>
            <pc:sldMk cId="1489675482" sldId="344"/>
            <ac:spMk id="64" creationId="{C92DA409-D9F9-2323-04DD-EAB300CC39A5}"/>
          </ac:spMkLst>
        </pc:spChg>
        <pc:spChg chg="mod">
          <ac:chgData name="Veniero Facchetti" userId="f2c6c99af91c4974" providerId="LiveId" clId="{34DF7D6B-EB0F-4B53-B080-BB8D6F5C3D93}" dt="2024-05-10T15:57:29.467" v="503"/>
          <ac:spMkLst>
            <pc:docMk/>
            <pc:sldMk cId="1489675482" sldId="344"/>
            <ac:spMk id="65" creationId="{906E9897-4616-764A-07D1-8852A8513194}"/>
          </ac:spMkLst>
        </pc:spChg>
        <pc:spChg chg="mod">
          <ac:chgData name="Veniero Facchetti" userId="f2c6c99af91c4974" providerId="LiveId" clId="{34DF7D6B-EB0F-4B53-B080-BB8D6F5C3D93}" dt="2024-05-10T15:57:29.467" v="503"/>
          <ac:spMkLst>
            <pc:docMk/>
            <pc:sldMk cId="1489675482" sldId="344"/>
            <ac:spMk id="66" creationId="{BF94B124-8A63-EA68-2CDE-9E31BDDEACD5}"/>
          </ac:spMkLst>
        </pc:spChg>
        <pc:spChg chg="mod">
          <ac:chgData name="Veniero Facchetti" userId="f2c6c99af91c4974" providerId="LiveId" clId="{34DF7D6B-EB0F-4B53-B080-BB8D6F5C3D93}" dt="2024-05-10T15:57:29.467" v="503"/>
          <ac:spMkLst>
            <pc:docMk/>
            <pc:sldMk cId="1489675482" sldId="344"/>
            <ac:spMk id="67" creationId="{7D9468F9-AFF4-291D-7AF2-9F344182DB60}"/>
          </ac:spMkLst>
        </pc:spChg>
        <pc:spChg chg="mod">
          <ac:chgData name="Veniero Facchetti" userId="f2c6c99af91c4974" providerId="LiveId" clId="{34DF7D6B-EB0F-4B53-B080-BB8D6F5C3D93}" dt="2024-05-10T15:57:29.467" v="503"/>
          <ac:spMkLst>
            <pc:docMk/>
            <pc:sldMk cId="1489675482" sldId="344"/>
            <ac:spMk id="68" creationId="{FB8A9D4F-3576-0431-9678-6353A0515C1D}"/>
          </ac:spMkLst>
        </pc:spChg>
        <pc:spChg chg="mod">
          <ac:chgData name="Veniero Facchetti" userId="f2c6c99af91c4974" providerId="LiveId" clId="{34DF7D6B-EB0F-4B53-B080-BB8D6F5C3D93}" dt="2024-05-10T15:57:29.467" v="503"/>
          <ac:spMkLst>
            <pc:docMk/>
            <pc:sldMk cId="1489675482" sldId="344"/>
            <ac:spMk id="69" creationId="{CE70B8AB-676C-30E6-98AB-B969A38C18ED}"/>
          </ac:spMkLst>
        </pc:spChg>
        <pc:spChg chg="mod">
          <ac:chgData name="Veniero Facchetti" userId="f2c6c99af91c4974" providerId="LiveId" clId="{34DF7D6B-EB0F-4B53-B080-BB8D6F5C3D93}" dt="2024-05-10T15:57:29.467" v="503"/>
          <ac:spMkLst>
            <pc:docMk/>
            <pc:sldMk cId="1489675482" sldId="344"/>
            <ac:spMk id="70" creationId="{3AF595CB-9F5D-FB44-21CE-7B7A68A6DAFF}"/>
          </ac:spMkLst>
        </pc:spChg>
        <pc:spChg chg="mod">
          <ac:chgData name="Veniero Facchetti" userId="f2c6c99af91c4974" providerId="LiveId" clId="{34DF7D6B-EB0F-4B53-B080-BB8D6F5C3D93}" dt="2024-05-10T15:57:29.467" v="503"/>
          <ac:spMkLst>
            <pc:docMk/>
            <pc:sldMk cId="1489675482" sldId="344"/>
            <ac:spMk id="71" creationId="{8045F5D4-9123-1AEF-01FD-BC4E3B42D3D1}"/>
          </ac:spMkLst>
        </pc:spChg>
        <pc:spChg chg="mod">
          <ac:chgData name="Veniero Facchetti" userId="f2c6c99af91c4974" providerId="LiveId" clId="{34DF7D6B-EB0F-4B53-B080-BB8D6F5C3D93}" dt="2024-05-10T15:57:29.467" v="503"/>
          <ac:spMkLst>
            <pc:docMk/>
            <pc:sldMk cId="1489675482" sldId="344"/>
            <ac:spMk id="72" creationId="{F81C0847-7DDF-65E4-7A12-2D44EBCE08EC}"/>
          </ac:spMkLst>
        </pc:spChg>
        <pc:spChg chg="mod">
          <ac:chgData name="Veniero Facchetti" userId="f2c6c99af91c4974" providerId="LiveId" clId="{34DF7D6B-EB0F-4B53-B080-BB8D6F5C3D93}" dt="2024-05-10T15:57:29.467" v="503"/>
          <ac:spMkLst>
            <pc:docMk/>
            <pc:sldMk cId="1489675482" sldId="344"/>
            <ac:spMk id="73" creationId="{9E504EF6-F43C-0A4B-4726-0089775F2EB0}"/>
          </ac:spMkLst>
        </pc:spChg>
        <pc:spChg chg="mod">
          <ac:chgData name="Veniero Facchetti" userId="f2c6c99af91c4974" providerId="LiveId" clId="{34DF7D6B-EB0F-4B53-B080-BB8D6F5C3D93}" dt="2024-05-10T15:57:29.467" v="503"/>
          <ac:spMkLst>
            <pc:docMk/>
            <pc:sldMk cId="1489675482" sldId="344"/>
            <ac:spMk id="74" creationId="{88E26B96-4894-3DC3-0C10-FF7A29801E28}"/>
          </ac:spMkLst>
        </pc:spChg>
        <pc:spChg chg="mod">
          <ac:chgData name="Veniero Facchetti" userId="f2c6c99af91c4974" providerId="LiveId" clId="{34DF7D6B-EB0F-4B53-B080-BB8D6F5C3D93}" dt="2024-05-10T15:57:29.467" v="503"/>
          <ac:spMkLst>
            <pc:docMk/>
            <pc:sldMk cId="1489675482" sldId="344"/>
            <ac:spMk id="75" creationId="{39BBFFCB-1466-444D-F884-BE3EFB3BF729}"/>
          </ac:spMkLst>
        </pc:spChg>
        <pc:spChg chg="mod">
          <ac:chgData name="Veniero Facchetti" userId="f2c6c99af91c4974" providerId="LiveId" clId="{34DF7D6B-EB0F-4B53-B080-BB8D6F5C3D93}" dt="2024-05-10T15:57:29.467" v="503"/>
          <ac:spMkLst>
            <pc:docMk/>
            <pc:sldMk cId="1489675482" sldId="344"/>
            <ac:spMk id="76" creationId="{22DE3DFC-5548-CFA3-D966-1B7FF5CF150C}"/>
          </ac:spMkLst>
        </pc:spChg>
        <pc:spChg chg="mod">
          <ac:chgData name="Veniero Facchetti" userId="f2c6c99af91c4974" providerId="LiveId" clId="{34DF7D6B-EB0F-4B53-B080-BB8D6F5C3D93}" dt="2024-05-10T15:57:29.467" v="503"/>
          <ac:spMkLst>
            <pc:docMk/>
            <pc:sldMk cId="1489675482" sldId="344"/>
            <ac:spMk id="77" creationId="{F1CCC622-70C1-5ABA-D1FA-4D9E68EFC5CC}"/>
          </ac:spMkLst>
        </pc:spChg>
        <pc:spChg chg="mod">
          <ac:chgData name="Veniero Facchetti" userId="f2c6c99af91c4974" providerId="LiveId" clId="{34DF7D6B-EB0F-4B53-B080-BB8D6F5C3D93}" dt="2024-05-10T15:57:29.467" v="503"/>
          <ac:spMkLst>
            <pc:docMk/>
            <pc:sldMk cId="1489675482" sldId="344"/>
            <ac:spMk id="78" creationId="{3FD3B368-A548-A25A-AF55-3E95F8771F3D}"/>
          </ac:spMkLst>
        </pc:spChg>
        <pc:spChg chg="mod">
          <ac:chgData name="Veniero Facchetti" userId="f2c6c99af91c4974" providerId="LiveId" clId="{34DF7D6B-EB0F-4B53-B080-BB8D6F5C3D93}" dt="2024-05-10T15:57:29.467" v="503"/>
          <ac:spMkLst>
            <pc:docMk/>
            <pc:sldMk cId="1489675482" sldId="344"/>
            <ac:spMk id="79" creationId="{E5DF37A3-F1FF-9E8A-BA6D-BAE9B47E3ED3}"/>
          </ac:spMkLst>
        </pc:spChg>
        <pc:spChg chg="mod">
          <ac:chgData name="Veniero Facchetti" userId="f2c6c99af91c4974" providerId="LiveId" clId="{34DF7D6B-EB0F-4B53-B080-BB8D6F5C3D93}" dt="2024-05-10T15:57:29.467" v="503"/>
          <ac:spMkLst>
            <pc:docMk/>
            <pc:sldMk cId="1489675482" sldId="344"/>
            <ac:spMk id="80" creationId="{BD098A99-E61C-A55E-9C94-1CDC6C4E5865}"/>
          </ac:spMkLst>
        </pc:spChg>
        <pc:spChg chg="mod">
          <ac:chgData name="Veniero Facchetti" userId="f2c6c99af91c4974" providerId="LiveId" clId="{34DF7D6B-EB0F-4B53-B080-BB8D6F5C3D93}" dt="2024-05-10T15:57:29.467" v="503"/>
          <ac:spMkLst>
            <pc:docMk/>
            <pc:sldMk cId="1489675482" sldId="344"/>
            <ac:spMk id="81" creationId="{0EA66187-9E2C-9904-4219-5938C63643CD}"/>
          </ac:spMkLst>
        </pc:spChg>
        <pc:spChg chg="mod">
          <ac:chgData name="Veniero Facchetti" userId="f2c6c99af91c4974" providerId="LiveId" clId="{34DF7D6B-EB0F-4B53-B080-BB8D6F5C3D93}" dt="2024-05-10T15:57:29.467" v="503"/>
          <ac:spMkLst>
            <pc:docMk/>
            <pc:sldMk cId="1489675482" sldId="344"/>
            <ac:spMk id="82" creationId="{334CA9DA-9431-B569-DE19-8B72CBBAEAC5}"/>
          </ac:spMkLst>
        </pc:spChg>
        <pc:spChg chg="mod">
          <ac:chgData name="Veniero Facchetti" userId="f2c6c99af91c4974" providerId="LiveId" clId="{34DF7D6B-EB0F-4B53-B080-BB8D6F5C3D93}" dt="2024-05-10T15:57:29.467" v="503"/>
          <ac:spMkLst>
            <pc:docMk/>
            <pc:sldMk cId="1489675482" sldId="344"/>
            <ac:spMk id="83" creationId="{B1F396B3-F85F-F351-21D9-C31E305C3C41}"/>
          </ac:spMkLst>
        </pc:spChg>
        <pc:spChg chg="mod">
          <ac:chgData name="Veniero Facchetti" userId="f2c6c99af91c4974" providerId="LiveId" clId="{34DF7D6B-EB0F-4B53-B080-BB8D6F5C3D93}" dt="2024-05-10T15:57:29.467" v="503"/>
          <ac:spMkLst>
            <pc:docMk/>
            <pc:sldMk cId="1489675482" sldId="344"/>
            <ac:spMk id="84" creationId="{6806F550-E212-6BCD-A7EA-EB3011A57A98}"/>
          </ac:spMkLst>
        </pc:spChg>
        <pc:spChg chg="mod">
          <ac:chgData name="Veniero Facchetti" userId="f2c6c99af91c4974" providerId="LiveId" clId="{34DF7D6B-EB0F-4B53-B080-BB8D6F5C3D93}" dt="2024-05-10T15:57:29.467" v="503"/>
          <ac:spMkLst>
            <pc:docMk/>
            <pc:sldMk cId="1489675482" sldId="344"/>
            <ac:spMk id="85" creationId="{5E8BA49A-306D-9BBF-3A0A-C784AC8D01FD}"/>
          </ac:spMkLst>
        </pc:spChg>
        <pc:spChg chg="mod">
          <ac:chgData name="Veniero Facchetti" userId="f2c6c99af91c4974" providerId="LiveId" clId="{34DF7D6B-EB0F-4B53-B080-BB8D6F5C3D93}" dt="2024-05-10T15:57:29.467" v="503"/>
          <ac:spMkLst>
            <pc:docMk/>
            <pc:sldMk cId="1489675482" sldId="344"/>
            <ac:spMk id="86" creationId="{380ABD02-7000-BE3F-17E8-F0C179DF26C7}"/>
          </ac:spMkLst>
        </pc:spChg>
        <pc:spChg chg="mod">
          <ac:chgData name="Veniero Facchetti" userId="f2c6c99af91c4974" providerId="LiveId" clId="{34DF7D6B-EB0F-4B53-B080-BB8D6F5C3D93}" dt="2024-05-10T15:57:29.467" v="503"/>
          <ac:spMkLst>
            <pc:docMk/>
            <pc:sldMk cId="1489675482" sldId="344"/>
            <ac:spMk id="87" creationId="{3D11D854-2353-1ACC-C37C-1A7629455E57}"/>
          </ac:spMkLst>
        </pc:spChg>
        <pc:spChg chg="mod">
          <ac:chgData name="Veniero Facchetti" userId="f2c6c99af91c4974" providerId="LiveId" clId="{34DF7D6B-EB0F-4B53-B080-BB8D6F5C3D93}" dt="2024-05-10T15:57:29.467" v="503"/>
          <ac:spMkLst>
            <pc:docMk/>
            <pc:sldMk cId="1489675482" sldId="344"/>
            <ac:spMk id="88" creationId="{4D7234D6-2144-A25D-9725-0246A9B44017}"/>
          </ac:spMkLst>
        </pc:spChg>
        <pc:spChg chg="mod">
          <ac:chgData name="Veniero Facchetti" userId="f2c6c99af91c4974" providerId="LiveId" clId="{34DF7D6B-EB0F-4B53-B080-BB8D6F5C3D93}" dt="2024-05-10T15:57:29.467" v="503"/>
          <ac:spMkLst>
            <pc:docMk/>
            <pc:sldMk cId="1489675482" sldId="344"/>
            <ac:spMk id="89" creationId="{9B4F9B38-5BE7-F142-16F3-7FAA981C6CED}"/>
          </ac:spMkLst>
        </pc:spChg>
        <pc:spChg chg="mod">
          <ac:chgData name="Veniero Facchetti" userId="f2c6c99af91c4974" providerId="LiveId" clId="{34DF7D6B-EB0F-4B53-B080-BB8D6F5C3D93}" dt="2024-05-10T15:57:29.467" v="503"/>
          <ac:spMkLst>
            <pc:docMk/>
            <pc:sldMk cId="1489675482" sldId="344"/>
            <ac:spMk id="90" creationId="{AC8F45F6-A982-DB2E-1246-B5E1C9BDB615}"/>
          </ac:spMkLst>
        </pc:spChg>
        <pc:spChg chg="mod">
          <ac:chgData name="Veniero Facchetti" userId="f2c6c99af91c4974" providerId="LiveId" clId="{34DF7D6B-EB0F-4B53-B080-BB8D6F5C3D93}" dt="2024-05-10T15:57:29.467" v="503"/>
          <ac:spMkLst>
            <pc:docMk/>
            <pc:sldMk cId="1489675482" sldId="344"/>
            <ac:spMk id="91" creationId="{EF8AA5A6-D768-571F-801B-AECC01498127}"/>
          </ac:spMkLst>
        </pc:spChg>
        <pc:spChg chg="mod">
          <ac:chgData name="Veniero Facchetti" userId="f2c6c99af91c4974" providerId="LiveId" clId="{34DF7D6B-EB0F-4B53-B080-BB8D6F5C3D93}" dt="2024-05-10T15:57:29.467" v="503"/>
          <ac:spMkLst>
            <pc:docMk/>
            <pc:sldMk cId="1489675482" sldId="344"/>
            <ac:spMk id="92" creationId="{E8A78E8B-B7DE-D027-2B25-AA0D83C56014}"/>
          </ac:spMkLst>
        </pc:spChg>
        <pc:spChg chg="mod">
          <ac:chgData name="Veniero Facchetti" userId="f2c6c99af91c4974" providerId="LiveId" clId="{34DF7D6B-EB0F-4B53-B080-BB8D6F5C3D93}" dt="2024-05-10T15:57:29.467" v="503"/>
          <ac:spMkLst>
            <pc:docMk/>
            <pc:sldMk cId="1489675482" sldId="344"/>
            <ac:spMk id="93" creationId="{4D9E515C-9B6A-3F49-1C0B-A2EBB1F7BFA7}"/>
          </ac:spMkLst>
        </pc:spChg>
        <pc:spChg chg="mod">
          <ac:chgData name="Veniero Facchetti" userId="f2c6c99af91c4974" providerId="LiveId" clId="{34DF7D6B-EB0F-4B53-B080-BB8D6F5C3D93}" dt="2024-05-10T15:57:29.467" v="503"/>
          <ac:spMkLst>
            <pc:docMk/>
            <pc:sldMk cId="1489675482" sldId="344"/>
            <ac:spMk id="94" creationId="{6FC0E3B8-4611-B677-6E06-F3E9DE12197A}"/>
          </ac:spMkLst>
        </pc:spChg>
        <pc:spChg chg="mod">
          <ac:chgData name="Veniero Facchetti" userId="f2c6c99af91c4974" providerId="LiveId" clId="{34DF7D6B-EB0F-4B53-B080-BB8D6F5C3D93}" dt="2024-05-10T15:57:29.467" v="503"/>
          <ac:spMkLst>
            <pc:docMk/>
            <pc:sldMk cId="1489675482" sldId="344"/>
            <ac:spMk id="95" creationId="{A32E6C39-D363-85C7-4FCB-7B9D270A4B78}"/>
          </ac:spMkLst>
        </pc:spChg>
        <pc:spChg chg="mod">
          <ac:chgData name="Veniero Facchetti" userId="f2c6c99af91c4974" providerId="LiveId" clId="{34DF7D6B-EB0F-4B53-B080-BB8D6F5C3D93}" dt="2024-05-10T15:57:29.467" v="503"/>
          <ac:spMkLst>
            <pc:docMk/>
            <pc:sldMk cId="1489675482" sldId="344"/>
            <ac:spMk id="96" creationId="{C8246339-64E0-6678-3F67-06DC26D84BE0}"/>
          </ac:spMkLst>
        </pc:spChg>
        <pc:spChg chg="mod">
          <ac:chgData name="Veniero Facchetti" userId="f2c6c99af91c4974" providerId="LiveId" clId="{34DF7D6B-EB0F-4B53-B080-BB8D6F5C3D93}" dt="2024-05-10T15:57:29.467" v="503"/>
          <ac:spMkLst>
            <pc:docMk/>
            <pc:sldMk cId="1489675482" sldId="344"/>
            <ac:spMk id="97" creationId="{8777BF99-1239-F38A-C439-18843DD81B84}"/>
          </ac:spMkLst>
        </pc:spChg>
        <pc:spChg chg="mod">
          <ac:chgData name="Veniero Facchetti" userId="f2c6c99af91c4974" providerId="LiveId" clId="{34DF7D6B-EB0F-4B53-B080-BB8D6F5C3D93}" dt="2024-05-10T15:57:29.467" v="503"/>
          <ac:spMkLst>
            <pc:docMk/>
            <pc:sldMk cId="1489675482" sldId="344"/>
            <ac:spMk id="98" creationId="{0C173CFD-8166-3133-80BC-B3D3E4593672}"/>
          </ac:spMkLst>
        </pc:spChg>
        <pc:spChg chg="mod">
          <ac:chgData name="Veniero Facchetti" userId="f2c6c99af91c4974" providerId="LiveId" clId="{34DF7D6B-EB0F-4B53-B080-BB8D6F5C3D93}" dt="2024-05-10T15:57:29.467" v="503"/>
          <ac:spMkLst>
            <pc:docMk/>
            <pc:sldMk cId="1489675482" sldId="344"/>
            <ac:spMk id="99" creationId="{CEF58591-0684-58A4-F730-A05F46A8E1E9}"/>
          </ac:spMkLst>
        </pc:spChg>
        <pc:spChg chg="mod">
          <ac:chgData name="Veniero Facchetti" userId="f2c6c99af91c4974" providerId="LiveId" clId="{34DF7D6B-EB0F-4B53-B080-BB8D6F5C3D93}" dt="2024-05-10T15:57:29.467" v="503"/>
          <ac:spMkLst>
            <pc:docMk/>
            <pc:sldMk cId="1489675482" sldId="344"/>
            <ac:spMk id="100" creationId="{D6C5C796-D9D0-05DE-F004-081A6B4F246D}"/>
          </ac:spMkLst>
        </pc:spChg>
        <pc:spChg chg="mod">
          <ac:chgData name="Veniero Facchetti" userId="f2c6c99af91c4974" providerId="LiveId" clId="{34DF7D6B-EB0F-4B53-B080-BB8D6F5C3D93}" dt="2024-05-10T15:57:29.467" v="503"/>
          <ac:spMkLst>
            <pc:docMk/>
            <pc:sldMk cId="1489675482" sldId="344"/>
            <ac:spMk id="101" creationId="{50007223-2722-3961-61D2-29E25F4B53BE}"/>
          </ac:spMkLst>
        </pc:spChg>
        <pc:spChg chg="mod">
          <ac:chgData name="Veniero Facchetti" userId="f2c6c99af91c4974" providerId="LiveId" clId="{34DF7D6B-EB0F-4B53-B080-BB8D6F5C3D93}" dt="2024-05-10T15:57:29.467" v="503"/>
          <ac:spMkLst>
            <pc:docMk/>
            <pc:sldMk cId="1489675482" sldId="344"/>
            <ac:spMk id="102" creationId="{0F0CDCE4-38D9-A2A1-3C4F-041C366876C2}"/>
          </ac:spMkLst>
        </pc:spChg>
        <pc:spChg chg="mod">
          <ac:chgData name="Veniero Facchetti" userId="f2c6c99af91c4974" providerId="LiveId" clId="{34DF7D6B-EB0F-4B53-B080-BB8D6F5C3D93}" dt="2024-05-10T15:57:29.467" v="503"/>
          <ac:spMkLst>
            <pc:docMk/>
            <pc:sldMk cId="1489675482" sldId="344"/>
            <ac:spMk id="103" creationId="{803CC383-D52F-E733-2AE3-DEB2E487C53C}"/>
          </ac:spMkLst>
        </pc:spChg>
        <pc:spChg chg="mod">
          <ac:chgData name="Veniero Facchetti" userId="f2c6c99af91c4974" providerId="LiveId" clId="{34DF7D6B-EB0F-4B53-B080-BB8D6F5C3D93}" dt="2024-05-10T15:57:29.467" v="503"/>
          <ac:spMkLst>
            <pc:docMk/>
            <pc:sldMk cId="1489675482" sldId="344"/>
            <ac:spMk id="104" creationId="{FB8984BE-9276-9EC0-BEFE-07E7AE5DC430}"/>
          </ac:spMkLst>
        </pc:spChg>
        <pc:spChg chg="mod">
          <ac:chgData name="Veniero Facchetti" userId="f2c6c99af91c4974" providerId="LiveId" clId="{34DF7D6B-EB0F-4B53-B080-BB8D6F5C3D93}" dt="2024-05-10T15:57:29.467" v="503"/>
          <ac:spMkLst>
            <pc:docMk/>
            <pc:sldMk cId="1489675482" sldId="344"/>
            <ac:spMk id="105" creationId="{913EC1F7-27E2-CFB0-232B-E5D4A1E66BE5}"/>
          </ac:spMkLst>
        </pc:spChg>
        <pc:spChg chg="mod">
          <ac:chgData name="Veniero Facchetti" userId="f2c6c99af91c4974" providerId="LiveId" clId="{34DF7D6B-EB0F-4B53-B080-BB8D6F5C3D93}" dt="2024-05-10T15:57:29.467" v="503"/>
          <ac:spMkLst>
            <pc:docMk/>
            <pc:sldMk cId="1489675482" sldId="344"/>
            <ac:spMk id="106" creationId="{4C4F360D-9D6E-BA3C-5F73-8DE6EA139DED}"/>
          </ac:spMkLst>
        </pc:spChg>
        <pc:spChg chg="mod">
          <ac:chgData name="Veniero Facchetti" userId="f2c6c99af91c4974" providerId="LiveId" clId="{34DF7D6B-EB0F-4B53-B080-BB8D6F5C3D93}" dt="2024-05-10T15:57:29.467" v="503"/>
          <ac:spMkLst>
            <pc:docMk/>
            <pc:sldMk cId="1489675482" sldId="344"/>
            <ac:spMk id="107" creationId="{47274B8E-1666-2C40-0DB1-3291EE35A693}"/>
          </ac:spMkLst>
        </pc:spChg>
        <pc:spChg chg="mod">
          <ac:chgData name="Veniero Facchetti" userId="f2c6c99af91c4974" providerId="LiveId" clId="{34DF7D6B-EB0F-4B53-B080-BB8D6F5C3D93}" dt="2024-05-10T15:57:29.467" v="503"/>
          <ac:spMkLst>
            <pc:docMk/>
            <pc:sldMk cId="1489675482" sldId="344"/>
            <ac:spMk id="108" creationId="{1134BE65-2A48-810E-E05A-422E3BF5034F}"/>
          </ac:spMkLst>
        </pc:spChg>
        <pc:spChg chg="mod">
          <ac:chgData name="Veniero Facchetti" userId="f2c6c99af91c4974" providerId="LiveId" clId="{34DF7D6B-EB0F-4B53-B080-BB8D6F5C3D93}" dt="2024-05-10T15:57:29.467" v="503"/>
          <ac:spMkLst>
            <pc:docMk/>
            <pc:sldMk cId="1489675482" sldId="344"/>
            <ac:spMk id="109" creationId="{DE9FC91C-9F3E-279D-B4DF-49E3CB169E70}"/>
          </ac:spMkLst>
        </pc:spChg>
        <pc:spChg chg="mod">
          <ac:chgData name="Veniero Facchetti" userId="f2c6c99af91c4974" providerId="LiveId" clId="{34DF7D6B-EB0F-4B53-B080-BB8D6F5C3D93}" dt="2024-05-10T15:57:29.467" v="503"/>
          <ac:spMkLst>
            <pc:docMk/>
            <pc:sldMk cId="1489675482" sldId="344"/>
            <ac:spMk id="110" creationId="{CA251496-3E46-9C38-A49D-36C9FE107E6B}"/>
          </ac:spMkLst>
        </pc:spChg>
        <pc:spChg chg="mod">
          <ac:chgData name="Veniero Facchetti" userId="f2c6c99af91c4974" providerId="LiveId" clId="{34DF7D6B-EB0F-4B53-B080-BB8D6F5C3D93}" dt="2024-05-10T15:57:29.467" v="503"/>
          <ac:spMkLst>
            <pc:docMk/>
            <pc:sldMk cId="1489675482" sldId="344"/>
            <ac:spMk id="111" creationId="{BB23EA06-25C4-D2F1-A5E7-175473D5C068}"/>
          </ac:spMkLst>
        </pc:spChg>
        <pc:spChg chg="mod">
          <ac:chgData name="Veniero Facchetti" userId="f2c6c99af91c4974" providerId="LiveId" clId="{34DF7D6B-EB0F-4B53-B080-BB8D6F5C3D93}" dt="2024-05-10T15:57:29.467" v="503"/>
          <ac:spMkLst>
            <pc:docMk/>
            <pc:sldMk cId="1489675482" sldId="344"/>
            <ac:spMk id="112" creationId="{1B332C8A-B65E-CB67-D27E-C29B4136CD31}"/>
          </ac:spMkLst>
        </pc:spChg>
        <pc:spChg chg="mod">
          <ac:chgData name="Veniero Facchetti" userId="f2c6c99af91c4974" providerId="LiveId" clId="{34DF7D6B-EB0F-4B53-B080-BB8D6F5C3D93}" dt="2024-05-10T15:57:29.467" v="503"/>
          <ac:spMkLst>
            <pc:docMk/>
            <pc:sldMk cId="1489675482" sldId="344"/>
            <ac:spMk id="113" creationId="{DDE61C18-5532-B3B7-B556-CAE1CD9D0D9B}"/>
          </ac:spMkLst>
        </pc:spChg>
        <pc:spChg chg="mod">
          <ac:chgData name="Veniero Facchetti" userId="f2c6c99af91c4974" providerId="LiveId" clId="{34DF7D6B-EB0F-4B53-B080-BB8D6F5C3D93}" dt="2024-05-10T15:57:29.467" v="503"/>
          <ac:spMkLst>
            <pc:docMk/>
            <pc:sldMk cId="1489675482" sldId="344"/>
            <ac:spMk id="114" creationId="{43500C1B-C2FA-DFF8-FB38-2BD1D2F2CFAE}"/>
          </ac:spMkLst>
        </pc:spChg>
        <pc:spChg chg="mod">
          <ac:chgData name="Veniero Facchetti" userId="f2c6c99af91c4974" providerId="LiveId" clId="{34DF7D6B-EB0F-4B53-B080-BB8D6F5C3D93}" dt="2024-05-10T15:57:29.467" v="503"/>
          <ac:spMkLst>
            <pc:docMk/>
            <pc:sldMk cId="1489675482" sldId="344"/>
            <ac:spMk id="115" creationId="{7D121BF9-9B15-BFEE-8BF3-7F55379C8A27}"/>
          </ac:spMkLst>
        </pc:spChg>
        <pc:spChg chg="mod">
          <ac:chgData name="Veniero Facchetti" userId="f2c6c99af91c4974" providerId="LiveId" clId="{34DF7D6B-EB0F-4B53-B080-BB8D6F5C3D93}" dt="2024-05-10T15:57:29.467" v="503"/>
          <ac:spMkLst>
            <pc:docMk/>
            <pc:sldMk cId="1489675482" sldId="344"/>
            <ac:spMk id="116" creationId="{D955F30B-3543-8AE3-1ABF-97305080AC0C}"/>
          </ac:spMkLst>
        </pc:spChg>
        <pc:spChg chg="mod">
          <ac:chgData name="Veniero Facchetti" userId="f2c6c99af91c4974" providerId="LiveId" clId="{34DF7D6B-EB0F-4B53-B080-BB8D6F5C3D93}" dt="2024-05-10T15:57:29.467" v="503"/>
          <ac:spMkLst>
            <pc:docMk/>
            <pc:sldMk cId="1489675482" sldId="344"/>
            <ac:spMk id="117" creationId="{61524526-D9F0-CC1C-A6E1-6DC147CD96BE}"/>
          </ac:spMkLst>
        </pc:spChg>
        <pc:spChg chg="mod">
          <ac:chgData name="Veniero Facchetti" userId="f2c6c99af91c4974" providerId="LiveId" clId="{34DF7D6B-EB0F-4B53-B080-BB8D6F5C3D93}" dt="2024-05-10T15:57:29.467" v="503"/>
          <ac:spMkLst>
            <pc:docMk/>
            <pc:sldMk cId="1489675482" sldId="344"/>
            <ac:spMk id="118" creationId="{105BC8F9-FD79-C3A8-992D-475F7D7D5CA3}"/>
          </ac:spMkLst>
        </pc:spChg>
        <pc:spChg chg="mod">
          <ac:chgData name="Veniero Facchetti" userId="f2c6c99af91c4974" providerId="LiveId" clId="{34DF7D6B-EB0F-4B53-B080-BB8D6F5C3D93}" dt="2024-05-10T15:57:29.467" v="503"/>
          <ac:spMkLst>
            <pc:docMk/>
            <pc:sldMk cId="1489675482" sldId="344"/>
            <ac:spMk id="119" creationId="{0F919439-E155-773C-50CC-FD4715DF79EF}"/>
          </ac:spMkLst>
        </pc:spChg>
        <pc:spChg chg="mod">
          <ac:chgData name="Veniero Facchetti" userId="f2c6c99af91c4974" providerId="LiveId" clId="{34DF7D6B-EB0F-4B53-B080-BB8D6F5C3D93}" dt="2024-05-10T15:57:29.467" v="503"/>
          <ac:spMkLst>
            <pc:docMk/>
            <pc:sldMk cId="1489675482" sldId="344"/>
            <ac:spMk id="120" creationId="{CD1C6289-1951-BC75-274A-69E1C95135CC}"/>
          </ac:spMkLst>
        </pc:spChg>
        <pc:spChg chg="mod">
          <ac:chgData name="Veniero Facchetti" userId="f2c6c99af91c4974" providerId="LiveId" clId="{34DF7D6B-EB0F-4B53-B080-BB8D6F5C3D93}" dt="2024-05-10T15:57:29.467" v="503"/>
          <ac:spMkLst>
            <pc:docMk/>
            <pc:sldMk cId="1489675482" sldId="344"/>
            <ac:spMk id="121" creationId="{1A9C334A-56F4-5016-F2E8-E6B2C4B27930}"/>
          </ac:spMkLst>
        </pc:spChg>
        <pc:spChg chg="mod">
          <ac:chgData name="Veniero Facchetti" userId="f2c6c99af91c4974" providerId="LiveId" clId="{34DF7D6B-EB0F-4B53-B080-BB8D6F5C3D93}" dt="2024-05-10T15:57:29.467" v="503"/>
          <ac:spMkLst>
            <pc:docMk/>
            <pc:sldMk cId="1489675482" sldId="344"/>
            <ac:spMk id="122" creationId="{19DA008E-6957-F342-6FAF-4782E8B62C75}"/>
          </ac:spMkLst>
        </pc:spChg>
        <pc:spChg chg="mod">
          <ac:chgData name="Veniero Facchetti" userId="f2c6c99af91c4974" providerId="LiveId" clId="{34DF7D6B-EB0F-4B53-B080-BB8D6F5C3D93}" dt="2024-05-10T15:57:29.467" v="503"/>
          <ac:spMkLst>
            <pc:docMk/>
            <pc:sldMk cId="1489675482" sldId="344"/>
            <ac:spMk id="123" creationId="{D628F34D-EBF3-FF7B-706C-2232973C3391}"/>
          </ac:spMkLst>
        </pc:spChg>
        <pc:spChg chg="mod">
          <ac:chgData name="Veniero Facchetti" userId="f2c6c99af91c4974" providerId="LiveId" clId="{34DF7D6B-EB0F-4B53-B080-BB8D6F5C3D93}" dt="2024-05-10T15:57:29.467" v="503"/>
          <ac:spMkLst>
            <pc:docMk/>
            <pc:sldMk cId="1489675482" sldId="344"/>
            <ac:spMk id="124" creationId="{83C59313-6AFC-A07B-0F9B-1923AE4CCF31}"/>
          </ac:spMkLst>
        </pc:spChg>
        <pc:spChg chg="mod">
          <ac:chgData name="Veniero Facchetti" userId="f2c6c99af91c4974" providerId="LiveId" clId="{34DF7D6B-EB0F-4B53-B080-BB8D6F5C3D93}" dt="2024-05-10T15:57:29.467" v="503"/>
          <ac:spMkLst>
            <pc:docMk/>
            <pc:sldMk cId="1489675482" sldId="344"/>
            <ac:spMk id="125" creationId="{5988A9B5-D0AA-2447-523B-1C1B6D4B8315}"/>
          </ac:spMkLst>
        </pc:spChg>
        <pc:spChg chg="mod">
          <ac:chgData name="Veniero Facchetti" userId="f2c6c99af91c4974" providerId="LiveId" clId="{34DF7D6B-EB0F-4B53-B080-BB8D6F5C3D93}" dt="2024-05-10T15:57:29.467" v="503"/>
          <ac:spMkLst>
            <pc:docMk/>
            <pc:sldMk cId="1489675482" sldId="344"/>
            <ac:spMk id="126" creationId="{AB4E0527-1BF4-F4C3-68BA-BBFBDC7129AD}"/>
          </ac:spMkLst>
        </pc:spChg>
        <pc:spChg chg="mod">
          <ac:chgData name="Veniero Facchetti" userId="f2c6c99af91c4974" providerId="LiveId" clId="{34DF7D6B-EB0F-4B53-B080-BB8D6F5C3D93}" dt="2024-05-10T15:57:29.467" v="503"/>
          <ac:spMkLst>
            <pc:docMk/>
            <pc:sldMk cId="1489675482" sldId="344"/>
            <ac:spMk id="127" creationId="{47B6B364-7866-2C55-6C9B-1BD9551CEB03}"/>
          </ac:spMkLst>
        </pc:spChg>
        <pc:spChg chg="mod">
          <ac:chgData name="Veniero Facchetti" userId="f2c6c99af91c4974" providerId="LiveId" clId="{34DF7D6B-EB0F-4B53-B080-BB8D6F5C3D93}" dt="2024-05-10T15:57:29.467" v="503"/>
          <ac:spMkLst>
            <pc:docMk/>
            <pc:sldMk cId="1489675482" sldId="344"/>
            <ac:spMk id="128" creationId="{5440A6BE-6857-DD57-8E55-C5895F25A656}"/>
          </ac:spMkLst>
        </pc:spChg>
        <pc:spChg chg="mod">
          <ac:chgData name="Veniero Facchetti" userId="f2c6c99af91c4974" providerId="LiveId" clId="{34DF7D6B-EB0F-4B53-B080-BB8D6F5C3D93}" dt="2024-05-10T15:57:29.467" v="503"/>
          <ac:spMkLst>
            <pc:docMk/>
            <pc:sldMk cId="1489675482" sldId="344"/>
            <ac:spMk id="129" creationId="{5860AD99-C50C-C64C-A709-AC467F9FB2CC}"/>
          </ac:spMkLst>
        </pc:spChg>
        <pc:spChg chg="mod">
          <ac:chgData name="Veniero Facchetti" userId="f2c6c99af91c4974" providerId="LiveId" clId="{34DF7D6B-EB0F-4B53-B080-BB8D6F5C3D93}" dt="2024-05-10T15:57:29.467" v="503"/>
          <ac:spMkLst>
            <pc:docMk/>
            <pc:sldMk cId="1489675482" sldId="344"/>
            <ac:spMk id="130" creationId="{AB8CFAF8-3716-F823-F6F2-8B957F3A831F}"/>
          </ac:spMkLst>
        </pc:spChg>
        <pc:spChg chg="mod">
          <ac:chgData name="Veniero Facchetti" userId="f2c6c99af91c4974" providerId="LiveId" clId="{34DF7D6B-EB0F-4B53-B080-BB8D6F5C3D93}" dt="2024-05-10T15:57:29.467" v="503"/>
          <ac:spMkLst>
            <pc:docMk/>
            <pc:sldMk cId="1489675482" sldId="344"/>
            <ac:spMk id="131" creationId="{68B1CA32-4B83-A844-63AA-7C29051CFD0D}"/>
          </ac:spMkLst>
        </pc:spChg>
        <pc:spChg chg="mod">
          <ac:chgData name="Veniero Facchetti" userId="f2c6c99af91c4974" providerId="LiveId" clId="{34DF7D6B-EB0F-4B53-B080-BB8D6F5C3D93}" dt="2024-05-10T15:57:29.467" v="503"/>
          <ac:spMkLst>
            <pc:docMk/>
            <pc:sldMk cId="1489675482" sldId="344"/>
            <ac:spMk id="132" creationId="{675DA534-AE09-0558-4972-2BA26116338B}"/>
          </ac:spMkLst>
        </pc:spChg>
        <pc:spChg chg="mod">
          <ac:chgData name="Veniero Facchetti" userId="f2c6c99af91c4974" providerId="LiveId" clId="{34DF7D6B-EB0F-4B53-B080-BB8D6F5C3D93}" dt="2024-05-10T15:57:29.467" v="503"/>
          <ac:spMkLst>
            <pc:docMk/>
            <pc:sldMk cId="1489675482" sldId="344"/>
            <ac:spMk id="133" creationId="{A1CBE206-6C85-9B7E-21D9-38EF9891ACC4}"/>
          </ac:spMkLst>
        </pc:spChg>
        <pc:spChg chg="mod">
          <ac:chgData name="Veniero Facchetti" userId="f2c6c99af91c4974" providerId="LiveId" clId="{34DF7D6B-EB0F-4B53-B080-BB8D6F5C3D93}" dt="2024-05-10T15:57:29.467" v="503"/>
          <ac:spMkLst>
            <pc:docMk/>
            <pc:sldMk cId="1489675482" sldId="344"/>
            <ac:spMk id="134" creationId="{4F0D7565-2BBC-3D4F-8801-B533EDB0EB9E}"/>
          </ac:spMkLst>
        </pc:spChg>
        <pc:spChg chg="mod">
          <ac:chgData name="Veniero Facchetti" userId="f2c6c99af91c4974" providerId="LiveId" clId="{34DF7D6B-EB0F-4B53-B080-BB8D6F5C3D93}" dt="2024-05-10T15:57:29.467" v="503"/>
          <ac:spMkLst>
            <pc:docMk/>
            <pc:sldMk cId="1489675482" sldId="344"/>
            <ac:spMk id="135" creationId="{B684207A-F3AF-CEA4-CB91-2FB8496BA595}"/>
          </ac:spMkLst>
        </pc:spChg>
        <pc:spChg chg="mod">
          <ac:chgData name="Veniero Facchetti" userId="f2c6c99af91c4974" providerId="LiveId" clId="{34DF7D6B-EB0F-4B53-B080-BB8D6F5C3D93}" dt="2024-05-10T15:57:29.467" v="503"/>
          <ac:spMkLst>
            <pc:docMk/>
            <pc:sldMk cId="1489675482" sldId="344"/>
            <ac:spMk id="136" creationId="{9D349457-A05C-6BC5-19B4-0100CF0FEE57}"/>
          </ac:spMkLst>
        </pc:spChg>
        <pc:spChg chg="mod">
          <ac:chgData name="Veniero Facchetti" userId="f2c6c99af91c4974" providerId="LiveId" clId="{34DF7D6B-EB0F-4B53-B080-BB8D6F5C3D93}" dt="2024-05-10T15:57:29.467" v="503"/>
          <ac:spMkLst>
            <pc:docMk/>
            <pc:sldMk cId="1489675482" sldId="344"/>
            <ac:spMk id="137" creationId="{9D698E92-6FC3-D04E-D614-54F361B5EEEA}"/>
          </ac:spMkLst>
        </pc:spChg>
        <pc:spChg chg="mod">
          <ac:chgData name="Veniero Facchetti" userId="f2c6c99af91c4974" providerId="LiveId" clId="{34DF7D6B-EB0F-4B53-B080-BB8D6F5C3D93}" dt="2024-05-10T15:57:29.467" v="503"/>
          <ac:spMkLst>
            <pc:docMk/>
            <pc:sldMk cId="1489675482" sldId="344"/>
            <ac:spMk id="138" creationId="{2F431851-0A2C-3537-EC80-22E9B6686A73}"/>
          </ac:spMkLst>
        </pc:spChg>
        <pc:spChg chg="mod">
          <ac:chgData name="Veniero Facchetti" userId="f2c6c99af91c4974" providerId="LiveId" clId="{34DF7D6B-EB0F-4B53-B080-BB8D6F5C3D93}" dt="2024-05-10T15:57:29.467" v="503"/>
          <ac:spMkLst>
            <pc:docMk/>
            <pc:sldMk cId="1489675482" sldId="344"/>
            <ac:spMk id="139" creationId="{68BB45D7-8B41-75CE-A858-80B2D187F545}"/>
          </ac:spMkLst>
        </pc:spChg>
        <pc:spChg chg="mod">
          <ac:chgData name="Veniero Facchetti" userId="f2c6c99af91c4974" providerId="LiveId" clId="{34DF7D6B-EB0F-4B53-B080-BB8D6F5C3D93}" dt="2024-05-10T15:57:29.467" v="503"/>
          <ac:spMkLst>
            <pc:docMk/>
            <pc:sldMk cId="1489675482" sldId="344"/>
            <ac:spMk id="140" creationId="{9F9A932A-F286-B31C-461C-C5464021985E}"/>
          </ac:spMkLst>
        </pc:spChg>
        <pc:spChg chg="mod">
          <ac:chgData name="Veniero Facchetti" userId="f2c6c99af91c4974" providerId="LiveId" clId="{34DF7D6B-EB0F-4B53-B080-BB8D6F5C3D93}" dt="2024-05-10T15:57:29.467" v="503"/>
          <ac:spMkLst>
            <pc:docMk/>
            <pc:sldMk cId="1489675482" sldId="344"/>
            <ac:spMk id="141" creationId="{06F21C7D-C4FB-F360-6429-EF8304732884}"/>
          </ac:spMkLst>
        </pc:spChg>
        <pc:spChg chg="mod">
          <ac:chgData name="Veniero Facchetti" userId="f2c6c99af91c4974" providerId="LiveId" clId="{34DF7D6B-EB0F-4B53-B080-BB8D6F5C3D93}" dt="2024-05-10T15:57:29.467" v="503"/>
          <ac:spMkLst>
            <pc:docMk/>
            <pc:sldMk cId="1489675482" sldId="344"/>
            <ac:spMk id="142" creationId="{9AC43DCC-F72D-62AD-B235-1118BCA82361}"/>
          </ac:spMkLst>
        </pc:spChg>
        <pc:spChg chg="mod">
          <ac:chgData name="Veniero Facchetti" userId="f2c6c99af91c4974" providerId="LiveId" clId="{34DF7D6B-EB0F-4B53-B080-BB8D6F5C3D93}" dt="2024-05-10T15:57:29.467" v="503"/>
          <ac:spMkLst>
            <pc:docMk/>
            <pc:sldMk cId="1489675482" sldId="344"/>
            <ac:spMk id="143" creationId="{A8624B12-7E32-6309-A71E-8CF21C1EAB64}"/>
          </ac:spMkLst>
        </pc:spChg>
        <pc:spChg chg="mod">
          <ac:chgData name="Veniero Facchetti" userId="f2c6c99af91c4974" providerId="LiveId" clId="{34DF7D6B-EB0F-4B53-B080-BB8D6F5C3D93}" dt="2024-05-10T15:57:29.467" v="503"/>
          <ac:spMkLst>
            <pc:docMk/>
            <pc:sldMk cId="1489675482" sldId="344"/>
            <ac:spMk id="144" creationId="{EEE47148-F284-3057-F64D-2E66D57E3704}"/>
          </ac:spMkLst>
        </pc:spChg>
        <pc:spChg chg="mod">
          <ac:chgData name="Veniero Facchetti" userId="f2c6c99af91c4974" providerId="LiveId" clId="{34DF7D6B-EB0F-4B53-B080-BB8D6F5C3D93}" dt="2024-05-10T15:57:29.467" v="503"/>
          <ac:spMkLst>
            <pc:docMk/>
            <pc:sldMk cId="1489675482" sldId="344"/>
            <ac:spMk id="145" creationId="{3B7CB972-4D4F-B86B-0464-518F91B764D6}"/>
          </ac:spMkLst>
        </pc:spChg>
        <pc:spChg chg="mod">
          <ac:chgData name="Veniero Facchetti" userId="f2c6c99af91c4974" providerId="LiveId" clId="{34DF7D6B-EB0F-4B53-B080-BB8D6F5C3D93}" dt="2024-05-10T15:57:29.467" v="503"/>
          <ac:spMkLst>
            <pc:docMk/>
            <pc:sldMk cId="1489675482" sldId="344"/>
            <ac:spMk id="146" creationId="{24FCABD5-C284-49CA-35A7-35A9FECAD1F5}"/>
          </ac:spMkLst>
        </pc:spChg>
        <pc:spChg chg="mod">
          <ac:chgData name="Veniero Facchetti" userId="f2c6c99af91c4974" providerId="LiveId" clId="{34DF7D6B-EB0F-4B53-B080-BB8D6F5C3D93}" dt="2024-05-10T15:57:29.467" v="503"/>
          <ac:spMkLst>
            <pc:docMk/>
            <pc:sldMk cId="1489675482" sldId="344"/>
            <ac:spMk id="147" creationId="{6CED1F72-4CEC-E8AA-140C-6AAA1F5572FC}"/>
          </ac:spMkLst>
        </pc:spChg>
        <pc:spChg chg="mod">
          <ac:chgData name="Veniero Facchetti" userId="f2c6c99af91c4974" providerId="LiveId" clId="{34DF7D6B-EB0F-4B53-B080-BB8D6F5C3D93}" dt="2024-05-10T15:57:29.467" v="503"/>
          <ac:spMkLst>
            <pc:docMk/>
            <pc:sldMk cId="1489675482" sldId="344"/>
            <ac:spMk id="148" creationId="{7095B624-3D18-4ABE-5832-D9CB03FBCC55}"/>
          </ac:spMkLst>
        </pc:spChg>
        <pc:spChg chg="mod">
          <ac:chgData name="Veniero Facchetti" userId="f2c6c99af91c4974" providerId="LiveId" clId="{34DF7D6B-EB0F-4B53-B080-BB8D6F5C3D93}" dt="2024-05-10T15:57:29.467" v="503"/>
          <ac:spMkLst>
            <pc:docMk/>
            <pc:sldMk cId="1489675482" sldId="344"/>
            <ac:spMk id="149" creationId="{9E31809E-A838-9E10-FEC6-576985F5FA77}"/>
          </ac:spMkLst>
        </pc:spChg>
        <pc:spChg chg="mod">
          <ac:chgData name="Veniero Facchetti" userId="f2c6c99af91c4974" providerId="LiveId" clId="{34DF7D6B-EB0F-4B53-B080-BB8D6F5C3D93}" dt="2024-05-10T15:57:29.467" v="503"/>
          <ac:spMkLst>
            <pc:docMk/>
            <pc:sldMk cId="1489675482" sldId="344"/>
            <ac:spMk id="150" creationId="{D3B2967E-40F2-5567-1873-FAFDDC5EF58D}"/>
          </ac:spMkLst>
        </pc:spChg>
        <pc:spChg chg="mod">
          <ac:chgData name="Veniero Facchetti" userId="f2c6c99af91c4974" providerId="LiveId" clId="{34DF7D6B-EB0F-4B53-B080-BB8D6F5C3D93}" dt="2024-05-10T15:57:29.467" v="503"/>
          <ac:spMkLst>
            <pc:docMk/>
            <pc:sldMk cId="1489675482" sldId="344"/>
            <ac:spMk id="151" creationId="{E20E8099-5DA1-4B2D-14B6-6D7C41C90690}"/>
          </ac:spMkLst>
        </pc:spChg>
        <pc:spChg chg="mod">
          <ac:chgData name="Veniero Facchetti" userId="f2c6c99af91c4974" providerId="LiveId" clId="{34DF7D6B-EB0F-4B53-B080-BB8D6F5C3D93}" dt="2024-05-10T15:57:29.467" v="503"/>
          <ac:spMkLst>
            <pc:docMk/>
            <pc:sldMk cId="1489675482" sldId="344"/>
            <ac:spMk id="152" creationId="{66F36231-24E1-FCE5-5DB1-74DC5A65063F}"/>
          </ac:spMkLst>
        </pc:spChg>
        <pc:spChg chg="mod">
          <ac:chgData name="Veniero Facchetti" userId="f2c6c99af91c4974" providerId="LiveId" clId="{34DF7D6B-EB0F-4B53-B080-BB8D6F5C3D93}" dt="2024-05-10T15:57:29.467" v="503"/>
          <ac:spMkLst>
            <pc:docMk/>
            <pc:sldMk cId="1489675482" sldId="344"/>
            <ac:spMk id="153" creationId="{8AFBEE89-60EF-7B27-79C9-5AED35F49855}"/>
          </ac:spMkLst>
        </pc:spChg>
        <pc:spChg chg="mod">
          <ac:chgData name="Veniero Facchetti" userId="f2c6c99af91c4974" providerId="LiveId" clId="{34DF7D6B-EB0F-4B53-B080-BB8D6F5C3D93}" dt="2024-05-10T15:57:29.467" v="503"/>
          <ac:spMkLst>
            <pc:docMk/>
            <pc:sldMk cId="1489675482" sldId="344"/>
            <ac:spMk id="154" creationId="{97260023-02DF-6C9E-3A9D-99E516129FF7}"/>
          </ac:spMkLst>
        </pc:spChg>
        <pc:spChg chg="mod">
          <ac:chgData name="Veniero Facchetti" userId="f2c6c99af91c4974" providerId="LiveId" clId="{34DF7D6B-EB0F-4B53-B080-BB8D6F5C3D93}" dt="2024-05-10T15:57:29.467" v="503"/>
          <ac:spMkLst>
            <pc:docMk/>
            <pc:sldMk cId="1489675482" sldId="344"/>
            <ac:spMk id="155" creationId="{E3E50D82-D393-191D-460E-F59C2F0DD23D}"/>
          </ac:spMkLst>
        </pc:spChg>
        <pc:spChg chg="mod">
          <ac:chgData name="Veniero Facchetti" userId="f2c6c99af91c4974" providerId="LiveId" clId="{34DF7D6B-EB0F-4B53-B080-BB8D6F5C3D93}" dt="2024-05-10T15:57:29.467" v="503"/>
          <ac:spMkLst>
            <pc:docMk/>
            <pc:sldMk cId="1489675482" sldId="344"/>
            <ac:spMk id="156" creationId="{4E96B28B-F0AB-7559-DEFB-77C5838F36FC}"/>
          </ac:spMkLst>
        </pc:spChg>
        <pc:spChg chg="mod">
          <ac:chgData name="Veniero Facchetti" userId="f2c6c99af91c4974" providerId="LiveId" clId="{34DF7D6B-EB0F-4B53-B080-BB8D6F5C3D93}" dt="2024-05-10T15:57:29.467" v="503"/>
          <ac:spMkLst>
            <pc:docMk/>
            <pc:sldMk cId="1489675482" sldId="344"/>
            <ac:spMk id="157" creationId="{E443D088-9178-0CAB-6D1C-7EE922C28FE5}"/>
          </ac:spMkLst>
        </pc:spChg>
        <pc:spChg chg="mod">
          <ac:chgData name="Veniero Facchetti" userId="f2c6c99af91c4974" providerId="LiveId" clId="{34DF7D6B-EB0F-4B53-B080-BB8D6F5C3D93}" dt="2024-05-10T15:57:29.467" v="503"/>
          <ac:spMkLst>
            <pc:docMk/>
            <pc:sldMk cId="1489675482" sldId="344"/>
            <ac:spMk id="158" creationId="{3B672C1A-C3C4-1228-E65C-CAF4B6DF073F}"/>
          </ac:spMkLst>
        </pc:spChg>
        <pc:spChg chg="mod">
          <ac:chgData name="Veniero Facchetti" userId="f2c6c99af91c4974" providerId="LiveId" clId="{34DF7D6B-EB0F-4B53-B080-BB8D6F5C3D93}" dt="2024-05-10T15:57:29.467" v="503"/>
          <ac:spMkLst>
            <pc:docMk/>
            <pc:sldMk cId="1489675482" sldId="344"/>
            <ac:spMk id="159" creationId="{AED84C86-0A3E-3E55-F6A4-4FBEDDCA9C13}"/>
          </ac:spMkLst>
        </pc:spChg>
        <pc:spChg chg="mod">
          <ac:chgData name="Veniero Facchetti" userId="f2c6c99af91c4974" providerId="LiveId" clId="{34DF7D6B-EB0F-4B53-B080-BB8D6F5C3D93}" dt="2024-05-10T15:57:29.467" v="503"/>
          <ac:spMkLst>
            <pc:docMk/>
            <pc:sldMk cId="1489675482" sldId="344"/>
            <ac:spMk id="160" creationId="{D3F70748-DA42-F973-BC54-D28D9FAD7189}"/>
          </ac:spMkLst>
        </pc:spChg>
        <pc:spChg chg="mod">
          <ac:chgData name="Veniero Facchetti" userId="f2c6c99af91c4974" providerId="LiveId" clId="{34DF7D6B-EB0F-4B53-B080-BB8D6F5C3D93}" dt="2024-05-10T15:57:29.467" v="503"/>
          <ac:spMkLst>
            <pc:docMk/>
            <pc:sldMk cId="1489675482" sldId="344"/>
            <ac:spMk id="161" creationId="{D3535662-6FCA-C726-B4C4-8BE0D5CFC55D}"/>
          </ac:spMkLst>
        </pc:spChg>
        <pc:spChg chg="mod">
          <ac:chgData name="Veniero Facchetti" userId="f2c6c99af91c4974" providerId="LiveId" clId="{34DF7D6B-EB0F-4B53-B080-BB8D6F5C3D93}" dt="2024-05-10T15:57:29.467" v="503"/>
          <ac:spMkLst>
            <pc:docMk/>
            <pc:sldMk cId="1489675482" sldId="344"/>
            <ac:spMk id="162" creationId="{BCEC6EC8-197A-8B3E-6F32-461E38A09E6C}"/>
          </ac:spMkLst>
        </pc:spChg>
        <pc:spChg chg="mod">
          <ac:chgData name="Veniero Facchetti" userId="f2c6c99af91c4974" providerId="LiveId" clId="{34DF7D6B-EB0F-4B53-B080-BB8D6F5C3D93}" dt="2024-05-10T15:57:29.467" v="503"/>
          <ac:spMkLst>
            <pc:docMk/>
            <pc:sldMk cId="1489675482" sldId="344"/>
            <ac:spMk id="163" creationId="{0A5168D4-48B2-25FA-D401-14B2FF052882}"/>
          </ac:spMkLst>
        </pc:spChg>
        <pc:spChg chg="mod">
          <ac:chgData name="Veniero Facchetti" userId="f2c6c99af91c4974" providerId="LiveId" clId="{34DF7D6B-EB0F-4B53-B080-BB8D6F5C3D93}" dt="2024-05-10T15:57:29.467" v="503"/>
          <ac:spMkLst>
            <pc:docMk/>
            <pc:sldMk cId="1489675482" sldId="344"/>
            <ac:spMk id="164" creationId="{9E6905AE-6FFE-76B9-C12B-80870AAE32E2}"/>
          </ac:spMkLst>
        </pc:spChg>
        <pc:spChg chg="mod">
          <ac:chgData name="Veniero Facchetti" userId="f2c6c99af91c4974" providerId="LiveId" clId="{34DF7D6B-EB0F-4B53-B080-BB8D6F5C3D93}" dt="2024-05-10T15:57:29.467" v="503"/>
          <ac:spMkLst>
            <pc:docMk/>
            <pc:sldMk cId="1489675482" sldId="344"/>
            <ac:spMk id="165" creationId="{336C14A8-72FB-FF59-8BB0-D0BB0AA74109}"/>
          </ac:spMkLst>
        </pc:spChg>
        <pc:spChg chg="mod">
          <ac:chgData name="Veniero Facchetti" userId="f2c6c99af91c4974" providerId="LiveId" clId="{34DF7D6B-EB0F-4B53-B080-BB8D6F5C3D93}" dt="2024-05-10T15:57:29.467" v="503"/>
          <ac:spMkLst>
            <pc:docMk/>
            <pc:sldMk cId="1489675482" sldId="344"/>
            <ac:spMk id="166" creationId="{E740BDB6-5EB1-133C-1992-6EAFD1A548BE}"/>
          </ac:spMkLst>
        </pc:spChg>
        <pc:spChg chg="mod">
          <ac:chgData name="Veniero Facchetti" userId="f2c6c99af91c4974" providerId="LiveId" clId="{34DF7D6B-EB0F-4B53-B080-BB8D6F5C3D93}" dt="2024-05-10T15:57:29.467" v="503"/>
          <ac:spMkLst>
            <pc:docMk/>
            <pc:sldMk cId="1489675482" sldId="344"/>
            <ac:spMk id="167" creationId="{B749E987-8C40-7FAB-FC88-6063D8A32447}"/>
          </ac:spMkLst>
        </pc:spChg>
        <pc:spChg chg="mod">
          <ac:chgData name="Veniero Facchetti" userId="f2c6c99af91c4974" providerId="LiveId" clId="{34DF7D6B-EB0F-4B53-B080-BB8D6F5C3D93}" dt="2024-05-10T15:57:29.467" v="503"/>
          <ac:spMkLst>
            <pc:docMk/>
            <pc:sldMk cId="1489675482" sldId="344"/>
            <ac:spMk id="168" creationId="{5A8F3F53-B208-E645-C7F2-FC8572DF1C65}"/>
          </ac:spMkLst>
        </pc:spChg>
        <pc:spChg chg="mod">
          <ac:chgData name="Veniero Facchetti" userId="f2c6c99af91c4974" providerId="LiveId" clId="{34DF7D6B-EB0F-4B53-B080-BB8D6F5C3D93}" dt="2024-05-10T15:57:29.467" v="503"/>
          <ac:spMkLst>
            <pc:docMk/>
            <pc:sldMk cId="1489675482" sldId="344"/>
            <ac:spMk id="169" creationId="{469C348B-FD75-8F21-1C93-5B5C6177E42D}"/>
          </ac:spMkLst>
        </pc:spChg>
        <pc:spChg chg="mod">
          <ac:chgData name="Veniero Facchetti" userId="f2c6c99af91c4974" providerId="LiveId" clId="{34DF7D6B-EB0F-4B53-B080-BB8D6F5C3D93}" dt="2024-05-10T15:57:29.467" v="503"/>
          <ac:spMkLst>
            <pc:docMk/>
            <pc:sldMk cId="1489675482" sldId="344"/>
            <ac:spMk id="170" creationId="{DCE68264-D078-88F8-B45F-16C434E77827}"/>
          </ac:spMkLst>
        </pc:spChg>
        <pc:spChg chg="mod">
          <ac:chgData name="Veniero Facchetti" userId="f2c6c99af91c4974" providerId="LiveId" clId="{34DF7D6B-EB0F-4B53-B080-BB8D6F5C3D93}" dt="2024-05-10T15:57:29.467" v="503"/>
          <ac:spMkLst>
            <pc:docMk/>
            <pc:sldMk cId="1489675482" sldId="344"/>
            <ac:spMk id="171" creationId="{765DF13C-21A3-8885-2785-9787258E53B6}"/>
          </ac:spMkLst>
        </pc:spChg>
        <pc:spChg chg="mod">
          <ac:chgData name="Veniero Facchetti" userId="f2c6c99af91c4974" providerId="LiveId" clId="{34DF7D6B-EB0F-4B53-B080-BB8D6F5C3D93}" dt="2024-05-10T15:57:29.467" v="503"/>
          <ac:spMkLst>
            <pc:docMk/>
            <pc:sldMk cId="1489675482" sldId="344"/>
            <ac:spMk id="172" creationId="{C012AF15-CD44-ECB4-4A38-29D250EF7D41}"/>
          </ac:spMkLst>
        </pc:spChg>
        <pc:spChg chg="mod">
          <ac:chgData name="Veniero Facchetti" userId="f2c6c99af91c4974" providerId="LiveId" clId="{34DF7D6B-EB0F-4B53-B080-BB8D6F5C3D93}" dt="2024-05-10T15:57:29.467" v="503"/>
          <ac:spMkLst>
            <pc:docMk/>
            <pc:sldMk cId="1489675482" sldId="344"/>
            <ac:spMk id="173" creationId="{D3E37C6C-4AFC-D904-D850-A219BE082E05}"/>
          </ac:spMkLst>
        </pc:spChg>
        <pc:spChg chg="mod">
          <ac:chgData name="Veniero Facchetti" userId="f2c6c99af91c4974" providerId="LiveId" clId="{34DF7D6B-EB0F-4B53-B080-BB8D6F5C3D93}" dt="2024-05-10T15:57:29.467" v="503"/>
          <ac:spMkLst>
            <pc:docMk/>
            <pc:sldMk cId="1489675482" sldId="344"/>
            <ac:spMk id="174" creationId="{3C42B496-742F-0878-8EEB-9014AFFA2A05}"/>
          </ac:spMkLst>
        </pc:spChg>
        <pc:spChg chg="mod">
          <ac:chgData name="Veniero Facchetti" userId="f2c6c99af91c4974" providerId="LiveId" clId="{34DF7D6B-EB0F-4B53-B080-BB8D6F5C3D93}" dt="2024-05-10T15:57:29.467" v="503"/>
          <ac:spMkLst>
            <pc:docMk/>
            <pc:sldMk cId="1489675482" sldId="344"/>
            <ac:spMk id="175" creationId="{93EA36C0-D108-9954-F156-666514A060D3}"/>
          </ac:spMkLst>
        </pc:spChg>
        <pc:spChg chg="mod">
          <ac:chgData name="Veniero Facchetti" userId="f2c6c99af91c4974" providerId="LiveId" clId="{34DF7D6B-EB0F-4B53-B080-BB8D6F5C3D93}" dt="2024-05-10T15:57:29.467" v="503"/>
          <ac:spMkLst>
            <pc:docMk/>
            <pc:sldMk cId="1489675482" sldId="344"/>
            <ac:spMk id="176" creationId="{E9287A08-5A14-2284-23C3-2333CC5F0ECA}"/>
          </ac:spMkLst>
        </pc:spChg>
        <pc:spChg chg="mod">
          <ac:chgData name="Veniero Facchetti" userId="f2c6c99af91c4974" providerId="LiveId" clId="{34DF7D6B-EB0F-4B53-B080-BB8D6F5C3D93}" dt="2024-05-10T15:57:29.467" v="503"/>
          <ac:spMkLst>
            <pc:docMk/>
            <pc:sldMk cId="1489675482" sldId="344"/>
            <ac:spMk id="177" creationId="{0C995854-9269-8B14-A61F-E4729492727C}"/>
          </ac:spMkLst>
        </pc:spChg>
        <pc:spChg chg="mod">
          <ac:chgData name="Veniero Facchetti" userId="f2c6c99af91c4974" providerId="LiveId" clId="{34DF7D6B-EB0F-4B53-B080-BB8D6F5C3D93}" dt="2024-05-10T15:57:29.467" v="503"/>
          <ac:spMkLst>
            <pc:docMk/>
            <pc:sldMk cId="1489675482" sldId="344"/>
            <ac:spMk id="178" creationId="{F8F86E34-8CA4-D2EE-7990-8D3DED3DF850}"/>
          </ac:spMkLst>
        </pc:spChg>
        <pc:spChg chg="mod">
          <ac:chgData name="Veniero Facchetti" userId="f2c6c99af91c4974" providerId="LiveId" clId="{34DF7D6B-EB0F-4B53-B080-BB8D6F5C3D93}" dt="2024-05-10T15:57:29.467" v="503"/>
          <ac:spMkLst>
            <pc:docMk/>
            <pc:sldMk cId="1489675482" sldId="344"/>
            <ac:spMk id="179" creationId="{681A5C9E-3627-F97E-7F03-4D6B089D7F32}"/>
          </ac:spMkLst>
        </pc:spChg>
        <pc:spChg chg="mod">
          <ac:chgData name="Veniero Facchetti" userId="f2c6c99af91c4974" providerId="LiveId" clId="{34DF7D6B-EB0F-4B53-B080-BB8D6F5C3D93}" dt="2024-05-10T15:57:29.467" v="503"/>
          <ac:spMkLst>
            <pc:docMk/>
            <pc:sldMk cId="1489675482" sldId="344"/>
            <ac:spMk id="180" creationId="{CA9BCD00-0DBC-7306-297B-7B4873274E99}"/>
          </ac:spMkLst>
        </pc:spChg>
        <pc:spChg chg="mod">
          <ac:chgData name="Veniero Facchetti" userId="f2c6c99af91c4974" providerId="LiveId" clId="{34DF7D6B-EB0F-4B53-B080-BB8D6F5C3D93}" dt="2024-05-10T15:57:29.467" v="503"/>
          <ac:spMkLst>
            <pc:docMk/>
            <pc:sldMk cId="1489675482" sldId="344"/>
            <ac:spMk id="181" creationId="{52A1540E-F0E4-C2E9-70D1-46CA11804B20}"/>
          </ac:spMkLst>
        </pc:spChg>
        <pc:spChg chg="mod">
          <ac:chgData name="Veniero Facchetti" userId="f2c6c99af91c4974" providerId="LiveId" clId="{34DF7D6B-EB0F-4B53-B080-BB8D6F5C3D93}" dt="2024-05-10T15:57:29.467" v="503"/>
          <ac:spMkLst>
            <pc:docMk/>
            <pc:sldMk cId="1489675482" sldId="344"/>
            <ac:spMk id="182" creationId="{18A43DE5-3511-4E3E-8491-EB2DDA982ABC}"/>
          </ac:spMkLst>
        </pc:spChg>
        <pc:spChg chg="mod">
          <ac:chgData name="Veniero Facchetti" userId="f2c6c99af91c4974" providerId="LiveId" clId="{34DF7D6B-EB0F-4B53-B080-BB8D6F5C3D93}" dt="2024-05-10T15:57:29.467" v="503"/>
          <ac:spMkLst>
            <pc:docMk/>
            <pc:sldMk cId="1489675482" sldId="344"/>
            <ac:spMk id="183" creationId="{E113BECC-5747-D31A-65EE-A03861611F6D}"/>
          </ac:spMkLst>
        </pc:spChg>
        <pc:spChg chg="mod">
          <ac:chgData name="Veniero Facchetti" userId="f2c6c99af91c4974" providerId="LiveId" clId="{34DF7D6B-EB0F-4B53-B080-BB8D6F5C3D93}" dt="2024-05-10T15:57:29.467" v="503"/>
          <ac:spMkLst>
            <pc:docMk/>
            <pc:sldMk cId="1489675482" sldId="344"/>
            <ac:spMk id="184" creationId="{79E93294-907A-0785-F3C5-8871A26120E3}"/>
          </ac:spMkLst>
        </pc:spChg>
        <pc:spChg chg="mod">
          <ac:chgData name="Veniero Facchetti" userId="f2c6c99af91c4974" providerId="LiveId" clId="{34DF7D6B-EB0F-4B53-B080-BB8D6F5C3D93}" dt="2024-05-10T15:57:29.467" v="503"/>
          <ac:spMkLst>
            <pc:docMk/>
            <pc:sldMk cId="1489675482" sldId="344"/>
            <ac:spMk id="185" creationId="{1ACD96D6-903E-284F-85A6-8EEED4346DA0}"/>
          </ac:spMkLst>
        </pc:spChg>
        <pc:spChg chg="mod">
          <ac:chgData name="Veniero Facchetti" userId="f2c6c99af91c4974" providerId="LiveId" clId="{34DF7D6B-EB0F-4B53-B080-BB8D6F5C3D93}" dt="2024-05-10T15:57:29.467" v="503"/>
          <ac:spMkLst>
            <pc:docMk/>
            <pc:sldMk cId="1489675482" sldId="344"/>
            <ac:spMk id="186" creationId="{39F8100E-4167-748F-517C-9A71D58C6D8C}"/>
          </ac:spMkLst>
        </pc:spChg>
        <pc:spChg chg="mod">
          <ac:chgData name="Veniero Facchetti" userId="f2c6c99af91c4974" providerId="LiveId" clId="{34DF7D6B-EB0F-4B53-B080-BB8D6F5C3D93}" dt="2024-05-10T15:57:29.467" v="503"/>
          <ac:spMkLst>
            <pc:docMk/>
            <pc:sldMk cId="1489675482" sldId="344"/>
            <ac:spMk id="187" creationId="{3E76FCD5-A7BA-C276-B7BF-208AC4526081}"/>
          </ac:spMkLst>
        </pc:spChg>
        <pc:spChg chg="mod">
          <ac:chgData name="Veniero Facchetti" userId="f2c6c99af91c4974" providerId="LiveId" clId="{34DF7D6B-EB0F-4B53-B080-BB8D6F5C3D93}" dt="2024-05-10T15:57:29.467" v="503"/>
          <ac:spMkLst>
            <pc:docMk/>
            <pc:sldMk cId="1489675482" sldId="344"/>
            <ac:spMk id="188" creationId="{8F0D146B-4B4F-043B-DD52-05408275D296}"/>
          </ac:spMkLst>
        </pc:spChg>
        <pc:spChg chg="mod">
          <ac:chgData name="Veniero Facchetti" userId="f2c6c99af91c4974" providerId="LiveId" clId="{34DF7D6B-EB0F-4B53-B080-BB8D6F5C3D93}" dt="2024-05-10T15:57:29.467" v="503"/>
          <ac:spMkLst>
            <pc:docMk/>
            <pc:sldMk cId="1489675482" sldId="344"/>
            <ac:spMk id="189" creationId="{E077CB97-4BBD-2A4D-705F-F0EFCE00D522}"/>
          </ac:spMkLst>
        </pc:spChg>
        <pc:spChg chg="mod">
          <ac:chgData name="Veniero Facchetti" userId="f2c6c99af91c4974" providerId="LiveId" clId="{34DF7D6B-EB0F-4B53-B080-BB8D6F5C3D93}" dt="2024-05-10T15:57:29.467" v="503"/>
          <ac:spMkLst>
            <pc:docMk/>
            <pc:sldMk cId="1489675482" sldId="344"/>
            <ac:spMk id="190" creationId="{90FF3EAD-7FC5-6268-06B6-4F77A096BC71}"/>
          </ac:spMkLst>
        </pc:spChg>
        <pc:spChg chg="mod">
          <ac:chgData name="Veniero Facchetti" userId="f2c6c99af91c4974" providerId="LiveId" clId="{34DF7D6B-EB0F-4B53-B080-BB8D6F5C3D93}" dt="2024-05-10T15:57:29.467" v="503"/>
          <ac:spMkLst>
            <pc:docMk/>
            <pc:sldMk cId="1489675482" sldId="344"/>
            <ac:spMk id="191" creationId="{CCA86092-844F-0B02-C78B-5E3ECBAC2456}"/>
          </ac:spMkLst>
        </pc:spChg>
        <pc:spChg chg="mod">
          <ac:chgData name="Veniero Facchetti" userId="f2c6c99af91c4974" providerId="LiveId" clId="{34DF7D6B-EB0F-4B53-B080-BB8D6F5C3D93}" dt="2024-05-10T15:57:29.467" v="503"/>
          <ac:spMkLst>
            <pc:docMk/>
            <pc:sldMk cId="1489675482" sldId="344"/>
            <ac:spMk id="192" creationId="{A36DAC86-850E-2E23-C63B-EA0DAE4D7591}"/>
          </ac:spMkLst>
        </pc:spChg>
        <pc:spChg chg="mod">
          <ac:chgData name="Veniero Facchetti" userId="f2c6c99af91c4974" providerId="LiveId" clId="{34DF7D6B-EB0F-4B53-B080-BB8D6F5C3D93}" dt="2024-05-10T15:57:29.467" v="503"/>
          <ac:spMkLst>
            <pc:docMk/>
            <pc:sldMk cId="1489675482" sldId="344"/>
            <ac:spMk id="193" creationId="{E2C295D2-C67A-2D97-650C-D0EB620D9E2A}"/>
          </ac:spMkLst>
        </pc:spChg>
        <pc:spChg chg="mod">
          <ac:chgData name="Veniero Facchetti" userId="f2c6c99af91c4974" providerId="LiveId" clId="{34DF7D6B-EB0F-4B53-B080-BB8D6F5C3D93}" dt="2024-05-10T15:57:29.467" v="503"/>
          <ac:spMkLst>
            <pc:docMk/>
            <pc:sldMk cId="1489675482" sldId="344"/>
            <ac:spMk id="194" creationId="{8E09C27C-B74D-C0C2-619F-4195DB97AB37}"/>
          </ac:spMkLst>
        </pc:spChg>
        <pc:spChg chg="mod">
          <ac:chgData name="Veniero Facchetti" userId="f2c6c99af91c4974" providerId="LiveId" clId="{34DF7D6B-EB0F-4B53-B080-BB8D6F5C3D93}" dt="2024-05-10T15:57:29.467" v="503"/>
          <ac:spMkLst>
            <pc:docMk/>
            <pc:sldMk cId="1489675482" sldId="344"/>
            <ac:spMk id="195" creationId="{515679CB-99F5-F245-3FA6-72CB849C5DBD}"/>
          </ac:spMkLst>
        </pc:spChg>
        <pc:spChg chg="mod">
          <ac:chgData name="Veniero Facchetti" userId="f2c6c99af91c4974" providerId="LiveId" clId="{34DF7D6B-EB0F-4B53-B080-BB8D6F5C3D93}" dt="2024-05-10T15:57:29.467" v="503"/>
          <ac:spMkLst>
            <pc:docMk/>
            <pc:sldMk cId="1489675482" sldId="344"/>
            <ac:spMk id="196" creationId="{597E5255-A946-B04D-160E-46D264FBD263}"/>
          </ac:spMkLst>
        </pc:spChg>
        <pc:spChg chg="mod">
          <ac:chgData name="Veniero Facchetti" userId="f2c6c99af91c4974" providerId="LiveId" clId="{34DF7D6B-EB0F-4B53-B080-BB8D6F5C3D93}" dt="2024-05-10T15:57:29.467" v="503"/>
          <ac:spMkLst>
            <pc:docMk/>
            <pc:sldMk cId="1489675482" sldId="344"/>
            <ac:spMk id="197" creationId="{0DA2C4B6-BC6B-25ED-46E6-9FE8900EFE2E}"/>
          </ac:spMkLst>
        </pc:spChg>
        <pc:spChg chg="mod">
          <ac:chgData name="Veniero Facchetti" userId="f2c6c99af91c4974" providerId="LiveId" clId="{34DF7D6B-EB0F-4B53-B080-BB8D6F5C3D93}" dt="2024-05-10T15:57:29.467" v="503"/>
          <ac:spMkLst>
            <pc:docMk/>
            <pc:sldMk cId="1489675482" sldId="344"/>
            <ac:spMk id="198" creationId="{55FC74EE-36D8-89B3-865F-EA94B8CF6DD3}"/>
          </ac:spMkLst>
        </pc:spChg>
        <pc:spChg chg="mod">
          <ac:chgData name="Veniero Facchetti" userId="f2c6c99af91c4974" providerId="LiveId" clId="{34DF7D6B-EB0F-4B53-B080-BB8D6F5C3D93}" dt="2024-05-10T15:57:29.467" v="503"/>
          <ac:spMkLst>
            <pc:docMk/>
            <pc:sldMk cId="1489675482" sldId="344"/>
            <ac:spMk id="199" creationId="{42086F89-0837-9A63-2F87-2FF383A573D4}"/>
          </ac:spMkLst>
        </pc:spChg>
        <pc:spChg chg="mod">
          <ac:chgData name="Veniero Facchetti" userId="f2c6c99af91c4974" providerId="LiveId" clId="{34DF7D6B-EB0F-4B53-B080-BB8D6F5C3D93}" dt="2024-05-10T15:57:29.467" v="503"/>
          <ac:spMkLst>
            <pc:docMk/>
            <pc:sldMk cId="1489675482" sldId="344"/>
            <ac:spMk id="200" creationId="{6D4DE6FB-E493-4B7D-8D73-C3D0D4A24613}"/>
          </ac:spMkLst>
        </pc:spChg>
        <pc:spChg chg="mod">
          <ac:chgData name="Veniero Facchetti" userId="f2c6c99af91c4974" providerId="LiveId" clId="{34DF7D6B-EB0F-4B53-B080-BB8D6F5C3D93}" dt="2024-05-10T15:57:29.467" v="503"/>
          <ac:spMkLst>
            <pc:docMk/>
            <pc:sldMk cId="1489675482" sldId="344"/>
            <ac:spMk id="201" creationId="{2AE36949-5C93-D90F-6330-EE039ABB1D7E}"/>
          </ac:spMkLst>
        </pc:spChg>
        <pc:spChg chg="mod">
          <ac:chgData name="Veniero Facchetti" userId="f2c6c99af91c4974" providerId="LiveId" clId="{34DF7D6B-EB0F-4B53-B080-BB8D6F5C3D93}" dt="2024-05-10T15:57:29.467" v="503"/>
          <ac:spMkLst>
            <pc:docMk/>
            <pc:sldMk cId="1489675482" sldId="344"/>
            <ac:spMk id="202" creationId="{6C640F01-687B-1824-DDB7-543479970D7E}"/>
          </ac:spMkLst>
        </pc:spChg>
        <pc:spChg chg="mod">
          <ac:chgData name="Veniero Facchetti" userId="f2c6c99af91c4974" providerId="LiveId" clId="{34DF7D6B-EB0F-4B53-B080-BB8D6F5C3D93}" dt="2024-05-10T15:57:29.467" v="503"/>
          <ac:spMkLst>
            <pc:docMk/>
            <pc:sldMk cId="1489675482" sldId="344"/>
            <ac:spMk id="203" creationId="{3C390908-E253-7E90-8B3D-2834948CDDCC}"/>
          </ac:spMkLst>
        </pc:spChg>
        <pc:spChg chg="mod">
          <ac:chgData name="Veniero Facchetti" userId="f2c6c99af91c4974" providerId="LiveId" clId="{34DF7D6B-EB0F-4B53-B080-BB8D6F5C3D93}" dt="2024-05-10T15:57:29.467" v="503"/>
          <ac:spMkLst>
            <pc:docMk/>
            <pc:sldMk cId="1489675482" sldId="344"/>
            <ac:spMk id="204" creationId="{7876ED5E-74D9-0BB9-4B2E-CEF4EDE79DB8}"/>
          </ac:spMkLst>
        </pc:spChg>
        <pc:spChg chg="mod">
          <ac:chgData name="Veniero Facchetti" userId="f2c6c99af91c4974" providerId="LiveId" clId="{34DF7D6B-EB0F-4B53-B080-BB8D6F5C3D93}" dt="2024-05-10T15:57:29.467" v="503"/>
          <ac:spMkLst>
            <pc:docMk/>
            <pc:sldMk cId="1489675482" sldId="344"/>
            <ac:spMk id="205" creationId="{B0349B44-24F0-7B09-4613-B4199BD9FC48}"/>
          </ac:spMkLst>
        </pc:spChg>
        <pc:spChg chg="mod">
          <ac:chgData name="Veniero Facchetti" userId="f2c6c99af91c4974" providerId="LiveId" clId="{34DF7D6B-EB0F-4B53-B080-BB8D6F5C3D93}" dt="2024-05-10T15:57:29.467" v="503"/>
          <ac:spMkLst>
            <pc:docMk/>
            <pc:sldMk cId="1489675482" sldId="344"/>
            <ac:spMk id="206" creationId="{C66D500E-DE61-7EBE-1036-22B3C45F8DEB}"/>
          </ac:spMkLst>
        </pc:spChg>
        <pc:spChg chg="mod">
          <ac:chgData name="Veniero Facchetti" userId="f2c6c99af91c4974" providerId="LiveId" clId="{34DF7D6B-EB0F-4B53-B080-BB8D6F5C3D93}" dt="2024-05-10T15:57:29.467" v="503"/>
          <ac:spMkLst>
            <pc:docMk/>
            <pc:sldMk cId="1489675482" sldId="344"/>
            <ac:spMk id="207" creationId="{E980DEB6-1B41-8A3D-6E3D-3437727B17C4}"/>
          </ac:spMkLst>
        </pc:spChg>
        <pc:spChg chg="mod">
          <ac:chgData name="Veniero Facchetti" userId="f2c6c99af91c4974" providerId="LiveId" clId="{34DF7D6B-EB0F-4B53-B080-BB8D6F5C3D93}" dt="2024-05-10T15:57:29.467" v="503"/>
          <ac:spMkLst>
            <pc:docMk/>
            <pc:sldMk cId="1489675482" sldId="344"/>
            <ac:spMk id="208" creationId="{7AFE4884-44BC-44F6-3202-CEC5B9D966C0}"/>
          </ac:spMkLst>
        </pc:spChg>
        <pc:spChg chg="mod">
          <ac:chgData name="Veniero Facchetti" userId="f2c6c99af91c4974" providerId="LiveId" clId="{34DF7D6B-EB0F-4B53-B080-BB8D6F5C3D93}" dt="2024-05-10T15:57:29.467" v="503"/>
          <ac:spMkLst>
            <pc:docMk/>
            <pc:sldMk cId="1489675482" sldId="344"/>
            <ac:spMk id="209" creationId="{FD9B3A5F-C655-95B6-A9A4-ADCEDFEBC368}"/>
          </ac:spMkLst>
        </pc:spChg>
        <pc:spChg chg="mod">
          <ac:chgData name="Veniero Facchetti" userId="f2c6c99af91c4974" providerId="LiveId" clId="{34DF7D6B-EB0F-4B53-B080-BB8D6F5C3D93}" dt="2024-05-10T15:57:29.467" v="503"/>
          <ac:spMkLst>
            <pc:docMk/>
            <pc:sldMk cId="1489675482" sldId="344"/>
            <ac:spMk id="210" creationId="{7F5CB0B5-C4C9-25C6-F860-238C1ADD741E}"/>
          </ac:spMkLst>
        </pc:spChg>
        <pc:spChg chg="mod">
          <ac:chgData name="Veniero Facchetti" userId="f2c6c99af91c4974" providerId="LiveId" clId="{34DF7D6B-EB0F-4B53-B080-BB8D6F5C3D93}" dt="2024-05-10T15:57:29.467" v="503"/>
          <ac:spMkLst>
            <pc:docMk/>
            <pc:sldMk cId="1489675482" sldId="344"/>
            <ac:spMk id="211" creationId="{BE861E8F-6B4B-B755-7A03-B1FEB4C93CB2}"/>
          </ac:spMkLst>
        </pc:spChg>
        <pc:spChg chg="mod">
          <ac:chgData name="Veniero Facchetti" userId="f2c6c99af91c4974" providerId="LiveId" clId="{34DF7D6B-EB0F-4B53-B080-BB8D6F5C3D93}" dt="2024-05-10T15:57:29.467" v="503"/>
          <ac:spMkLst>
            <pc:docMk/>
            <pc:sldMk cId="1489675482" sldId="344"/>
            <ac:spMk id="212" creationId="{1062DDF0-DCEE-CADB-F473-8F6671A04007}"/>
          </ac:spMkLst>
        </pc:spChg>
        <pc:spChg chg="mod">
          <ac:chgData name="Veniero Facchetti" userId="f2c6c99af91c4974" providerId="LiveId" clId="{34DF7D6B-EB0F-4B53-B080-BB8D6F5C3D93}" dt="2024-05-10T15:57:29.467" v="503"/>
          <ac:spMkLst>
            <pc:docMk/>
            <pc:sldMk cId="1489675482" sldId="344"/>
            <ac:spMk id="213" creationId="{C3928152-A816-E172-D837-B3113408E32D}"/>
          </ac:spMkLst>
        </pc:spChg>
        <pc:spChg chg="mod">
          <ac:chgData name="Veniero Facchetti" userId="f2c6c99af91c4974" providerId="LiveId" clId="{34DF7D6B-EB0F-4B53-B080-BB8D6F5C3D93}" dt="2024-05-10T15:57:29.467" v="503"/>
          <ac:spMkLst>
            <pc:docMk/>
            <pc:sldMk cId="1489675482" sldId="344"/>
            <ac:spMk id="214" creationId="{4D7EFBC1-1EA4-68A4-613D-341080E27B1B}"/>
          </ac:spMkLst>
        </pc:spChg>
        <pc:spChg chg="mod">
          <ac:chgData name="Veniero Facchetti" userId="f2c6c99af91c4974" providerId="LiveId" clId="{34DF7D6B-EB0F-4B53-B080-BB8D6F5C3D93}" dt="2024-05-10T15:57:29.467" v="503"/>
          <ac:spMkLst>
            <pc:docMk/>
            <pc:sldMk cId="1489675482" sldId="344"/>
            <ac:spMk id="215" creationId="{F133FDEC-1691-84FC-E1A4-71250737436E}"/>
          </ac:spMkLst>
        </pc:spChg>
        <pc:spChg chg="mod">
          <ac:chgData name="Veniero Facchetti" userId="f2c6c99af91c4974" providerId="LiveId" clId="{34DF7D6B-EB0F-4B53-B080-BB8D6F5C3D93}" dt="2024-05-10T15:57:29.467" v="503"/>
          <ac:spMkLst>
            <pc:docMk/>
            <pc:sldMk cId="1489675482" sldId="344"/>
            <ac:spMk id="216" creationId="{3A4F3366-9B5B-0540-502A-DA10BFE50539}"/>
          </ac:spMkLst>
        </pc:spChg>
        <pc:spChg chg="mod">
          <ac:chgData name="Veniero Facchetti" userId="f2c6c99af91c4974" providerId="LiveId" clId="{34DF7D6B-EB0F-4B53-B080-BB8D6F5C3D93}" dt="2024-05-10T15:57:29.467" v="503"/>
          <ac:spMkLst>
            <pc:docMk/>
            <pc:sldMk cId="1489675482" sldId="344"/>
            <ac:spMk id="217" creationId="{C6ABB8AC-E7AA-912E-DA7B-1F77E1A4474D}"/>
          </ac:spMkLst>
        </pc:spChg>
        <pc:spChg chg="mod">
          <ac:chgData name="Veniero Facchetti" userId="f2c6c99af91c4974" providerId="LiveId" clId="{34DF7D6B-EB0F-4B53-B080-BB8D6F5C3D93}" dt="2024-05-10T15:57:29.467" v="503"/>
          <ac:spMkLst>
            <pc:docMk/>
            <pc:sldMk cId="1489675482" sldId="344"/>
            <ac:spMk id="219" creationId="{D546DB2B-AEA6-3518-6F07-A8F5C52D6006}"/>
          </ac:spMkLst>
        </pc:spChg>
        <pc:spChg chg="mod">
          <ac:chgData name="Veniero Facchetti" userId="f2c6c99af91c4974" providerId="LiveId" clId="{34DF7D6B-EB0F-4B53-B080-BB8D6F5C3D93}" dt="2024-05-10T15:57:29.467" v="503"/>
          <ac:spMkLst>
            <pc:docMk/>
            <pc:sldMk cId="1489675482" sldId="344"/>
            <ac:spMk id="220" creationId="{8DBBF9FE-4625-2DB0-0D0F-AD730DB9C16C}"/>
          </ac:spMkLst>
        </pc:spChg>
        <pc:grpChg chg="add mod">
          <ac:chgData name="Veniero Facchetti" userId="f2c6c99af91c4974" providerId="LiveId" clId="{34DF7D6B-EB0F-4B53-B080-BB8D6F5C3D93}" dt="2024-05-10T15:57:49.707" v="511" actId="1076"/>
          <ac:grpSpMkLst>
            <pc:docMk/>
            <pc:sldMk cId="1489675482" sldId="344"/>
            <ac:grpSpMk id="23" creationId="{3566FDF0-6425-F6B2-4B3C-12F5EC786E0D}"/>
          </ac:grpSpMkLst>
        </pc:grpChg>
        <pc:grpChg chg="add mod">
          <ac:chgData name="Veniero Facchetti" userId="f2c6c99af91c4974" providerId="LiveId" clId="{34DF7D6B-EB0F-4B53-B080-BB8D6F5C3D93}" dt="2024-05-10T15:57:29.467" v="503"/>
          <ac:grpSpMkLst>
            <pc:docMk/>
            <pc:sldMk cId="1489675482" sldId="344"/>
            <ac:grpSpMk id="218" creationId="{E2D06C75-24DF-97CA-3213-25DC6240A667}"/>
          </ac:grpSpMkLst>
        </pc:grpChg>
        <pc:cxnChg chg="add mod">
          <ac:chgData name="Veniero Facchetti" userId="f2c6c99af91c4974" providerId="LiveId" clId="{34DF7D6B-EB0F-4B53-B080-BB8D6F5C3D93}" dt="2024-05-10T15:57:29.467" v="503"/>
          <ac:cxnSpMkLst>
            <pc:docMk/>
            <pc:sldMk cId="1489675482" sldId="344"/>
            <ac:cxnSpMk id="18" creationId="{6CCB9668-CC80-14B9-E50F-61C8DBA6728A}"/>
          </ac:cxnSpMkLst>
        </pc:cxnChg>
        <pc:cxnChg chg="add mod">
          <ac:chgData name="Veniero Facchetti" userId="f2c6c99af91c4974" providerId="LiveId" clId="{34DF7D6B-EB0F-4B53-B080-BB8D6F5C3D93}" dt="2024-05-10T15:57:29.467" v="503"/>
          <ac:cxnSpMkLst>
            <pc:docMk/>
            <pc:sldMk cId="1489675482" sldId="344"/>
            <ac:cxnSpMk id="20" creationId="{CE1C215F-A3C9-F4ED-9764-F7BADFCCDF68}"/>
          </ac:cxnSpMkLst>
        </pc:cxnChg>
      </pc:sldChg>
      <pc:sldChg chg="addSp modSp new mod">
        <pc:chgData name="Veniero Facchetti" userId="f2c6c99af91c4974" providerId="LiveId" clId="{34DF7D6B-EB0F-4B53-B080-BB8D6F5C3D93}" dt="2024-05-10T15:59:25.563" v="530" actId="1076"/>
        <pc:sldMkLst>
          <pc:docMk/>
          <pc:sldMk cId="3622079443" sldId="345"/>
        </pc:sldMkLst>
        <pc:spChg chg="add mod">
          <ac:chgData name="Veniero Facchetti" userId="f2c6c99af91c4974" providerId="LiveId" clId="{34DF7D6B-EB0F-4B53-B080-BB8D6F5C3D93}" dt="2024-05-10T15:59:06.916" v="525" actId="1076"/>
          <ac:spMkLst>
            <pc:docMk/>
            <pc:sldMk cId="3622079443" sldId="345"/>
            <ac:spMk id="2" creationId="{6F16D83E-3D4C-157F-1C78-1B51BB90CDEA}"/>
          </ac:spMkLst>
        </pc:spChg>
        <pc:spChg chg="add mod">
          <ac:chgData name="Veniero Facchetti" userId="f2c6c99af91c4974" providerId="LiveId" clId="{34DF7D6B-EB0F-4B53-B080-BB8D6F5C3D93}" dt="2024-05-10T15:59:06.916" v="525" actId="1076"/>
          <ac:spMkLst>
            <pc:docMk/>
            <pc:sldMk cId="3622079443" sldId="345"/>
            <ac:spMk id="4" creationId="{F3EB2190-C9C7-717F-8AFA-4F12CE02561C}"/>
          </ac:spMkLst>
        </pc:spChg>
        <pc:spChg chg="add mod">
          <ac:chgData name="Veniero Facchetti" userId="f2c6c99af91c4974" providerId="LiveId" clId="{34DF7D6B-EB0F-4B53-B080-BB8D6F5C3D93}" dt="2024-05-10T15:59:06.916" v="525" actId="1076"/>
          <ac:spMkLst>
            <pc:docMk/>
            <pc:sldMk cId="3622079443" sldId="345"/>
            <ac:spMk id="5" creationId="{2D58525F-B8BD-271A-F0A7-893C272572B4}"/>
          </ac:spMkLst>
        </pc:spChg>
        <pc:spChg chg="add mod">
          <ac:chgData name="Veniero Facchetti" userId="f2c6c99af91c4974" providerId="LiveId" clId="{34DF7D6B-EB0F-4B53-B080-BB8D6F5C3D93}" dt="2024-05-10T15:59:06.916" v="525" actId="1076"/>
          <ac:spMkLst>
            <pc:docMk/>
            <pc:sldMk cId="3622079443" sldId="345"/>
            <ac:spMk id="6" creationId="{BF78A578-DBF1-2C57-077C-550AEEC45B99}"/>
          </ac:spMkLst>
        </pc:spChg>
        <pc:spChg chg="add mod">
          <ac:chgData name="Veniero Facchetti" userId="f2c6c99af91c4974" providerId="LiveId" clId="{34DF7D6B-EB0F-4B53-B080-BB8D6F5C3D93}" dt="2024-05-10T15:59:06.916" v="525" actId="1076"/>
          <ac:spMkLst>
            <pc:docMk/>
            <pc:sldMk cId="3622079443" sldId="345"/>
            <ac:spMk id="7" creationId="{6DC3F734-5097-E714-A537-F66BD69AF12E}"/>
          </ac:spMkLst>
        </pc:spChg>
        <pc:spChg chg="add mod">
          <ac:chgData name="Veniero Facchetti" userId="f2c6c99af91c4974" providerId="LiveId" clId="{34DF7D6B-EB0F-4B53-B080-BB8D6F5C3D93}" dt="2024-05-10T15:59:06.916" v="525" actId="1076"/>
          <ac:spMkLst>
            <pc:docMk/>
            <pc:sldMk cId="3622079443" sldId="345"/>
            <ac:spMk id="8" creationId="{170A3D67-9756-71CF-CB07-03E60870A8EC}"/>
          </ac:spMkLst>
        </pc:spChg>
        <pc:spChg chg="add mod">
          <ac:chgData name="Veniero Facchetti" userId="f2c6c99af91c4974" providerId="LiveId" clId="{34DF7D6B-EB0F-4B53-B080-BB8D6F5C3D93}" dt="2024-05-10T15:59:06.916" v="525" actId="1076"/>
          <ac:spMkLst>
            <pc:docMk/>
            <pc:sldMk cId="3622079443" sldId="345"/>
            <ac:spMk id="9" creationId="{997C9EC0-490A-5F11-2DE0-BC4B1CE24FE2}"/>
          </ac:spMkLst>
        </pc:spChg>
        <pc:spChg chg="mod">
          <ac:chgData name="Veniero Facchetti" userId="f2c6c99af91c4974" providerId="LiveId" clId="{34DF7D6B-EB0F-4B53-B080-BB8D6F5C3D93}" dt="2024-05-10T15:59:06.916" v="525" actId="1076"/>
          <ac:spMkLst>
            <pc:docMk/>
            <pc:sldMk cId="3622079443" sldId="345"/>
            <ac:spMk id="12" creationId="{D98C29D6-155F-7265-F166-3053D96190D7}"/>
          </ac:spMkLst>
        </pc:spChg>
        <pc:spChg chg="mod">
          <ac:chgData name="Veniero Facchetti" userId="f2c6c99af91c4974" providerId="LiveId" clId="{34DF7D6B-EB0F-4B53-B080-BB8D6F5C3D93}" dt="2024-05-10T15:59:06.916" v="525" actId="1076"/>
          <ac:spMkLst>
            <pc:docMk/>
            <pc:sldMk cId="3622079443" sldId="345"/>
            <ac:spMk id="13" creationId="{392B9B89-94C2-AE11-948C-2137887B6A07}"/>
          </ac:spMkLst>
        </pc:spChg>
        <pc:spChg chg="mod">
          <ac:chgData name="Veniero Facchetti" userId="f2c6c99af91c4974" providerId="LiveId" clId="{34DF7D6B-EB0F-4B53-B080-BB8D6F5C3D93}" dt="2024-05-10T15:59:06.916" v="525" actId="1076"/>
          <ac:spMkLst>
            <pc:docMk/>
            <pc:sldMk cId="3622079443" sldId="345"/>
            <ac:spMk id="14" creationId="{10799F4E-0FFD-ABD8-6041-AEC41E018AC7}"/>
          </ac:spMkLst>
        </pc:spChg>
        <pc:spChg chg="mod">
          <ac:chgData name="Veniero Facchetti" userId="f2c6c99af91c4974" providerId="LiveId" clId="{34DF7D6B-EB0F-4B53-B080-BB8D6F5C3D93}" dt="2024-05-10T15:59:06.916" v="525" actId="1076"/>
          <ac:spMkLst>
            <pc:docMk/>
            <pc:sldMk cId="3622079443" sldId="345"/>
            <ac:spMk id="15" creationId="{9D868856-153E-2D11-B64A-E814D01C27AE}"/>
          </ac:spMkLst>
        </pc:spChg>
        <pc:spChg chg="mod">
          <ac:chgData name="Veniero Facchetti" userId="f2c6c99af91c4974" providerId="LiveId" clId="{34DF7D6B-EB0F-4B53-B080-BB8D6F5C3D93}" dt="2024-05-10T15:59:06.916" v="525" actId="1076"/>
          <ac:spMkLst>
            <pc:docMk/>
            <pc:sldMk cId="3622079443" sldId="345"/>
            <ac:spMk id="16" creationId="{54D67070-B9DA-6940-DA45-080FF24B0E05}"/>
          </ac:spMkLst>
        </pc:spChg>
        <pc:spChg chg="mod">
          <ac:chgData name="Veniero Facchetti" userId="f2c6c99af91c4974" providerId="LiveId" clId="{34DF7D6B-EB0F-4B53-B080-BB8D6F5C3D93}" dt="2024-05-10T15:59:06.916" v="525" actId="1076"/>
          <ac:spMkLst>
            <pc:docMk/>
            <pc:sldMk cId="3622079443" sldId="345"/>
            <ac:spMk id="17" creationId="{CCB8ABF5-8D27-8824-4593-4D3B7E797634}"/>
          </ac:spMkLst>
        </pc:spChg>
        <pc:spChg chg="mod">
          <ac:chgData name="Veniero Facchetti" userId="f2c6c99af91c4974" providerId="LiveId" clId="{34DF7D6B-EB0F-4B53-B080-BB8D6F5C3D93}" dt="2024-05-10T15:59:06.916" v="525" actId="1076"/>
          <ac:spMkLst>
            <pc:docMk/>
            <pc:sldMk cId="3622079443" sldId="345"/>
            <ac:spMk id="18" creationId="{FB82AA88-ED00-D397-8A9C-E126D14B8026}"/>
          </ac:spMkLst>
        </pc:spChg>
        <pc:spChg chg="mod">
          <ac:chgData name="Veniero Facchetti" userId="f2c6c99af91c4974" providerId="LiveId" clId="{34DF7D6B-EB0F-4B53-B080-BB8D6F5C3D93}" dt="2024-05-10T15:59:06.916" v="525" actId="1076"/>
          <ac:spMkLst>
            <pc:docMk/>
            <pc:sldMk cId="3622079443" sldId="345"/>
            <ac:spMk id="19" creationId="{BD2221FB-1ADC-FFA6-5342-ACA1369C02A9}"/>
          </ac:spMkLst>
        </pc:spChg>
        <pc:spChg chg="mod">
          <ac:chgData name="Veniero Facchetti" userId="f2c6c99af91c4974" providerId="LiveId" clId="{34DF7D6B-EB0F-4B53-B080-BB8D6F5C3D93}" dt="2024-05-10T15:59:06.916" v="525" actId="1076"/>
          <ac:spMkLst>
            <pc:docMk/>
            <pc:sldMk cId="3622079443" sldId="345"/>
            <ac:spMk id="21" creationId="{03AC3578-4BB2-D8F9-6A12-78D7C1EB9B41}"/>
          </ac:spMkLst>
        </pc:spChg>
        <pc:spChg chg="mod">
          <ac:chgData name="Veniero Facchetti" userId="f2c6c99af91c4974" providerId="LiveId" clId="{34DF7D6B-EB0F-4B53-B080-BB8D6F5C3D93}" dt="2024-05-10T15:59:06.916" v="525" actId="1076"/>
          <ac:spMkLst>
            <pc:docMk/>
            <pc:sldMk cId="3622079443" sldId="345"/>
            <ac:spMk id="22" creationId="{D92AF4C9-086A-8D40-1C8D-9C4B87AC1C26}"/>
          </ac:spMkLst>
        </pc:spChg>
        <pc:spChg chg="mod">
          <ac:chgData name="Veniero Facchetti" userId="f2c6c99af91c4974" providerId="LiveId" clId="{34DF7D6B-EB0F-4B53-B080-BB8D6F5C3D93}" dt="2024-05-10T15:59:06.916" v="525" actId="1076"/>
          <ac:spMkLst>
            <pc:docMk/>
            <pc:sldMk cId="3622079443" sldId="345"/>
            <ac:spMk id="23" creationId="{09C64E55-BB1F-2FA4-4D6A-0D8ED845B7B5}"/>
          </ac:spMkLst>
        </pc:spChg>
        <pc:spChg chg="mod">
          <ac:chgData name="Veniero Facchetti" userId="f2c6c99af91c4974" providerId="LiveId" clId="{34DF7D6B-EB0F-4B53-B080-BB8D6F5C3D93}" dt="2024-05-10T15:59:06.916" v="525" actId="1076"/>
          <ac:spMkLst>
            <pc:docMk/>
            <pc:sldMk cId="3622079443" sldId="345"/>
            <ac:spMk id="24" creationId="{9DCD719F-A81B-1212-46CF-DBE9AF25E2E6}"/>
          </ac:spMkLst>
        </pc:spChg>
        <pc:spChg chg="mod">
          <ac:chgData name="Veniero Facchetti" userId="f2c6c99af91c4974" providerId="LiveId" clId="{34DF7D6B-EB0F-4B53-B080-BB8D6F5C3D93}" dt="2024-05-10T15:59:06.916" v="525" actId="1076"/>
          <ac:spMkLst>
            <pc:docMk/>
            <pc:sldMk cId="3622079443" sldId="345"/>
            <ac:spMk id="25" creationId="{C1ABFA22-3D85-08D5-3BE9-18E1C4D0A015}"/>
          </ac:spMkLst>
        </pc:spChg>
        <pc:spChg chg="mod">
          <ac:chgData name="Veniero Facchetti" userId="f2c6c99af91c4974" providerId="LiveId" clId="{34DF7D6B-EB0F-4B53-B080-BB8D6F5C3D93}" dt="2024-05-10T15:59:06.916" v="525" actId="1076"/>
          <ac:spMkLst>
            <pc:docMk/>
            <pc:sldMk cId="3622079443" sldId="345"/>
            <ac:spMk id="26" creationId="{EC9DAB8E-EB50-F2D7-C011-1490E7DA65D5}"/>
          </ac:spMkLst>
        </pc:spChg>
        <pc:spChg chg="mod">
          <ac:chgData name="Veniero Facchetti" userId="f2c6c99af91c4974" providerId="LiveId" clId="{34DF7D6B-EB0F-4B53-B080-BB8D6F5C3D93}" dt="2024-05-10T15:59:06.916" v="525" actId="1076"/>
          <ac:spMkLst>
            <pc:docMk/>
            <pc:sldMk cId="3622079443" sldId="345"/>
            <ac:spMk id="27" creationId="{035FC938-93FC-0B18-7977-F7F519B468C0}"/>
          </ac:spMkLst>
        </pc:spChg>
        <pc:spChg chg="mod">
          <ac:chgData name="Veniero Facchetti" userId="f2c6c99af91c4974" providerId="LiveId" clId="{34DF7D6B-EB0F-4B53-B080-BB8D6F5C3D93}" dt="2024-05-10T15:59:06.916" v="525" actId="1076"/>
          <ac:spMkLst>
            <pc:docMk/>
            <pc:sldMk cId="3622079443" sldId="345"/>
            <ac:spMk id="28" creationId="{055ECF6B-4DC2-8E41-26F1-0C0C4DA4FFD6}"/>
          </ac:spMkLst>
        </pc:spChg>
        <pc:spChg chg="mod">
          <ac:chgData name="Veniero Facchetti" userId="f2c6c99af91c4974" providerId="LiveId" clId="{34DF7D6B-EB0F-4B53-B080-BB8D6F5C3D93}" dt="2024-05-10T15:59:06.916" v="525" actId="1076"/>
          <ac:spMkLst>
            <pc:docMk/>
            <pc:sldMk cId="3622079443" sldId="345"/>
            <ac:spMk id="29" creationId="{9963F803-372B-3810-8F1C-FE1CF0BFC9E9}"/>
          </ac:spMkLst>
        </pc:spChg>
        <pc:spChg chg="mod">
          <ac:chgData name="Veniero Facchetti" userId="f2c6c99af91c4974" providerId="LiveId" clId="{34DF7D6B-EB0F-4B53-B080-BB8D6F5C3D93}" dt="2024-05-10T15:59:06.916" v="525" actId="1076"/>
          <ac:spMkLst>
            <pc:docMk/>
            <pc:sldMk cId="3622079443" sldId="345"/>
            <ac:spMk id="30" creationId="{33A25092-9171-7796-FCB1-AC61A9C611A7}"/>
          </ac:spMkLst>
        </pc:spChg>
        <pc:spChg chg="mod">
          <ac:chgData name="Veniero Facchetti" userId="f2c6c99af91c4974" providerId="LiveId" clId="{34DF7D6B-EB0F-4B53-B080-BB8D6F5C3D93}" dt="2024-05-10T15:59:06.916" v="525" actId="1076"/>
          <ac:spMkLst>
            <pc:docMk/>
            <pc:sldMk cId="3622079443" sldId="345"/>
            <ac:spMk id="31" creationId="{1A55F4A8-78FC-7466-EC36-5C6B282269A6}"/>
          </ac:spMkLst>
        </pc:spChg>
        <pc:spChg chg="mod">
          <ac:chgData name="Veniero Facchetti" userId="f2c6c99af91c4974" providerId="LiveId" clId="{34DF7D6B-EB0F-4B53-B080-BB8D6F5C3D93}" dt="2024-05-10T15:59:06.916" v="525" actId="1076"/>
          <ac:spMkLst>
            <pc:docMk/>
            <pc:sldMk cId="3622079443" sldId="345"/>
            <ac:spMk id="32" creationId="{DDAF46B5-8FD2-F355-1CA9-D52ED83194D4}"/>
          </ac:spMkLst>
        </pc:spChg>
        <pc:spChg chg="mod">
          <ac:chgData name="Veniero Facchetti" userId="f2c6c99af91c4974" providerId="LiveId" clId="{34DF7D6B-EB0F-4B53-B080-BB8D6F5C3D93}" dt="2024-05-10T15:59:06.916" v="525" actId="1076"/>
          <ac:spMkLst>
            <pc:docMk/>
            <pc:sldMk cId="3622079443" sldId="345"/>
            <ac:spMk id="33" creationId="{8FCFCF89-D504-05D1-6890-C519FB294296}"/>
          </ac:spMkLst>
        </pc:spChg>
        <pc:spChg chg="mod">
          <ac:chgData name="Veniero Facchetti" userId="f2c6c99af91c4974" providerId="LiveId" clId="{34DF7D6B-EB0F-4B53-B080-BB8D6F5C3D93}" dt="2024-05-10T15:59:06.916" v="525" actId="1076"/>
          <ac:spMkLst>
            <pc:docMk/>
            <pc:sldMk cId="3622079443" sldId="345"/>
            <ac:spMk id="34" creationId="{5AEC87FC-1D4E-FFBF-E65F-6E13F6489EF2}"/>
          </ac:spMkLst>
        </pc:spChg>
        <pc:spChg chg="mod">
          <ac:chgData name="Veniero Facchetti" userId="f2c6c99af91c4974" providerId="LiveId" clId="{34DF7D6B-EB0F-4B53-B080-BB8D6F5C3D93}" dt="2024-05-10T15:59:06.916" v="525" actId="1076"/>
          <ac:spMkLst>
            <pc:docMk/>
            <pc:sldMk cId="3622079443" sldId="345"/>
            <ac:spMk id="35" creationId="{A7E37EE0-3D7D-559A-C8C2-CBAFF89088C0}"/>
          </ac:spMkLst>
        </pc:spChg>
        <pc:spChg chg="mod">
          <ac:chgData name="Veniero Facchetti" userId="f2c6c99af91c4974" providerId="LiveId" clId="{34DF7D6B-EB0F-4B53-B080-BB8D6F5C3D93}" dt="2024-05-10T15:59:06.916" v="525" actId="1076"/>
          <ac:spMkLst>
            <pc:docMk/>
            <pc:sldMk cId="3622079443" sldId="345"/>
            <ac:spMk id="36" creationId="{3A843989-2755-1679-38ED-B247D4AC9F86}"/>
          </ac:spMkLst>
        </pc:spChg>
        <pc:spChg chg="mod">
          <ac:chgData name="Veniero Facchetti" userId="f2c6c99af91c4974" providerId="LiveId" clId="{34DF7D6B-EB0F-4B53-B080-BB8D6F5C3D93}" dt="2024-05-10T15:59:06.916" v="525" actId="1076"/>
          <ac:spMkLst>
            <pc:docMk/>
            <pc:sldMk cId="3622079443" sldId="345"/>
            <ac:spMk id="37" creationId="{1A56D53F-F289-23AB-591F-B93B2FA3A9EF}"/>
          </ac:spMkLst>
        </pc:spChg>
        <pc:spChg chg="mod">
          <ac:chgData name="Veniero Facchetti" userId="f2c6c99af91c4974" providerId="LiveId" clId="{34DF7D6B-EB0F-4B53-B080-BB8D6F5C3D93}" dt="2024-05-10T15:59:06.916" v="525" actId="1076"/>
          <ac:spMkLst>
            <pc:docMk/>
            <pc:sldMk cId="3622079443" sldId="345"/>
            <ac:spMk id="38" creationId="{708BEB68-AFCA-5612-41D2-70CD0A9A3B14}"/>
          </ac:spMkLst>
        </pc:spChg>
        <pc:spChg chg="mod">
          <ac:chgData name="Veniero Facchetti" userId="f2c6c99af91c4974" providerId="LiveId" clId="{34DF7D6B-EB0F-4B53-B080-BB8D6F5C3D93}" dt="2024-05-10T15:59:06.916" v="525" actId="1076"/>
          <ac:spMkLst>
            <pc:docMk/>
            <pc:sldMk cId="3622079443" sldId="345"/>
            <ac:spMk id="39" creationId="{97CD6B10-5BC3-CC41-B6CD-B5137180918D}"/>
          </ac:spMkLst>
        </pc:spChg>
        <pc:spChg chg="mod">
          <ac:chgData name="Veniero Facchetti" userId="f2c6c99af91c4974" providerId="LiveId" clId="{34DF7D6B-EB0F-4B53-B080-BB8D6F5C3D93}" dt="2024-05-10T15:59:06.916" v="525" actId="1076"/>
          <ac:spMkLst>
            <pc:docMk/>
            <pc:sldMk cId="3622079443" sldId="345"/>
            <ac:spMk id="40" creationId="{17E09CD8-4DE2-AEC3-608D-5C2D51ECC3BA}"/>
          </ac:spMkLst>
        </pc:spChg>
        <pc:spChg chg="mod">
          <ac:chgData name="Veniero Facchetti" userId="f2c6c99af91c4974" providerId="LiveId" clId="{34DF7D6B-EB0F-4B53-B080-BB8D6F5C3D93}" dt="2024-05-10T15:59:06.916" v="525" actId="1076"/>
          <ac:spMkLst>
            <pc:docMk/>
            <pc:sldMk cId="3622079443" sldId="345"/>
            <ac:spMk id="41" creationId="{8384C48B-80AD-AAC3-779B-D09A17F6A16F}"/>
          </ac:spMkLst>
        </pc:spChg>
        <pc:spChg chg="mod">
          <ac:chgData name="Veniero Facchetti" userId="f2c6c99af91c4974" providerId="LiveId" clId="{34DF7D6B-EB0F-4B53-B080-BB8D6F5C3D93}" dt="2024-05-10T15:59:06.916" v="525" actId="1076"/>
          <ac:spMkLst>
            <pc:docMk/>
            <pc:sldMk cId="3622079443" sldId="345"/>
            <ac:spMk id="42" creationId="{B98E03A2-6ACE-EF31-3710-6E473376D02E}"/>
          </ac:spMkLst>
        </pc:spChg>
        <pc:spChg chg="mod">
          <ac:chgData name="Veniero Facchetti" userId="f2c6c99af91c4974" providerId="LiveId" clId="{34DF7D6B-EB0F-4B53-B080-BB8D6F5C3D93}" dt="2024-05-10T15:59:06.916" v="525" actId="1076"/>
          <ac:spMkLst>
            <pc:docMk/>
            <pc:sldMk cId="3622079443" sldId="345"/>
            <ac:spMk id="43" creationId="{BEB74F46-BEDA-7684-5814-F904A449F278}"/>
          </ac:spMkLst>
        </pc:spChg>
        <pc:spChg chg="mod">
          <ac:chgData name="Veniero Facchetti" userId="f2c6c99af91c4974" providerId="LiveId" clId="{34DF7D6B-EB0F-4B53-B080-BB8D6F5C3D93}" dt="2024-05-10T15:59:06.916" v="525" actId="1076"/>
          <ac:spMkLst>
            <pc:docMk/>
            <pc:sldMk cId="3622079443" sldId="345"/>
            <ac:spMk id="44" creationId="{EEE05131-CDC3-F4BA-7338-5CDD69820A6C}"/>
          </ac:spMkLst>
        </pc:spChg>
        <pc:spChg chg="mod">
          <ac:chgData name="Veniero Facchetti" userId="f2c6c99af91c4974" providerId="LiveId" clId="{34DF7D6B-EB0F-4B53-B080-BB8D6F5C3D93}" dt="2024-05-10T15:59:06.916" v="525" actId="1076"/>
          <ac:spMkLst>
            <pc:docMk/>
            <pc:sldMk cId="3622079443" sldId="345"/>
            <ac:spMk id="45" creationId="{0775DFEC-BCC6-5F8A-F14B-90644D99343B}"/>
          </ac:spMkLst>
        </pc:spChg>
        <pc:spChg chg="mod">
          <ac:chgData name="Veniero Facchetti" userId="f2c6c99af91c4974" providerId="LiveId" clId="{34DF7D6B-EB0F-4B53-B080-BB8D6F5C3D93}" dt="2024-05-10T15:59:06.916" v="525" actId="1076"/>
          <ac:spMkLst>
            <pc:docMk/>
            <pc:sldMk cId="3622079443" sldId="345"/>
            <ac:spMk id="46" creationId="{E85BC713-B8CA-2612-55F8-23891D66E351}"/>
          </ac:spMkLst>
        </pc:spChg>
        <pc:spChg chg="mod">
          <ac:chgData name="Veniero Facchetti" userId="f2c6c99af91c4974" providerId="LiveId" clId="{34DF7D6B-EB0F-4B53-B080-BB8D6F5C3D93}" dt="2024-05-10T15:59:06.916" v="525" actId="1076"/>
          <ac:spMkLst>
            <pc:docMk/>
            <pc:sldMk cId="3622079443" sldId="345"/>
            <ac:spMk id="47" creationId="{57B6E850-0B22-DDCD-69EC-C46BA360C299}"/>
          </ac:spMkLst>
        </pc:spChg>
        <pc:spChg chg="mod">
          <ac:chgData name="Veniero Facchetti" userId="f2c6c99af91c4974" providerId="LiveId" clId="{34DF7D6B-EB0F-4B53-B080-BB8D6F5C3D93}" dt="2024-05-10T15:59:06.916" v="525" actId="1076"/>
          <ac:spMkLst>
            <pc:docMk/>
            <pc:sldMk cId="3622079443" sldId="345"/>
            <ac:spMk id="48" creationId="{2277C579-2B1C-0E0E-4E6A-97A258B910BD}"/>
          </ac:spMkLst>
        </pc:spChg>
        <pc:spChg chg="mod">
          <ac:chgData name="Veniero Facchetti" userId="f2c6c99af91c4974" providerId="LiveId" clId="{34DF7D6B-EB0F-4B53-B080-BB8D6F5C3D93}" dt="2024-05-10T15:59:06.916" v="525" actId="1076"/>
          <ac:spMkLst>
            <pc:docMk/>
            <pc:sldMk cId="3622079443" sldId="345"/>
            <ac:spMk id="49" creationId="{9C9539FF-8F43-33AD-6553-CD2A35D4E58A}"/>
          </ac:spMkLst>
        </pc:spChg>
        <pc:spChg chg="mod">
          <ac:chgData name="Veniero Facchetti" userId="f2c6c99af91c4974" providerId="LiveId" clId="{34DF7D6B-EB0F-4B53-B080-BB8D6F5C3D93}" dt="2024-05-10T15:59:06.916" v="525" actId="1076"/>
          <ac:spMkLst>
            <pc:docMk/>
            <pc:sldMk cId="3622079443" sldId="345"/>
            <ac:spMk id="50" creationId="{C2CB9E8B-59F9-AE8A-EFDA-227DFC7EF96A}"/>
          </ac:spMkLst>
        </pc:spChg>
        <pc:spChg chg="mod">
          <ac:chgData name="Veniero Facchetti" userId="f2c6c99af91c4974" providerId="LiveId" clId="{34DF7D6B-EB0F-4B53-B080-BB8D6F5C3D93}" dt="2024-05-10T15:59:06.916" v="525" actId="1076"/>
          <ac:spMkLst>
            <pc:docMk/>
            <pc:sldMk cId="3622079443" sldId="345"/>
            <ac:spMk id="51" creationId="{48F118C7-611B-E4B5-8C11-7C35CE25B440}"/>
          </ac:spMkLst>
        </pc:spChg>
        <pc:spChg chg="mod">
          <ac:chgData name="Veniero Facchetti" userId="f2c6c99af91c4974" providerId="LiveId" clId="{34DF7D6B-EB0F-4B53-B080-BB8D6F5C3D93}" dt="2024-05-10T15:59:06.916" v="525" actId="1076"/>
          <ac:spMkLst>
            <pc:docMk/>
            <pc:sldMk cId="3622079443" sldId="345"/>
            <ac:spMk id="52" creationId="{956A795C-C2A6-7DB2-AA92-7E1429362CBA}"/>
          </ac:spMkLst>
        </pc:spChg>
        <pc:spChg chg="mod">
          <ac:chgData name="Veniero Facchetti" userId="f2c6c99af91c4974" providerId="LiveId" clId="{34DF7D6B-EB0F-4B53-B080-BB8D6F5C3D93}" dt="2024-05-10T15:59:06.916" v="525" actId="1076"/>
          <ac:spMkLst>
            <pc:docMk/>
            <pc:sldMk cId="3622079443" sldId="345"/>
            <ac:spMk id="53" creationId="{14E61D2C-1548-A5ED-11EC-59BEBB5B47BE}"/>
          </ac:spMkLst>
        </pc:spChg>
        <pc:spChg chg="mod">
          <ac:chgData name="Veniero Facchetti" userId="f2c6c99af91c4974" providerId="LiveId" clId="{34DF7D6B-EB0F-4B53-B080-BB8D6F5C3D93}" dt="2024-05-10T15:59:06.916" v="525" actId="1076"/>
          <ac:spMkLst>
            <pc:docMk/>
            <pc:sldMk cId="3622079443" sldId="345"/>
            <ac:spMk id="54" creationId="{D152CF09-FD49-6C73-DB58-EC9FA0618C25}"/>
          </ac:spMkLst>
        </pc:spChg>
        <pc:spChg chg="mod">
          <ac:chgData name="Veniero Facchetti" userId="f2c6c99af91c4974" providerId="LiveId" clId="{34DF7D6B-EB0F-4B53-B080-BB8D6F5C3D93}" dt="2024-05-10T15:59:06.916" v="525" actId="1076"/>
          <ac:spMkLst>
            <pc:docMk/>
            <pc:sldMk cId="3622079443" sldId="345"/>
            <ac:spMk id="55" creationId="{9BA8C739-0C7F-4B58-A0D5-7ED47D351B93}"/>
          </ac:spMkLst>
        </pc:spChg>
        <pc:spChg chg="mod">
          <ac:chgData name="Veniero Facchetti" userId="f2c6c99af91c4974" providerId="LiveId" clId="{34DF7D6B-EB0F-4B53-B080-BB8D6F5C3D93}" dt="2024-05-10T15:59:06.916" v="525" actId="1076"/>
          <ac:spMkLst>
            <pc:docMk/>
            <pc:sldMk cId="3622079443" sldId="345"/>
            <ac:spMk id="56" creationId="{C2687B69-8B0D-4DF9-57F4-17DB67B1F87A}"/>
          </ac:spMkLst>
        </pc:spChg>
        <pc:spChg chg="mod">
          <ac:chgData name="Veniero Facchetti" userId="f2c6c99af91c4974" providerId="LiveId" clId="{34DF7D6B-EB0F-4B53-B080-BB8D6F5C3D93}" dt="2024-05-10T15:59:06.916" v="525" actId="1076"/>
          <ac:spMkLst>
            <pc:docMk/>
            <pc:sldMk cId="3622079443" sldId="345"/>
            <ac:spMk id="57" creationId="{326409AF-4718-79D4-7ABE-93A7F49A1A2D}"/>
          </ac:spMkLst>
        </pc:spChg>
        <pc:spChg chg="mod">
          <ac:chgData name="Veniero Facchetti" userId="f2c6c99af91c4974" providerId="LiveId" clId="{34DF7D6B-EB0F-4B53-B080-BB8D6F5C3D93}" dt="2024-05-10T15:59:06.916" v="525" actId="1076"/>
          <ac:spMkLst>
            <pc:docMk/>
            <pc:sldMk cId="3622079443" sldId="345"/>
            <ac:spMk id="58" creationId="{51B107C5-CB14-CE37-C116-AEB2CC8D3102}"/>
          </ac:spMkLst>
        </pc:spChg>
        <pc:spChg chg="mod">
          <ac:chgData name="Veniero Facchetti" userId="f2c6c99af91c4974" providerId="LiveId" clId="{34DF7D6B-EB0F-4B53-B080-BB8D6F5C3D93}" dt="2024-05-10T15:59:06.916" v="525" actId="1076"/>
          <ac:spMkLst>
            <pc:docMk/>
            <pc:sldMk cId="3622079443" sldId="345"/>
            <ac:spMk id="59" creationId="{56C0D2C6-38DF-91C1-89B7-454D39DC2695}"/>
          </ac:spMkLst>
        </pc:spChg>
        <pc:spChg chg="mod">
          <ac:chgData name="Veniero Facchetti" userId="f2c6c99af91c4974" providerId="LiveId" clId="{34DF7D6B-EB0F-4B53-B080-BB8D6F5C3D93}" dt="2024-05-10T15:59:06.916" v="525" actId="1076"/>
          <ac:spMkLst>
            <pc:docMk/>
            <pc:sldMk cId="3622079443" sldId="345"/>
            <ac:spMk id="60" creationId="{A0797D14-A59F-016B-763C-5396D23BD5FD}"/>
          </ac:spMkLst>
        </pc:spChg>
        <pc:spChg chg="mod">
          <ac:chgData name="Veniero Facchetti" userId="f2c6c99af91c4974" providerId="LiveId" clId="{34DF7D6B-EB0F-4B53-B080-BB8D6F5C3D93}" dt="2024-05-10T15:59:06.916" v="525" actId="1076"/>
          <ac:spMkLst>
            <pc:docMk/>
            <pc:sldMk cId="3622079443" sldId="345"/>
            <ac:spMk id="61" creationId="{7F4AA747-358C-2CD7-00DD-841E17369FAB}"/>
          </ac:spMkLst>
        </pc:spChg>
        <pc:spChg chg="mod">
          <ac:chgData name="Veniero Facchetti" userId="f2c6c99af91c4974" providerId="LiveId" clId="{34DF7D6B-EB0F-4B53-B080-BB8D6F5C3D93}" dt="2024-05-10T15:59:06.916" v="525" actId="1076"/>
          <ac:spMkLst>
            <pc:docMk/>
            <pc:sldMk cId="3622079443" sldId="345"/>
            <ac:spMk id="62" creationId="{CD9FD546-E4CE-8E00-1AA1-7A6CED7CAD17}"/>
          </ac:spMkLst>
        </pc:spChg>
        <pc:spChg chg="mod">
          <ac:chgData name="Veniero Facchetti" userId="f2c6c99af91c4974" providerId="LiveId" clId="{34DF7D6B-EB0F-4B53-B080-BB8D6F5C3D93}" dt="2024-05-10T15:59:06.916" v="525" actId="1076"/>
          <ac:spMkLst>
            <pc:docMk/>
            <pc:sldMk cId="3622079443" sldId="345"/>
            <ac:spMk id="63" creationId="{C6BA3F8D-AAF7-4728-11B9-B24B3D720FB6}"/>
          </ac:spMkLst>
        </pc:spChg>
        <pc:spChg chg="mod">
          <ac:chgData name="Veniero Facchetti" userId="f2c6c99af91c4974" providerId="LiveId" clId="{34DF7D6B-EB0F-4B53-B080-BB8D6F5C3D93}" dt="2024-05-10T15:59:06.916" v="525" actId="1076"/>
          <ac:spMkLst>
            <pc:docMk/>
            <pc:sldMk cId="3622079443" sldId="345"/>
            <ac:spMk id="64" creationId="{A6B2C167-E2CD-4C8F-AFED-264A42508F47}"/>
          </ac:spMkLst>
        </pc:spChg>
        <pc:spChg chg="mod">
          <ac:chgData name="Veniero Facchetti" userId="f2c6c99af91c4974" providerId="LiveId" clId="{34DF7D6B-EB0F-4B53-B080-BB8D6F5C3D93}" dt="2024-05-10T15:59:06.916" v="525" actId="1076"/>
          <ac:spMkLst>
            <pc:docMk/>
            <pc:sldMk cId="3622079443" sldId="345"/>
            <ac:spMk id="65" creationId="{DCE7DF9F-4E40-21E3-EB1B-EC9B5E6885C0}"/>
          </ac:spMkLst>
        </pc:spChg>
        <pc:spChg chg="mod">
          <ac:chgData name="Veniero Facchetti" userId="f2c6c99af91c4974" providerId="LiveId" clId="{34DF7D6B-EB0F-4B53-B080-BB8D6F5C3D93}" dt="2024-05-10T15:59:06.916" v="525" actId="1076"/>
          <ac:spMkLst>
            <pc:docMk/>
            <pc:sldMk cId="3622079443" sldId="345"/>
            <ac:spMk id="66" creationId="{836004CA-88CA-2784-39B1-73DE6B928D64}"/>
          </ac:spMkLst>
        </pc:spChg>
        <pc:spChg chg="mod">
          <ac:chgData name="Veniero Facchetti" userId="f2c6c99af91c4974" providerId="LiveId" clId="{34DF7D6B-EB0F-4B53-B080-BB8D6F5C3D93}" dt="2024-05-10T15:59:06.916" v="525" actId="1076"/>
          <ac:spMkLst>
            <pc:docMk/>
            <pc:sldMk cId="3622079443" sldId="345"/>
            <ac:spMk id="67" creationId="{6659B5AB-2128-D04D-CD53-43091E85266A}"/>
          </ac:spMkLst>
        </pc:spChg>
        <pc:spChg chg="mod">
          <ac:chgData name="Veniero Facchetti" userId="f2c6c99af91c4974" providerId="LiveId" clId="{34DF7D6B-EB0F-4B53-B080-BB8D6F5C3D93}" dt="2024-05-10T15:59:06.916" v="525" actId="1076"/>
          <ac:spMkLst>
            <pc:docMk/>
            <pc:sldMk cId="3622079443" sldId="345"/>
            <ac:spMk id="68" creationId="{8F5BA23B-10D5-143C-3F23-88D9149FC43D}"/>
          </ac:spMkLst>
        </pc:spChg>
        <pc:spChg chg="mod">
          <ac:chgData name="Veniero Facchetti" userId="f2c6c99af91c4974" providerId="LiveId" clId="{34DF7D6B-EB0F-4B53-B080-BB8D6F5C3D93}" dt="2024-05-10T15:59:06.916" v="525" actId="1076"/>
          <ac:spMkLst>
            <pc:docMk/>
            <pc:sldMk cId="3622079443" sldId="345"/>
            <ac:spMk id="69" creationId="{D601E9EB-2747-F917-F8DD-AF05FA69055E}"/>
          </ac:spMkLst>
        </pc:spChg>
        <pc:spChg chg="mod">
          <ac:chgData name="Veniero Facchetti" userId="f2c6c99af91c4974" providerId="LiveId" clId="{34DF7D6B-EB0F-4B53-B080-BB8D6F5C3D93}" dt="2024-05-10T15:59:06.916" v="525" actId="1076"/>
          <ac:spMkLst>
            <pc:docMk/>
            <pc:sldMk cId="3622079443" sldId="345"/>
            <ac:spMk id="70" creationId="{89E4D337-7FEB-1534-57D6-223C5FDAEC32}"/>
          </ac:spMkLst>
        </pc:spChg>
        <pc:spChg chg="mod">
          <ac:chgData name="Veniero Facchetti" userId="f2c6c99af91c4974" providerId="LiveId" clId="{34DF7D6B-EB0F-4B53-B080-BB8D6F5C3D93}" dt="2024-05-10T15:59:06.916" v="525" actId="1076"/>
          <ac:spMkLst>
            <pc:docMk/>
            <pc:sldMk cId="3622079443" sldId="345"/>
            <ac:spMk id="71" creationId="{C0E2B808-6C17-B3C5-264F-F08148FE221E}"/>
          </ac:spMkLst>
        </pc:spChg>
        <pc:spChg chg="mod">
          <ac:chgData name="Veniero Facchetti" userId="f2c6c99af91c4974" providerId="LiveId" clId="{34DF7D6B-EB0F-4B53-B080-BB8D6F5C3D93}" dt="2024-05-10T15:59:06.916" v="525" actId="1076"/>
          <ac:spMkLst>
            <pc:docMk/>
            <pc:sldMk cId="3622079443" sldId="345"/>
            <ac:spMk id="72" creationId="{826E5F90-C0D7-7727-508C-AAA7B0B68236}"/>
          </ac:spMkLst>
        </pc:spChg>
        <pc:spChg chg="mod">
          <ac:chgData name="Veniero Facchetti" userId="f2c6c99af91c4974" providerId="LiveId" clId="{34DF7D6B-EB0F-4B53-B080-BB8D6F5C3D93}" dt="2024-05-10T15:59:06.916" v="525" actId="1076"/>
          <ac:spMkLst>
            <pc:docMk/>
            <pc:sldMk cId="3622079443" sldId="345"/>
            <ac:spMk id="73" creationId="{6D767951-7330-6207-DC6E-8C32764611FC}"/>
          </ac:spMkLst>
        </pc:spChg>
        <pc:spChg chg="mod">
          <ac:chgData name="Veniero Facchetti" userId="f2c6c99af91c4974" providerId="LiveId" clId="{34DF7D6B-EB0F-4B53-B080-BB8D6F5C3D93}" dt="2024-05-10T15:59:06.916" v="525" actId="1076"/>
          <ac:spMkLst>
            <pc:docMk/>
            <pc:sldMk cId="3622079443" sldId="345"/>
            <ac:spMk id="74" creationId="{9F83EEC4-5D1C-DFC3-76EE-F2B08332A76F}"/>
          </ac:spMkLst>
        </pc:spChg>
        <pc:spChg chg="mod">
          <ac:chgData name="Veniero Facchetti" userId="f2c6c99af91c4974" providerId="LiveId" clId="{34DF7D6B-EB0F-4B53-B080-BB8D6F5C3D93}" dt="2024-05-10T15:59:06.916" v="525" actId="1076"/>
          <ac:spMkLst>
            <pc:docMk/>
            <pc:sldMk cId="3622079443" sldId="345"/>
            <ac:spMk id="75" creationId="{B3A25AC4-22E1-0AC6-2472-474EF062726F}"/>
          </ac:spMkLst>
        </pc:spChg>
        <pc:spChg chg="mod">
          <ac:chgData name="Veniero Facchetti" userId="f2c6c99af91c4974" providerId="LiveId" clId="{34DF7D6B-EB0F-4B53-B080-BB8D6F5C3D93}" dt="2024-05-10T15:59:06.916" v="525" actId="1076"/>
          <ac:spMkLst>
            <pc:docMk/>
            <pc:sldMk cId="3622079443" sldId="345"/>
            <ac:spMk id="76" creationId="{2946EE4E-0A64-7ED4-7FE9-03FDEF41F4CB}"/>
          </ac:spMkLst>
        </pc:spChg>
        <pc:spChg chg="mod">
          <ac:chgData name="Veniero Facchetti" userId="f2c6c99af91c4974" providerId="LiveId" clId="{34DF7D6B-EB0F-4B53-B080-BB8D6F5C3D93}" dt="2024-05-10T15:59:06.916" v="525" actId="1076"/>
          <ac:spMkLst>
            <pc:docMk/>
            <pc:sldMk cId="3622079443" sldId="345"/>
            <ac:spMk id="77" creationId="{3966B859-19EC-1FA0-69F4-69746AE504E8}"/>
          </ac:spMkLst>
        </pc:spChg>
        <pc:spChg chg="mod">
          <ac:chgData name="Veniero Facchetti" userId="f2c6c99af91c4974" providerId="LiveId" clId="{34DF7D6B-EB0F-4B53-B080-BB8D6F5C3D93}" dt="2024-05-10T15:59:06.916" v="525" actId="1076"/>
          <ac:spMkLst>
            <pc:docMk/>
            <pc:sldMk cId="3622079443" sldId="345"/>
            <ac:spMk id="79" creationId="{A38E1B41-DF3F-1DC8-DAEA-5184CFBF5247}"/>
          </ac:spMkLst>
        </pc:spChg>
        <pc:spChg chg="mod">
          <ac:chgData name="Veniero Facchetti" userId="f2c6c99af91c4974" providerId="LiveId" clId="{34DF7D6B-EB0F-4B53-B080-BB8D6F5C3D93}" dt="2024-05-10T15:59:06.916" v="525" actId="1076"/>
          <ac:spMkLst>
            <pc:docMk/>
            <pc:sldMk cId="3622079443" sldId="345"/>
            <ac:spMk id="81" creationId="{4C3D5902-6479-2027-B027-0D5AA0233801}"/>
          </ac:spMkLst>
        </pc:spChg>
        <pc:spChg chg="mod">
          <ac:chgData name="Veniero Facchetti" userId="f2c6c99af91c4974" providerId="LiveId" clId="{34DF7D6B-EB0F-4B53-B080-BB8D6F5C3D93}" dt="2024-05-10T15:59:06.916" v="525" actId="1076"/>
          <ac:spMkLst>
            <pc:docMk/>
            <pc:sldMk cId="3622079443" sldId="345"/>
            <ac:spMk id="87" creationId="{F293EDEF-4423-D649-3A5C-4D1B8856C5C3}"/>
          </ac:spMkLst>
        </pc:spChg>
        <pc:spChg chg="mod">
          <ac:chgData name="Veniero Facchetti" userId="f2c6c99af91c4974" providerId="LiveId" clId="{34DF7D6B-EB0F-4B53-B080-BB8D6F5C3D93}" dt="2024-05-10T15:59:06.916" v="525" actId="1076"/>
          <ac:spMkLst>
            <pc:docMk/>
            <pc:sldMk cId="3622079443" sldId="345"/>
            <ac:spMk id="91" creationId="{8BAC0939-D0D7-BB33-36AA-7E740957DAC4}"/>
          </ac:spMkLst>
        </pc:spChg>
        <pc:spChg chg="mod">
          <ac:chgData name="Veniero Facchetti" userId="f2c6c99af91c4974" providerId="LiveId" clId="{34DF7D6B-EB0F-4B53-B080-BB8D6F5C3D93}" dt="2024-05-10T15:59:06.916" v="525" actId="1076"/>
          <ac:spMkLst>
            <pc:docMk/>
            <pc:sldMk cId="3622079443" sldId="345"/>
            <ac:spMk id="92" creationId="{306B1EDC-4AFF-7622-E1E9-EF2F82BC0DF9}"/>
          </ac:spMkLst>
        </pc:spChg>
        <pc:spChg chg="mod">
          <ac:chgData name="Veniero Facchetti" userId="f2c6c99af91c4974" providerId="LiveId" clId="{34DF7D6B-EB0F-4B53-B080-BB8D6F5C3D93}" dt="2024-05-10T15:59:06.916" v="525" actId="1076"/>
          <ac:spMkLst>
            <pc:docMk/>
            <pc:sldMk cId="3622079443" sldId="345"/>
            <ac:spMk id="93" creationId="{4FD7072F-3339-4E23-2A64-CD32353913AB}"/>
          </ac:spMkLst>
        </pc:spChg>
        <pc:spChg chg="mod">
          <ac:chgData name="Veniero Facchetti" userId="f2c6c99af91c4974" providerId="LiveId" clId="{34DF7D6B-EB0F-4B53-B080-BB8D6F5C3D93}" dt="2024-05-10T15:59:06.916" v="525" actId="1076"/>
          <ac:spMkLst>
            <pc:docMk/>
            <pc:sldMk cId="3622079443" sldId="345"/>
            <ac:spMk id="94" creationId="{17187711-511D-734E-6D9C-99DCF165D0D1}"/>
          </ac:spMkLst>
        </pc:spChg>
        <pc:spChg chg="mod">
          <ac:chgData name="Veniero Facchetti" userId="f2c6c99af91c4974" providerId="LiveId" clId="{34DF7D6B-EB0F-4B53-B080-BB8D6F5C3D93}" dt="2024-05-10T15:59:06.916" v="525" actId="1076"/>
          <ac:spMkLst>
            <pc:docMk/>
            <pc:sldMk cId="3622079443" sldId="345"/>
            <ac:spMk id="95" creationId="{71D7B38B-6651-2C5B-75CA-47C9BC9AA435}"/>
          </ac:spMkLst>
        </pc:spChg>
        <pc:spChg chg="mod">
          <ac:chgData name="Veniero Facchetti" userId="f2c6c99af91c4974" providerId="LiveId" clId="{34DF7D6B-EB0F-4B53-B080-BB8D6F5C3D93}" dt="2024-05-10T15:59:06.916" v="525" actId="1076"/>
          <ac:spMkLst>
            <pc:docMk/>
            <pc:sldMk cId="3622079443" sldId="345"/>
            <ac:spMk id="96" creationId="{73FA2BBB-7BCB-3F68-E284-396BFF25DD98}"/>
          </ac:spMkLst>
        </pc:spChg>
        <pc:spChg chg="mod">
          <ac:chgData name="Veniero Facchetti" userId="f2c6c99af91c4974" providerId="LiveId" clId="{34DF7D6B-EB0F-4B53-B080-BB8D6F5C3D93}" dt="2024-05-10T15:59:06.916" v="525" actId="1076"/>
          <ac:spMkLst>
            <pc:docMk/>
            <pc:sldMk cId="3622079443" sldId="345"/>
            <ac:spMk id="97" creationId="{C2A734B4-4E77-8B18-F3BF-4D20D11CFE7B}"/>
          </ac:spMkLst>
        </pc:spChg>
        <pc:spChg chg="mod">
          <ac:chgData name="Veniero Facchetti" userId="f2c6c99af91c4974" providerId="LiveId" clId="{34DF7D6B-EB0F-4B53-B080-BB8D6F5C3D93}" dt="2024-05-10T15:59:06.916" v="525" actId="1076"/>
          <ac:spMkLst>
            <pc:docMk/>
            <pc:sldMk cId="3622079443" sldId="345"/>
            <ac:spMk id="98" creationId="{56B17F9E-0101-6514-831C-CF3EEC3BE84F}"/>
          </ac:spMkLst>
        </pc:spChg>
        <pc:spChg chg="mod">
          <ac:chgData name="Veniero Facchetti" userId="f2c6c99af91c4974" providerId="LiveId" clId="{34DF7D6B-EB0F-4B53-B080-BB8D6F5C3D93}" dt="2024-05-10T15:59:06.916" v="525" actId="1076"/>
          <ac:spMkLst>
            <pc:docMk/>
            <pc:sldMk cId="3622079443" sldId="345"/>
            <ac:spMk id="99" creationId="{9C1FED11-A2D5-A9E0-25D7-56C43A353ADB}"/>
          </ac:spMkLst>
        </pc:spChg>
        <pc:spChg chg="mod">
          <ac:chgData name="Veniero Facchetti" userId="f2c6c99af91c4974" providerId="LiveId" clId="{34DF7D6B-EB0F-4B53-B080-BB8D6F5C3D93}" dt="2024-05-10T15:59:06.916" v="525" actId="1076"/>
          <ac:spMkLst>
            <pc:docMk/>
            <pc:sldMk cId="3622079443" sldId="345"/>
            <ac:spMk id="100" creationId="{E7D6EB83-B8E0-ECE2-7B27-8D85960A9F6D}"/>
          </ac:spMkLst>
        </pc:spChg>
        <pc:spChg chg="mod">
          <ac:chgData name="Veniero Facchetti" userId="f2c6c99af91c4974" providerId="LiveId" clId="{34DF7D6B-EB0F-4B53-B080-BB8D6F5C3D93}" dt="2024-05-10T15:59:06.916" v="525" actId="1076"/>
          <ac:spMkLst>
            <pc:docMk/>
            <pc:sldMk cId="3622079443" sldId="345"/>
            <ac:spMk id="102" creationId="{2C25A25F-72B1-DA4B-CA7D-E6D898D0E2A3}"/>
          </ac:spMkLst>
        </pc:spChg>
        <pc:spChg chg="mod">
          <ac:chgData name="Veniero Facchetti" userId="f2c6c99af91c4974" providerId="LiveId" clId="{34DF7D6B-EB0F-4B53-B080-BB8D6F5C3D93}" dt="2024-05-10T15:59:06.916" v="525" actId="1076"/>
          <ac:spMkLst>
            <pc:docMk/>
            <pc:sldMk cId="3622079443" sldId="345"/>
            <ac:spMk id="103" creationId="{14E99E50-CD26-DBD7-5485-03A4BFF855EA}"/>
          </ac:spMkLst>
        </pc:spChg>
        <pc:spChg chg="mod">
          <ac:chgData name="Veniero Facchetti" userId="f2c6c99af91c4974" providerId="LiveId" clId="{34DF7D6B-EB0F-4B53-B080-BB8D6F5C3D93}" dt="2024-05-10T15:59:06.916" v="525" actId="1076"/>
          <ac:spMkLst>
            <pc:docMk/>
            <pc:sldMk cId="3622079443" sldId="345"/>
            <ac:spMk id="104" creationId="{11DBFE73-6E9B-CB7D-C227-790FCFA0BFC4}"/>
          </ac:spMkLst>
        </pc:spChg>
        <pc:spChg chg="mod">
          <ac:chgData name="Veniero Facchetti" userId="f2c6c99af91c4974" providerId="LiveId" clId="{34DF7D6B-EB0F-4B53-B080-BB8D6F5C3D93}" dt="2024-05-10T15:59:06.916" v="525" actId="1076"/>
          <ac:spMkLst>
            <pc:docMk/>
            <pc:sldMk cId="3622079443" sldId="345"/>
            <ac:spMk id="105" creationId="{DEEE4164-54F7-335C-1726-EB0497B44D87}"/>
          </ac:spMkLst>
        </pc:spChg>
        <pc:spChg chg="mod">
          <ac:chgData name="Veniero Facchetti" userId="f2c6c99af91c4974" providerId="LiveId" clId="{34DF7D6B-EB0F-4B53-B080-BB8D6F5C3D93}" dt="2024-05-10T15:59:06.916" v="525" actId="1076"/>
          <ac:spMkLst>
            <pc:docMk/>
            <pc:sldMk cId="3622079443" sldId="345"/>
            <ac:spMk id="106" creationId="{CE5CA96B-9849-FBDD-DBC9-96A398D2CCDC}"/>
          </ac:spMkLst>
        </pc:spChg>
        <pc:spChg chg="mod">
          <ac:chgData name="Veniero Facchetti" userId="f2c6c99af91c4974" providerId="LiveId" clId="{34DF7D6B-EB0F-4B53-B080-BB8D6F5C3D93}" dt="2024-05-10T15:59:06.916" v="525" actId="1076"/>
          <ac:spMkLst>
            <pc:docMk/>
            <pc:sldMk cId="3622079443" sldId="345"/>
            <ac:spMk id="107" creationId="{47FEBD07-D8E3-9298-B6A1-74954866DF2F}"/>
          </ac:spMkLst>
        </pc:spChg>
        <pc:spChg chg="mod">
          <ac:chgData name="Veniero Facchetti" userId="f2c6c99af91c4974" providerId="LiveId" clId="{34DF7D6B-EB0F-4B53-B080-BB8D6F5C3D93}" dt="2024-05-10T15:59:06.916" v="525" actId="1076"/>
          <ac:spMkLst>
            <pc:docMk/>
            <pc:sldMk cId="3622079443" sldId="345"/>
            <ac:spMk id="108" creationId="{DB964B6D-6D05-B4E6-77B7-FEE581C50B8E}"/>
          </ac:spMkLst>
        </pc:spChg>
        <pc:spChg chg="mod">
          <ac:chgData name="Veniero Facchetti" userId="f2c6c99af91c4974" providerId="LiveId" clId="{34DF7D6B-EB0F-4B53-B080-BB8D6F5C3D93}" dt="2024-05-10T15:59:06.916" v="525" actId="1076"/>
          <ac:spMkLst>
            <pc:docMk/>
            <pc:sldMk cId="3622079443" sldId="345"/>
            <ac:spMk id="110" creationId="{01601B40-E9C0-3E48-F896-310164C189D0}"/>
          </ac:spMkLst>
        </pc:spChg>
        <pc:spChg chg="mod">
          <ac:chgData name="Veniero Facchetti" userId="f2c6c99af91c4974" providerId="LiveId" clId="{34DF7D6B-EB0F-4B53-B080-BB8D6F5C3D93}" dt="2024-05-10T15:59:06.916" v="525" actId="1076"/>
          <ac:spMkLst>
            <pc:docMk/>
            <pc:sldMk cId="3622079443" sldId="345"/>
            <ac:spMk id="111" creationId="{A4D6D757-7E5D-2F8C-25B2-F5962ECD5830}"/>
          </ac:spMkLst>
        </pc:spChg>
        <pc:spChg chg="mod">
          <ac:chgData name="Veniero Facchetti" userId="f2c6c99af91c4974" providerId="LiveId" clId="{34DF7D6B-EB0F-4B53-B080-BB8D6F5C3D93}" dt="2024-05-10T15:59:06.916" v="525" actId="1076"/>
          <ac:spMkLst>
            <pc:docMk/>
            <pc:sldMk cId="3622079443" sldId="345"/>
            <ac:spMk id="114" creationId="{C4674AC6-7893-D1E6-B089-B7DCFEBE9F46}"/>
          </ac:spMkLst>
        </pc:spChg>
        <pc:spChg chg="mod">
          <ac:chgData name="Veniero Facchetti" userId="f2c6c99af91c4974" providerId="LiveId" clId="{34DF7D6B-EB0F-4B53-B080-BB8D6F5C3D93}" dt="2024-05-10T15:59:06.916" v="525" actId="1076"/>
          <ac:spMkLst>
            <pc:docMk/>
            <pc:sldMk cId="3622079443" sldId="345"/>
            <ac:spMk id="115" creationId="{D636A30B-4080-C1CE-C39A-30D27C07169F}"/>
          </ac:spMkLst>
        </pc:spChg>
        <pc:spChg chg="mod">
          <ac:chgData name="Veniero Facchetti" userId="f2c6c99af91c4974" providerId="LiveId" clId="{34DF7D6B-EB0F-4B53-B080-BB8D6F5C3D93}" dt="2024-05-10T15:59:06.916" v="525" actId="1076"/>
          <ac:spMkLst>
            <pc:docMk/>
            <pc:sldMk cId="3622079443" sldId="345"/>
            <ac:spMk id="116" creationId="{3FD7DD09-8A7F-8AE9-59D1-C2D4A33A67B2}"/>
          </ac:spMkLst>
        </pc:spChg>
        <pc:spChg chg="mod">
          <ac:chgData name="Veniero Facchetti" userId="f2c6c99af91c4974" providerId="LiveId" clId="{34DF7D6B-EB0F-4B53-B080-BB8D6F5C3D93}" dt="2024-05-10T15:59:06.916" v="525" actId="1076"/>
          <ac:spMkLst>
            <pc:docMk/>
            <pc:sldMk cId="3622079443" sldId="345"/>
            <ac:spMk id="117" creationId="{2EB53D7C-80CD-0607-D7B3-10491BD40BA3}"/>
          </ac:spMkLst>
        </pc:spChg>
        <pc:spChg chg="mod">
          <ac:chgData name="Veniero Facchetti" userId="f2c6c99af91c4974" providerId="LiveId" clId="{34DF7D6B-EB0F-4B53-B080-BB8D6F5C3D93}" dt="2024-05-10T15:59:06.916" v="525" actId="1076"/>
          <ac:spMkLst>
            <pc:docMk/>
            <pc:sldMk cId="3622079443" sldId="345"/>
            <ac:spMk id="118" creationId="{E83E2CF3-B7AD-105B-B552-9E079080766D}"/>
          </ac:spMkLst>
        </pc:spChg>
        <pc:spChg chg="mod">
          <ac:chgData name="Veniero Facchetti" userId="f2c6c99af91c4974" providerId="LiveId" clId="{34DF7D6B-EB0F-4B53-B080-BB8D6F5C3D93}" dt="2024-05-10T15:59:06.916" v="525" actId="1076"/>
          <ac:spMkLst>
            <pc:docMk/>
            <pc:sldMk cId="3622079443" sldId="345"/>
            <ac:spMk id="119" creationId="{8395687B-558D-B455-7BBB-F4BD88671417}"/>
          </ac:spMkLst>
        </pc:spChg>
        <pc:spChg chg="mod">
          <ac:chgData name="Veniero Facchetti" userId="f2c6c99af91c4974" providerId="LiveId" clId="{34DF7D6B-EB0F-4B53-B080-BB8D6F5C3D93}" dt="2024-05-10T15:59:06.916" v="525" actId="1076"/>
          <ac:spMkLst>
            <pc:docMk/>
            <pc:sldMk cId="3622079443" sldId="345"/>
            <ac:spMk id="120" creationId="{F79FE495-A9AE-F038-93C6-5BA8812ED6A3}"/>
          </ac:spMkLst>
        </pc:spChg>
        <pc:spChg chg="mod">
          <ac:chgData name="Veniero Facchetti" userId="f2c6c99af91c4974" providerId="LiveId" clId="{34DF7D6B-EB0F-4B53-B080-BB8D6F5C3D93}" dt="2024-05-10T15:59:06.916" v="525" actId="1076"/>
          <ac:spMkLst>
            <pc:docMk/>
            <pc:sldMk cId="3622079443" sldId="345"/>
            <ac:spMk id="121" creationId="{DCD084D6-6C04-0C4E-B1DC-ECB5842298C7}"/>
          </ac:spMkLst>
        </pc:spChg>
        <pc:spChg chg="mod">
          <ac:chgData name="Veniero Facchetti" userId="f2c6c99af91c4974" providerId="LiveId" clId="{34DF7D6B-EB0F-4B53-B080-BB8D6F5C3D93}" dt="2024-05-10T15:59:06.916" v="525" actId="1076"/>
          <ac:spMkLst>
            <pc:docMk/>
            <pc:sldMk cId="3622079443" sldId="345"/>
            <ac:spMk id="122" creationId="{D88D2DB8-6C4C-06FE-C839-35EC42AFD621}"/>
          </ac:spMkLst>
        </pc:spChg>
        <pc:spChg chg="mod">
          <ac:chgData name="Veniero Facchetti" userId="f2c6c99af91c4974" providerId="LiveId" clId="{34DF7D6B-EB0F-4B53-B080-BB8D6F5C3D93}" dt="2024-05-10T15:59:06.916" v="525" actId="1076"/>
          <ac:spMkLst>
            <pc:docMk/>
            <pc:sldMk cId="3622079443" sldId="345"/>
            <ac:spMk id="123" creationId="{636385F4-677C-9114-8706-1812EBFE7450}"/>
          </ac:spMkLst>
        </pc:spChg>
        <pc:spChg chg="mod">
          <ac:chgData name="Veniero Facchetti" userId="f2c6c99af91c4974" providerId="LiveId" clId="{34DF7D6B-EB0F-4B53-B080-BB8D6F5C3D93}" dt="2024-05-10T15:59:06.916" v="525" actId="1076"/>
          <ac:spMkLst>
            <pc:docMk/>
            <pc:sldMk cId="3622079443" sldId="345"/>
            <ac:spMk id="124" creationId="{2EFAB8D2-AD4B-3E16-5EE1-222E58322E3D}"/>
          </ac:spMkLst>
        </pc:spChg>
        <pc:spChg chg="mod">
          <ac:chgData name="Veniero Facchetti" userId="f2c6c99af91c4974" providerId="LiveId" clId="{34DF7D6B-EB0F-4B53-B080-BB8D6F5C3D93}" dt="2024-05-10T15:59:06.916" v="525" actId="1076"/>
          <ac:spMkLst>
            <pc:docMk/>
            <pc:sldMk cId="3622079443" sldId="345"/>
            <ac:spMk id="125" creationId="{796E6412-D27D-FB20-7210-B77B936C888F}"/>
          </ac:spMkLst>
        </pc:spChg>
        <pc:spChg chg="mod">
          <ac:chgData name="Veniero Facchetti" userId="f2c6c99af91c4974" providerId="LiveId" clId="{34DF7D6B-EB0F-4B53-B080-BB8D6F5C3D93}" dt="2024-05-10T15:59:06.916" v="525" actId="1076"/>
          <ac:spMkLst>
            <pc:docMk/>
            <pc:sldMk cId="3622079443" sldId="345"/>
            <ac:spMk id="126" creationId="{CB220317-0E65-5EB3-1AB0-24D20556C450}"/>
          </ac:spMkLst>
        </pc:spChg>
        <pc:spChg chg="mod">
          <ac:chgData name="Veniero Facchetti" userId="f2c6c99af91c4974" providerId="LiveId" clId="{34DF7D6B-EB0F-4B53-B080-BB8D6F5C3D93}" dt="2024-05-10T15:59:06.916" v="525" actId="1076"/>
          <ac:spMkLst>
            <pc:docMk/>
            <pc:sldMk cId="3622079443" sldId="345"/>
            <ac:spMk id="127" creationId="{77783AB5-AC02-27E7-1949-0411EBB9919A}"/>
          </ac:spMkLst>
        </pc:spChg>
        <pc:spChg chg="mod">
          <ac:chgData name="Veniero Facchetti" userId="f2c6c99af91c4974" providerId="LiveId" clId="{34DF7D6B-EB0F-4B53-B080-BB8D6F5C3D93}" dt="2024-05-10T15:59:06.916" v="525" actId="1076"/>
          <ac:spMkLst>
            <pc:docMk/>
            <pc:sldMk cId="3622079443" sldId="345"/>
            <ac:spMk id="128" creationId="{C97A82FC-4A8D-D88B-9FBE-F5C94715FF83}"/>
          </ac:spMkLst>
        </pc:spChg>
        <pc:spChg chg="mod">
          <ac:chgData name="Veniero Facchetti" userId="f2c6c99af91c4974" providerId="LiveId" clId="{34DF7D6B-EB0F-4B53-B080-BB8D6F5C3D93}" dt="2024-05-10T15:59:06.916" v="525" actId="1076"/>
          <ac:spMkLst>
            <pc:docMk/>
            <pc:sldMk cId="3622079443" sldId="345"/>
            <ac:spMk id="129" creationId="{A269FBD3-33EE-13E8-232D-C4EE7284D9FD}"/>
          </ac:spMkLst>
        </pc:spChg>
        <pc:spChg chg="mod">
          <ac:chgData name="Veniero Facchetti" userId="f2c6c99af91c4974" providerId="LiveId" clId="{34DF7D6B-EB0F-4B53-B080-BB8D6F5C3D93}" dt="2024-05-10T15:59:06.916" v="525" actId="1076"/>
          <ac:spMkLst>
            <pc:docMk/>
            <pc:sldMk cId="3622079443" sldId="345"/>
            <ac:spMk id="130" creationId="{02FB717C-D100-CF07-C3C6-DDEC05CEEFDB}"/>
          </ac:spMkLst>
        </pc:spChg>
        <pc:spChg chg="mod">
          <ac:chgData name="Veniero Facchetti" userId="f2c6c99af91c4974" providerId="LiveId" clId="{34DF7D6B-EB0F-4B53-B080-BB8D6F5C3D93}" dt="2024-05-10T15:59:06.916" v="525" actId="1076"/>
          <ac:spMkLst>
            <pc:docMk/>
            <pc:sldMk cId="3622079443" sldId="345"/>
            <ac:spMk id="131" creationId="{0420B50A-F460-12F9-EA31-B7B14CE50ACC}"/>
          </ac:spMkLst>
        </pc:spChg>
        <pc:spChg chg="mod">
          <ac:chgData name="Veniero Facchetti" userId="f2c6c99af91c4974" providerId="LiveId" clId="{34DF7D6B-EB0F-4B53-B080-BB8D6F5C3D93}" dt="2024-05-10T15:59:06.916" v="525" actId="1076"/>
          <ac:spMkLst>
            <pc:docMk/>
            <pc:sldMk cId="3622079443" sldId="345"/>
            <ac:spMk id="132" creationId="{7E724CEC-3AD5-00FD-2DF6-58EBF27CA2FB}"/>
          </ac:spMkLst>
        </pc:spChg>
        <pc:spChg chg="mod">
          <ac:chgData name="Veniero Facchetti" userId="f2c6c99af91c4974" providerId="LiveId" clId="{34DF7D6B-EB0F-4B53-B080-BB8D6F5C3D93}" dt="2024-05-10T15:59:06.916" v="525" actId="1076"/>
          <ac:spMkLst>
            <pc:docMk/>
            <pc:sldMk cId="3622079443" sldId="345"/>
            <ac:spMk id="133" creationId="{2F44E183-9565-F1DF-8674-22C70FD356AD}"/>
          </ac:spMkLst>
        </pc:spChg>
        <pc:spChg chg="mod">
          <ac:chgData name="Veniero Facchetti" userId="f2c6c99af91c4974" providerId="LiveId" clId="{34DF7D6B-EB0F-4B53-B080-BB8D6F5C3D93}" dt="2024-05-10T15:59:06.916" v="525" actId="1076"/>
          <ac:spMkLst>
            <pc:docMk/>
            <pc:sldMk cId="3622079443" sldId="345"/>
            <ac:spMk id="134" creationId="{0D177B9F-53C0-427D-7ABC-BF3AF669DB2E}"/>
          </ac:spMkLst>
        </pc:spChg>
        <pc:spChg chg="mod">
          <ac:chgData name="Veniero Facchetti" userId="f2c6c99af91c4974" providerId="LiveId" clId="{34DF7D6B-EB0F-4B53-B080-BB8D6F5C3D93}" dt="2024-05-10T15:59:06.916" v="525" actId="1076"/>
          <ac:spMkLst>
            <pc:docMk/>
            <pc:sldMk cId="3622079443" sldId="345"/>
            <ac:spMk id="135" creationId="{7ECDFF9C-E30D-C3CC-6549-B1080D36D4E2}"/>
          </ac:spMkLst>
        </pc:spChg>
        <pc:spChg chg="mod">
          <ac:chgData name="Veniero Facchetti" userId="f2c6c99af91c4974" providerId="LiveId" clId="{34DF7D6B-EB0F-4B53-B080-BB8D6F5C3D93}" dt="2024-05-10T15:59:06.916" v="525" actId="1076"/>
          <ac:spMkLst>
            <pc:docMk/>
            <pc:sldMk cId="3622079443" sldId="345"/>
            <ac:spMk id="136" creationId="{E23EF186-1B46-19A9-83FC-C708DAC261BC}"/>
          </ac:spMkLst>
        </pc:spChg>
        <pc:spChg chg="mod">
          <ac:chgData name="Veniero Facchetti" userId="f2c6c99af91c4974" providerId="LiveId" clId="{34DF7D6B-EB0F-4B53-B080-BB8D6F5C3D93}" dt="2024-05-10T15:59:06.916" v="525" actId="1076"/>
          <ac:spMkLst>
            <pc:docMk/>
            <pc:sldMk cId="3622079443" sldId="345"/>
            <ac:spMk id="137" creationId="{34A24511-9CD7-F127-044D-B57CF807E125}"/>
          </ac:spMkLst>
        </pc:spChg>
        <pc:spChg chg="mod">
          <ac:chgData name="Veniero Facchetti" userId="f2c6c99af91c4974" providerId="LiveId" clId="{34DF7D6B-EB0F-4B53-B080-BB8D6F5C3D93}" dt="2024-05-10T15:59:06.916" v="525" actId="1076"/>
          <ac:spMkLst>
            <pc:docMk/>
            <pc:sldMk cId="3622079443" sldId="345"/>
            <ac:spMk id="138" creationId="{42CB64F7-5F33-2059-DE32-A19AEA9937AE}"/>
          </ac:spMkLst>
        </pc:spChg>
        <pc:spChg chg="mod">
          <ac:chgData name="Veniero Facchetti" userId="f2c6c99af91c4974" providerId="LiveId" clId="{34DF7D6B-EB0F-4B53-B080-BB8D6F5C3D93}" dt="2024-05-10T15:59:06.916" v="525" actId="1076"/>
          <ac:spMkLst>
            <pc:docMk/>
            <pc:sldMk cId="3622079443" sldId="345"/>
            <ac:spMk id="139" creationId="{A96D737D-9899-8D47-6B3B-84A52AD59D43}"/>
          </ac:spMkLst>
        </pc:spChg>
        <pc:spChg chg="mod">
          <ac:chgData name="Veniero Facchetti" userId="f2c6c99af91c4974" providerId="LiveId" clId="{34DF7D6B-EB0F-4B53-B080-BB8D6F5C3D93}" dt="2024-05-10T15:59:06.916" v="525" actId="1076"/>
          <ac:spMkLst>
            <pc:docMk/>
            <pc:sldMk cId="3622079443" sldId="345"/>
            <ac:spMk id="140" creationId="{7B0F34BB-120B-710B-0673-E56D1EAE562F}"/>
          </ac:spMkLst>
        </pc:spChg>
        <pc:spChg chg="mod">
          <ac:chgData name="Veniero Facchetti" userId="f2c6c99af91c4974" providerId="LiveId" clId="{34DF7D6B-EB0F-4B53-B080-BB8D6F5C3D93}" dt="2024-05-10T15:59:06.916" v="525" actId="1076"/>
          <ac:spMkLst>
            <pc:docMk/>
            <pc:sldMk cId="3622079443" sldId="345"/>
            <ac:spMk id="141" creationId="{6E7ABA73-9E2D-D7FE-3C59-C790754E33D2}"/>
          </ac:spMkLst>
        </pc:spChg>
        <pc:spChg chg="mod">
          <ac:chgData name="Veniero Facchetti" userId="f2c6c99af91c4974" providerId="LiveId" clId="{34DF7D6B-EB0F-4B53-B080-BB8D6F5C3D93}" dt="2024-05-10T15:59:06.916" v="525" actId="1076"/>
          <ac:spMkLst>
            <pc:docMk/>
            <pc:sldMk cId="3622079443" sldId="345"/>
            <ac:spMk id="142" creationId="{83C9A3E9-087A-1FC1-EAFE-B9E934D3A61B}"/>
          </ac:spMkLst>
        </pc:spChg>
        <pc:spChg chg="mod">
          <ac:chgData name="Veniero Facchetti" userId="f2c6c99af91c4974" providerId="LiveId" clId="{34DF7D6B-EB0F-4B53-B080-BB8D6F5C3D93}" dt="2024-05-10T15:59:06.916" v="525" actId="1076"/>
          <ac:spMkLst>
            <pc:docMk/>
            <pc:sldMk cId="3622079443" sldId="345"/>
            <ac:spMk id="143" creationId="{8F1E296B-E498-FBBC-5C59-1B42FCCB2899}"/>
          </ac:spMkLst>
        </pc:spChg>
        <pc:spChg chg="mod">
          <ac:chgData name="Veniero Facchetti" userId="f2c6c99af91c4974" providerId="LiveId" clId="{34DF7D6B-EB0F-4B53-B080-BB8D6F5C3D93}" dt="2024-05-10T15:59:06.916" v="525" actId="1076"/>
          <ac:spMkLst>
            <pc:docMk/>
            <pc:sldMk cId="3622079443" sldId="345"/>
            <ac:spMk id="144" creationId="{58FC2EB4-E0D1-5E1E-DA0F-EF064DAFB05E}"/>
          </ac:spMkLst>
        </pc:spChg>
        <pc:spChg chg="mod">
          <ac:chgData name="Veniero Facchetti" userId="f2c6c99af91c4974" providerId="LiveId" clId="{34DF7D6B-EB0F-4B53-B080-BB8D6F5C3D93}" dt="2024-05-10T15:59:06.916" v="525" actId="1076"/>
          <ac:spMkLst>
            <pc:docMk/>
            <pc:sldMk cId="3622079443" sldId="345"/>
            <ac:spMk id="145" creationId="{8A8E34D9-C2E6-F57B-258C-64DF0D22C3D6}"/>
          </ac:spMkLst>
        </pc:spChg>
        <pc:spChg chg="mod">
          <ac:chgData name="Veniero Facchetti" userId="f2c6c99af91c4974" providerId="LiveId" clId="{34DF7D6B-EB0F-4B53-B080-BB8D6F5C3D93}" dt="2024-05-10T15:59:06.916" v="525" actId="1076"/>
          <ac:spMkLst>
            <pc:docMk/>
            <pc:sldMk cId="3622079443" sldId="345"/>
            <ac:spMk id="146" creationId="{EE3D950F-7488-DDC6-89F8-34B200972404}"/>
          </ac:spMkLst>
        </pc:spChg>
        <pc:spChg chg="mod">
          <ac:chgData name="Veniero Facchetti" userId="f2c6c99af91c4974" providerId="LiveId" clId="{34DF7D6B-EB0F-4B53-B080-BB8D6F5C3D93}" dt="2024-05-10T15:59:06.916" v="525" actId="1076"/>
          <ac:spMkLst>
            <pc:docMk/>
            <pc:sldMk cId="3622079443" sldId="345"/>
            <ac:spMk id="147" creationId="{1C492BC9-A7B1-4D36-4FD2-86D3E1135F78}"/>
          </ac:spMkLst>
        </pc:spChg>
        <pc:spChg chg="mod">
          <ac:chgData name="Veniero Facchetti" userId="f2c6c99af91c4974" providerId="LiveId" clId="{34DF7D6B-EB0F-4B53-B080-BB8D6F5C3D93}" dt="2024-05-10T15:59:06.916" v="525" actId="1076"/>
          <ac:spMkLst>
            <pc:docMk/>
            <pc:sldMk cId="3622079443" sldId="345"/>
            <ac:spMk id="148" creationId="{05E67A2F-A4AA-F371-95E3-F6F1BB2D0C51}"/>
          </ac:spMkLst>
        </pc:spChg>
        <pc:spChg chg="mod">
          <ac:chgData name="Veniero Facchetti" userId="f2c6c99af91c4974" providerId="LiveId" clId="{34DF7D6B-EB0F-4B53-B080-BB8D6F5C3D93}" dt="2024-05-10T15:59:06.916" v="525" actId="1076"/>
          <ac:spMkLst>
            <pc:docMk/>
            <pc:sldMk cId="3622079443" sldId="345"/>
            <ac:spMk id="149" creationId="{9C177DC6-70FB-CEC0-38FF-EDDE63D22D16}"/>
          </ac:spMkLst>
        </pc:spChg>
        <pc:spChg chg="mod">
          <ac:chgData name="Veniero Facchetti" userId="f2c6c99af91c4974" providerId="LiveId" clId="{34DF7D6B-EB0F-4B53-B080-BB8D6F5C3D93}" dt="2024-05-10T15:59:06.916" v="525" actId="1076"/>
          <ac:spMkLst>
            <pc:docMk/>
            <pc:sldMk cId="3622079443" sldId="345"/>
            <ac:spMk id="151" creationId="{F09C1C2D-7BEC-7568-7350-7886644C1EF5}"/>
          </ac:spMkLst>
        </pc:spChg>
        <pc:spChg chg="mod">
          <ac:chgData name="Veniero Facchetti" userId="f2c6c99af91c4974" providerId="LiveId" clId="{34DF7D6B-EB0F-4B53-B080-BB8D6F5C3D93}" dt="2024-05-10T15:59:06.916" v="525" actId="1076"/>
          <ac:spMkLst>
            <pc:docMk/>
            <pc:sldMk cId="3622079443" sldId="345"/>
            <ac:spMk id="152" creationId="{E9988B14-CFA9-80B4-6D1A-EFACEC11D443}"/>
          </ac:spMkLst>
        </pc:spChg>
        <pc:spChg chg="mod">
          <ac:chgData name="Veniero Facchetti" userId="f2c6c99af91c4974" providerId="LiveId" clId="{34DF7D6B-EB0F-4B53-B080-BB8D6F5C3D93}" dt="2024-05-10T15:59:06.916" v="525" actId="1076"/>
          <ac:spMkLst>
            <pc:docMk/>
            <pc:sldMk cId="3622079443" sldId="345"/>
            <ac:spMk id="153" creationId="{365301B6-6C0B-3782-7713-4870ACEF9F6C}"/>
          </ac:spMkLst>
        </pc:spChg>
        <pc:spChg chg="mod">
          <ac:chgData name="Veniero Facchetti" userId="f2c6c99af91c4974" providerId="LiveId" clId="{34DF7D6B-EB0F-4B53-B080-BB8D6F5C3D93}" dt="2024-05-10T15:59:06.916" v="525" actId="1076"/>
          <ac:spMkLst>
            <pc:docMk/>
            <pc:sldMk cId="3622079443" sldId="345"/>
            <ac:spMk id="154" creationId="{2C497570-C448-7A1D-8BF7-528EC4135BFE}"/>
          </ac:spMkLst>
        </pc:spChg>
        <pc:spChg chg="mod">
          <ac:chgData name="Veniero Facchetti" userId="f2c6c99af91c4974" providerId="LiveId" clId="{34DF7D6B-EB0F-4B53-B080-BB8D6F5C3D93}" dt="2024-05-10T15:59:06.916" v="525" actId="1076"/>
          <ac:spMkLst>
            <pc:docMk/>
            <pc:sldMk cId="3622079443" sldId="345"/>
            <ac:spMk id="155" creationId="{D014D4A9-9778-3614-2AB5-24C7C91ADACE}"/>
          </ac:spMkLst>
        </pc:spChg>
        <pc:spChg chg="mod">
          <ac:chgData name="Veniero Facchetti" userId="f2c6c99af91c4974" providerId="LiveId" clId="{34DF7D6B-EB0F-4B53-B080-BB8D6F5C3D93}" dt="2024-05-10T15:59:06.916" v="525" actId="1076"/>
          <ac:spMkLst>
            <pc:docMk/>
            <pc:sldMk cId="3622079443" sldId="345"/>
            <ac:spMk id="156" creationId="{886DBFF9-DF10-B488-3A70-D7FB1847D121}"/>
          </ac:spMkLst>
        </pc:spChg>
        <pc:spChg chg="mod">
          <ac:chgData name="Veniero Facchetti" userId="f2c6c99af91c4974" providerId="LiveId" clId="{34DF7D6B-EB0F-4B53-B080-BB8D6F5C3D93}" dt="2024-05-10T15:59:06.916" v="525" actId="1076"/>
          <ac:spMkLst>
            <pc:docMk/>
            <pc:sldMk cId="3622079443" sldId="345"/>
            <ac:spMk id="157" creationId="{5F1628CA-AC73-4FBC-4E29-639E13866203}"/>
          </ac:spMkLst>
        </pc:spChg>
        <pc:spChg chg="mod">
          <ac:chgData name="Veniero Facchetti" userId="f2c6c99af91c4974" providerId="LiveId" clId="{34DF7D6B-EB0F-4B53-B080-BB8D6F5C3D93}" dt="2024-05-10T15:59:06.916" v="525" actId="1076"/>
          <ac:spMkLst>
            <pc:docMk/>
            <pc:sldMk cId="3622079443" sldId="345"/>
            <ac:spMk id="158" creationId="{1DF8B374-BBDE-54F2-FC90-DCDFF67250F5}"/>
          </ac:spMkLst>
        </pc:spChg>
        <pc:spChg chg="mod">
          <ac:chgData name="Veniero Facchetti" userId="f2c6c99af91c4974" providerId="LiveId" clId="{34DF7D6B-EB0F-4B53-B080-BB8D6F5C3D93}" dt="2024-05-10T15:59:06.916" v="525" actId="1076"/>
          <ac:spMkLst>
            <pc:docMk/>
            <pc:sldMk cId="3622079443" sldId="345"/>
            <ac:spMk id="159" creationId="{FF821F5E-EBD1-30E9-711B-8AB0FF26511B}"/>
          </ac:spMkLst>
        </pc:spChg>
        <pc:spChg chg="mod">
          <ac:chgData name="Veniero Facchetti" userId="f2c6c99af91c4974" providerId="LiveId" clId="{34DF7D6B-EB0F-4B53-B080-BB8D6F5C3D93}" dt="2024-05-10T15:59:06.916" v="525" actId="1076"/>
          <ac:spMkLst>
            <pc:docMk/>
            <pc:sldMk cId="3622079443" sldId="345"/>
            <ac:spMk id="161" creationId="{3BB9C52B-EF8D-DD28-04A1-9F052E03D994}"/>
          </ac:spMkLst>
        </pc:spChg>
        <pc:spChg chg="mod">
          <ac:chgData name="Veniero Facchetti" userId="f2c6c99af91c4974" providerId="LiveId" clId="{34DF7D6B-EB0F-4B53-B080-BB8D6F5C3D93}" dt="2024-05-10T15:59:06.916" v="525" actId="1076"/>
          <ac:spMkLst>
            <pc:docMk/>
            <pc:sldMk cId="3622079443" sldId="345"/>
            <ac:spMk id="162" creationId="{CF848B67-3F3C-985D-0C33-F8FACA2C8085}"/>
          </ac:spMkLst>
        </pc:spChg>
        <pc:spChg chg="mod">
          <ac:chgData name="Veniero Facchetti" userId="f2c6c99af91c4974" providerId="LiveId" clId="{34DF7D6B-EB0F-4B53-B080-BB8D6F5C3D93}" dt="2024-05-10T15:59:06.916" v="525" actId="1076"/>
          <ac:spMkLst>
            <pc:docMk/>
            <pc:sldMk cId="3622079443" sldId="345"/>
            <ac:spMk id="163" creationId="{18D98118-6282-8094-FF66-753BC033D899}"/>
          </ac:spMkLst>
        </pc:spChg>
        <pc:spChg chg="mod">
          <ac:chgData name="Veniero Facchetti" userId="f2c6c99af91c4974" providerId="LiveId" clId="{34DF7D6B-EB0F-4B53-B080-BB8D6F5C3D93}" dt="2024-05-10T15:59:06.916" v="525" actId="1076"/>
          <ac:spMkLst>
            <pc:docMk/>
            <pc:sldMk cId="3622079443" sldId="345"/>
            <ac:spMk id="164" creationId="{E179FD25-7897-D1C5-0EF2-E8F9142661A1}"/>
          </ac:spMkLst>
        </pc:spChg>
        <pc:spChg chg="mod">
          <ac:chgData name="Veniero Facchetti" userId="f2c6c99af91c4974" providerId="LiveId" clId="{34DF7D6B-EB0F-4B53-B080-BB8D6F5C3D93}" dt="2024-05-10T15:59:06.916" v="525" actId="1076"/>
          <ac:spMkLst>
            <pc:docMk/>
            <pc:sldMk cId="3622079443" sldId="345"/>
            <ac:spMk id="165" creationId="{35D51D11-9D40-8F28-F079-E9494F84A7EC}"/>
          </ac:spMkLst>
        </pc:spChg>
        <pc:spChg chg="mod">
          <ac:chgData name="Veniero Facchetti" userId="f2c6c99af91c4974" providerId="LiveId" clId="{34DF7D6B-EB0F-4B53-B080-BB8D6F5C3D93}" dt="2024-05-10T15:59:06.916" v="525" actId="1076"/>
          <ac:spMkLst>
            <pc:docMk/>
            <pc:sldMk cId="3622079443" sldId="345"/>
            <ac:spMk id="166" creationId="{0E4D613A-6620-BA14-FBBB-1F55FC02614E}"/>
          </ac:spMkLst>
        </pc:spChg>
        <pc:spChg chg="mod">
          <ac:chgData name="Veniero Facchetti" userId="f2c6c99af91c4974" providerId="LiveId" clId="{34DF7D6B-EB0F-4B53-B080-BB8D6F5C3D93}" dt="2024-05-10T15:59:06.916" v="525" actId="1076"/>
          <ac:spMkLst>
            <pc:docMk/>
            <pc:sldMk cId="3622079443" sldId="345"/>
            <ac:spMk id="167" creationId="{6C05C008-C56E-E6CB-C76C-8C09B1FAA888}"/>
          </ac:spMkLst>
        </pc:spChg>
        <pc:spChg chg="mod">
          <ac:chgData name="Veniero Facchetti" userId="f2c6c99af91c4974" providerId="LiveId" clId="{34DF7D6B-EB0F-4B53-B080-BB8D6F5C3D93}" dt="2024-05-10T15:59:06.916" v="525" actId="1076"/>
          <ac:spMkLst>
            <pc:docMk/>
            <pc:sldMk cId="3622079443" sldId="345"/>
            <ac:spMk id="168" creationId="{D26A275A-398D-3128-E07C-0226CF9683B2}"/>
          </ac:spMkLst>
        </pc:spChg>
        <pc:spChg chg="mod">
          <ac:chgData name="Veniero Facchetti" userId="f2c6c99af91c4974" providerId="LiveId" clId="{34DF7D6B-EB0F-4B53-B080-BB8D6F5C3D93}" dt="2024-05-10T15:59:06.916" v="525" actId="1076"/>
          <ac:spMkLst>
            <pc:docMk/>
            <pc:sldMk cId="3622079443" sldId="345"/>
            <ac:spMk id="169" creationId="{8377EA89-2DDF-4B56-4B59-2FFC8982E26E}"/>
          </ac:spMkLst>
        </pc:spChg>
        <pc:spChg chg="mod">
          <ac:chgData name="Veniero Facchetti" userId="f2c6c99af91c4974" providerId="LiveId" clId="{34DF7D6B-EB0F-4B53-B080-BB8D6F5C3D93}" dt="2024-05-10T15:59:06.916" v="525" actId="1076"/>
          <ac:spMkLst>
            <pc:docMk/>
            <pc:sldMk cId="3622079443" sldId="345"/>
            <ac:spMk id="170" creationId="{2B5E2811-0AA2-9377-A596-B55C1E8DA424}"/>
          </ac:spMkLst>
        </pc:spChg>
        <pc:spChg chg="mod">
          <ac:chgData name="Veniero Facchetti" userId="f2c6c99af91c4974" providerId="LiveId" clId="{34DF7D6B-EB0F-4B53-B080-BB8D6F5C3D93}" dt="2024-05-10T15:59:06.916" v="525" actId="1076"/>
          <ac:spMkLst>
            <pc:docMk/>
            <pc:sldMk cId="3622079443" sldId="345"/>
            <ac:spMk id="171" creationId="{9D4F5FC5-4E67-EA67-7CEF-41E76246088A}"/>
          </ac:spMkLst>
        </pc:spChg>
        <pc:spChg chg="mod">
          <ac:chgData name="Veniero Facchetti" userId="f2c6c99af91c4974" providerId="LiveId" clId="{34DF7D6B-EB0F-4B53-B080-BB8D6F5C3D93}" dt="2024-05-10T15:59:06.916" v="525" actId="1076"/>
          <ac:spMkLst>
            <pc:docMk/>
            <pc:sldMk cId="3622079443" sldId="345"/>
            <ac:spMk id="172" creationId="{8E8D0190-E078-A214-071B-6E8B54E958F8}"/>
          </ac:spMkLst>
        </pc:spChg>
        <pc:spChg chg="mod">
          <ac:chgData name="Veniero Facchetti" userId="f2c6c99af91c4974" providerId="LiveId" clId="{34DF7D6B-EB0F-4B53-B080-BB8D6F5C3D93}" dt="2024-05-10T15:59:06.916" v="525" actId="1076"/>
          <ac:spMkLst>
            <pc:docMk/>
            <pc:sldMk cId="3622079443" sldId="345"/>
            <ac:spMk id="173" creationId="{2CFE7DAD-1D2F-E252-E152-AF3F3E51EC6B}"/>
          </ac:spMkLst>
        </pc:spChg>
        <pc:spChg chg="mod">
          <ac:chgData name="Veniero Facchetti" userId="f2c6c99af91c4974" providerId="LiveId" clId="{34DF7D6B-EB0F-4B53-B080-BB8D6F5C3D93}" dt="2024-05-10T15:59:06.916" v="525" actId="1076"/>
          <ac:spMkLst>
            <pc:docMk/>
            <pc:sldMk cId="3622079443" sldId="345"/>
            <ac:spMk id="174" creationId="{D2F97F7F-D51E-ED15-5454-82A380158FBD}"/>
          </ac:spMkLst>
        </pc:spChg>
        <pc:spChg chg="mod">
          <ac:chgData name="Veniero Facchetti" userId="f2c6c99af91c4974" providerId="LiveId" clId="{34DF7D6B-EB0F-4B53-B080-BB8D6F5C3D93}" dt="2024-05-10T15:59:06.916" v="525" actId="1076"/>
          <ac:spMkLst>
            <pc:docMk/>
            <pc:sldMk cId="3622079443" sldId="345"/>
            <ac:spMk id="175" creationId="{8214C961-8396-5804-7439-8D52AE44A6FF}"/>
          </ac:spMkLst>
        </pc:spChg>
        <pc:spChg chg="mod">
          <ac:chgData name="Veniero Facchetti" userId="f2c6c99af91c4974" providerId="LiveId" clId="{34DF7D6B-EB0F-4B53-B080-BB8D6F5C3D93}" dt="2024-05-10T15:59:06.916" v="525" actId="1076"/>
          <ac:spMkLst>
            <pc:docMk/>
            <pc:sldMk cId="3622079443" sldId="345"/>
            <ac:spMk id="176" creationId="{45ABEA18-321C-F960-BC7F-9F838E2583DF}"/>
          </ac:spMkLst>
        </pc:spChg>
        <pc:spChg chg="mod">
          <ac:chgData name="Veniero Facchetti" userId="f2c6c99af91c4974" providerId="LiveId" clId="{34DF7D6B-EB0F-4B53-B080-BB8D6F5C3D93}" dt="2024-05-10T15:59:06.916" v="525" actId="1076"/>
          <ac:spMkLst>
            <pc:docMk/>
            <pc:sldMk cId="3622079443" sldId="345"/>
            <ac:spMk id="177" creationId="{9348CA56-CF61-AB1F-5717-ABEC38E74228}"/>
          </ac:spMkLst>
        </pc:spChg>
        <pc:spChg chg="mod">
          <ac:chgData name="Veniero Facchetti" userId="f2c6c99af91c4974" providerId="LiveId" clId="{34DF7D6B-EB0F-4B53-B080-BB8D6F5C3D93}" dt="2024-05-10T15:59:06.916" v="525" actId="1076"/>
          <ac:spMkLst>
            <pc:docMk/>
            <pc:sldMk cId="3622079443" sldId="345"/>
            <ac:spMk id="178" creationId="{ABCE8BA0-C62E-9EC4-159A-FF5D90A2483F}"/>
          </ac:spMkLst>
        </pc:spChg>
        <pc:spChg chg="mod">
          <ac:chgData name="Veniero Facchetti" userId="f2c6c99af91c4974" providerId="LiveId" clId="{34DF7D6B-EB0F-4B53-B080-BB8D6F5C3D93}" dt="2024-05-10T15:59:06.916" v="525" actId="1076"/>
          <ac:spMkLst>
            <pc:docMk/>
            <pc:sldMk cId="3622079443" sldId="345"/>
            <ac:spMk id="179" creationId="{AF92747C-1C2D-99F3-3736-7681FF977701}"/>
          </ac:spMkLst>
        </pc:spChg>
        <pc:spChg chg="mod">
          <ac:chgData name="Veniero Facchetti" userId="f2c6c99af91c4974" providerId="LiveId" clId="{34DF7D6B-EB0F-4B53-B080-BB8D6F5C3D93}" dt="2024-05-10T15:59:06.916" v="525" actId="1076"/>
          <ac:spMkLst>
            <pc:docMk/>
            <pc:sldMk cId="3622079443" sldId="345"/>
            <ac:spMk id="180" creationId="{F47BEA66-1795-1EC8-D849-4728B6932780}"/>
          </ac:spMkLst>
        </pc:spChg>
        <pc:spChg chg="mod">
          <ac:chgData name="Veniero Facchetti" userId="f2c6c99af91c4974" providerId="LiveId" clId="{34DF7D6B-EB0F-4B53-B080-BB8D6F5C3D93}" dt="2024-05-10T15:59:06.916" v="525" actId="1076"/>
          <ac:spMkLst>
            <pc:docMk/>
            <pc:sldMk cId="3622079443" sldId="345"/>
            <ac:spMk id="181" creationId="{49DA0EA7-E25E-F428-F891-B977992F0D38}"/>
          </ac:spMkLst>
        </pc:spChg>
        <pc:spChg chg="mod">
          <ac:chgData name="Veniero Facchetti" userId="f2c6c99af91c4974" providerId="LiveId" clId="{34DF7D6B-EB0F-4B53-B080-BB8D6F5C3D93}" dt="2024-05-10T15:59:06.916" v="525" actId="1076"/>
          <ac:spMkLst>
            <pc:docMk/>
            <pc:sldMk cId="3622079443" sldId="345"/>
            <ac:spMk id="182" creationId="{440995A2-C3D3-9934-88F5-17C6B41248D3}"/>
          </ac:spMkLst>
        </pc:spChg>
        <pc:spChg chg="mod">
          <ac:chgData name="Veniero Facchetti" userId="f2c6c99af91c4974" providerId="LiveId" clId="{34DF7D6B-EB0F-4B53-B080-BB8D6F5C3D93}" dt="2024-05-10T15:59:06.916" v="525" actId="1076"/>
          <ac:spMkLst>
            <pc:docMk/>
            <pc:sldMk cId="3622079443" sldId="345"/>
            <ac:spMk id="183" creationId="{68B896C0-16CA-8A25-B2A1-1ED36EB3EFC9}"/>
          </ac:spMkLst>
        </pc:spChg>
        <pc:spChg chg="mod">
          <ac:chgData name="Veniero Facchetti" userId="f2c6c99af91c4974" providerId="LiveId" clId="{34DF7D6B-EB0F-4B53-B080-BB8D6F5C3D93}" dt="2024-05-10T15:59:06.916" v="525" actId="1076"/>
          <ac:spMkLst>
            <pc:docMk/>
            <pc:sldMk cId="3622079443" sldId="345"/>
            <ac:spMk id="184" creationId="{081099FE-4CCF-8333-7760-08A2B33ED098}"/>
          </ac:spMkLst>
        </pc:spChg>
        <pc:spChg chg="mod">
          <ac:chgData name="Veniero Facchetti" userId="f2c6c99af91c4974" providerId="LiveId" clId="{34DF7D6B-EB0F-4B53-B080-BB8D6F5C3D93}" dt="2024-05-10T15:59:06.916" v="525" actId="1076"/>
          <ac:spMkLst>
            <pc:docMk/>
            <pc:sldMk cId="3622079443" sldId="345"/>
            <ac:spMk id="185" creationId="{F9F1AC48-3A44-B240-0A57-1B83964179F5}"/>
          </ac:spMkLst>
        </pc:spChg>
        <pc:spChg chg="mod">
          <ac:chgData name="Veniero Facchetti" userId="f2c6c99af91c4974" providerId="LiveId" clId="{34DF7D6B-EB0F-4B53-B080-BB8D6F5C3D93}" dt="2024-05-10T15:59:06.916" v="525" actId="1076"/>
          <ac:spMkLst>
            <pc:docMk/>
            <pc:sldMk cId="3622079443" sldId="345"/>
            <ac:spMk id="186" creationId="{1B37A085-452C-986B-83F3-CDDAD4DAC778}"/>
          </ac:spMkLst>
        </pc:spChg>
        <pc:spChg chg="mod">
          <ac:chgData name="Veniero Facchetti" userId="f2c6c99af91c4974" providerId="LiveId" clId="{34DF7D6B-EB0F-4B53-B080-BB8D6F5C3D93}" dt="2024-05-10T15:59:06.916" v="525" actId="1076"/>
          <ac:spMkLst>
            <pc:docMk/>
            <pc:sldMk cId="3622079443" sldId="345"/>
            <ac:spMk id="187" creationId="{5EBA9281-11D6-8532-EF77-CADD461C64E3}"/>
          </ac:spMkLst>
        </pc:spChg>
        <pc:spChg chg="mod">
          <ac:chgData name="Veniero Facchetti" userId="f2c6c99af91c4974" providerId="LiveId" clId="{34DF7D6B-EB0F-4B53-B080-BB8D6F5C3D93}" dt="2024-05-10T15:59:06.916" v="525" actId="1076"/>
          <ac:spMkLst>
            <pc:docMk/>
            <pc:sldMk cId="3622079443" sldId="345"/>
            <ac:spMk id="188" creationId="{CC7E9C02-1863-598C-8AF8-EF49A2E08747}"/>
          </ac:spMkLst>
        </pc:spChg>
        <pc:spChg chg="mod">
          <ac:chgData name="Veniero Facchetti" userId="f2c6c99af91c4974" providerId="LiveId" clId="{34DF7D6B-EB0F-4B53-B080-BB8D6F5C3D93}" dt="2024-05-10T15:59:06.916" v="525" actId="1076"/>
          <ac:spMkLst>
            <pc:docMk/>
            <pc:sldMk cId="3622079443" sldId="345"/>
            <ac:spMk id="189" creationId="{0E31ED25-C502-4165-7584-9627A116D73D}"/>
          </ac:spMkLst>
        </pc:spChg>
        <pc:spChg chg="mod">
          <ac:chgData name="Veniero Facchetti" userId="f2c6c99af91c4974" providerId="LiveId" clId="{34DF7D6B-EB0F-4B53-B080-BB8D6F5C3D93}" dt="2024-05-10T15:59:06.916" v="525" actId="1076"/>
          <ac:spMkLst>
            <pc:docMk/>
            <pc:sldMk cId="3622079443" sldId="345"/>
            <ac:spMk id="190" creationId="{AEC563D3-CA1A-8085-5C1C-AAF121B53A61}"/>
          </ac:spMkLst>
        </pc:spChg>
        <pc:spChg chg="mod">
          <ac:chgData name="Veniero Facchetti" userId="f2c6c99af91c4974" providerId="LiveId" clId="{34DF7D6B-EB0F-4B53-B080-BB8D6F5C3D93}" dt="2024-05-10T15:59:06.916" v="525" actId="1076"/>
          <ac:spMkLst>
            <pc:docMk/>
            <pc:sldMk cId="3622079443" sldId="345"/>
            <ac:spMk id="191" creationId="{1406E279-7F4D-4526-E9B7-B46222D66C9C}"/>
          </ac:spMkLst>
        </pc:spChg>
        <pc:spChg chg="mod">
          <ac:chgData name="Veniero Facchetti" userId="f2c6c99af91c4974" providerId="LiveId" clId="{34DF7D6B-EB0F-4B53-B080-BB8D6F5C3D93}" dt="2024-05-10T15:59:06.916" v="525" actId="1076"/>
          <ac:spMkLst>
            <pc:docMk/>
            <pc:sldMk cId="3622079443" sldId="345"/>
            <ac:spMk id="192" creationId="{AD72E6BE-E23A-F0A1-76C7-F0565FA33F2F}"/>
          </ac:spMkLst>
        </pc:spChg>
        <pc:spChg chg="mod">
          <ac:chgData name="Veniero Facchetti" userId="f2c6c99af91c4974" providerId="LiveId" clId="{34DF7D6B-EB0F-4B53-B080-BB8D6F5C3D93}" dt="2024-05-10T15:59:06.916" v="525" actId="1076"/>
          <ac:spMkLst>
            <pc:docMk/>
            <pc:sldMk cId="3622079443" sldId="345"/>
            <ac:spMk id="193" creationId="{2B2DE543-83C7-BBBB-0B47-2AADFE1D2208}"/>
          </ac:spMkLst>
        </pc:spChg>
        <pc:spChg chg="mod">
          <ac:chgData name="Veniero Facchetti" userId="f2c6c99af91c4974" providerId="LiveId" clId="{34DF7D6B-EB0F-4B53-B080-BB8D6F5C3D93}" dt="2024-05-10T15:59:06.916" v="525" actId="1076"/>
          <ac:spMkLst>
            <pc:docMk/>
            <pc:sldMk cId="3622079443" sldId="345"/>
            <ac:spMk id="194" creationId="{C0C0DB4D-1173-64E4-77E0-DBB40128CC7F}"/>
          </ac:spMkLst>
        </pc:spChg>
        <pc:spChg chg="mod">
          <ac:chgData name="Veniero Facchetti" userId="f2c6c99af91c4974" providerId="LiveId" clId="{34DF7D6B-EB0F-4B53-B080-BB8D6F5C3D93}" dt="2024-05-10T15:59:06.916" v="525" actId="1076"/>
          <ac:spMkLst>
            <pc:docMk/>
            <pc:sldMk cId="3622079443" sldId="345"/>
            <ac:spMk id="195" creationId="{FEDD9C8D-565D-4C3E-7ED2-1DFC889A432A}"/>
          </ac:spMkLst>
        </pc:spChg>
        <pc:spChg chg="mod">
          <ac:chgData name="Veniero Facchetti" userId="f2c6c99af91c4974" providerId="LiveId" clId="{34DF7D6B-EB0F-4B53-B080-BB8D6F5C3D93}" dt="2024-05-10T15:59:06.916" v="525" actId="1076"/>
          <ac:spMkLst>
            <pc:docMk/>
            <pc:sldMk cId="3622079443" sldId="345"/>
            <ac:spMk id="196" creationId="{0AEF70D4-5838-CC7D-B447-A6ABB594D945}"/>
          </ac:spMkLst>
        </pc:spChg>
        <pc:spChg chg="add mod">
          <ac:chgData name="Veniero Facchetti" userId="f2c6c99af91c4974" providerId="LiveId" clId="{34DF7D6B-EB0F-4B53-B080-BB8D6F5C3D93}" dt="2024-05-10T15:59:06.916" v="525" actId="1076"/>
          <ac:spMkLst>
            <pc:docMk/>
            <pc:sldMk cId="3622079443" sldId="345"/>
            <ac:spMk id="197" creationId="{30307718-777F-7C4A-96CD-425D038C8FBA}"/>
          </ac:spMkLst>
        </pc:spChg>
        <pc:spChg chg="add mod">
          <ac:chgData name="Veniero Facchetti" userId="f2c6c99af91c4974" providerId="LiveId" clId="{34DF7D6B-EB0F-4B53-B080-BB8D6F5C3D93}" dt="2024-05-10T15:59:06.916" v="525" actId="1076"/>
          <ac:spMkLst>
            <pc:docMk/>
            <pc:sldMk cId="3622079443" sldId="345"/>
            <ac:spMk id="198" creationId="{FBEF620B-AAC0-CCA9-CE28-DA86731084CA}"/>
          </ac:spMkLst>
        </pc:spChg>
        <pc:spChg chg="add mod">
          <ac:chgData name="Veniero Facchetti" userId="f2c6c99af91c4974" providerId="LiveId" clId="{34DF7D6B-EB0F-4B53-B080-BB8D6F5C3D93}" dt="2024-05-10T15:59:06.916" v="525" actId="1076"/>
          <ac:spMkLst>
            <pc:docMk/>
            <pc:sldMk cId="3622079443" sldId="345"/>
            <ac:spMk id="199" creationId="{991F046A-9CD8-B36F-517D-D16F6F6A63BD}"/>
          </ac:spMkLst>
        </pc:spChg>
        <pc:spChg chg="add mod">
          <ac:chgData name="Veniero Facchetti" userId="f2c6c99af91c4974" providerId="LiveId" clId="{34DF7D6B-EB0F-4B53-B080-BB8D6F5C3D93}" dt="2024-05-10T15:59:06.916" v="525" actId="1076"/>
          <ac:spMkLst>
            <pc:docMk/>
            <pc:sldMk cId="3622079443" sldId="345"/>
            <ac:spMk id="201" creationId="{DAE92455-3028-C5C3-8D1C-225D370A92C7}"/>
          </ac:spMkLst>
        </pc:spChg>
        <pc:spChg chg="add mod">
          <ac:chgData name="Veniero Facchetti" userId="f2c6c99af91c4974" providerId="LiveId" clId="{34DF7D6B-EB0F-4B53-B080-BB8D6F5C3D93}" dt="2024-05-10T15:59:06.916" v="525" actId="1076"/>
          <ac:spMkLst>
            <pc:docMk/>
            <pc:sldMk cId="3622079443" sldId="345"/>
            <ac:spMk id="202" creationId="{8D199B45-FAB7-D18C-E207-42EDC3221AA6}"/>
          </ac:spMkLst>
        </pc:spChg>
        <pc:spChg chg="add mod">
          <ac:chgData name="Veniero Facchetti" userId="f2c6c99af91c4974" providerId="LiveId" clId="{34DF7D6B-EB0F-4B53-B080-BB8D6F5C3D93}" dt="2024-05-10T15:59:06.916" v="525" actId="1076"/>
          <ac:spMkLst>
            <pc:docMk/>
            <pc:sldMk cId="3622079443" sldId="345"/>
            <ac:spMk id="203" creationId="{9661C330-91BF-68D3-A873-7BD8825841A1}"/>
          </ac:spMkLst>
        </pc:spChg>
        <pc:spChg chg="add mod">
          <ac:chgData name="Veniero Facchetti" userId="f2c6c99af91c4974" providerId="LiveId" clId="{34DF7D6B-EB0F-4B53-B080-BB8D6F5C3D93}" dt="2024-05-10T15:59:06.916" v="525" actId="1076"/>
          <ac:spMkLst>
            <pc:docMk/>
            <pc:sldMk cId="3622079443" sldId="345"/>
            <ac:spMk id="204" creationId="{6123CD5F-0E11-F22B-056C-537958B25213}"/>
          </ac:spMkLst>
        </pc:spChg>
        <pc:spChg chg="add mod">
          <ac:chgData name="Veniero Facchetti" userId="f2c6c99af91c4974" providerId="LiveId" clId="{34DF7D6B-EB0F-4B53-B080-BB8D6F5C3D93}" dt="2024-05-10T15:59:06.916" v="525" actId="1076"/>
          <ac:spMkLst>
            <pc:docMk/>
            <pc:sldMk cId="3622079443" sldId="345"/>
            <ac:spMk id="205" creationId="{1C0603E9-6408-289B-6B61-0529DD714C69}"/>
          </ac:spMkLst>
        </pc:spChg>
        <pc:spChg chg="mod">
          <ac:chgData name="Veniero Facchetti" userId="f2c6c99af91c4974" providerId="LiveId" clId="{34DF7D6B-EB0F-4B53-B080-BB8D6F5C3D93}" dt="2024-05-10T15:59:06.916" v="525" actId="1076"/>
          <ac:spMkLst>
            <pc:docMk/>
            <pc:sldMk cId="3622079443" sldId="345"/>
            <ac:spMk id="207" creationId="{764B6130-921F-FE12-6ADB-1764E50E7A3B}"/>
          </ac:spMkLst>
        </pc:spChg>
        <pc:spChg chg="mod">
          <ac:chgData name="Veniero Facchetti" userId="f2c6c99af91c4974" providerId="LiveId" clId="{34DF7D6B-EB0F-4B53-B080-BB8D6F5C3D93}" dt="2024-05-10T15:59:06.916" v="525" actId="1076"/>
          <ac:spMkLst>
            <pc:docMk/>
            <pc:sldMk cId="3622079443" sldId="345"/>
            <ac:spMk id="208" creationId="{BB6FA0F2-DB14-BAFF-2B47-E8D6906313FC}"/>
          </ac:spMkLst>
        </pc:spChg>
        <pc:spChg chg="mod">
          <ac:chgData name="Veniero Facchetti" userId="f2c6c99af91c4974" providerId="LiveId" clId="{34DF7D6B-EB0F-4B53-B080-BB8D6F5C3D93}" dt="2024-05-10T15:59:06.916" v="525" actId="1076"/>
          <ac:spMkLst>
            <pc:docMk/>
            <pc:sldMk cId="3622079443" sldId="345"/>
            <ac:spMk id="209" creationId="{1FB1D149-D25A-4FE0-DE54-158D3EA1E286}"/>
          </ac:spMkLst>
        </pc:spChg>
        <pc:spChg chg="add mod">
          <ac:chgData name="Veniero Facchetti" userId="f2c6c99af91c4974" providerId="LiveId" clId="{34DF7D6B-EB0F-4B53-B080-BB8D6F5C3D93}" dt="2024-05-10T15:59:06.916" v="525" actId="1076"/>
          <ac:spMkLst>
            <pc:docMk/>
            <pc:sldMk cId="3622079443" sldId="345"/>
            <ac:spMk id="210" creationId="{2E6CAE1B-B501-55EF-4427-2CB54444C18E}"/>
          </ac:spMkLst>
        </pc:spChg>
        <pc:spChg chg="add mod">
          <ac:chgData name="Veniero Facchetti" userId="f2c6c99af91c4974" providerId="LiveId" clId="{34DF7D6B-EB0F-4B53-B080-BB8D6F5C3D93}" dt="2024-05-10T15:59:06.916" v="525" actId="1076"/>
          <ac:spMkLst>
            <pc:docMk/>
            <pc:sldMk cId="3622079443" sldId="345"/>
            <ac:spMk id="211" creationId="{BCD3AC8D-7CF3-36CB-FF07-2B0B3F5337F3}"/>
          </ac:spMkLst>
        </pc:spChg>
        <pc:spChg chg="add mod">
          <ac:chgData name="Veniero Facchetti" userId="f2c6c99af91c4974" providerId="LiveId" clId="{34DF7D6B-EB0F-4B53-B080-BB8D6F5C3D93}" dt="2024-05-10T15:59:06.916" v="525" actId="1076"/>
          <ac:spMkLst>
            <pc:docMk/>
            <pc:sldMk cId="3622079443" sldId="345"/>
            <ac:spMk id="212" creationId="{D5FA68FE-8E1B-4AB1-95FC-F276A10DE97F}"/>
          </ac:spMkLst>
        </pc:spChg>
        <pc:spChg chg="mod">
          <ac:chgData name="Veniero Facchetti" userId="f2c6c99af91c4974" providerId="LiveId" clId="{34DF7D6B-EB0F-4B53-B080-BB8D6F5C3D93}" dt="2024-05-10T15:59:06.916" v="525" actId="1076"/>
          <ac:spMkLst>
            <pc:docMk/>
            <pc:sldMk cId="3622079443" sldId="345"/>
            <ac:spMk id="215" creationId="{C32AF5B2-1D82-D384-582A-BBA53C1E1549}"/>
          </ac:spMkLst>
        </pc:spChg>
        <pc:spChg chg="mod">
          <ac:chgData name="Veniero Facchetti" userId="f2c6c99af91c4974" providerId="LiveId" clId="{34DF7D6B-EB0F-4B53-B080-BB8D6F5C3D93}" dt="2024-05-10T15:59:06.916" v="525" actId="1076"/>
          <ac:spMkLst>
            <pc:docMk/>
            <pc:sldMk cId="3622079443" sldId="345"/>
            <ac:spMk id="216" creationId="{D0615AAC-C3E7-4770-C783-C807ECFDB406}"/>
          </ac:spMkLst>
        </pc:spChg>
        <pc:spChg chg="mod">
          <ac:chgData name="Veniero Facchetti" userId="f2c6c99af91c4974" providerId="LiveId" clId="{34DF7D6B-EB0F-4B53-B080-BB8D6F5C3D93}" dt="2024-05-10T15:59:06.916" v="525" actId="1076"/>
          <ac:spMkLst>
            <pc:docMk/>
            <pc:sldMk cId="3622079443" sldId="345"/>
            <ac:spMk id="217" creationId="{6BB00F62-4A91-3892-E592-4DD296725FE0}"/>
          </ac:spMkLst>
        </pc:spChg>
        <pc:spChg chg="mod">
          <ac:chgData name="Veniero Facchetti" userId="f2c6c99af91c4974" providerId="LiveId" clId="{34DF7D6B-EB0F-4B53-B080-BB8D6F5C3D93}" dt="2024-05-10T15:59:06.916" v="525" actId="1076"/>
          <ac:spMkLst>
            <pc:docMk/>
            <pc:sldMk cId="3622079443" sldId="345"/>
            <ac:spMk id="218" creationId="{CA14626A-1B3F-15E6-43B5-ECDC9459C136}"/>
          </ac:spMkLst>
        </pc:spChg>
        <pc:spChg chg="mod">
          <ac:chgData name="Veniero Facchetti" userId="f2c6c99af91c4974" providerId="LiveId" clId="{34DF7D6B-EB0F-4B53-B080-BB8D6F5C3D93}" dt="2024-05-10T15:59:06.916" v="525" actId="1076"/>
          <ac:spMkLst>
            <pc:docMk/>
            <pc:sldMk cId="3622079443" sldId="345"/>
            <ac:spMk id="219" creationId="{4F1CB8CE-10F2-87EB-3F8D-D5DA2818F43E}"/>
          </ac:spMkLst>
        </pc:spChg>
        <pc:spChg chg="mod">
          <ac:chgData name="Veniero Facchetti" userId="f2c6c99af91c4974" providerId="LiveId" clId="{34DF7D6B-EB0F-4B53-B080-BB8D6F5C3D93}" dt="2024-05-10T15:59:06.916" v="525" actId="1076"/>
          <ac:spMkLst>
            <pc:docMk/>
            <pc:sldMk cId="3622079443" sldId="345"/>
            <ac:spMk id="220" creationId="{CF944A9B-A379-E0B8-A8EA-28C6F81B5221}"/>
          </ac:spMkLst>
        </pc:spChg>
        <pc:spChg chg="mod">
          <ac:chgData name="Veniero Facchetti" userId="f2c6c99af91c4974" providerId="LiveId" clId="{34DF7D6B-EB0F-4B53-B080-BB8D6F5C3D93}" dt="2024-05-10T15:59:06.916" v="525" actId="1076"/>
          <ac:spMkLst>
            <pc:docMk/>
            <pc:sldMk cId="3622079443" sldId="345"/>
            <ac:spMk id="221" creationId="{12340A02-7DC9-A287-E34A-570A1923477A}"/>
          </ac:spMkLst>
        </pc:spChg>
        <pc:spChg chg="mod">
          <ac:chgData name="Veniero Facchetti" userId="f2c6c99af91c4974" providerId="LiveId" clId="{34DF7D6B-EB0F-4B53-B080-BB8D6F5C3D93}" dt="2024-05-10T15:59:06.916" v="525" actId="1076"/>
          <ac:spMkLst>
            <pc:docMk/>
            <pc:sldMk cId="3622079443" sldId="345"/>
            <ac:spMk id="222" creationId="{D6E8134B-2EDB-4CCB-CFD4-BA3D80804D5F}"/>
          </ac:spMkLst>
        </pc:spChg>
        <pc:spChg chg="mod">
          <ac:chgData name="Veniero Facchetti" userId="f2c6c99af91c4974" providerId="LiveId" clId="{34DF7D6B-EB0F-4B53-B080-BB8D6F5C3D93}" dt="2024-05-10T15:59:06.916" v="525" actId="1076"/>
          <ac:spMkLst>
            <pc:docMk/>
            <pc:sldMk cId="3622079443" sldId="345"/>
            <ac:spMk id="223" creationId="{AB8724DD-BD6E-3C89-01DF-4EF381303AE2}"/>
          </ac:spMkLst>
        </pc:spChg>
        <pc:spChg chg="mod">
          <ac:chgData name="Veniero Facchetti" userId="f2c6c99af91c4974" providerId="LiveId" clId="{34DF7D6B-EB0F-4B53-B080-BB8D6F5C3D93}" dt="2024-05-10T15:59:06.916" v="525" actId="1076"/>
          <ac:spMkLst>
            <pc:docMk/>
            <pc:sldMk cId="3622079443" sldId="345"/>
            <ac:spMk id="224" creationId="{A259B92C-AC84-9084-46A1-9B22C2B9270C}"/>
          </ac:spMkLst>
        </pc:spChg>
        <pc:spChg chg="mod">
          <ac:chgData name="Veniero Facchetti" userId="f2c6c99af91c4974" providerId="LiveId" clId="{34DF7D6B-EB0F-4B53-B080-BB8D6F5C3D93}" dt="2024-05-10T15:59:06.916" v="525" actId="1076"/>
          <ac:spMkLst>
            <pc:docMk/>
            <pc:sldMk cId="3622079443" sldId="345"/>
            <ac:spMk id="225" creationId="{D2441A9D-3285-46ED-2B8F-31232C328E50}"/>
          </ac:spMkLst>
        </pc:spChg>
        <pc:spChg chg="mod">
          <ac:chgData name="Veniero Facchetti" userId="f2c6c99af91c4974" providerId="LiveId" clId="{34DF7D6B-EB0F-4B53-B080-BB8D6F5C3D93}" dt="2024-05-10T15:59:06.916" v="525" actId="1076"/>
          <ac:spMkLst>
            <pc:docMk/>
            <pc:sldMk cId="3622079443" sldId="345"/>
            <ac:spMk id="226" creationId="{A0507274-286B-642D-5F12-906E333DDAAE}"/>
          </ac:spMkLst>
        </pc:spChg>
        <pc:spChg chg="mod">
          <ac:chgData name="Veniero Facchetti" userId="f2c6c99af91c4974" providerId="LiveId" clId="{34DF7D6B-EB0F-4B53-B080-BB8D6F5C3D93}" dt="2024-05-10T15:59:06.916" v="525" actId="1076"/>
          <ac:spMkLst>
            <pc:docMk/>
            <pc:sldMk cId="3622079443" sldId="345"/>
            <ac:spMk id="227" creationId="{42B385A5-595A-7267-1444-72BC8961650F}"/>
          </ac:spMkLst>
        </pc:spChg>
        <pc:spChg chg="mod">
          <ac:chgData name="Veniero Facchetti" userId="f2c6c99af91c4974" providerId="LiveId" clId="{34DF7D6B-EB0F-4B53-B080-BB8D6F5C3D93}" dt="2024-05-10T15:59:06.916" v="525" actId="1076"/>
          <ac:spMkLst>
            <pc:docMk/>
            <pc:sldMk cId="3622079443" sldId="345"/>
            <ac:spMk id="228" creationId="{16FAD5A3-6DFC-0AD7-7375-50305CB0148C}"/>
          </ac:spMkLst>
        </pc:spChg>
        <pc:spChg chg="mod">
          <ac:chgData name="Veniero Facchetti" userId="f2c6c99af91c4974" providerId="LiveId" clId="{34DF7D6B-EB0F-4B53-B080-BB8D6F5C3D93}" dt="2024-05-10T15:59:06.916" v="525" actId="1076"/>
          <ac:spMkLst>
            <pc:docMk/>
            <pc:sldMk cId="3622079443" sldId="345"/>
            <ac:spMk id="229" creationId="{CC367656-44B2-7C7A-1641-F81587F8EB24}"/>
          </ac:spMkLst>
        </pc:spChg>
        <pc:spChg chg="mod">
          <ac:chgData name="Veniero Facchetti" userId="f2c6c99af91c4974" providerId="LiveId" clId="{34DF7D6B-EB0F-4B53-B080-BB8D6F5C3D93}" dt="2024-05-10T15:59:06.916" v="525" actId="1076"/>
          <ac:spMkLst>
            <pc:docMk/>
            <pc:sldMk cId="3622079443" sldId="345"/>
            <ac:spMk id="230" creationId="{1AB849FE-8483-617C-053F-071752DC00D0}"/>
          </ac:spMkLst>
        </pc:spChg>
        <pc:spChg chg="mod">
          <ac:chgData name="Veniero Facchetti" userId="f2c6c99af91c4974" providerId="LiveId" clId="{34DF7D6B-EB0F-4B53-B080-BB8D6F5C3D93}" dt="2024-05-10T15:59:06.916" v="525" actId="1076"/>
          <ac:spMkLst>
            <pc:docMk/>
            <pc:sldMk cId="3622079443" sldId="345"/>
            <ac:spMk id="231" creationId="{A608FF90-5E09-8A5C-4BD4-C9F51AEC0D3F}"/>
          </ac:spMkLst>
        </pc:spChg>
        <pc:spChg chg="mod">
          <ac:chgData name="Veniero Facchetti" userId="f2c6c99af91c4974" providerId="LiveId" clId="{34DF7D6B-EB0F-4B53-B080-BB8D6F5C3D93}" dt="2024-05-10T15:59:06.916" v="525" actId="1076"/>
          <ac:spMkLst>
            <pc:docMk/>
            <pc:sldMk cId="3622079443" sldId="345"/>
            <ac:spMk id="232" creationId="{CEB0DDEE-BCF9-28FC-89E7-179A6CFBA79A}"/>
          </ac:spMkLst>
        </pc:spChg>
        <pc:spChg chg="mod">
          <ac:chgData name="Veniero Facchetti" userId="f2c6c99af91c4974" providerId="LiveId" clId="{34DF7D6B-EB0F-4B53-B080-BB8D6F5C3D93}" dt="2024-05-10T15:59:06.916" v="525" actId="1076"/>
          <ac:spMkLst>
            <pc:docMk/>
            <pc:sldMk cId="3622079443" sldId="345"/>
            <ac:spMk id="233" creationId="{3A39C188-4413-7C26-2A4C-A49798E166C2}"/>
          </ac:spMkLst>
        </pc:spChg>
        <pc:spChg chg="add mod">
          <ac:chgData name="Veniero Facchetti" userId="f2c6c99af91c4974" providerId="LiveId" clId="{34DF7D6B-EB0F-4B53-B080-BB8D6F5C3D93}" dt="2024-05-10T15:59:06.916" v="525" actId="1076"/>
          <ac:spMkLst>
            <pc:docMk/>
            <pc:sldMk cId="3622079443" sldId="345"/>
            <ac:spMk id="234" creationId="{1D50240F-66A1-83CC-F5F7-663ECCB64C97}"/>
          </ac:spMkLst>
        </pc:spChg>
        <pc:spChg chg="add mod">
          <ac:chgData name="Veniero Facchetti" userId="f2c6c99af91c4974" providerId="LiveId" clId="{34DF7D6B-EB0F-4B53-B080-BB8D6F5C3D93}" dt="2024-05-10T15:59:06.916" v="525" actId="1076"/>
          <ac:spMkLst>
            <pc:docMk/>
            <pc:sldMk cId="3622079443" sldId="345"/>
            <ac:spMk id="235" creationId="{CCDA9D18-7F2A-6D5B-9511-3339FF5D0CBE}"/>
          </ac:spMkLst>
        </pc:spChg>
        <pc:spChg chg="add mod">
          <ac:chgData name="Veniero Facchetti" userId="f2c6c99af91c4974" providerId="LiveId" clId="{34DF7D6B-EB0F-4B53-B080-BB8D6F5C3D93}" dt="2024-05-10T15:59:06.916" v="525" actId="1076"/>
          <ac:spMkLst>
            <pc:docMk/>
            <pc:sldMk cId="3622079443" sldId="345"/>
            <ac:spMk id="236" creationId="{9E17721D-0E71-B746-79DC-0E59AD569A5C}"/>
          </ac:spMkLst>
        </pc:spChg>
        <pc:spChg chg="add mod">
          <ac:chgData name="Veniero Facchetti" userId="f2c6c99af91c4974" providerId="LiveId" clId="{34DF7D6B-EB0F-4B53-B080-BB8D6F5C3D93}" dt="2024-05-10T15:59:06.916" v="525" actId="1076"/>
          <ac:spMkLst>
            <pc:docMk/>
            <pc:sldMk cId="3622079443" sldId="345"/>
            <ac:spMk id="237" creationId="{82C10677-A295-84C6-006A-5262D5F069C9}"/>
          </ac:spMkLst>
        </pc:spChg>
        <pc:spChg chg="add mod">
          <ac:chgData name="Veniero Facchetti" userId="f2c6c99af91c4974" providerId="LiveId" clId="{34DF7D6B-EB0F-4B53-B080-BB8D6F5C3D93}" dt="2024-05-10T15:59:06.916" v="525" actId="1076"/>
          <ac:spMkLst>
            <pc:docMk/>
            <pc:sldMk cId="3622079443" sldId="345"/>
            <ac:spMk id="238" creationId="{B4775ABF-BAA0-DF63-A679-5FB07CDC5C3E}"/>
          </ac:spMkLst>
        </pc:spChg>
        <pc:spChg chg="add mod">
          <ac:chgData name="Veniero Facchetti" userId="f2c6c99af91c4974" providerId="LiveId" clId="{34DF7D6B-EB0F-4B53-B080-BB8D6F5C3D93}" dt="2024-05-10T15:59:20.571" v="529" actId="1076"/>
          <ac:spMkLst>
            <pc:docMk/>
            <pc:sldMk cId="3622079443" sldId="345"/>
            <ac:spMk id="239" creationId="{2F670370-CF44-A36F-318C-CD419E1AC829}"/>
          </ac:spMkLst>
        </pc:spChg>
        <pc:spChg chg="add mod">
          <ac:chgData name="Veniero Facchetti" userId="f2c6c99af91c4974" providerId="LiveId" clId="{34DF7D6B-EB0F-4B53-B080-BB8D6F5C3D93}" dt="2024-05-10T15:59:25.563" v="530" actId="1076"/>
          <ac:spMkLst>
            <pc:docMk/>
            <pc:sldMk cId="3622079443" sldId="345"/>
            <ac:spMk id="240" creationId="{B0B3BCD0-C30E-F094-9F9E-A9EDC5520982}"/>
          </ac:spMkLst>
        </pc:spChg>
        <pc:spChg chg="add mod">
          <ac:chgData name="Veniero Facchetti" userId="f2c6c99af91c4974" providerId="LiveId" clId="{34DF7D6B-EB0F-4B53-B080-BB8D6F5C3D93}" dt="2024-05-10T15:59:06.916" v="525" actId="1076"/>
          <ac:spMkLst>
            <pc:docMk/>
            <pc:sldMk cId="3622079443" sldId="345"/>
            <ac:spMk id="241" creationId="{000C9DA9-5A74-4BD7-3032-2563AA2CD5E7}"/>
          </ac:spMkLst>
        </pc:spChg>
        <pc:spChg chg="mod">
          <ac:chgData name="Veniero Facchetti" userId="f2c6c99af91c4974" providerId="LiveId" clId="{34DF7D6B-EB0F-4B53-B080-BB8D6F5C3D93}" dt="2024-05-10T15:58:31.040" v="516"/>
          <ac:spMkLst>
            <pc:docMk/>
            <pc:sldMk cId="3622079443" sldId="345"/>
            <ac:spMk id="243" creationId="{E67E2A62-F3BF-9134-8DE8-2CA48EAEBCAE}"/>
          </ac:spMkLst>
        </pc:spChg>
        <pc:spChg chg="mod">
          <ac:chgData name="Veniero Facchetti" userId="f2c6c99af91c4974" providerId="LiveId" clId="{34DF7D6B-EB0F-4B53-B080-BB8D6F5C3D93}" dt="2024-05-10T15:58:31.040" v="516"/>
          <ac:spMkLst>
            <pc:docMk/>
            <pc:sldMk cId="3622079443" sldId="345"/>
            <ac:spMk id="244" creationId="{070C3555-B37C-EF38-232F-469B235DB3AB}"/>
          </ac:spMkLst>
        </pc:spChg>
        <pc:grpChg chg="add mod">
          <ac:chgData name="Veniero Facchetti" userId="f2c6c99af91c4974" providerId="LiveId" clId="{34DF7D6B-EB0F-4B53-B080-BB8D6F5C3D93}" dt="2024-05-10T15:59:06.916" v="525" actId="1076"/>
          <ac:grpSpMkLst>
            <pc:docMk/>
            <pc:sldMk cId="3622079443" sldId="345"/>
            <ac:grpSpMk id="10" creationId="{1815ACEC-C912-57FE-A521-DBCA28B3B4FA}"/>
          </ac:grpSpMkLst>
        </pc:grpChg>
        <pc:grpChg chg="mod">
          <ac:chgData name="Veniero Facchetti" userId="f2c6c99af91c4974" providerId="LiveId" clId="{34DF7D6B-EB0F-4B53-B080-BB8D6F5C3D93}" dt="2024-05-10T15:59:06.916" v="525" actId="1076"/>
          <ac:grpSpMkLst>
            <pc:docMk/>
            <pc:sldMk cId="3622079443" sldId="345"/>
            <ac:grpSpMk id="11" creationId="{E591124B-D392-A072-3565-0B9FFDAEE25E}"/>
          </ac:grpSpMkLst>
        </pc:grpChg>
        <pc:grpChg chg="mod">
          <ac:chgData name="Veniero Facchetti" userId="f2c6c99af91c4974" providerId="LiveId" clId="{34DF7D6B-EB0F-4B53-B080-BB8D6F5C3D93}" dt="2024-05-10T15:59:06.916" v="525" actId="1076"/>
          <ac:grpSpMkLst>
            <pc:docMk/>
            <pc:sldMk cId="3622079443" sldId="345"/>
            <ac:grpSpMk id="20" creationId="{3C0AE455-744F-EA6D-83D3-53D3D22871A8}"/>
          </ac:grpSpMkLst>
        </pc:grpChg>
        <pc:grpChg chg="mod">
          <ac:chgData name="Veniero Facchetti" userId="f2c6c99af91c4974" providerId="LiveId" clId="{34DF7D6B-EB0F-4B53-B080-BB8D6F5C3D93}" dt="2024-05-10T15:59:06.916" v="525" actId="1076"/>
          <ac:grpSpMkLst>
            <pc:docMk/>
            <pc:sldMk cId="3622079443" sldId="345"/>
            <ac:grpSpMk id="78" creationId="{00A3112A-CB46-B39D-86F7-7B42B89B032E}"/>
          </ac:grpSpMkLst>
        </pc:grpChg>
        <pc:grpChg chg="mod">
          <ac:chgData name="Veniero Facchetti" userId="f2c6c99af91c4974" providerId="LiveId" clId="{34DF7D6B-EB0F-4B53-B080-BB8D6F5C3D93}" dt="2024-05-10T15:59:06.916" v="525" actId="1076"/>
          <ac:grpSpMkLst>
            <pc:docMk/>
            <pc:sldMk cId="3622079443" sldId="345"/>
            <ac:grpSpMk id="80" creationId="{F30A7A26-67E9-1E19-AD42-686255D79293}"/>
          </ac:grpSpMkLst>
        </pc:grpChg>
        <pc:grpChg chg="mod">
          <ac:chgData name="Veniero Facchetti" userId="f2c6c99af91c4974" providerId="LiveId" clId="{34DF7D6B-EB0F-4B53-B080-BB8D6F5C3D93}" dt="2024-05-10T15:59:06.916" v="525" actId="1076"/>
          <ac:grpSpMkLst>
            <pc:docMk/>
            <pc:sldMk cId="3622079443" sldId="345"/>
            <ac:grpSpMk id="82" creationId="{13AEB6A1-28B3-6170-774C-D7B14ADD46B6}"/>
          </ac:grpSpMkLst>
        </pc:grpChg>
        <pc:grpChg chg="mod">
          <ac:chgData name="Veniero Facchetti" userId="f2c6c99af91c4974" providerId="LiveId" clId="{34DF7D6B-EB0F-4B53-B080-BB8D6F5C3D93}" dt="2024-05-10T15:59:06.916" v="525" actId="1076"/>
          <ac:grpSpMkLst>
            <pc:docMk/>
            <pc:sldMk cId="3622079443" sldId="345"/>
            <ac:grpSpMk id="83" creationId="{EF54B911-D0EF-1C4C-8290-8C66D09BBCDE}"/>
          </ac:grpSpMkLst>
        </pc:grpChg>
        <pc:grpChg chg="mod">
          <ac:chgData name="Veniero Facchetti" userId="f2c6c99af91c4974" providerId="LiveId" clId="{34DF7D6B-EB0F-4B53-B080-BB8D6F5C3D93}" dt="2024-05-10T15:59:06.916" v="525" actId="1076"/>
          <ac:grpSpMkLst>
            <pc:docMk/>
            <pc:sldMk cId="3622079443" sldId="345"/>
            <ac:grpSpMk id="84" creationId="{675D741E-35CA-16C3-744C-AEA92C8EA823}"/>
          </ac:grpSpMkLst>
        </pc:grpChg>
        <pc:grpChg chg="mod">
          <ac:chgData name="Veniero Facchetti" userId="f2c6c99af91c4974" providerId="LiveId" clId="{34DF7D6B-EB0F-4B53-B080-BB8D6F5C3D93}" dt="2024-05-10T15:59:06.916" v="525" actId="1076"/>
          <ac:grpSpMkLst>
            <pc:docMk/>
            <pc:sldMk cId="3622079443" sldId="345"/>
            <ac:grpSpMk id="85" creationId="{F2A0723A-1DBB-2E47-4A8A-77163678DCBC}"/>
          </ac:grpSpMkLst>
        </pc:grpChg>
        <pc:grpChg chg="mod">
          <ac:chgData name="Veniero Facchetti" userId="f2c6c99af91c4974" providerId="LiveId" clId="{34DF7D6B-EB0F-4B53-B080-BB8D6F5C3D93}" dt="2024-05-10T15:59:06.916" v="525" actId="1076"/>
          <ac:grpSpMkLst>
            <pc:docMk/>
            <pc:sldMk cId="3622079443" sldId="345"/>
            <ac:grpSpMk id="86" creationId="{3BE0C537-5124-BD6B-130C-73C42759F4F4}"/>
          </ac:grpSpMkLst>
        </pc:grpChg>
        <pc:grpChg chg="mod">
          <ac:chgData name="Veniero Facchetti" userId="f2c6c99af91c4974" providerId="LiveId" clId="{34DF7D6B-EB0F-4B53-B080-BB8D6F5C3D93}" dt="2024-05-10T15:59:06.916" v="525" actId="1076"/>
          <ac:grpSpMkLst>
            <pc:docMk/>
            <pc:sldMk cId="3622079443" sldId="345"/>
            <ac:grpSpMk id="88" creationId="{9AF3ACC8-D091-63A5-4F54-E106FE1D0550}"/>
          </ac:grpSpMkLst>
        </pc:grpChg>
        <pc:grpChg chg="mod">
          <ac:chgData name="Veniero Facchetti" userId="f2c6c99af91c4974" providerId="LiveId" clId="{34DF7D6B-EB0F-4B53-B080-BB8D6F5C3D93}" dt="2024-05-10T15:59:06.916" v="525" actId="1076"/>
          <ac:grpSpMkLst>
            <pc:docMk/>
            <pc:sldMk cId="3622079443" sldId="345"/>
            <ac:grpSpMk id="89" creationId="{E1E711DF-D136-94FE-71A6-C0E92C16AE45}"/>
          </ac:grpSpMkLst>
        </pc:grpChg>
        <pc:grpChg chg="mod">
          <ac:chgData name="Veniero Facchetti" userId="f2c6c99af91c4974" providerId="LiveId" clId="{34DF7D6B-EB0F-4B53-B080-BB8D6F5C3D93}" dt="2024-05-10T15:59:06.916" v="525" actId="1076"/>
          <ac:grpSpMkLst>
            <pc:docMk/>
            <pc:sldMk cId="3622079443" sldId="345"/>
            <ac:grpSpMk id="90" creationId="{B2BF39C4-E97D-FF26-17DA-20CEFB79D28B}"/>
          </ac:grpSpMkLst>
        </pc:grpChg>
        <pc:grpChg chg="mod">
          <ac:chgData name="Veniero Facchetti" userId="f2c6c99af91c4974" providerId="LiveId" clId="{34DF7D6B-EB0F-4B53-B080-BB8D6F5C3D93}" dt="2024-05-10T15:59:06.916" v="525" actId="1076"/>
          <ac:grpSpMkLst>
            <pc:docMk/>
            <pc:sldMk cId="3622079443" sldId="345"/>
            <ac:grpSpMk id="101" creationId="{0FD7E3A9-FB44-B241-60A1-3599E8141099}"/>
          </ac:grpSpMkLst>
        </pc:grpChg>
        <pc:grpChg chg="mod">
          <ac:chgData name="Veniero Facchetti" userId="f2c6c99af91c4974" providerId="LiveId" clId="{34DF7D6B-EB0F-4B53-B080-BB8D6F5C3D93}" dt="2024-05-10T15:59:06.916" v="525" actId="1076"/>
          <ac:grpSpMkLst>
            <pc:docMk/>
            <pc:sldMk cId="3622079443" sldId="345"/>
            <ac:grpSpMk id="109" creationId="{05C97CE3-BA7A-A78B-EFF6-0357DC84477F}"/>
          </ac:grpSpMkLst>
        </pc:grpChg>
        <pc:grpChg chg="mod">
          <ac:chgData name="Veniero Facchetti" userId="f2c6c99af91c4974" providerId="LiveId" clId="{34DF7D6B-EB0F-4B53-B080-BB8D6F5C3D93}" dt="2024-05-10T15:59:06.916" v="525" actId="1076"/>
          <ac:grpSpMkLst>
            <pc:docMk/>
            <pc:sldMk cId="3622079443" sldId="345"/>
            <ac:grpSpMk id="112" creationId="{2A8A2C19-8029-7233-D207-0B9291C5FB57}"/>
          </ac:grpSpMkLst>
        </pc:grpChg>
        <pc:grpChg chg="mod">
          <ac:chgData name="Veniero Facchetti" userId="f2c6c99af91c4974" providerId="LiveId" clId="{34DF7D6B-EB0F-4B53-B080-BB8D6F5C3D93}" dt="2024-05-10T15:59:06.916" v="525" actId="1076"/>
          <ac:grpSpMkLst>
            <pc:docMk/>
            <pc:sldMk cId="3622079443" sldId="345"/>
            <ac:grpSpMk id="113" creationId="{AC31482C-E117-55F5-45A3-C12F10BB7754}"/>
          </ac:grpSpMkLst>
        </pc:grpChg>
        <pc:grpChg chg="mod">
          <ac:chgData name="Veniero Facchetti" userId="f2c6c99af91c4974" providerId="LiveId" clId="{34DF7D6B-EB0F-4B53-B080-BB8D6F5C3D93}" dt="2024-05-10T15:59:06.916" v="525" actId="1076"/>
          <ac:grpSpMkLst>
            <pc:docMk/>
            <pc:sldMk cId="3622079443" sldId="345"/>
            <ac:grpSpMk id="150" creationId="{0624CDA0-2164-2782-964A-0D64CFE2690E}"/>
          </ac:grpSpMkLst>
        </pc:grpChg>
        <pc:grpChg chg="mod">
          <ac:chgData name="Veniero Facchetti" userId="f2c6c99af91c4974" providerId="LiveId" clId="{34DF7D6B-EB0F-4B53-B080-BB8D6F5C3D93}" dt="2024-05-10T15:59:06.916" v="525" actId="1076"/>
          <ac:grpSpMkLst>
            <pc:docMk/>
            <pc:sldMk cId="3622079443" sldId="345"/>
            <ac:grpSpMk id="160" creationId="{9A81A7E6-FE75-A8A7-65B6-CC4DEFC5C497}"/>
          </ac:grpSpMkLst>
        </pc:grpChg>
        <pc:grpChg chg="add mod">
          <ac:chgData name="Veniero Facchetti" userId="f2c6c99af91c4974" providerId="LiveId" clId="{34DF7D6B-EB0F-4B53-B080-BB8D6F5C3D93}" dt="2024-05-10T15:59:06.916" v="525" actId="1076"/>
          <ac:grpSpMkLst>
            <pc:docMk/>
            <pc:sldMk cId="3622079443" sldId="345"/>
            <ac:grpSpMk id="206" creationId="{6263D90A-7449-C1C3-D3B3-72BE7FA0F2ED}"/>
          </ac:grpSpMkLst>
        </pc:grpChg>
        <pc:grpChg chg="add mod">
          <ac:chgData name="Veniero Facchetti" userId="f2c6c99af91c4974" providerId="LiveId" clId="{34DF7D6B-EB0F-4B53-B080-BB8D6F5C3D93}" dt="2024-05-10T15:59:06.916" v="525" actId="1076"/>
          <ac:grpSpMkLst>
            <pc:docMk/>
            <pc:sldMk cId="3622079443" sldId="345"/>
            <ac:grpSpMk id="213" creationId="{EC7DFC7D-E821-C197-047D-67DECB22C608}"/>
          </ac:grpSpMkLst>
        </pc:grpChg>
        <pc:grpChg chg="mod">
          <ac:chgData name="Veniero Facchetti" userId="f2c6c99af91c4974" providerId="LiveId" clId="{34DF7D6B-EB0F-4B53-B080-BB8D6F5C3D93}" dt="2024-05-10T15:59:06.916" v="525" actId="1076"/>
          <ac:grpSpMkLst>
            <pc:docMk/>
            <pc:sldMk cId="3622079443" sldId="345"/>
            <ac:grpSpMk id="214" creationId="{6832FEA0-2719-0493-369F-F82AEEBBD69B}"/>
          </ac:grpSpMkLst>
        </pc:grpChg>
        <pc:grpChg chg="add mod">
          <ac:chgData name="Veniero Facchetti" userId="f2c6c99af91c4974" providerId="LiveId" clId="{34DF7D6B-EB0F-4B53-B080-BB8D6F5C3D93}" dt="2024-05-10T15:58:31.040" v="516"/>
          <ac:grpSpMkLst>
            <pc:docMk/>
            <pc:sldMk cId="3622079443" sldId="345"/>
            <ac:grpSpMk id="242" creationId="{2E84580E-F421-D25E-3277-217B0CC9500C}"/>
          </ac:grpSpMkLst>
        </pc:grpChg>
        <pc:graphicFrameChg chg="add mod">
          <ac:chgData name="Veniero Facchetti" userId="f2c6c99af91c4974" providerId="LiveId" clId="{34DF7D6B-EB0F-4B53-B080-BB8D6F5C3D93}" dt="2024-05-10T15:59:06.916" v="525" actId="1076"/>
          <ac:graphicFrameMkLst>
            <pc:docMk/>
            <pc:sldMk cId="3622079443" sldId="345"/>
            <ac:graphicFrameMk id="200" creationId="{6438B5E5-F602-3C28-7910-FDF557152380}"/>
          </ac:graphicFrameMkLst>
        </pc:graphicFrameChg>
        <pc:cxnChg chg="add mod">
          <ac:chgData name="Veniero Facchetti" userId="f2c6c99af91c4974" providerId="LiveId" clId="{34DF7D6B-EB0F-4B53-B080-BB8D6F5C3D93}" dt="2024-05-10T15:59:06.916" v="525" actId="1076"/>
          <ac:cxnSpMkLst>
            <pc:docMk/>
            <pc:sldMk cId="3622079443" sldId="345"/>
            <ac:cxnSpMk id="3" creationId="{AA451919-848C-2D51-069C-F4CADA72DAE4}"/>
          </ac:cxnSpMkLst>
        </pc:cxnChg>
      </pc:sldChg>
      <pc:sldChg chg="addSp delSp modSp add mod">
        <pc:chgData name="Veniero Facchetti" userId="f2c6c99af91c4974" providerId="LiveId" clId="{34DF7D6B-EB0F-4B53-B080-BB8D6F5C3D93}" dt="2024-05-10T16:00:52.549" v="553" actId="403"/>
        <pc:sldMkLst>
          <pc:docMk/>
          <pc:sldMk cId="4142098531" sldId="346"/>
        </pc:sldMkLst>
        <pc:spChg chg="del">
          <ac:chgData name="Veniero Facchetti" userId="f2c6c99af91c4974" providerId="LiveId" clId="{34DF7D6B-EB0F-4B53-B080-BB8D6F5C3D93}" dt="2024-05-10T15:59:42.394" v="532" actId="478"/>
          <ac:spMkLst>
            <pc:docMk/>
            <pc:sldMk cId="4142098531" sldId="346"/>
            <ac:spMk id="2" creationId="{6F16D83E-3D4C-157F-1C78-1B51BB90CDEA}"/>
          </ac:spMkLst>
        </pc:spChg>
        <pc:spChg chg="del">
          <ac:chgData name="Veniero Facchetti" userId="f2c6c99af91c4974" providerId="LiveId" clId="{34DF7D6B-EB0F-4B53-B080-BB8D6F5C3D93}" dt="2024-05-10T15:59:42.394" v="532" actId="478"/>
          <ac:spMkLst>
            <pc:docMk/>
            <pc:sldMk cId="4142098531" sldId="346"/>
            <ac:spMk id="4" creationId="{F3EB2190-C9C7-717F-8AFA-4F12CE02561C}"/>
          </ac:spMkLst>
        </pc:spChg>
        <pc:spChg chg="del">
          <ac:chgData name="Veniero Facchetti" userId="f2c6c99af91c4974" providerId="LiveId" clId="{34DF7D6B-EB0F-4B53-B080-BB8D6F5C3D93}" dt="2024-05-10T15:59:42.394" v="532" actId="478"/>
          <ac:spMkLst>
            <pc:docMk/>
            <pc:sldMk cId="4142098531" sldId="346"/>
            <ac:spMk id="5" creationId="{2D58525F-B8BD-271A-F0A7-893C272572B4}"/>
          </ac:spMkLst>
        </pc:spChg>
        <pc:spChg chg="del">
          <ac:chgData name="Veniero Facchetti" userId="f2c6c99af91c4974" providerId="LiveId" clId="{34DF7D6B-EB0F-4B53-B080-BB8D6F5C3D93}" dt="2024-05-10T15:59:42.394" v="532" actId="478"/>
          <ac:spMkLst>
            <pc:docMk/>
            <pc:sldMk cId="4142098531" sldId="346"/>
            <ac:spMk id="6" creationId="{BF78A578-DBF1-2C57-077C-550AEEC45B99}"/>
          </ac:spMkLst>
        </pc:spChg>
        <pc:spChg chg="del">
          <ac:chgData name="Veniero Facchetti" userId="f2c6c99af91c4974" providerId="LiveId" clId="{34DF7D6B-EB0F-4B53-B080-BB8D6F5C3D93}" dt="2024-05-10T15:59:42.394" v="532" actId="478"/>
          <ac:spMkLst>
            <pc:docMk/>
            <pc:sldMk cId="4142098531" sldId="346"/>
            <ac:spMk id="7" creationId="{6DC3F734-5097-E714-A537-F66BD69AF12E}"/>
          </ac:spMkLst>
        </pc:spChg>
        <pc:spChg chg="del">
          <ac:chgData name="Veniero Facchetti" userId="f2c6c99af91c4974" providerId="LiveId" clId="{34DF7D6B-EB0F-4B53-B080-BB8D6F5C3D93}" dt="2024-05-10T15:59:42.394" v="532" actId="478"/>
          <ac:spMkLst>
            <pc:docMk/>
            <pc:sldMk cId="4142098531" sldId="346"/>
            <ac:spMk id="8" creationId="{170A3D67-9756-71CF-CB07-03E60870A8EC}"/>
          </ac:spMkLst>
        </pc:spChg>
        <pc:spChg chg="del">
          <ac:chgData name="Veniero Facchetti" userId="f2c6c99af91c4974" providerId="LiveId" clId="{34DF7D6B-EB0F-4B53-B080-BB8D6F5C3D93}" dt="2024-05-10T15:59:42.394" v="532" actId="478"/>
          <ac:spMkLst>
            <pc:docMk/>
            <pc:sldMk cId="4142098531" sldId="346"/>
            <ac:spMk id="9" creationId="{997C9EC0-490A-5F11-2DE0-BC4B1CE24FE2}"/>
          </ac:spMkLst>
        </pc:spChg>
        <pc:spChg chg="del">
          <ac:chgData name="Veniero Facchetti" userId="f2c6c99af91c4974" providerId="LiveId" clId="{34DF7D6B-EB0F-4B53-B080-BB8D6F5C3D93}" dt="2024-05-10T15:59:42.394" v="532" actId="478"/>
          <ac:spMkLst>
            <pc:docMk/>
            <pc:sldMk cId="4142098531" sldId="346"/>
            <ac:spMk id="197" creationId="{30307718-777F-7C4A-96CD-425D038C8FBA}"/>
          </ac:spMkLst>
        </pc:spChg>
        <pc:spChg chg="del">
          <ac:chgData name="Veniero Facchetti" userId="f2c6c99af91c4974" providerId="LiveId" clId="{34DF7D6B-EB0F-4B53-B080-BB8D6F5C3D93}" dt="2024-05-10T15:59:42.394" v="532" actId="478"/>
          <ac:spMkLst>
            <pc:docMk/>
            <pc:sldMk cId="4142098531" sldId="346"/>
            <ac:spMk id="198" creationId="{FBEF620B-AAC0-CCA9-CE28-DA86731084CA}"/>
          </ac:spMkLst>
        </pc:spChg>
        <pc:spChg chg="del">
          <ac:chgData name="Veniero Facchetti" userId="f2c6c99af91c4974" providerId="LiveId" clId="{34DF7D6B-EB0F-4B53-B080-BB8D6F5C3D93}" dt="2024-05-10T15:59:42.394" v="532" actId="478"/>
          <ac:spMkLst>
            <pc:docMk/>
            <pc:sldMk cId="4142098531" sldId="346"/>
            <ac:spMk id="199" creationId="{991F046A-9CD8-B36F-517D-D16F6F6A63BD}"/>
          </ac:spMkLst>
        </pc:spChg>
        <pc:spChg chg="del">
          <ac:chgData name="Veniero Facchetti" userId="f2c6c99af91c4974" providerId="LiveId" clId="{34DF7D6B-EB0F-4B53-B080-BB8D6F5C3D93}" dt="2024-05-10T15:59:42.394" v="532" actId="478"/>
          <ac:spMkLst>
            <pc:docMk/>
            <pc:sldMk cId="4142098531" sldId="346"/>
            <ac:spMk id="201" creationId="{DAE92455-3028-C5C3-8D1C-225D370A92C7}"/>
          </ac:spMkLst>
        </pc:spChg>
        <pc:spChg chg="del">
          <ac:chgData name="Veniero Facchetti" userId="f2c6c99af91c4974" providerId="LiveId" clId="{34DF7D6B-EB0F-4B53-B080-BB8D6F5C3D93}" dt="2024-05-10T15:59:42.394" v="532" actId="478"/>
          <ac:spMkLst>
            <pc:docMk/>
            <pc:sldMk cId="4142098531" sldId="346"/>
            <ac:spMk id="202" creationId="{8D199B45-FAB7-D18C-E207-42EDC3221AA6}"/>
          </ac:spMkLst>
        </pc:spChg>
        <pc:spChg chg="del">
          <ac:chgData name="Veniero Facchetti" userId="f2c6c99af91c4974" providerId="LiveId" clId="{34DF7D6B-EB0F-4B53-B080-BB8D6F5C3D93}" dt="2024-05-10T15:59:42.394" v="532" actId="478"/>
          <ac:spMkLst>
            <pc:docMk/>
            <pc:sldMk cId="4142098531" sldId="346"/>
            <ac:spMk id="203" creationId="{9661C330-91BF-68D3-A873-7BD8825841A1}"/>
          </ac:spMkLst>
        </pc:spChg>
        <pc:spChg chg="del">
          <ac:chgData name="Veniero Facchetti" userId="f2c6c99af91c4974" providerId="LiveId" clId="{34DF7D6B-EB0F-4B53-B080-BB8D6F5C3D93}" dt="2024-05-10T15:59:42.394" v="532" actId="478"/>
          <ac:spMkLst>
            <pc:docMk/>
            <pc:sldMk cId="4142098531" sldId="346"/>
            <ac:spMk id="204" creationId="{6123CD5F-0E11-F22B-056C-537958B25213}"/>
          </ac:spMkLst>
        </pc:spChg>
        <pc:spChg chg="del">
          <ac:chgData name="Veniero Facchetti" userId="f2c6c99af91c4974" providerId="LiveId" clId="{34DF7D6B-EB0F-4B53-B080-BB8D6F5C3D93}" dt="2024-05-10T15:59:42.394" v="532" actId="478"/>
          <ac:spMkLst>
            <pc:docMk/>
            <pc:sldMk cId="4142098531" sldId="346"/>
            <ac:spMk id="205" creationId="{1C0603E9-6408-289B-6B61-0529DD714C69}"/>
          </ac:spMkLst>
        </pc:spChg>
        <pc:spChg chg="del">
          <ac:chgData name="Veniero Facchetti" userId="f2c6c99af91c4974" providerId="LiveId" clId="{34DF7D6B-EB0F-4B53-B080-BB8D6F5C3D93}" dt="2024-05-10T15:59:42.394" v="532" actId="478"/>
          <ac:spMkLst>
            <pc:docMk/>
            <pc:sldMk cId="4142098531" sldId="346"/>
            <ac:spMk id="210" creationId="{2E6CAE1B-B501-55EF-4427-2CB54444C18E}"/>
          </ac:spMkLst>
        </pc:spChg>
        <pc:spChg chg="del">
          <ac:chgData name="Veniero Facchetti" userId="f2c6c99af91c4974" providerId="LiveId" clId="{34DF7D6B-EB0F-4B53-B080-BB8D6F5C3D93}" dt="2024-05-10T15:59:42.394" v="532" actId="478"/>
          <ac:spMkLst>
            <pc:docMk/>
            <pc:sldMk cId="4142098531" sldId="346"/>
            <ac:spMk id="211" creationId="{BCD3AC8D-7CF3-36CB-FF07-2B0B3F5337F3}"/>
          </ac:spMkLst>
        </pc:spChg>
        <pc:spChg chg="del">
          <ac:chgData name="Veniero Facchetti" userId="f2c6c99af91c4974" providerId="LiveId" clId="{34DF7D6B-EB0F-4B53-B080-BB8D6F5C3D93}" dt="2024-05-10T15:59:42.394" v="532" actId="478"/>
          <ac:spMkLst>
            <pc:docMk/>
            <pc:sldMk cId="4142098531" sldId="346"/>
            <ac:spMk id="212" creationId="{D5FA68FE-8E1B-4AB1-95FC-F276A10DE97F}"/>
          </ac:spMkLst>
        </pc:spChg>
        <pc:spChg chg="del">
          <ac:chgData name="Veniero Facchetti" userId="f2c6c99af91c4974" providerId="LiveId" clId="{34DF7D6B-EB0F-4B53-B080-BB8D6F5C3D93}" dt="2024-05-10T15:59:42.394" v="532" actId="478"/>
          <ac:spMkLst>
            <pc:docMk/>
            <pc:sldMk cId="4142098531" sldId="346"/>
            <ac:spMk id="234" creationId="{1D50240F-66A1-83CC-F5F7-663ECCB64C97}"/>
          </ac:spMkLst>
        </pc:spChg>
        <pc:spChg chg="del">
          <ac:chgData name="Veniero Facchetti" userId="f2c6c99af91c4974" providerId="LiveId" clId="{34DF7D6B-EB0F-4B53-B080-BB8D6F5C3D93}" dt="2024-05-10T15:59:42.394" v="532" actId="478"/>
          <ac:spMkLst>
            <pc:docMk/>
            <pc:sldMk cId="4142098531" sldId="346"/>
            <ac:spMk id="235" creationId="{CCDA9D18-7F2A-6D5B-9511-3339FF5D0CBE}"/>
          </ac:spMkLst>
        </pc:spChg>
        <pc:spChg chg="del">
          <ac:chgData name="Veniero Facchetti" userId="f2c6c99af91c4974" providerId="LiveId" clId="{34DF7D6B-EB0F-4B53-B080-BB8D6F5C3D93}" dt="2024-05-10T15:59:42.394" v="532" actId="478"/>
          <ac:spMkLst>
            <pc:docMk/>
            <pc:sldMk cId="4142098531" sldId="346"/>
            <ac:spMk id="236" creationId="{9E17721D-0E71-B746-79DC-0E59AD569A5C}"/>
          </ac:spMkLst>
        </pc:spChg>
        <pc:spChg chg="del">
          <ac:chgData name="Veniero Facchetti" userId="f2c6c99af91c4974" providerId="LiveId" clId="{34DF7D6B-EB0F-4B53-B080-BB8D6F5C3D93}" dt="2024-05-10T15:59:42.394" v="532" actId="478"/>
          <ac:spMkLst>
            <pc:docMk/>
            <pc:sldMk cId="4142098531" sldId="346"/>
            <ac:spMk id="237" creationId="{82C10677-A295-84C6-006A-5262D5F069C9}"/>
          </ac:spMkLst>
        </pc:spChg>
        <pc:spChg chg="del">
          <ac:chgData name="Veniero Facchetti" userId="f2c6c99af91c4974" providerId="LiveId" clId="{34DF7D6B-EB0F-4B53-B080-BB8D6F5C3D93}" dt="2024-05-10T15:59:42.394" v="532" actId="478"/>
          <ac:spMkLst>
            <pc:docMk/>
            <pc:sldMk cId="4142098531" sldId="346"/>
            <ac:spMk id="238" creationId="{B4775ABF-BAA0-DF63-A679-5FB07CDC5C3E}"/>
          </ac:spMkLst>
        </pc:spChg>
        <pc:spChg chg="del">
          <ac:chgData name="Veniero Facchetti" userId="f2c6c99af91c4974" providerId="LiveId" clId="{34DF7D6B-EB0F-4B53-B080-BB8D6F5C3D93}" dt="2024-05-10T15:59:42.394" v="532" actId="478"/>
          <ac:spMkLst>
            <pc:docMk/>
            <pc:sldMk cId="4142098531" sldId="346"/>
            <ac:spMk id="239" creationId="{2F670370-CF44-A36F-318C-CD419E1AC829}"/>
          </ac:spMkLst>
        </pc:spChg>
        <pc:spChg chg="del">
          <ac:chgData name="Veniero Facchetti" userId="f2c6c99af91c4974" providerId="LiveId" clId="{34DF7D6B-EB0F-4B53-B080-BB8D6F5C3D93}" dt="2024-05-10T15:59:42.394" v="532" actId="478"/>
          <ac:spMkLst>
            <pc:docMk/>
            <pc:sldMk cId="4142098531" sldId="346"/>
            <ac:spMk id="240" creationId="{B0B3BCD0-C30E-F094-9F9E-A9EDC5520982}"/>
          </ac:spMkLst>
        </pc:spChg>
        <pc:spChg chg="del">
          <ac:chgData name="Veniero Facchetti" userId="f2c6c99af91c4974" providerId="LiveId" clId="{34DF7D6B-EB0F-4B53-B080-BB8D6F5C3D93}" dt="2024-05-10T15:59:42.394" v="532" actId="478"/>
          <ac:spMkLst>
            <pc:docMk/>
            <pc:sldMk cId="4142098531" sldId="346"/>
            <ac:spMk id="241" creationId="{000C9DA9-5A74-4BD7-3032-2563AA2CD5E7}"/>
          </ac:spMkLst>
        </pc:spChg>
        <pc:spChg chg="add mod">
          <ac:chgData name="Veniero Facchetti" userId="f2c6c99af91c4974" providerId="LiveId" clId="{34DF7D6B-EB0F-4B53-B080-BB8D6F5C3D93}" dt="2024-05-10T16:00:52.549" v="553" actId="403"/>
          <ac:spMkLst>
            <pc:docMk/>
            <pc:sldMk cId="4142098531" sldId="346"/>
            <ac:spMk id="245" creationId="{EBE4416B-2A49-556F-845D-D036367F1103}"/>
          </ac:spMkLst>
        </pc:spChg>
        <pc:spChg chg="add mod">
          <ac:chgData name="Veniero Facchetti" userId="f2c6c99af91c4974" providerId="LiveId" clId="{34DF7D6B-EB0F-4B53-B080-BB8D6F5C3D93}" dt="2024-05-10T16:00:14.737" v="542" actId="1076"/>
          <ac:spMkLst>
            <pc:docMk/>
            <pc:sldMk cId="4142098531" sldId="346"/>
            <ac:spMk id="247" creationId="{8B7C7792-1948-0F04-570F-C8029009008C}"/>
          </ac:spMkLst>
        </pc:spChg>
        <pc:spChg chg="add mod">
          <ac:chgData name="Veniero Facchetti" userId="f2c6c99af91c4974" providerId="LiveId" clId="{34DF7D6B-EB0F-4B53-B080-BB8D6F5C3D93}" dt="2024-05-10T16:00:14.737" v="542" actId="1076"/>
          <ac:spMkLst>
            <pc:docMk/>
            <pc:sldMk cId="4142098531" sldId="346"/>
            <ac:spMk id="248" creationId="{CFE40212-063F-357D-448F-00EB250FC7CD}"/>
          </ac:spMkLst>
        </pc:spChg>
        <pc:spChg chg="add mod">
          <ac:chgData name="Veniero Facchetti" userId="f2c6c99af91c4974" providerId="LiveId" clId="{34DF7D6B-EB0F-4B53-B080-BB8D6F5C3D93}" dt="2024-05-10T16:00:14.737" v="542" actId="1076"/>
          <ac:spMkLst>
            <pc:docMk/>
            <pc:sldMk cId="4142098531" sldId="346"/>
            <ac:spMk id="249" creationId="{DCA32F12-D6A8-AB59-361E-6EB5F7A252DD}"/>
          </ac:spMkLst>
        </pc:spChg>
        <pc:spChg chg="add mod">
          <ac:chgData name="Veniero Facchetti" userId="f2c6c99af91c4974" providerId="LiveId" clId="{34DF7D6B-EB0F-4B53-B080-BB8D6F5C3D93}" dt="2024-05-10T16:00:14.737" v="542" actId="1076"/>
          <ac:spMkLst>
            <pc:docMk/>
            <pc:sldMk cId="4142098531" sldId="346"/>
            <ac:spMk id="250" creationId="{825A7931-BF8A-B30E-DF96-F0435CCBE573}"/>
          </ac:spMkLst>
        </pc:spChg>
        <pc:spChg chg="add mod">
          <ac:chgData name="Veniero Facchetti" userId="f2c6c99af91c4974" providerId="LiveId" clId="{34DF7D6B-EB0F-4B53-B080-BB8D6F5C3D93}" dt="2024-05-10T16:00:14.737" v="542" actId="1076"/>
          <ac:spMkLst>
            <pc:docMk/>
            <pc:sldMk cId="4142098531" sldId="346"/>
            <ac:spMk id="251" creationId="{EB32356A-D24C-BA51-C411-AABD0884B434}"/>
          </ac:spMkLst>
        </pc:spChg>
        <pc:spChg chg="add mod">
          <ac:chgData name="Veniero Facchetti" userId="f2c6c99af91c4974" providerId="LiveId" clId="{34DF7D6B-EB0F-4B53-B080-BB8D6F5C3D93}" dt="2024-05-10T16:00:14.737" v="542" actId="1076"/>
          <ac:spMkLst>
            <pc:docMk/>
            <pc:sldMk cId="4142098531" sldId="346"/>
            <ac:spMk id="255" creationId="{57036A5C-7BC7-17E2-038C-D49E02DC3771}"/>
          </ac:spMkLst>
        </pc:spChg>
        <pc:spChg chg="add mod">
          <ac:chgData name="Veniero Facchetti" userId="f2c6c99af91c4974" providerId="LiveId" clId="{34DF7D6B-EB0F-4B53-B080-BB8D6F5C3D93}" dt="2024-05-10T16:00:14.737" v="542" actId="1076"/>
          <ac:spMkLst>
            <pc:docMk/>
            <pc:sldMk cId="4142098531" sldId="346"/>
            <ac:spMk id="256" creationId="{4C873D3E-D4F6-1F00-794D-ED34105C6833}"/>
          </ac:spMkLst>
        </pc:spChg>
        <pc:spChg chg="add mod">
          <ac:chgData name="Veniero Facchetti" userId="f2c6c99af91c4974" providerId="LiveId" clId="{34DF7D6B-EB0F-4B53-B080-BB8D6F5C3D93}" dt="2024-05-10T16:00:14.737" v="542" actId="1076"/>
          <ac:spMkLst>
            <pc:docMk/>
            <pc:sldMk cId="4142098531" sldId="346"/>
            <ac:spMk id="257" creationId="{9BD885C7-D79E-3856-FA83-FA3E70DF789C}"/>
          </ac:spMkLst>
        </pc:spChg>
        <pc:spChg chg="add mod">
          <ac:chgData name="Veniero Facchetti" userId="f2c6c99af91c4974" providerId="LiveId" clId="{34DF7D6B-EB0F-4B53-B080-BB8D6F5C3D93}" dt="2024-05-10T16:00:14.737" v="542" actId="1076"/>
          <ac:spMkLst>
            <pc:docMk/>
            <pc:sldMk cId="4142098531" sldId="346"/>
            <ac:spMk id="258" creationId="{F60474B4-50EF-9E2B-8A47-9D9E42CA03B2}"/>
          </ac:spMkLst>
        </pc:spChg>
        <pc:spChg chg="add mod">
          <ac:chgData name="Veniero Facchetti" userId="f2c6c99af91c4974" providerId="LiveId" clId="{34DF7D6B-EB0F-4B53-B080-BB8D6F5C3D93}" dt="2024-05-10T16:00:14.737" v="542" actId="1076"/>
          <ac:spMkLst>
            <pc:docMk/>
            <pc:sldMk cId="4142098531" sldId="346"/>
            <ac:spMk id="259" creationId="{B02C780F-AB5C-0182-8C85-397A427A8A8F}"/>
          </ac:spMkLst>
        </pc:spChg>
        <pc:spChg chg="add mod">
          <ac:chgData name="Veniero Facchetti" userId="f2c6c99af91c4974" providerId="LiveId" clId="{34DF7D6B-EB0F-4B53-B080-BB8D6F5C3D93}" dt="2024-05-10T16:00:14.737" v="542" actId="1076"/>
          <ac:spMkLst>
            <pc:docMk/>
            <pc:sldMk cId="4142098531" sldId="346"/>
            <ac:spMk id="260" creationId="{FF407DBB-89D2-B446-E813-B6F09756259B}"/>
          </ac:spMkLst>
        </pc:spChg>
        <pc:spChg chg="mod">
          <ac:chgData name="Veniero Facchetti" userId="f2c6c99af91c4974" providerId="LiveId" clId="{34DF7D6B-EB0F-4B53-B080-BB8D6F5C3D93}" dt="2024-05-10T15:59:52.231" v="534"/>
          <ac:spMkLst>
            <pc:docMk/>
            <pc:sldMk cId="4142098531" sldId="346"/>
            <ac:spMk id="262" creationId="{B346E160-2E28-3EB2-1486-C99001C472D2}"/>
          </ac:spMkLst>
        </pc:spChg>
        <pc:spChg chg="mod">
          <ac:chgData name="Veniero Facchetti" userId="f2c6c99af91c4974" providerId="LiveId" clId="{34DF7D6B-EB0F-4B53-B080-BB8D6F5C3D93}" dt="2024-05-10T15:59:52.231" v="534"/>
          <ac:spMkLst>
            <pc:docMk/>
            <pc:sldMk cId="4142098531" sldId="346"/>
            <ac:spMk id="263" creationId="{9A4745FE-32ED-23D8-1957-96F062D1B706}"/>
          </ac:spMkLst>
        </pc:spChg>
        <pc:spChg chg="mod">
          <ac:chgData name="Veniero Facchetti" userId="f2c6c99af91c4974" providerId="LiveId" clId="{34DF7D6B-EB0F-4B53-B080-BB8D6F5C3D93}" dt="2024-05-10T15:59:52.231" v="534"/>
          <ac:spMkLst>
            <pc:docMk/>
            <pc:sldMk cId="4142098531" sldId="346"/>
            <ac:spMk id="266" creationId="{87C5415E-CD80-8D43-AF6C-800D46ADBC8F}"/>
          </ac:spMkLst>
        </pc:spChg>
        <pc:spChg chg="mod">
          <ac:chgData name="Veniero Facchetti" userId="f2c6c99af91c4974" providerId="LiveId" clId="{34DF7D6B-EB0F-4B53-B080-BB8D6F5C3D93}" dt="2024-05-10T15:59:52.231" v="534"/>
          <ac:spMkLst>
            <pc:docMk/>
            <pc:sldMk cId="4142098531" sldId="346"/>
            <ac:spMk id="267" creationId="{0DAA79D4-814F-1DE1-3B7E-4E44BAE7712A}"/>
          </ac:spMkLst>
        </pc:spChg>
        <pc:spChg chg="mod">
          <ac:chgData name="Veniero Facchetti" userId="f2c6c99af91c4974" providerId="LiveId" clId="{34DF7D6B-EB0F-4B53-B080-BB8D6F5C3D93}" dt="2024-05-10T15:59:52.231" v="534"/>
          <ac:spMkLst>
            <pc:docMk/>
            <pc:sldMk cId="4142098531" sldId="346"/>
            <ac:spMk id="270" creationId="{F11005DB-6B84-D9D4-665B-CFBC7EA158BB}"/>
          </ac:spMkLst>
        </pc:spChg>
        <pc:spChg chg="mod">
          <ac:chgData name="Veniero Facchetti" userId="f2c6c99af91c4974" providerId="LiveId" clId="{34DF7D6B-EB0F-4B53-B080-BB8D6F5C3D93}" dt="2024-05-10T15:59:52.231" v="534"/>
          <ac:spMkLst>
            <pc:docMk/>
            <pc:sldMk cId="4142098531" sldId="346"/>
            <ac:spMk id="271" creationId="{A21D4BB0-CC54-EA0C-2BB1-480122AEAA37}"/>
          </ac:spMkLst>
        </pc:spChg>
        <pc:spChg chg="add mod">
          <ac:chgData name="Veniero Facchetti" userId="f2c6c99af91c4974" providerId="LiveId" clId="{34DF7D6B-EB0F-4B53-B080-BB8D6F5C3D93}" dt="2024-05-10T16:00:14.737" v="542" actId="1076"/>
          <ac:spMkLst>
            <pc:docMk/>
            <pc:sldMk cId="4142098531" sldId="346"/>
            <ac:spMk id="273" creationId="{34F067C0-0A86-DF0A-81AA-0B23E66BDC8B}"/>
          </ac:spMkLst>
        </pc:spChg>
        <pc:spChg chg="add mod">
          <ac:chgData name="Veniero Facchetti" userId="f2c6c99af91c4974" providerId="LiveId" clId="{34DF7D6B-EB0F-4B53-B080-BB8D6F5C3D93}" dt="2024-05-10T16:00:14.737" v="542" actId="1076"/>
          <ac:spMkLst>
            <pc:docMk/>
            <pc:sldMk cId="4142098531" sldId="346"/>
            <ac:spMk id="274" creationId="{484BC7A9-799A-289C-5EAB-CB8D78BB16EA}"/>
          </ac:spMkLst>
        </pc:spChg>
        <pc:spChg chg="add mod">
          <ac:chgData name="Veniero Facchetti" userId="f2c6c99af91c4974" providerId="LiveId" clId="{34DF7D6B-EB0F-4B53-B080-BB8D6F5C3D93}" dt="2024-05-10T16:00:14.737" v="542" actId="1076"/>
          <ac:spMkLst>
            <pc:docMk/>
            <pc:sldMk cId="4142098531" sldId="346"/>
            <ac:spMk id="275" creationId="{6E7C30EE-33DD-C130-2A14-3975D18AB98D}"/>
          </ac:spMkLst>
        </pc:spChg>
        <pc:spChg chg="add mod">
          <ac:chgData name="Veniero Facchetti" userId="f2c6c99af91c4974" providerId="LiveId" clId="{34DF7D6B-EB0F-4B53-B080-BB8D6F5C3D93}" dt="2024-05-10T16:00:14.737" v="542" actId="1076"/>
          <ac:spMkLst>
            <pc:docMk/>
            <pc:sldMk cId="4142098531" sldId="346"/>
            <ac:spMk id="276" creationId="{741C8A50-9F21-72BD-259B-42F3D9895C0B}"/>
          </ac:spMkLst>
        </pc:spChg>
        <pc:spChg chg="add mod">
          <ac:chgData name="Veniero Facchetti" userId="f2c6c99af91c4974" providerId="LiveId" clId="{34DF7D6B-EB0F-4B53-B080-BB8D6F5C3D93}" dt="2024-05-10T16:00:14.737" v="542" actId="1076"/>
          <ac:spMkLst>
            <pc:docMk/>
            <pc:sldMk cId="4142098531" sldId="346"/>
            <ac:spMk id="277" creationId="{B8170BDD-CA71-9EB9-E642-ED29842338A3}"/>
          </ac:spMkLst>
        </pc:spChg>
        <pc:spChg chg="add mod">
          <ac:chgData name="Veniero Facchetti" userId="f2c6c99af91c4974" providerId="LiveId" clId="{34DF7D6B-EB0F-4B53-B080-BB8D6F5C3D93}" dt="2024-05-10T16:00:14.737" v="542" actId="1076"/>
          <ac:spMkLst>
            <pc:docMk/>
            <pc:sldMk cId="4142098531" sldId="346"/>
            <ac:spMk id="278" creationId="{59159951-C6CA-532B-072A-C62E64B6AF2A}"/>
          </ac:spMkLst>
        </pc:spChg>
        <pc:spChg chg="add mod">
          <ac:chgData name="Veniero Facchetti" userId="f2c6c99af91c4974" providerId="LiveId" clId="{34DF7D6B-EB0F-4B53-B080-BB8D6F5C3D93}" dt="2024-05-10T16:00:14.737" v="542" actId="1076"/>
          <ac:spMkLst>
            <pc:docMk/>
            <pc:sldMk cId="4142098531" sldId="346"/>
            <ac:spMk id="279" creationId="{753B323F-0599-0D05-BD9C-865E74739DAA}"/>
          </ac:spMkLst>
        </pc:spChg>
        <pc:spChg chg="add mod">
          <ac:chgData name="Veniero Facchetti" userId="f2c6c99af91c4974" providerId="LiveId" clId="{34DF7D6B-EB0F-4B53-B080-BB8D6F5C3D93}" dt="2024-05-10T16:00:14.737" v="542" actId="1076"/>
          <ac:spMkLst>
            <pc:docMk/>
            <pc:sldMk cId="4142098531" sldId="346"/>
            <ac:spMk id="280" creationId="{7040C727-16CC-4844-A1DD-8C605AA8EEAD}"/>
          </ac:spMkLst>
        </pc:spChg>
        <pc:spChg chg="add mod">
          <ac:chgData name="Veniero Facchetti" userId="f2c6c99af91c4974" providerId="LiveId" clId="{34DF7D6B-EB0F-4B53-B080-BB8D6F5C3D93}" dt="2024-05-10T16:00:14.737" v="542" actId="1076"/>
          <ac:spMkLst>
            <pc:docMk/>
            <pc:sldMk cId="4142098531" sldId="346"/>
            <ac:spMk id="281" creationId="{1BD419AA-29CD-FCAB-A18F-CA82F15F4E58}"/>
          </ac:spMkLst>
        </pc:spChg>
        <pc:spChg chg="add mod">
          <ac:chgData name="Veniero Facchetti" userId="f2c6c99af91c4974" providerId="LiveId" clId="{34DF7D6B-EB0F-4B53-B080-BB8D6F5C3D93}" dt="2024-05-10T16:00:14.737" v="542" actId="1076"/>
          <ac:spMkLst>
            <pc:docMk/>
            <pc:sldMk cId="4142098531" sldId="346"/>
            <ac:spMk id="282" creationId="{8996F438-790B-3DD1-0F64-C4D112C5EB84}"/>
          </ac:spMkLst>
        </pc:spChg>
        <pc:spChg chg="add mod">
          <ac:chgData name="Veniero Facchetti" userId="f2c6c99af91c4974" providerId="LiveId" clId="{34DF7D6B-EB0F-4B53-B080-BB8D6F5C3D93}" dt="2024-05-10T16:00:14.737" v="542" actId="1076"/>
          <ac:spMkLst>
            <pc:docMk/>
            <pc:sldMk cId="4142098531" sldId="346"/>
            <ac:spMk id="283" creationId="{0A862323-60C1-0D8F-F8FF-11B060FCDB4F}"/>
          </ac:spMkLst>
        </pc:spChg>
        <pc:spChg chg="add mod">
          <ac:chgData name="Veniero Facchetti" userId="f2c6c99af91c4974" providerId="LiveId" clId="{34DF7D6B-EB0F-4B53-B080-BB8D6F5C3D93}" dt="2024-05-10T16:00:14.737" v="542" actId="1076"/>
          <ac:spMkLst>
            <pc:docMk/>
            <pc:sldMk cId="4142098531" sldId="346"/>
            <ac:spMk id="284" creationId="{9A791A05-A4EE-CEF1-0017-E1ABCC870504}"/>
          </ac:spMkLst>
        </pc:spChg>
        <pc:spChg chg="add mod">
          <ac:chgData name="Veniero Facchetti" userId="f2c6c99af91c4974" providerId="LiveId" clId="{34DF7D6B-EB0F-4B53-B080-BB8D6F5C3D93}" dt="2024-05-10T16:00:14.737" v="542" actId="1076"/>
          <ac:spMkLst>
            <pc:docMk/>
            <pc:sldMk cId="4142098531" sldId="346"/>
            <ac:spMk id="285" creationId="{1147D714-34FB-A248-A7D0-049B20EC17E8}"/>
          </ac:spMkLst>
        </pc:spChg>
        <pc:spChg chg="add mod">
          <ac:chgData name="Veniero Facchetti" userId="f2c6c99af91c4974" providerId="LiveId" clId="{34DF7D6B-EB0F-4B53-B080-BB8D6F5C3D93}" dt="2024-05-10T16:00:14.737" v="542" actId="1076"/>
          <ac:spMkLst>
            <pc:docMk/>
            <pc:sldMk cId="4142098531" sldId="346"/>
            <ac:spMk id="286" creationId="{624E4745-601D-2613-31A0-54522FFB6F09}"/>
          </ac:spMkLst>
        </pc:spChg>
        <pc:spChg chg="add mod">
          <ac:chgData name="Veniero Facchetti" userId="f2c6c99af91c4974" providerId="LiveId" clId="{34DF7D6B-EB0F-4B53-B080-BB8D6F5C3D93}" dt="2024-05-10T16:00:14.737" v="542" actId="1076"/>
          <ac:spMkLst>
            <pc:docMk/>
            <pc:sldMk cId="4142098531" sldId="346"/>
            <ac:spMk id="287" creationId="{7218EBEF-4C53-38C5-CA95-3D7C012D3087}"/>
          </ac:spMkLst>
        </pc:spChg>
        <pc:spChg chg="add mod">
          <ac:chgData name="Veniero Facchetti" userId="f2c6c99af91c4974" providerId="LiveId" clId="{34DF7D6B-EB0F-4B53-B080-BB8D6F5C3D93}" dt="2024-05-10T16:00:14.737" v="542" actId="1076"/>
          <ac:spMkLst>
            <pc:docMk/>
            <pc:sldMk cId="4142098531" sldId="346"/>
            <ac:spMk id="288" creationId="{5021B2B3-3BF5-8F45-FF4E-268003EBC634}"/>
          </ac:spMkLst>
        </pc:spChg>
        <pc:spChg chg="add mod">
          <ac:chgData name="Veniero Facchetti" userId="f2c6c99af91c4974" providerId="LiveId" clId="{34DF7D6B-EB0F-4B53-B080-BB8D6F5C3D93}" dt="2024-05-10T16:00:14.737" v="542" actId="1076"/>
          <ac:spMkLst>
            <pc:docMk/>
            <pc:sldMk cId="4142098531" sldId="346"/>
            <ac:spMk id="289" creationId="{CD52E96E-CBFD-0C7B-C497-CA08E4050DBC}"/>
          </ac:spMkLst>
        </pc:spChg>
        <pc:spChg chg="add mod">
          <ac:chgData name="Veniero Facchetti" userId="f2c6c99af91c4974" providerId="LiveId" clId="{34DF7D6B-EB0F-4B53-B080-BB8D6F5C3D93}" dt="2024-05-10T16:00:14.737" v="542" actId="1076"/>
          <ac:spMkLst>
            <pc:docMk/>
            <pc:sldMk cId="4142098531" sldId="346"/>
            <ac:spMk id="290" creationId="{048FBB5D-8E08-EB30-3DD6-3E7FF0FA747B}"/>
          </ac:spMkLst>
        </pc:spChg>
        <pc:spChg chg="add mod">
          <ac:chgData name="Veniero Facchetti" userId="f2c6c99af91c4974" providerId="LiveId" clId="{34DF7D6B-EB0F-4B53-B080-BB8D6F5C3D93}" dt="2024-05-10T16:00:14.737" v="542" actId="1076"/>
          <ac:spMkLst>
            <pc:docMk/>
            <pc:sldMk cId="4142098531" sldId="346"/>
            <ac:spMk id="291" creationId="{F2EA5466-C0F7-EEDF-998A-382CF9BBB22F}"/>
          </ac:spMkLst>
        </pc:spChg>
        <pc:spChg chg="add mod">
          <ac:chgData name="Veniero Facchetti" userId="f2c6c99af91c4974" providerId="LiveId" clId="{34DF7D6B-EB0F-4B53-B080-BB8D6F5C3D93}" dt="2024-05-10T16:00:14.737" v="542" actId="1076"/>
          <ac:spMkLst>
            <pc:docMk/>
            <pc:sldMk cId="4142098531" sldId="346"/>
            <ac:spMk id="292" creationId="{7D9BD518-4227-C3DF-F033-DB06C9D11DF9}"/>
          </ac:spMkLst>
        </pc:spChg>
        <pc:spChg chg="add mod">
          <ac:chgData name="Veniero Facchetti" userId="f2c6c99af91c4974" providerId="LiveId" clId="{34DF7D6B-EB0F-4B53-B080-BB8D6F5C3D93}" dt="2024-05-10T16:00:14.737" v="542" actId="1076"/>
          <ac:spMkLst>
            <pc:docMk/>
            <pc:sldMk cId="4142098531" sldId="346"/>
            <ac:spMk id="293" creationId="{F376669D-FE27-E06C-C15B-8D1A464E1AA8}"/>
          </ac:spMkLst>
        </pc:spChg>
        <pc:spChg chg="add mod">
          <ac:chgData name="Veniero Facchetti" userId="f2c6c99af91c4974" providerId="LiveId" clId="{34DF7D6B-EB0F-4B53-B080-BB8D6F5C3D93}" dt="2024-05-10T16:00:14.737" v="542" actId="1076"/>
          <ac:spMkLst>
            <pc:docMk/>
            <pc:sldMk cId="4142098531" sldId="346"/>
            <ac:spMk id="294" creationId="{2B1E3DC2-F1A9-BC76-8A15-5CDE3C5DD36D}"/>
          </ac:spMkLst>
        </pc:spChg>
        <pc:spChg chg="add mod">
          <ac:chgData name="Veniero Facchetti" userId="f2c6c99af91c4974" providerId="LiveId" clId="{34DF7D6B-EB0F-4B53-B080-BB8D6F5C3D93}" dt="2024-05-10T16:00:14.737" v="542" actId="1076"/>
          <ac:spMkLst>
            <pc:docMk/>
            <pc:sldMk cId="4142098531" sldId="346"/>
            <ac:spMk id="295" creationId="{8594FC95-C709-6FB3-8F42-0065A2310303}"/>
          </ac:spMkLst>
        </pc:spChg>
        <pc:spChg chg="add mod">
          <ac:chgData name="Veniero Facchetti" userId="f2c6c99af91c4974" providerId="LiveId" clId="{34DF7D6B-EB0F-4B53-B080-BB8D6F5C3D93}" dt="2024-05-10T16:00:14.737" v="542" actId="1076"/>
          <ac:spMkLst>
            <pc:docMk/>
            <pc:sldMk cId="4142098531" sldId="346"/>
            <ac:spMk id="296" creationId="{42A21A8A-5847-28E9-6273-2E46F5AF1712}"/>
          </ac:spMkLst>
        </pc:spChg>
        <pc:spChg chg="add mod">
          <ac:chgData name="Veniero Facchetti" userId="f2c6c99af91c4974" providerId="LiveId" clId="{34DF7D6B-EB0F-4B53-B080-BB8D6F5C3D93}" dt="2024-05-10T16:00:14.737" v="542" actId="1076"/>
          <ac:spMkLst>
            <pc:docMk/>
            <pc:sldMk cId="4142098531" sldId="346"/>
            <ac:spMk id="305" creationId="{E9E8B3A0-61F5-6CD5-0AED-720E82BE1D37}"/>
          </ac:spMkLst>
        </pc:spChg>
        <pc:spChg chg="add mod">
          <ac:chgData name="Veniero Facchetti" userId="f2c6c99af91c4974" providerId="LiveId" clId="{34DF7D6B-EB0F-4B53-B080-BB8D6F5C3D93}" dt="2024-05-10T16:00:48.910" v="552" actId="1076"/>
          <ac:spMkLst>
            <pc:docMk/>
            <pc:sldMk cId="4142098531" sldId="346"/>
            <ac:spMk id="306" creationId="{19DA1B6E-CAB3-0C3E-A8B3-5137632404E8}"/>
          </ac:spMkLst>
        </pc:spChg>
        <pc:spChg chg="add mod">
          <ac:chgData name="Veniero Facchetti" userId="f2c6c99af91c4974" providerId="LiveId" clId="{34DF7D6B-EB0F-4B53-B080-BB8D6F5C3D93}" dt="2024-05-10T15:59:52.231" v="534"/>
          <ac:spMkLst>
            <pc:docMk/>
            <pc:sldMk cId="4142098531" sldId="346"/>
            <ac:spMk id="307" creationId="{590C6DAE-1410-1017-FCC1-5CA6B5A043AB}"/>
          </ac:spMkLst>
        </pc:spChg>
        <pc:spChg chg="mod">
          <ac:chgData name="Veniero Facchetti" userId="f2c6c99af91c4974" providerId="LiveId" clId="{34DF7D6B-EB0F-4B53-B080-BB8D6F5C3D93}" dt="2024-05-10T15:59:52.231" v="534"/>
          <ac:spMkLst>
            <pc:docMk/>
            <pc:sldMk cId="4142098531" sldId="346"/>
            <ac:spMk id="309" creationId="{F0CF4411-F4EE-E131-6057-BB6D5CFCAE31}"/>
          </ac:spMkLst>
        </pc:spChg>
        <pc:spChg chg="mod">
          <ac:chgData name="Veniero Facchetti" userId="f2c6c99af91c4974" providerId="LiveId" clId="{34DF7D6B-EB0F-4B53-B080-BB8D6F5C3D93}" dt="2024-05-10T15:59:52.231" v="534"/>
          <ac:spMkLst>
            <pc:docMk/>
            <pc:sldMk cId="4142098531" sldId="346"/>
            <ac:spMk id="310" creationId="{3708C887-8AD2-C4C3-2C19-76401D46A94C}"/>
          </ac:spMkLst>
        </pc:spChg>
        <pc:grpChg chg="del">
          <ac:chgData name="Veniero Facchetti" userId="f2c6c99af91c4974" providerId="LiveId" clId="{34DF7D6B-EB0F-4B53-B080-BB8D6F5C3D93}" dt="2024-05-10T15:59:42.394" v="532" actId="478"/>
          <ac:grpSpMkLst>
            <pc:docMk/>
            <pc:sldMk cId="4142098531" sldId="346"/>
            <ac:grpSpMk id="10" creationId="{1815ACEC-C912-57FE-A521-DBCA28B3B4FA}"/>
          </ac:grpSpMkLst>
        </pc:grpChg>
        <pc:grpChg chg="del">
          <ac:chgData name="Veniero Facchetti" userId="f2c6c99af91c4974" providerId="LiveId" clId="{34DF7D6B-EB0F-4B53-B080-BB8D6F5C3D93}" dt="2024-05-10T15:59:42.394" v="532" actId="478"/>
          <ac:grpSpMkLst>
            <pc:docMk/>
            <pc:sldMk cId="4142098531" sldId="346"/>
            <ac:grpSpMk id="206" creationId="{6263D90A-7449-C1C3-D3B3-72BE7FA0F2ED}"/>
          </ac:grpSpMkLst>
        </pc:grpChg>
        <pc:grpChg chg="del">
          <ac:chgData name="Veniero Facchetti" userId="f2c6c99af91c4974" providerId="LiveId" clId="{34DF7D6B-EB0F-4B53-B080-BB8D6F5C3D93}" dt="2024-05-10T15:59:42.394" v="532" actId="478"/>
          <ac:grpSpMkLst>
            <pc:docMk/>
            <pc:sldMk cId="4142098531" sldId="346"/>
            <ac:grpSpMk id="213" creationId="{EC7DFC7D-E821-C197-047D-67DECB22C608}"/>
          </ac:grpSpMkLst>
        </pc:grpChg>
        <pc:grpChg chg="del">
          <ac:chgData name="Veniero Facchetti" userId="f2c6c99af91c4974" providerId="LiveId" clId="{34DF7D6B-EB0F-4B53-B080-BB8D6F5C3D93}" dt="2024-05-10T15:59:44.910" v="533" actId="478"/>
          <ac:grpSpMkLst>
            <pc:docMk/>
            <pc:sldMk cId="4142098531" sldId="346"/>
            <ac:grpSpMk id="242" creationId="{2E84580E-F421-D25E-3277-217B0CC9500C}"/>
          </ac:grpSpMkLst>
        </pc:grpChg>
        <pc:grpChg chg="add mod">
          <ac:chgData name="Veniero Facchetti" userId="f2c6c99af91c4974" providerId="LiveId" clId="{34DF7D6B-EB0F-4B53-B080-BB8D6F5C3D93}" dt="2024-05-10T16:00:14.737" v="542" actId="1076"/>
          <ac:grpSpMkLst>
            <pc:docMk/>
            <pc:sldMk cId="4142098531" sldId="346"/>
            <ac:grpSpMk id="261" creationId="{5E72EBC4-9011-647B-1993-70C4339ED18D}"/>
          </ac:grpSpMkLst>
        </pc:grpChg>
        <pc:grpChg chg="add mod">
          <ac:chgData name="Veniero Facchetti" userId="f2c6c99af91c4974" providerId="LiveId" clId="{34DF7D6B-EB0F-4B53-B080-BB8D6F5C3D93}" dt="2024-05-10T16:00:14.737" v="542" actId="1076"/>
          <ac:grpSpMkLst>
            <pc:docMk/>
            <pc:sldMk cId="4142098531" sldId="346"/>
            <ac:grpSpMk id="265" creationId="{0AAD04FE-EDD5-55C8-8A18-449925C3C7EB}"/>
          </ac:grpSpMkLst>
        </pc:grpChg>
        <pc:grpChg chg="add mod">
          <ac:chgData name="Veniero Facchetti" userId="f2c6c99af91c4974" providerId="LiveId" clId="{34DF7D6B-EB0F-4B53-B080-BB8D6F5C3D93}" dt="2024-05-10T16:00:14.737" v="542" actId="1076"/>
          <ac:grpSpMkLst>
            <pc:docMk/>
            <pc:sldMk cId="4142098531" sldId="346"/>
            <ac:grpSpMk id="269" creationId="{5953ADA5-8AE7-B914-9C79-C3E68296F2DE}"/>
          </ac:grpSpMkLst>
        </pc:grpChg>
        <pc:grpChg chg="add mod">
          <ac:chgData name="Veniero Facchetti" userId="f2c6c99af91c4974" providerId="LiveId" clId="{34DF7D6B-EB0F-4B53-B080-BB8D6F5C3D93}" dt="2024-05-10T15:59:52.231" v="534"/>
          <ac:grpSpMkLst>
            <pc:docMk/>
            <pc:sldMk cId="4142098531" sldId="346"/>
            <ac:grpSpMk id="308" creationId="{40538DB9-687C-3185-BD3F-37B6E30446AA}"/>
          </ac:grpSpMkLst>
        </pc:grpChg>
        <pc:graphicFrameChg chg="del">
          <ac:chgData name="Veniero Facchetti" userId="f2c6c99af91c4974" providerId="LiveId" clId="{34DF7D6B-EB0F-4B53-B080-BB8D6F5C3D93}" dt="2024-05-10T15:59:42.394" v="532" actId="478"/>
          <ac:graphicFrameMkLst>
            <pc:docMk/>
            <pc:sldMk cId="4142098531" sldId="346"/>
            <ac:graphicFrameMk id="200" creationId="{6438B5E5-F602-3C28-7910-FDF557152380}"/>
          </ac:graphicFrameMkLst>
        </pc:graphicFrameChg>
        <pc:picChg chg="add mod">
          <ac:chgData name="Veniero Facchetti" userId="f2c6c99af91c4974" providerId="LiveId" clId="{34DF7D6B-EB0F-4B53-B080-BB8D6F5C3D93}" dt="2024-05-10T16:00:07.514" v="541" actId="1076"/>
          <ac:picMkLst>
            <pc:docMk/>
            <pc:sldMk cId="4142098531" sldId="346"/>
            <ac:picMk id="246" creationId="{93874715-010B-8796-8C1B-AB35E97DCFC9}"/>
          </ac:picMkLst>
        </pc:picChg>
        <pc:picChg chg="add mod">
          <ac:chgData name="Veniero Facchetti" userId="f2c6c99af91c4974" providerId="LiveId" clId="{34DF7D6B-EB0F-4B53-B080-BB8D6F5C3D93}" dt="2024-05-10T16:00:14.737" v="542" actId="1076"/>
          <ac:picMkLst>
            <pc:docMk/>
            <pc:sldMk cId="4142098531" sldId="346"/>
            <ac:picMk id="252" creationId="{EC290A77-B0ED-B3DF-17E8-29A53FC2EF4B}"/>
          </ac:picMkLst>
        </pc:picChg>
        <pc:picChg chg="add mod">
          <ac:chgData name="Veniero Facchetti" userId="f2c6c99af91c4974" providerId="LiveId" clId="{34DF7D6B-EB0F-4B53-B080-BB8D6F5C3D93}" dt="2024-05-10T16:00:14.737" v="542" actId="1076"/>
          <ac:picMkLst>
            <pc:docMk/>
            <pc:sldMk cId="4142098531" sldId="346"/>
            <ac:picMk id="253" creationId="{0385BF31-1521-F46C-86D1-7E63B726A401}"/>
          </ac:picMkLst>
        </pc:picChg>
        <pc:picChg chg="add mod">
          <ac:chgData name="Veniero Facchetti" userId="f2c6c99af91c4974" providerId="LiveId" clId="{34DF7D6B-EB0F-4B53-B080-BB8D6F5C3D93}" dt="2024-05-10T16:00:14.737" v="542" actId="1076"/>
          <ac:picMkLst>
            <pc:docMk/>
            <pc:sldMk cId="4142098531" sldId="346"/>
            <ac:picMk id="254" creationId="{D5BFB403-1B7B-5EA8-14B0-425B458F0E33}"/>
          </ac:picMkLst>
        </pc:picChg>
        <pc:picChg chg="add mod">
          <ac:chgData name="Veniero Facchetti" userId="f2c6c99af91c4974" providerId="LiveId" clId="{34DF7D6B-EB0F-4B53-B080-BB8D6F5C3D93}" dt="2024-05-10T16:00:14.737" v="542" actId="1076"/>
          <ac:picMkLst>
            <pc:docMk/>
            <pc:sldMk cId="4142098531" sldId="346"/>
            <ac:picMk id="297" creationId="{74715A3D-347F-0E06-44F9-738678F96E1E}"/>
          </ac:picMkLst>
        </pc:picChg>
        <pc:picChg chg="add mod">
          <ac:chgData name="Veniero Facchetti" userId="f2c6c99af91c4974" providerId="LiveId" clId="{34DF7D6B-EB0F-4B53-B080-BB8D6F5C3D93}" dt="2024-05-10T16:00:14.737" v="542" actId="1076"/>
          <ac:picMkLst>
            <pc:docMk/>
            <pc:sldMk cId="4142098531" sldId="346"/>
            <ac:picMk id="298" creationId="{B9738A55-4EF3-150A-D3E4-5CB15B3169A4}"/>
          </ac:picMkLst>
        </pc:picChg>
        <pc:picChg chg="add mod">
          <ac:chgData name="Veniero Facchetti" userId="f2c6c99af91c4974" providerId="LiveId" clId="{34DF7D6B-EB0F-4B53-B080-BB8D6F5C3D93}" dt="2024-05-10T16:00:14.737" v="542" actId="1076"/>
          <ac:picMkLst>
            <pc:docMk/>
            <pc:sldMk cId="4142098531" sldId="346"/>
            <ac:picMk id="299" creationId="{4D72921B-4E2A-D369-9E1E-D687AE44606B}"/>
          </ac:picMkLst>
        </pc:picChg>
        <pc:picChg chg="add mod">
          <ac:chgData name="Veniero Facchetti" userId="f2c6c99af91c4974" providerId="LiveId" clId="{34DF7D6B-EB0F-4B53-B080-BB8D6F5C3D93}" dt="2024-05-10T16:00:14.737" v="542" actId="1076"/>
          <ac:picMkLst>
            <pc:docMk/>
            <pc:sldMk cId="4142098531" sldId="346"/>
            <ac:picMk id="300" creationId="{BF587C09-2313-8FDF-D861-7E0D36D03ABB}"/>
          </ac:picMkLst>
        </pc:picChg>
        <pc:picChg chg="add mod">
          <ac:chgData name="Veniero Facchetti" userId="f2c6c99af91c4974" providerId="LiveId" clId="{34DF7D6B-EB0F-4B53-B080-BB8D6F5C3D93}" dt="2024-05-10T16:00:14.737" v="542" actId="1076"/>
          <ac:picMkLst>
            <pc:docMk/>
            <pc:sldMk cId="4142098531" sldId="346"/>
            <ac:picMk id="301" creationId="{DEE6537A-A0D0-54B7-055E-821A73095176}"/>
          </ac:picMkLst>
        </pc:picChg>
        <pc:picChg chg="add mod">
          <ac:chgData name="Veniero Facchetti" userId="f2c6c99af91c4974" providerId="LiveId" clId="{34DF7D6B-EB0F-4B53-B080-BB8D6F5C3D93}" dt="2024-05-10T16:00:14.737" v="542" actId="1076"/>
          <ac:picMkLst>
            <pc:docMk/>
            <pc:sldMk cId="4142098531" sldId="346"/>
            <ac:picMk id="302" creationId="{89A27195-08DA-597A-FE42-B4CC065A7FC8}"/>
          </ac:picMkLst>
        </pc:picChg>
        <pc:picChg chg="add mod">
          <ac:chgData name="Veniero Facchetti" userId="f2c6c99af91c4974" providerId="LiveId" clId="{34DF7D6B-EB0F-4B53-B080-BB8D6F5C3D93}" dt="2024-05-10T16:00:14.737" v="542" actId="1076"/>
          <ac:picMkLst>
            <pc:docMk/>
            <pc:sldMk cId="4142098531" sldId="346"/>
            <ac:picMk id="303" creationId="{6AC49C30-104C-2EAB-E25C-DD27A23B13B2}"/>
          </ac:picMkLst>
        </pc:picChg>
        <pc:picChg chg="add mod">
          <ac:chgData name="Veniero Facchetti" userId="f2c6c99af91c4974" providerId="LiveId" clId="{34DF7D6B-EB0F-4B53-B080-BB8D6F5C3D93}" dt="2024-05-10T16:00:14.737" v="542" actId="1076"/>
          <ac:picMkLst>
            <pc:docMk/>
            <pc:sldMk cId="4142098531" sldId="346"/>
            <ac:picMk id="304" creationId="{EAD39A88-034C-28B0-44C9-50A8425B55C1}"/>
          </ac:picMkLst>
        </pc:picChg>
        <pc:cxnChg chg="del">
          <ac:chgData name="Veniero Facchetti" userId="f2c6c99af91c4974" providerId="LiveId" clId="{34DF7D6B-EB0F-4B53-B080-BB8D6F5C3D93}" dt="2024-05-10T15:59:42.394" v="532" actId="478"/>
          <ac:cxnSpMkLst>
            <pc:docMk/>
            <pc:sldMk cId="4142098531" sldId="346"/>
            <ac:cxnSpMk id="3" creationId="{AA451919-848C-2D51-069C-F4CADA72DAE4}"/>
          </ac:cxnSpMkLst>
        </pc:cxnChg>
        <pc:cxnChg chg="mod">
          <ac:chgData name="Veniero Facchetti" userId="f2c6c99af91c4974" providerId="LiveId" clId="{34DF7D6B-EB0F-4B53-B080-BB8D6F5C3D93}" dt="2024-05-10T15:59:52.231" v="534"/>
          <ac:cxnSpMkLst>
            <pc:docMk/>
            <pc:sldMk cId="4142098531" sldId="346"/>
            <ac:cxnSpMk id="264" creationId="{7A35A959-972E-0091-078F-CC2A7296E81B}"/>
          </ac:cxnSpMkLst>
        </pc:cxnChg>
        <pc:cxnChg chg="mod">
          <ac:chgData name="Veniero Facchetti" userId="f2c6c99af91c4974" providerId="LiveId" clId="{34DF7D6B-EB0F-4B53-B080-BB8D6F5C3D93}" dt="2024-05-10T15:59:52.231" v="534"/>
          <ac:cxnSpMkLst>
            <pc:docMk/>
            <pc:sldMk cId="4142098531" sldId="346"/>
            <ac:cxnSpMk id="268" creationId="{780BE019-470E-58FA-FD16-83EB30B6984E}"/>
          </ac:cxnSpMkLst>
        </pc:cxnChg>
        <pc:cxnChg chg="mod">
          <ac:chgData name="Veniero Facchetti" userId="f2c6c99af91c4974" providerId="LiveId" clId="{34DF7D6B-EB0F-4B53-B080-BB8D6F5C3D93}" dt="2024-05-10T15:59:52.231" v="534"/>
          <ac:cxnSpMkLst>
            <pc:docMk/>
            <pc:sldMk cId="4142098531" sldId="346"/>
            <ac:cxnSpMk id="272" creationId="{7F5B6D84-E850-9FF8-FC5D-AC2A29068AF1}"/>
          </ac:cxnSpMkLst>
        </pc:cxnChg>
      </pc:sldChg>
      <pc:sldChg chg="addSp modSp new mod">
        <pc:chgData name="Veniero Facchetti" userId="f2c6c99af91c4974" providerId="LiveId" clId="{34DF7D6B-EB0F-4B53-B080-BB8D6F5C3D93}" dt="2024-05-10T16:01:43.789" v="565" actId="404"/>
        <pc:sldMkLst>
          <pc:docMk/>
          <pc:sldMk cId="2396760433" sldId="347"/>
        </pc:sldMkLst>
        <pc:spChg chg="add mod">
          <ac:chgData name="Veniero Facchetti" userId="f2c6c99af91c4974" providerId="LiveId" clId="{34DF7D6B-EB0F-4B53-B080-BB8D6F5C3D93}" dt="2024-05-10T16:01:43.789" v="565" actId="404"/>
          <ac:spMkLst>
            <pc:docMk/>
            <pc:sldMk cId="2396760433" sldId="347"/>
            <ac:spMk id="2" creationId="{8D46AC6C-48E6-AFAD-3238-B4F372E89AEB}"/>
          </ac:spMkLst>
        </pc:spChg>
        <pc:spChg chg="mod">
          <ac:chgData name="Veniero Facchetti" userId="f2c6c99af91c4974" providerId="LiveId" clId="{34DF7D6B-EB0F-4B53-B080-BB8D6F5C3D93}" dt="2024-05-10T16:01:20.804" v="555"/>
          <ac:spMkLst>
            <pc:docMk/>
            <pc:sldMk cId="2396760433" sldId="347"/>
            <ac:spMk id="4" creationId="{2991CFB7-E613-FB8B-C220-D5707A89EA12}"/>
          </ac:spMkLst>
        </pc:spChg>
        <pc:spChg chg="mod">
          <ac:chgData name="Veniero Facchetti" userId="f2c6c99af91c4974" providerId="LiveId" clId="{34DF7D6B-EB0F-4B53-B080-BB8D6F5C3D93}" dt="2024-05-10T16:01:20.804" v="555"/>
          <ac:spMkLst>
            <pc:docMk/>
            <pc:sldMk cId="2396760433" sldId="347"/>
            <ac:spMk id="5" creationId="{861754E1-1A56-F3E7-2E33-A06EBE83EEAA}"/>
          </ac:spMkLst>
        </pc:spChg>
        <pc:spChg chg="mod">
          <ac:chgData name="Veniero Facchetti" userId="f2c6c99af91c4974" providerId="LiveId" clId="{34DF7D6B-EB0F-4B53-B080-BB8D6F5C3D93}" dt="2024-05-10T16:01:20.804" v="555"/>
          <ac:spMkLst>
            <pc:docMk/>
            <pc:sldMk cId="2396760433" sldId="347"/>
            <ac:spMk id="7" creationId="{1D85374D-223B-94AB-D730-CCECBB108CD0}"/>
          </ac:spMkLst>
        </pc:spChg>
        <pc:spChg chg="mod">
          <ac:chgData name="Veniero Facchetti" userId="f2c6c99af91c4974" providerId="LiveId" clId="{34DF7D6B-EB0F-4B53-B080-BB8D6F5C3D93}" dt="2024-05-10T16:01:20.804" v="555"/>
          <ac:spMkLst>
            <pc:docMk/>
            <pc:sldMk cId="2396760433" sldId="347"/>
            <ac:spMk id="8" creationId="{7FF670EF-78BF-8749-B801-EEC2C80E531A}"/>
          </ac:spMkLst>
        </pc:spChg>
        <pc:spChg chg="add mod">
          <ac:chgData name="Veniero Facchetti" userId="f2c6c99af91c4974" providerId="LiveId" clId="{34DF7D6B-EB0F-4B53-B080-BB8D6F5C3D93}" dt="2024-05-10T16:01:20.804" v="555"/>
          <ac:spMkLst>
            <pc:docMk/>
            <pc:sldMk cId="2396760433" sldId="347"/>
            <ac:spMk id="9" creationId="{2A939152-40F5-78F3-53A4-407989FBC11E}"/>
          </ac:spMkLst>
        </pc:spChg>
        <pc:spChg chg="mod">
          <ac:chgData name="Veniero Facchetti" userId="f2c6c99af91c4974" providerId="LiveId" clId="{34DF7D6B-EB0F-4B53-B080-BB8D6F5C3D93}" dt="2024-05-10T16:01:20.804" v="555"/>
          <ac:spMkLst>
            <pc:docMk/>
            <pc:sldMk cId="2396760433" sldId="347"/>
            <ac:spMk id="11" creationId="{29EBB1AA-9188-F1B6-151B-C2BBC535EC9C}"/>
          </ac:spMkLst>
        </pc:spChg>
        <pc:spChg chg="mod">
          <ac:chgData name="Veniero Facchetti" userId="f2c6c99af91c4974" providerId="LiveId" clId="{34DF7D6B-EB0F-4B53-B080-BB8D6F5C3D93}" dt="2024-05-10T16:01:20.804" v="555"/>
          <ac:spMkLst>
            <pc:docMk/>
            <pc:sldMk cId="2396760433" sldId="347"/>
            <ac:spMk id="12" creationId="{2D7ECD7C-1C85-E9FC-0D2E-68DC1A6D9300}"/>
          </ac:spMkLst>
        </pc:spChg>
        <pc:spChg chg="mod">
          <ac:chgData name="Veniero Facchetti" userId="f2c6c99af91c4974" providerId="LiveId" clId="{34DF7D6B-EB0F-4B53-B080-BB8D6F5C3D93}" dt="2024-05-10T16:01:20.804" v="555"/>
          <ac:spMkLst>
            <pc:docMk/>
            <pc:sldMk cId="2396760433" sldId="347"/>
            <ac:spMk id="13" creationId="{B68399B8-E1F3-9CDF-6F70-5DEC98742B95}"/>
          </ac:spMkLst>
        </pc:spChg>
        <pc:spChg chg="mod">
          <ac:chgData name="Veniero Facchetti" userId="f2c6c99af91c4974" providerId="LiveId" clId="{34DF7D6B-EB0F-4B53-B080-BB8D6F5C3D93}" dt="2024-05-10T16:01:20.804" v="555"/>
          <ac:spMkLst>
            <pc:docMk/>
            <pc:sldMk cId="2396760433" sldId="347"/>
            <ac:spMk id="14" creationId="{114D9B0A-F1FC-A9BE-AAF3-301AB779EDCC}"/>
          </ac:spMkLst>
        </pc:spChg>
        <pc:spChg chg="mod">
          <ac:chgData name="Veniero Facchetti" userId="f2c6c99af91c4974" providerId="LiveId" clId="{34DF7D6B-EB0F-4B53-B080-BB8D6F5C3D93}" dt="2024-05-10T16:01:20.804" v="555"/>
          <ac:spMkLst>
            <pc:docMk/>
            <pc:sldMk cId="2396760433" sldId="347"/>
            <ac:spMk id="15" creationId="{0BBFBB33-D147-95D2-5A9E-C272846294C8}"/>
          </ac:spMkLst>
        </pc:spChg>
        <pc:spChg chg="mod">
          <ac:chgData name="Veniero Facchetti" userId="f2c6c99af91c4974" providerId="LiveId" clId="{34DF7D6B-EB0F-4B53-B080-BB8D6F5C3D93}" dt="2024-05-10T16:01:20.804" v="555"/>
          <ac:spMkLst>
            <pc:docMk/>
            <pc:sldMk cId="2396760433" sldId="347"/>
            <ac:spMk id="16" creationId="{76A76B6C-5384-2774-50AF-34D252B49B9E}"/>
          </ac:spMkLst>
        </pc:spChg>
        <pc:spChg chg="mod">
          <ac:chgData name="Veniero Facchetti" userId="f2c6c99af91c4974" providerId="LiveId" clId="{34DF7D6B-EB0F-4B53-B080-BB8D6F5C3D93}" dt="2024-05-10T16:01:20.804" v="555"/>
          <ac:spMkLst>
            <pc:docMk/>
            <pc:sldMk cId="2396760433" sldId="347"/>
            <ac:spMk id="17" creationId="{1655DDFC-362D-B9F7-C376-492C79F57F0A}"/>
          </ac:spMkLst>
        </pc:spChg>
        <pc:spChg chg="mod">
          <ac:chgData name="Veniero Facchetti" userId="f2c6c99af91c4974" providerId="LiveId" clId="{34DF7D6B-EB0F-4B53-B080-BB8D6F5C3D93}" dt="2024-05-10T16:01:20.804" v="555"/>
          <ac:spMkLst>
            <pc:docMk/>
            <pc:sldMk cId="2396760433" sldId="347"/>
            <ac:spMk id="18" creationId="{17A1B524-A40A-51C0-C2C5-45631D734695}"/>
          </ac:spMkLst>
        </pc:spChg>
        <pc:spChg chg="mod">
          <ac:chgData name="Veniero Facchetti" userId="f2c6c99af91c4974" providerId="LiveId" clId="{34DF7D6B-EB0F-4B53-B080-BB8D6F5C3D93}" dt="2024-05-10T16:01:20.804" v="555"/>
          <ac:spMkLst>
            <pc:docMk/>
            <pc:sldMk cId="2396760433" sldId="347"/>
            <ac:spMk id="19" creationId="{46DA9579-E4BA-1D34-0249-910BEBAFF6F0}"/>
          </ac:spMkLst>
        </pc:spChg>
        <pc:spChg chg="mod">
          <ac:chgData name="Veniero Facchetti" userId="f2c6c99af91c4974" providerId="LiveId" clId="{34DF7D6B-EB0F-4B53-B080-BB8D6F5C3D93}" dt="2024-05-10T16:01:20.804" v="555"/>
          <ac:spMkLst>
            <pc:docMk/>
            <pc:sldMk cId="2396760433" sldId="347"/>
            <ac:spMk id="20" creationId="{69E6DAD4-C92E-6508-BBB7-7614F7C81C00}"/>
          </ac:spMkLst>
        </pc:spChg>
        <pc:spChg chg="mod">
          <ac:chgData name="Veniero Facchetti" userId="f2c6c99af91c4974" providerId="LiveId" clId="{34DF7D6B-EB0F-4B53-B080-BB8D6F5C3D93}" dt="2024-05-10T16:01:20.804" v="555"/>
          <ac:spMkLst>
            <pc:docMk/>
            <pc:sldMk cId="2396760433" sldId="347"/>
            <ac:spMk id="21" creationId="{C52EF0B1-8E61-CF53-B909-2DE7161D0999}"/>
          </ac:spMkLst>
        </pc:spChg>
        <pc:spChg chg="mod">
          <ac:chgData name="Veniero Facchetti" userId="f2c6c99af91c4974" providerId="LiveId" clId="{34DF7D6B-EB0F-4B53-B080-BB8D6F5C3D93}" dt="2024-05-10T16:01:20.804" v="555"/>
          <ac:spMkLst>
            <pc:docMk/>
            <pc:sldMk cId="2396760433" sldId="347"/>
            <ac:spMk id="22" creationId="{B639631A-8C1A-ECC4-76F1-5FD417373C0E}"/>
          </ac:spMkLst>
        </pc:spChg>
        <pc:spChg chg="mod">
          <ac:chgData name="Veniero Facchetti" userId="f2c6c99af91c4974" providerId="LiveId" clId="{34DF7D6B-EB0F-4B53-B080-BB8D6F5C3D93}" dt="2024-05-10T16:01:20.804" v="555"/>
          <ac:spMkLst>
            <pc:docMk/>
            <pc:sldMk cId="2396760433" sldId="347"/>
            <ac:spMk id="23" creationId="{F911B177-6BDB-2F0E-2B46-61AFF486C2D9}"/>
          </ac:spMkLst>
        </pc:spChg>
        <pc:spChg chg="mod">
          <ac:chgData name="Veniero Facchetti" userId="f2c6c99af91c4974" providerId="LiveId" clId="{34DF7D6B-EB0F-4B53-B080-BB8D6F5C3D93}" dt="2024-05-10T16:01:20.804" v="555"/>
          <ac:spMkLst>
            <pc:docMk/>
            <pc:sldMk cId="2396760433" sldId="347"/>
            <ac:spMk id="24" creationId="{8FF09BA6-FF71-51C9-ED6F-2FA31392DB31}"/>
          </ac:spMkLst>
        </pc:spChg>
        <pc:spChg chg="mod">
          <ac:chgData name="Veniero Facchetti" userId="f2c6c99af91c4974" providerId="LiveId" clId="{34DF7D6B-EB0F-4B53-B080-BB8D6F5C3D93}" dt="2024-05-10T16:01:20.804" v="555"/>
          <ac:spMkLst>
            <pc:docMk/>
            <pc:sldMk cId="2396760433" sldId="347"/>
            <ac:spMk id="25" creationId="{5746F06B-6CEE-A09A-B0B6-E165F4FF6851}"/>
          </ac:spMkLst>
        </pc:spChg>
        <pc:spChg chg="mod">
          <ac:chgData name="Veniero Facchetti" userId="f2c6c99af91c4974" providerId="LiveId" clId="{34DF7D6B-EB0F-4B53-B080-BB8D6F5C3D93}" dt="2024-05-10T16:01:20.804" v="555"/>
          <ac:spMkLst>
            <pc:docMk/>
            <pc:sldMk cId="2396760433" sldId="347"/>
            <ac:spMk id="26" creationId="{170653AE-2D09-929C-A497-F2471A025F24}"/>
          </ac:spMkLst>
        </pc:spChg>
        <pc:spChg chg="mod">
          <ac:chgData name="Veniero Facchetti" userId="f2c6c99af91c4974" providerId="LiveId" clId="{34DF7D6B-EB0F-4B53-B080-BB8D6F5C3D93}" dt="2024-05-10T16:01:20.804" v="555"/>
          <ac:spMkLst>
            <pc:docMk/>
            <pc:sldMk cId="2396760433" sldId="347"/>
            <ac:spMk id="27" creationId="{1AAE747C-4E93-43E7-F120-B34F496DC5FE}"/>
          </ac:spMkLst>
        </pc:spChg>
        <pc:spChg chg="mod">
          <ac:chgData name="Veniero Facchetti" userId="f2c6c99af91c4974" providerId="LiveId" clId="{34DF7D6B-EB0F-4B53-B080-BB8D6F5C3D93}" dt="2024-05-10T16:01:20.804" v="555"/>
          <ac:spMkLst>
            <pc:docMk/>
            <pc:sldMk cId="2396760433" sldId="347"/>
            <ac:spMk id="28" creationId="{4B20D94B-6BED-2951-3EDD-A0FA69117AD4}"/>
          </ac:spMkLst>
        </pc:spChg>
        <pc:spChg chg="mod">
          <ac:chgData name="Veniero Facchetti" userId="f2c6c99af91c4974" providerId="LiveId" clId="{34DF7D6B-EB0F-4B53-B080-BB8D6F5C3D93}" dt="2024-05-10T16:01:20.804" v="555"/>
          <ac:spMkLst>
            <pc:docMk/>
            <pc:sldMk cId="2396760433" sldId="347"/>
            <ac:spMk id="29" creationId="{C0830A47-D12A-5DA6-F3C1-46C241BF3B67}"/>
          </ac:spMkLst>
        </pc:spChg>
        <pc:spChg chg="mod">
          <ac:chgData name="Veniero Facchetti" userId="f2c6c99af91c4974" providerId="LiveId" clId="{34DF7D6B-EB0F-4B53-B080-BB8D6F5C3D93}" dt="2024-05-10T16:01:20.804" v="555"/>
          <ac:spMkLst>
            <pc:docMk/>
            <pc:sldMk cId="2396760433" sldId="347"/>
            <ac:spMk id="30" creationId="{E46F1DE4-7231-36B0-5A5A-36CA7CBFCFBF}"/>
          </ac:spMkLst>
        </pc:spChg>
        <pc:spChg chg="mod">
          <ac:chgData name="Veniero Facchetti" userId="f2c6c99af91c4974" providerId="LiveId" clId="{34DF7D6B-EB0F-4B53-B080-BB8D6F5C3D93}" dt="2024-05-10T16:01:20.804" v="555"/>
          <ac:spMkLst>
            <pc:docMk/>
            <pc:sldMk cId="2396760433" sldId="347"/>
            <ac:spMk id="31" creationId="{1E76E21C-3E7A-1C89-CF25-4A72A1301D8D}"/>
          </ac:spMkLst>
        </pc:spChg>
        <pc:spChg chg="mod">
          <ac:chgData name="Veniero Facchetti" userId="f2c6c99af91c4974" providerId="LiveId" clId="{34DF7D6B-EB0F-4B53-B080-BB8D6F5C3D93}" dt="2024-05-10T16:01:20.804" v="555"/>
          <ac:spMkLst>
            <pc:docMk/>
            <pc:sldMk cId="2396760433" sldId="347"/>
            <ac:spMk id="32" creationId="{C57745FD-A9D4-340A-03B2-57F3F7562FA8}"/>
          </ac:spMkLst>
        </pc:spChg>
        <pc:spChg chg="mod">
          <ac:chgData name="Veniero Facchetti" userId="f2c6c99af91c4974" providerId="LiveId" clId="{34DF7D6B-EB0F-4B53-B080-BB8D6F5C3D93}" dt="2024-05-10T16:01:20.804" v="555"/>
          <ac:spMkLst>
            <pc:docMk/>
            <pc:sldMk cId="2396760433" sldId="347"/>
            <ac:spMk id="33" creationId="{D275E65D-B999-7A53-B08A-34596B245AD1}"/>
          </ac:spMkLst>
        </pc:spChg>
        <pc:spChg chg="mod">
          <ac:chgData name="Veniero Facchetti" userId="f2c6c99af91c4974" providerId="LiveId" clId="{34DF7D6B-EB0F-4B53-B080-BB8D6F5C3D93}" dt="2024-05-10T16:01:20.804" v="555"/>
          <ac:spMkLst>
            <pc:docMk/>
            <pc:sldMk cId="2396760433" sldId="347"/>
            <ac:spMk id="34" creationId="{914C4CB9-8B14-66FF-390B-169B624010FD}"/>
          </ac:spMkLst>
        </pc:spChg>
        <pc:spChg chg="mod">
          <ac:chgData name="Veniero Facchetti" userId="f2c6c99af91c4974" providerId="LiveId" clId="{34DF7D6B-EB0F-4B53-B080-BB8D6F5C3D93}" dt="2024-05-10T16:01:20.804" v="555"/>
          <ac:spMkLst>
            <pc:docMk/>
            <pc:sldMk cId="2396760433" sldId="347"/>
            <ac:spMk id="35" creationId="{72EF2AA1-9D6B-ABBA-E9E6-DB993F4E893C}"/>
          </ac:spMkLst>
        </pc:spChg>
        <pc:spChg chg="mod">
          <ac:chgData name="Veniero Facchetti" userId="f2c6c99af91c4974" providerId="LiveId" clId="{34DF7D6B-EB0F-4B53-B080-BB8D6F5C3D93}" dt="2024-05-10T16:01:20.804" v="555"/>
          <ac:spMkLst>
            <pc:docMk/>
            <pc:sldMk cId="2396760433" sldId="347"/>
            <ac:spMk id="36" creationId="{EF064031-9CC1-5F97-84C1-04E4A51340A9}"/>
          </ac:spMkLst>
        </pc:spChg>
        <pc:spChg chg="mod">
          <ac:chgData name="Veniero Facchetti" userId="f2c6c99af91c4974" providerId="LiveId" clId="{34DF7D6B-EB0F-4B53-B080-BB8D6F5C3D93}" dt="2024-05-10T16:01:20.804" v="555"/>
          <ac:spMkLst>
            <pc:docMk/>
            <pc:sldMk cId="2396760433" sldId="347"/>
            <ac:spMk id="37" creationId="{42EE67DF-E89E-62CE-7FEA-04B3E033C793}"/>
          </ac:spMkLst>
        </pc:spChg>
        <pc:spChg chg="mod">
          <ac:chgData name="Veniero Facchetti" userId="f2c6c99af91c4974" providerId="LiveId" clId="{34DF7D6B-EB0F-4B53-B080-BB8D6F5C3D93}" dt="2024-05-10T16:01:20.804" v="555"/>
          <ac:spMkLst>
            <pc:docMk/>
            <pc:sldMk cId="2396760433" sldId="347"/>
            <ac:spMk id="38" creationId="{5DDA5524-0A41-1019-6334-EE42EC38D1AF}"/>
          </ac:spMkLst>
        </pc:spChg>
        <pc:spChg chg="mod">
          <ac:chgData name="Veniero Facchetti" userId="f2c6c99af91c4974" providerId="LiveId" clId="{34DF7D6B-EB0F-4B53-B080-BB8D6F5C3D93}" dt="2024-05-10T16:01:20.804" v="555"/>
          <ac:spMkLst>
            <pc:docMk/>
            <pc:sldMk cId="2396760433" sldId="347"/>
            <ac:spMk id="39" creationId="{44464D14-7A52-26A8-D201-801DCC2D826E}"/>
          </ac:spMkLst>
        </pc:spChg>
        <pc:spChg chg="mod">
          <ac:chgData name="Veniero Facchetti" userId="f2c6c99af91c4974" providerId="LiveId" clId="{34DF7D6B-EB0F-4B53-B080-BB8D6F5C3D93}" dt="2024-05-10T16:01:20.804" v="555"/>
          <ac:spMkLst>
            <pc:docMk/>
            <pc:sldMk cId="2396760433" sldId="347"/>
            <ac:spMk id="40" creationId="{D4584742-EC56-E141-4D67-9EF3141EC540}"/>
          </ac:spMkLst>
        </pc:spChg>
        <pc:spChg chg="mod">
          <ac:chgData name="Veniero Facchetti" userId="f2c6c99af91c4974" providerId="LiveId" clId="{34DF7D6B-EB0F-4B53-B080-BB8D6F5C3D93}" dt="2024-05-10T16:01:20.804" v="555"/>
          <ac:spMkLst>
            <pc:docMk/>
            <pc:sldMk cId="2396760433" sldId="347"/>
            <ac:spMk id="41" creationId="{E1030555-1307-BBEB-AA67-68F4B0E4589E}"/>
          </ac:spMkLst>
        </pc:spChg>
        <pc:spChg chg="mod">
          <ac:chgData name="Veniero Facchetti" userId="f2c6c99af91c4974" providerId="LiveId" clId="{34DF7D6B-EB0F-4B53-B080-BB8D6F5C3D93}" dt="2024-05-10T16:01:20.804" v="555"/>
          <ac:spMkLst>
            <pc:docMk/>
            <pc:sldMk cId="2396760433" sldId="347"/>
            <ac:spMk id="42" creationId="{1917F72F-9DAE-B0E2-F87B-BC148DA8F182}"/>
          </ac:spMkLst>
        </pc:spChg>
        <pc:spChg chg="mod">
          <ac:chgData name="Veniero Facchetti" userId="f2c6c99af91c4974" providerId="LiveId" clId="{34DF7D6B-EB0F-4B53-B080-BB8D6F5C3D93}" dt="2024-05-10T16:01:20.804" v="555"/>
          <ac:spMkLst>
            <pc:docMk/>
            <pc:sldMk cId="2396760433" sldId="347"/>
            <ac:spMk id="43" creationId="{429DEDAA-647E-DC61-6ADA-2ACE9A958094}"/>
          </ac:spMkLst>
        </pc:spChg>
        <pc:spChg chg="mod">
          <ac:chgData name="Veniero Facchetti" userId="f2c6c99af91c4974" providerId="LiveId" clId="{34DF7D6B-EB0F-4B53-B080-BB8D6F5C3D93}" dt="2024-05-10T16:01:20.804" v="555"/>
          <ac:spMkLst>
            <pc:docMk/>
            <pc:sldMk cId="2396760433" sldId="347"/>
            <ac:spMk id="44" creationId="{77EAE277-BEC8-13DD-EF73-A3C499DD1F62}"/>
          </ac:spMkLst>
        </pc:spChg>
        <pc:spChg chg="mod">
          <ac:chgData name="Veniero Facchetti" userId="f2c6c99af91c4974" providerId="LiveId" clId="{34DF7D6B-EB0F-4B53-B080-BB8D6F5C3D93}" dt="2024-05-10T16:01:20.804" v="555"/>
          <ac:spMkLst>
            <pc:docMk/>
            <pc:sldMk cId="2396760433" sldId="347"/>
            <ac:spMk id="45" creationId="{E88B704C-3A46-1546-5F7C-2C9C42C7FEB9}"/>
          </ac:spMkLst>
        </pc:spChg>
        <pc:spChg chg="mod">
          <ac:chgData name="Veniero Facchetti" userId="f2c6c99af91c4974" providerId="LiveId" clId="{34DF7D6B-EB0F-4B53-B080-BB8D6F5C3D93}" dt="2024-05-10T16:01:20.804" v="555"/>
          <ac:spMkLst>
            <pc:docMk/>
            <pc:sldMk cId="2396760433" sldId="347"/>
            <ac:spMk id="46" creationId="{427042A7-6850-B883-97CB-345233BFB8B4}"/>
          </ac:spMkLst>
        </pc:spChg>
        <pc:spChg chg="mod">
          <ac:chgData name="Veniero Facchetti" userId="f2c6c99af91c4974" providerId="LiveId" clId="{34DF7D6B-EB0F-4B53-B080-BB8D6F5C3D93}" dt="2024-05-10T16:01:20.804" v="555"/>
          <ac:spMkLst>
            <pc:docMk/>
            <pc:sldMk cId="2396760433" sldId="347"/>
            <ac:spMk id="47" creationId="{9F447F75-F873-E096-7369-12EC56D80EAF}"/>
          </ac:spMkLst>
        </pc:spChg>
        <pc:spChg chg="mod">
          <ac:chgData name="Veniero Facchetti" userId="f2c6c99af91c4974" providerId="LiveId" clId="{34DF7D6B-EB0F-4B53-B080-BB8D6F5C3D93}" dt="2024-05-10T16:01:20.804" v="555"/>
          <ac:spMkLst>
            <pc:docMk/>
            <pc:sldMk cId="2396760433" sldId="347"/>
            <ac:spMk id="48" creationId="{29781A3F-91AA-306E-E391-EC685BCAA9CD}"/>
          </ac:spMkLst>
        </pc:spChg>
        <pc:spChg chg="mod">
          <ac:chgData name="Veniero Facchetti" userId="f2c6c99af91c4974" providerId="LiveId" clId="{34DF7D6B-EB0F-4B53-B080-BB8D6F5C3D93}" dt="2024-05-10T16:01:20.804" v="555"/>
          <ac:spMkLst>
            <pc:docMk/>
            <pc:sldMk cId="2396760433" sldId="347"/>
            <ac:spMk id="49" creationId="{1FFC80ED-70CA-1519-4110-CC17AEA210E4}"/>
          </ac:spMkLst>
        </pc:spChg>
        <pc:spChg chg="mod">
          <ac:chgData name="Veniero Facchetti" userId="f2c6c99af91c4974" providerId="LiveId" clId="{34DF7D6B-EB0F-4B53-B080-BB8D6F5C3D93}" dt="2024-05-10T16:01:20.804" v="555"/>
          <ac:spMkLst>
            <pc:docMk/>
            <pc:sldMk cId="2396760433" sldId="347"/>
            <ac:spMk id="50" creationId="{349C171D-985D-D5DE-FF3A-76A1B57D7954}"/>
          </ac:spMkLst>
        </pc:spChg>
        <pc:spChg chg="mod">
          <ac:chgData name="Veniero Facchetti" userId="f2c6c99af91c4974" providerId="LiveId" clId="{34DF7D6B-EB0F-4B53-B080-BB8D6F5C3D93}" dt="2024-05-10T16:01:20.804" v="555"/>
          <ac:spMkLst>
            <pc:docMk/>
            <pc:sldMk cId="2396760433" sldId="347"/>
            <ac:spMk id="51" creationId="{13243BD9-F5B7-48AB-E071-3659B412C0A0}"/>
          </ac:spMkLst>
        </pc:spChg>
        <pc:spChg chg="mod">
          <ac:chgData name="Veniero Facchetti" userId="f2c6c99af91c4974" providerId="LiveId" clId="{34DF7D6B-EB0F-4B53-B080-BB8D6F5C3D93}" dt="2024-05-10T16:01:20.804" v="555"/>
          <ac:spMkLst>
            <pc:docMk/>
            <pc:sldMk cId="2396760433" sldId="347"/>
            <ac:spMk id="54" creationId="{83C77278-84C6-4BD3-2569-66A0C3712B57}"/>
          </ac:spMkLst>
        </pc:spChg>
        <pc:spChg chg="mod">
          <ac:chgData name="Veniero Facchetti" userId="f2c6c99af91c4974" providerId="LiveId" clId="{34DF7D6B-EB0F-4B53-B080-BB8D6F5C3D93}" dt="2024-05-10T16:01:20.804" v="555"/>
          <ac:spMkLst>
            <pc:docMk/>
            <pc:sldMk cId="2396760433" sldId="347"/>
            <ac:spMk id="55" creationId="{63725ED0-6005-FE67-7BC5-25D14050D3C4}"/>
          </ac:spMkLst>
        </pc:spChg>
        <pc:spChg chg="mod">
          <ac:chgData name="Veniero Facchetti" userId="f2c6c99af91c4974" providerId="LiveId" clId="{34DF7D6B-EB0F-4B53-B080-BB8D6F5C3D93}" dt="2024-05-10T16:01:20.804" v="555"/>
          <ac:spMkLst>
            <pc:docMk/>
            <pc:sldMk cId="2396760433" sldId="347"/>
            <ac:spMk id="56" creationId="{BD4BD548-423D-CDD4-7EC1-C9A4A7B04714}"/>
          </ac:spMkLst>
        </pc:spChg>
        <pc:spChg chg="mod">
          <ac:chgData name="Veniero Facchetti" userId="f2c6c99af91c4974" providerId="LiveId" clId="{34DF7D6B-EB0F-4B53-B080-BB8D6F5C3D93}" dt="2024-05-10T16:01:20.804" v="555"/>
          <ac:spMkLst>
            <pc:docMk/>
            <pc:sldMk cId="2396760433" sldId="347"/>
            <ac:spMk id="57" creationId="{8E351DA8-EB50-96EA-C4C2-1BAAA5967D0B}"/>
          </ac:spMkLst>
        </pc:spChg>
        <pc:spChg chg="mod">
          <ac:chgData name="Veniero Facchetti" userId="f2c6c99af91c4974" providerId="LiveId" clId="{34DF7D6B-EB0F-4B53-B080-BB8D6F5C3D93}" dt="2024-05-10T16:01:20.804" v="555"/>
          <ac:spMkLst>
            <pc:docMk/>
            <pc:sldMk cId="2396760433" sldId="347"/>
            <ac:spMk id="58" creationId="{4F48DBC4-89B8-A32B-CFBB-C51B2DB2CE32}"/>
          </ac:spMkLst>
        </pc:spChg>
        <pc:spChg chg="add mod">
          <ac:chgData name="Veniero Facchetti" userId="f2c6c99af91c4974" providerId="LiveId" clId="{34DF7D6B-EB0F-4B53-B080-BB8D6F5C3D93}" dt="2024-05-10T16:01:20.804" v="555"/>
          <ac:spMkLst>
            <pc:docMk/>
            <pc:sldMk cId="2396760433" sldId="347"/>
            <ac:spMk id="59" creationId="{485648B8-030F-64AE-E161-D4ED82B9EDA4}"/>
          </ac:spMkLst>
        </pc:spChg>
        <pc:spChg chg="add mod">
          <ac:chgData name="Veniero Facchetti" userId="f2c6c99af91c4974" providerId="LiveId" clId="{34DF7D6B-EB0F-4B53-B080-BB8D6F5C3D93}" dt="2024-05-10T16:01:20.804" v="555"/>
          <ac:spMkLst>
            <pc:docMk/>
            <pc:sldMk cId="2396760433" sldId="347"/>
            <ac:spMk id="60" creationId="{9E6A0B1C-E4F6-8A71-0A85-1879F30EC52F}"/>
          </ac:spMkLst>
        </pc:spChg>
        <pc:spChg chg="add mod">
          <ac:chgData name="Veniero Facchetti" userId="f2c6c99af91c4974" providerId="LiveId" clId="{34DF7D6B-EB0F-4B53-B080-BB8D6F5C3D93}" dt="2024-05-10T16:01:20.804" v="555"/>
          <ac:spMkLst>
            <pc:docMk/>
            <pc:sldMk cId="2396760433" sldId="347"/>
            <ac:spMk id="61" creationId="{C252E35F-AD97-E04E-1BB1-9896DE1B3896}"/>
          </ac:spMkLst>
        </pc:spChg>
        <pc:spChg chg="add mod">
          <ac:chgData name="Veniero Facchetti" userId="f2c6c99af91c4974" providerId="LiveId" clId="{34DF7D6B-EB0F-4B53-B080-BB8D6F5C3D93}" dt="2024-05-10T16:01:20.804" v="555"/>
          <ac:spMkLst>
            <pc:docMk/>
            <pc:sldMk cId="2396760433" sldId="347"/>
            <ac:spMk id="62" creationId="{F1AE5966-FD40-5BDE-4EAC-B32965E1CC75}"/>
          </ac:spMkLst>
        </pc:spChg>
        <pc:spChg chg="add mod">
          <ac:chgData name="Veniero Facchetti" userId="f2c6c99af91c4974" providerId="LiveId" clId="{34DF7D6B-EB0F-4B53-B080-BB8D6F5C3D93}" dt="2024-05-10T16:01:20.804" v="555"/>
          <ac:spMkLst>
            <pc:docMk/>
            <pc:sldMk cId="2396760433" sldId="347"/>
            <ac:spMk id="63" creationId="{96481F7D-3FB6-3B75-A9BE-A0256915FA70}"/>
          </ac:spMkLst>
        </pc:spChg>
        <pc:spChg chg="add mod">
          <ac:chgData name="Veniero Facchetti" userId="f2c6c99af91c4974" providerId="LiveId" clId="{34DF7D6B-EB0F-4B53-B080-BB8D6F5C3D93}" dt="2024-05-10T16:01:20.804" v="555"/>
          <ac:spMkLst>
            <pc:docMk/>
            <pc:sldMk cId="2396760433" sldId="347"/>
            <ac:spMk id="64" creationId="{C074901B-EA1E-B6D0-F91B-A079BDCC229C}"/>
          </ac:spMkLst>
        </pc:spChg>
        <pc:spChg chg="add mod">
          <ac:chgData name="Veniero Facchetti" userId="f2c6c99af91c4974" providerId="LiveId" clId="{34DF7D6B-EB0F-4B53-B080-BB8D6F5C3D93}" dt="2024-05-10T16:01:20.804" v="555"/>
          <ac:spMkLst>
            <pc:docMk/>
            <pc:sldMk cId="2396760433" sldId="347"/>
            <ac:spMk id="65" creationId="{700A24CE-CEED-130F-F905-4466699E9969}"/>
          </ac:spMkLst>
        </pc:spChg>
        <pc:spChg chg="add mod">
          <ac:chgData name="Veniero Facchetti" userId="f2c6c99af91c4974" providerId="LiveId" clId="{34DF7D6B-EB0F-4B53-B080-BB8D6F5C3D93}" dt="2024-05-10T16:01:20.804" v="555"/>
          <ac:spMkLst>
            <pc:docMk/>
            <pc:sldMk cId="2396760433" sldId="347"/>
            <ac:spMk id="66" creationId="{A1176AB3-0C4C-6E71-E086-EACEB42D403C}"/>
          </ac:spMkLst>
        </pc:spChg>
        <pc:spChg chg="add mod">
          <ac:chgData name="Veniero Facchetti" userId="f2c6c99af91c4974" providerId="LiveId" clId="{34DF7D6B-EB0F-4B53-B080-BB8D6F5C3D93}" dt="2024-05-10T16:01:20.804" v="555"/>
          <ac:spMkLst>
            <pc:docMk/>
            <pc:sldMk cId="2396760433" sldId="347"/>
            <ac:spMk id="67" creationId="{32B5E2D9-1CEA-3E15-1D19-7DC8DC00728A}"/>
          </ac:spMkLst>
        </pc:spChg>
        <pc:spChg chg="add mod">
          <ac:chgData name="Veniero Facchetti" userId="f2c6c99af91c4974" providerId="LiveId" clId="{34DF7D6B-EB0F-4B53-B080-BB8D6F5C3D93}" dt="2024-05-10T16:01:20.804" v="555"/>
          <ac:spMkLst>
            <pc:docMk/>
            <pc:sldMk cId="2396760433" sldId="347"/>
            <ac:spMk id="68" creationId="{A1FE4115-2935-8D98-897F-D340678C12B7}"/>
          </ac:spMkLst>
        </pc:spChg>
        <pc:spChg chg="add mod">
          <ac:chgData name="Veniero Facchetti" userId="f2c6c99af91c4974" providerId="LiveId" clId="{34DF7D6B-EB0F-4B53-B080-BB8D6F5C3D93}" dt="2024-05-10T16:01:20.804" v="555"/>
          <ac:spMkLst>
            <pc:docMk/>
            <pc:sldMk cId="2396760433" sldId="347"/>
            <ac:spMk id="69" creationId="{A77B36ED-6EC6-7056-5080-04B4AB02384D}"/>
          </ac:spMkLst>
        </pc:spChg>
        <pc:spChg chg="add mod">
          <ac:chgData name="Veniero Facchetti" userId="f2c6c99af91c4974" providerId="LiveId" clId="{34DF7D6B-EB0F-4B53-B080-BB8D6F5C3D93}" dt="2024-05-10T16:01:20.804" v="555"/>
          <ac:spMkLst>
            <pc:docMk/>
            <pc:sldMk cId="2396760433" sldId="347"/>
            <ac:spMk id="70" creationId="{B34875EF-420D-21D3-F503-7F05D0073210}"/>
          </ac:spMkLst>
        </pc:spChg>
        <pc:spChg chg="add mod">
          <ac:chgData name="Veniero Facchetti" userId="f2c6c99af91c4974" providerId="LiveId" clId="{34DF7D6B-EB0F-4B53-B080-BB8D6F5C3D93}" dt="2024-05-10T16:01:20.804" v="555"/>
          <ac:spMkLst>
            <pc:docMk/>
            <pc:sldMk cId="2396760433" sldId="347"/>
            <ac:spMk id="71" creationId="{773F18A5-2D13-A969-774A-B669D20045C7}"/>
          </ac:spMkLst>
        </pc:spChg>
        <pc:spChg chg="add mod">
          <ac:chgData name="Veniero Facchetti" userId="f2c6c99af91c4974" providerId="LiveId" clId="{34DF7D6B-EB0F-4B53-B080-BB8D6F5C3D93}" dt="2024-05-10T16:01:20.804" v="555"/>
          <ac:spMkLst>
            <pc:docMk/>
            <pc:sldMk cId="2396760433" sldId="347"/>
            <ac:spMk id="72" creationId="{E3FE6E18-F116-A66F-514E-3DD51E829BD7}"/>
          </ac:spMkLst>
        </pc:spChg>
        <pc:spChg chg="add mod">
          <ac:chgData name="Veniero Facchetti" userId="f2c6c99af91c4974" providerId="LiveId" clId="{34DF7D6B-EB0F-4B53-B080-BB8D6F5C3D93}" dt="2024-05-10T16:01:20.804" v="555"/>
          <ac:spMkLst>
            <pc:docMk/>
            <pc:sldMk cId="2396760433" sldId="347"/>
            <ac:spMk id="73" creationId="{7D09290C-A22F-197D-F1E5-E96A4FB82445}"/>
          </ac:spMkLst>
        </pc:spChg>
        <pc:spChg chg="add mod">
          <ac:chgData name="Veniero Facchetti" userId="f2c6c99af91c4974" providerId="LiveId" clId="{34DF7D6B-EB0F-4B53-B080-BB8D6F5C3D93}" dt="2024-05-10T16:01:20.804" v="555"/>
          <ac:spMkLst>
            <pc:docMk/>
            <pc:sldMk cId="2396760433" sldId="347"/>
            <ac:spMk id="74" creationId="{FCC40E4F-A3B7-B251-6857-EF74DD4334BA}"/>
          </ac:spMkLst>
        </pc:spChg>
        <pc:spChg chg="add mod">
          <ac:chgData name="Veniero Facchetti" userId="f2c6c99af91c4974" providerId="LiveId" clId="{34DF7D6B-EB0F-4B53-B080-BB8D6F5C3D93}" dt="2024-05-10T16:01:20.804" v="555"/>
          <ac:spMkLst>
            <pc:docMk/>
            <pc:sldMk cId="2396760433" sldId="347"/>
            <ac:spMk id="75" creationId="{3B3B8EAF-DBAF-97E6-E26D-CD7B5FD403CB}"/>
          </ac:spMkLst>
        </pc:spChg>
        <pc:spChg chg="add mod">
          <ac:chgData name="Veniero Facchetti" userId="f2c6c99af91c4974" providerId="LiveId" clId="{34DF7D6B-EB0F-4B53-B080-BB8D6F5C3D93}" dt="2024-05-10T16:01:20.804" v="555"/>
          <ac:spMkLst>
            <pc:docMk/>
            <pc:sldMk cId="2396760433" sldId="347"/>
            <ac:spMk id="76" creationId="{2804F895-F8C7-86EB-49D8-7EDAC067B312}"/>
          </ac:spMkLst>
        </pc:spChg>
        <pc:spChg chg="add mod">
          <ac:chgData name="Veniero Facchetti" userId="f2c6c99af91c4974" providerId="LiveId" clId="{34DF7D6B-EB0F-4B53-B080-BB8D6F5C3D93}" dt="2024-05-10T16:01:20.804" v="555"/>
          <ac:spMkLst>
            <pc:docMk/>
            <pc:sldMk cId="2396760433" sldId="347"/>
            <ac:spMk id="77" creationId="{3B21B13A-F63F-67DD-4618-EF54E08AED25}"/>
          </ac:spMkLst>
        </pc:spChg>
        <pc:spChg chg="add mod">
          <ac:chgData name="Veniero Facchetti" userId="f2c6c99af91c4974" providerId="LiveId" clId="{34DF7D6B-EB0F-4B53-B080-BB8D6F5C3D93}" dt="2024-05-10T16:01:20.804" v="555"/>
          <ac:spMkLst>
            <pc:docMk/>
            <pc:sldMk cId="2396760433" sldId="347"/>
            <ac:spMk id="78" creationId="{93BBBB3B-AA8A-4D96-484A-73F086E42D87}"/>
          </ac:spMkLst>
        </pc:spChg>
        <pc:spChg chg="add mod">
          <ac:chgData name="Veniero Facchetti" userId="f2c6c99af91c4974" providerId="LiveId" clId="{34DF7D6B-EB0F-4B53-B080-BB8D6F5C3D93}" dt="2024-05-10T16:01:20.804" v="555"/>
          <ac:spMkLst>
            <pc:docMk/>
            <pc:sldMk cId="2396760433" sldId="347"/>
            <ac:spMk id="79" creationId="{C0B38124-1C4A-DC49-1E58-AAB79A2DA7C1}"/>
          </ac:spMkLst>
        </pc:spChg>
        <pc:spChg chg="add mod">
          <ac:chgData name="Veniero Facchetti" userId="f2c6c99af91c4974" providerId="LiveId" clId="{34DF7D6B-EB0F-4B53-B080-BB8D6F5C3D93}" dt="2024-05-10T16:01:20.804" v="555"/>
          <ac:spMkLst>
            <pc:docMk/>
            <pc:sldMk cId="2396760433" sldId="347"/>
            <ac:spMk id="80" creationId="{1832F00A-75A5-01EB-AE3D-1D056BBF3519}"/>
          </ac:spMkLst>
        </pc:spChg>
        <pc:spChg chg="add mod">
          <ac:chgData name="Veniero Facchetti" userId="f2c6c99af91c4974" providerId="LiveId" clId="{34DF7D6B-EB0F-4B53-B080-BB8D6F5C3D93}" dt="2024-05-10T16:01:20.804" v="555"/>
          <ac:spMkLst>
            <pc:docMk/>
            <pc:sldMk cId="2396760433" sldId="347"/>
            <ac:spMk id="81" creationId="{C1FA7FFD-E5DB-6C70-4797-C3E51629B811}"/>
          </ac:spMkLst>
        </pc:spChg>
        <pc:spChg chg="add mod">
          <ac:chgData name="Veniero Facchetti" userId="f2c6c99af91c4974" providerId="LiveId" clId="{34DF7D6B-EB0F-4B53-B080-BB8D6F5C3D93}" dt="2024-05-10T16:01:20.804" v="555"/>
          <ac:spMkLst>
            <pc:docMk/>
            <pc:sldMk cId="2396760433" sldId="347"/>
            <ac:spMk id="82" creationId="{8F22BF5D-4E7B-F7BD-4B46-4E53D80398F3}"/>
          </ac:spMkLst>
        </pc:spChg>
        <pc:spChg chg="add mod">
          <ac:chgData name="Veniero Facchetti" userId="f2c6c99af91c4974" providerId="LiveId" clId="{34DF7D6B-EB0F-4B53-B080-BB8D6F5C3D93}" dt="2024-05-10T16:01:20.804" v="555"/>
          <ac:spMkLst>
            <pc:docMk/>
            <pc:sldMk cId="2396760433" sldId="347"/>
            <ac:spMk id="83" creationId="{5516C1D6-DACF-46BB-092E-E8979CF1AA1A}"/>
          </ac:spMkLst>
        </pc:spChg>
        <pc:spChg chg="add mod">
          <ac:chgData name="Veniero Facchetti" userId="f2c6c99af91c4974" providerId="LiveId" clId="{34DF7D6B-EB0F-4B53-B080-BB8D6F5C3D93}" dt="2024-05-10T16:01:20.804" v="555"/>
          <ac:spMkLst>
            <pc:docMk/>
            <pc:sldMk cId="2396760433" sldId="347"/>
            <ac:spMk id="84" creationId="{90FA367E-A9E6-A883-01F6-1DB283E91106}"/>
          </ac:spMkLst>
        </pc:spChg>
        <pc:spChg chg="add mod">
          <ac:chgData name="Veniero Facchetti" userId="f2c6c99af91c4974" providerId="LiveId" clId="{34DF7D6B-EB0F-4B53-B080-BB8D6F5C3D93}" dt="2024-05-10T16:01:20.804" v="555"/>
          <ac:spMkLst>
            <pc:docMk/>
            <pc:sldMk cId="2396760433" sldId="347"/>
            <ac:spMk id="85" creationId="{159B168D-7113-7ACA-2434-382F3BCEF5F9}"/>
          </ac:spMkLst>
        </pc:spChg>
        <pc:spChg chg="add mod">
          <ac:chgData name="Veniero Facchetti" userId="f2c6c99af91c4974" providerId="LiveId" clId="{34DF7D6B-EB0F-4B53-B080-BB8D6F5C3D93}" dt="2024-05-10T16:01:20.804" v="555"/>
          <ac:spMkLst>
            <pc:docMk/>
            <pc:sldMk cId="2396760433" sldId="347"/>
            <ac:spMk id="86" creationId="{F357FBF8-E2B9-5308-1CB5-E2A88E56E2DC}"/>
          </ac:spMkLst>
        </pc:spChg>
        <pc:spChg chg="add mod">
          <ac:chgData name="Veniero Facchetti" userId="f2c6c99af91c4974" providerId="LiveId" clId="{34DF7D6B-EB0F-4B53-B080-BB8D6F5C3D93}" dt="2024-05-10T16:01:20.804" v="555"/>
          <ac:spMkLst>
            <pc:docMk/>
            <pc:sldMk cId="2396760433" sldId="347"/>
            <ac:spMk id="87" creationId="{7A038EF6-AF4C-A8CB-16F3-B48DE9FE75AB}"/>
          </ac:spMkLst>
        </pc:spChg>
        <pc:spChg chg="add mod">
          <ac:chgData name="Veniero Facchetti" userId="f2c6c99af91c4974" providerId="LiveId" clId="{34DF7D6B-EB0F-4B53-B080-BB8D6F5C3D93}" dt="2024-05-10T16:01:20.804" v="555"/>
          <ac:spMkLst>
            <pc:docMk/>
            <pc:sldMk cId="2396760433" sldId="347"/>
            <ac:spMk id="88" creationId="{534A3AAB-FF2F-22C1-CDFB-DE77D92BEA82}"/>
          </ac:spMkLst>
        </pc:spChg>
        <pc:spChg chg="add mod">
          <ac:chgData name="Veniero Facchetti" userId="f2c6c99af91c4974" providerId="LiveId" clId="{34DF7D6B-EB0F-4B53-B080-BB8D6F5C3D93}" dt="2024-05-10T16:01:20.804" v="555"/>
          <ac:spMkLst>
            <pc:docMk/>
            <pc:sldMk cId="2396760433" sldId="347"/>
            <ac:spMk id="89" creationId="{392D48EB-8DB8-38EF-9465-F1A53A44D2A7}"/>
          </ac:spMkLst>
        </pc:spChg>
        <pc:spChg chg="add mod">
          <ac:chgData name="Veniero Facchetti" userId="f2c6c99af91c4974" providerId="LiveId" clId="{34DF7D6B-EB0F-4B53-B080-BB8D6F5C3D93}" dt="2024-05-10T16:01:20.804" v="555"/>
          <ac:spMkLst>
            <pc:docMk/>
            <pc:sldMk cId="2396760433" sldId="347"/>
            <ac:spMk id="90" creationId="{050ADF82-9FF5-9358-9F41-F0B4484E896C}"/>
          </ac:spMkLst>
        </pc:spChg>
        <pc:spChg chg="add mod">
          <ac:chgData name="Veniero Facchetti" userId="f2c6c99af91c4974" providerId="LiveId" clId="{34DF7D6B-EB0F-4B53-B080-BB8D6F5C3D93}" dt="2024-05-10T16:01:20.804" v="555"/>
          <ac:spMkLst>
            <pc:docMk/>
            <pc:sldMk cId="2396760433" sldId="347"/>
            <ac:spMk id="91" creationId="{97566690-2D39-5049-0B52-D951C7DEB941}"/>
          </ac:spMkLst>
        </pc:spChg>
        <pc:spChg chg="add mod">
          <ac:chgData name="Veniero Facchetti" userId="f2c6c99af91c4974" providerId="LiveId" clId="{34DF7D6B-EB0F-4B53-B080-BB8D6F5C3D93}" dt="2024-05-10T16:01:20.804" v="555"/>
          <ac:spMkLst>
            <pc:docMk/>
            <pc:sldMk cId="2396760433" sldId="347"/>
            <ac:spMk id="92" creationId="{0BD26E37-59CE-2A71-9506-A8F066C2F073}"/>
          </ac:spMkLst>
        </pc:spChg>
        <pc:spChg chg="add mod">
          <ac:chgData name="Veniero Facchetti" userId="f2c6c99af91c4974" providerId="LiveId" clId="{34DF7D6B-EB0F-4B53-B080-BB8D6F5C3D93}" dt="2024-05-10T16:01:20.804" v="555"/>
          <ac:spMkLst>
            <pc:docMk/>
            <pc:sldMk cId="2396760433" sldId="347"/>
            <ac:spMk id="93" creationId="{E8961414-F355-1048-40B1-C4CD4F7AE933}"/>
          </ac:spMkLst>
        </pc:spChg>
        <pc:spChg chg="add mod">
          <ac:chgData name="Veniero Facchetti" userId="f2c6c99af91c4974" providerId="LiveId" clId="{34DF7D6B-EB0F-4B53-B080-BB8D6F5C3D93}" dt="2024-05-10T16:01:20.804" v="555"/>
          <ac:spMkLst>
            <pc:docMk/>
            <pc:sldMk cId="2396760433" sldId="347"/>
            <ac:spMk id="94" creationId="{E8BAC4CA-0D50-D014-1FE0-38C70D903CDB}"/>
          </ac:spMkLst>
        </pc:spChg>
        <pc:spChg chg="add mod">
          <ac:chgData name="Veniero Facchetti" userId="f2c6c99af91c4974" providerId="LiveId" clId="{34DF7D6B-EB0F-4B53-B080-BB8D6F5C3D93}" dt="2024-05-10T16:01:20.804" v="555"/>
          <ac:spMkLst>
            <pc:docMk/>
            <pc:sldMk cId="2396760433" sldId="347"/>
            <ac:spMk id="95" creationId="{84631AB6-22A7-5A10-6664-0E2F5174AEA6}"/>
          </ac:spMkLst>
        </pc:spChg>
        <pc:spChg chg="add mod">
          <ac:chgData name="Veniero Facchetti" userId="f2c6c99af91c4974" providerId="LiveId" clId="{34DF7D6B-EB0F-4B53-B080-BB8D6F5C3D93}" dt="2024-05-10T16:01:20.804" v="555"/>
          <ac:spMkLst>
            <pc:docMk/>
            <pc:sldMk cId="2396760433" sldId="347"/>
            <ac:spMk id="96" creationId="{D1E4F194-AC5F-B444-6AE4-4F7A0D885F21}"/>
          </ac:spMkLst>
        </pc:spChg>
        <pc:spChg chg="add mod">
          <ac:chgData name="Veniero Facchetti" userId="f2c6c99af91c4974" providerId="LiveId" clId="{34DF7D6B-EB0F-4B53-B080-BB8D6F5C3D93}" dt="2024-05-10T16:01:20.804" v="555"/>
          <ac:spMkLst>
            <pc:docMk/>
            <pc:sldMk cId="2396760433" sldId="347"/>
            <ac:spMk id="97" creationId="{FFCACCCD-9B71-B15A-D16C-330713A6F1B7}"/>
          </ac:spMkLst>
        </pc:spChg>
        <pc:spChg chg="add mod">
          <ac:chgData name="Veniero Facchetti" userId="f2c6c99af91c4974" providerId="LiveId" clId="{34DF7D6B-EB0F-4B53-B080-BB8D6F5C3D93}" dt="2024-05-10T16:01:20.804" v="555"/>
          <ac:spMkLst>
            <pc:docMk/>
            <pc:sldMk cId="2396760433" sldId="347"/>
            <ac:spMk id="98" creationId="{290D9282-41BA-20EF-E738-FEAF25E988D3}"/>
          </ac:spMkLst>
        </pc:spChg>
        <pc:spChg chg="add mod">
          <ac:chgData name="Veniero Facchetti" userId="f2c6c99af91c4974" providerId="LiveId" clId="{34DF7D6B-EB0F-4B53-B080-BB8D6F5C3D93}" dt="2024-05-10T16:01:20.804" v="555"/>
          <ac:spMkLst>
            <pc:docMk/>
            <pc:sldMk cId="2396760433" sldId="347"/>
            <ac:spMk id="99" creationId="{2171E393-55CD-C54E-4C18-213E728F23E0}"/>
          </ac:spMkLst>
        </pc:spChg>
        <pc:spChg chg="add mod">
          <ac:chgData name="Veniero Facchetti" userId="f2c6c99af91c4974" providerId="LiveId" clId="{34DF7D6B-EB0F-4B53-B080-BB8D6F5C3D93}" dt="2024-05-10T16:01:20.804" v="555"/>
          <ac:spMkLst>
            <pc:docMk/>
            <pc:sldMk cId="2396760433" sldId="347"/>
            <ac:spMk id="100" creationId="{8A286A12-BE8E-1A4F-663B-CA9B3F5BD2E5}"/>
          </ac:spMkLst>
        </pc:spChg>
        <pc:spChg chg="add mod">
          <ac:chgData name="Veniero Facchetti" userId="f2c6c99af91c4974" providerId="LiveId" clId="{34DF7D6B-EB0F-4B53-B080-BB8D6F5C3D93}" dt="2024-05-10T16:01:20.804" v="555"/>
          <ac:spMkLst>
            <pc:docMk/>
            <pc:sldMk cId="2396760433" sldId="347"/>
            <ac:spMk id="101" creationId="{380FD96D-CB9A-FDB2-C42B-8B3C5A4B02E5}"/>
          </ac:spMkLst>
        </pc:spChg>
        <pc:spChg chg="add mod">
          <ac:chgData name="Veniero Facchetti" userId="f2c6c99af91c4974" providerId="LiveId" clId="{34DF7D6B-EB0F-4B53-B080-BB8D6F5C3D93}" dt="2024-05-10T16:01:20.804" v="555"/>
          <ac:spMkLst>
            <pc:docMk/>
            <pc:sldMk cId="2396760433" sldId="347"/>
            <ac:spMk id="102" creationId="{45756ECA-B33D-BCFB-1286-E40318D05C68}"/>
          </ac:spMkLst>
        </pc:spChg>
        <pc:spChg chg="add mod">
          <ac:chgData name="Veniero Facchetti" userId="f2c6c99af91c4974" providerId="LiveId" clId="{34DF7D6B-EB0F-4B53-B080-BB8D6F5C3D93}" dt="2024-05-10T16:01:20.804" v="555"/>
          <ac:spMkLst>
            <pc:docMk/>
            <pc:sldMk cId="2396760433" sldId="347"/>
            <ac:spMk id="103" creationId="{FA9CAD81-EA2A-7B4E-9247-4163B5DAE8CE}"/>
          </ac:spMkLst>
        </pc:spChg>
        <pc:spChg chg="add mod">
          <ac:chgData name="Veniero Facchetti" userId="f2c6c99af91c4974" providerId="LiveId" clId="{34DF7D6B-EB0F-4B53-B080-BB8D6F5C3D93}" dt="2024-05-10T16:01:20.804" v="555"/>
          <ac:spMkLst>
            <pc:docMk/>
            <pc:sldMk cId="2396760433" sldId="347"/>
            <ac:spMk id="104" creationId="{0B4F9E44-51C1-303F-15EC-98A2282A54D8}"/>
          </ac:spMkLst>
        </pc:spChg>
        <pc:spChg chg="add mod">
          <ac:chgData name="Veniero Facchetti" userId="f2c6c99af91c4974" providerId="LiveId" clId="{34DF7D6B-EB0F-4B53-B080-BB8D6F5C3D93}" dt="2024-05-10T16:01:20.804" v="555"/>
          <ac:spMkLst>
            <pc:docMk/>
            <pc:sldMk cId="2396760433" sldId="347"/>
            <ac:spMk id="105" creationId="{A3FC476F-F629-B6E6-FCC6-119F5E22E08E}"/>
          </ac:spMkLst>
        </pc:spChg>
        <pc:spChg chg="mod">
          <ac:chgData name="Veniero Facchetti" userId="f2c6c99af91c4974" providerId="LiveId" clId="{34DF7D6B-EB0F-4B53-B080-BB8D6F5C3D93}" dt="2024-05-10T16:01:20.804" v="555"/>
          <ac:spMkLst>
            <pc:docMk/>
            <pc:sldMk cId="2396760433" sldId="347"/>
            <ac:spMk id="107" creationId="{4282E480-3F92-0DD9-F0BD-0275E7B3D3C0}"/>
          </ac:spMkLst>
        </pc:spChg>
        <pc:spChg chg="mod">
          <ac:chgData name="Veniero Facchetti" userId="f2c6c99af91c4974" providerId="LiveId" clId="{34DF7D6B-EB0F-4B53-B080-BB8D6F5C3D93}" dt="2024-05-10T16:01:20.804" v="555"/>
          <ac:spMkLst>
            <pc:docMk/>
            <pc:sldMk cId="2396760433" sldId="347"/>
            <ac:spMk id="108" creationId="{18097B75-4173-71D9-F1F4-617BA999B62E}"/>
          </ac:spMkLst>
        </pc:spChg>
        <pc:spChg chg="mod">
          <ac:chgData name="Veniero Facchetti" userId="f2c6c99af91c4974" providerId="LiveId" clId="{34DF7D6B-EB0F-4B53-B080-BB8D6F5C3D93}" dt="2024-05-10T16:01:20.804" v="555"/>
          <ac:spMkLst>
            <pc:docMk/>
            <pc:sldMk cId="2396760433" sldId="347"/>
            <ac:spMk id="109" creationId="{915F601B-A345-85A9-FD29-BEE7B9ECCB87}"/>
          </ac:spMkLst>
        </pc:spChg>
        <pc:spChg chg="mod">
          <ac:chgData name="Veniero Facchetti" userId="f2c6c99af91c4974" providerId="LiveId" clId="{34DF7D6B-EB0F-4B53-B080-BB8D6F5C3D93}" dt="2024-05-10T16:01:20.804" v="555"/>
          <ac:spMkLst>
            <pc:docMk/>
            <pc:sldMk cId="2396760433" sldId="347"/>
            <ac:spMk id="110" creationId="{EF5CD223-9A48-D7C8-D436-936966C5336E}"/>
          </ac:spMkLst>
        </pc:spChg>
        <pc:spChg chg="mod">
          <ac:chgData name="Veniero Facchetti" userId="f2c6c99af91c4974" providerId="LiveId" clId="{34DF7D6B-EB0F-4B53-B080-BB8D6F5C3D93}" dt="2024-05-10T16:01:20.804" v="555"/>
          <ac:spMkLst>
            <pc:docMk/>
            <pc:sldMk cId="2396760433" sldId="347"/>
            <ac:spMk id="111" creationId="{681D9DC9-F019-FBD5-739B-0B5021964111}"/>
          </ac:spMkLst>
        </pc:spChg>
        <pc:spChg chg="mod">
          <ac:chgData name="Veniero Facchetti" userId="f2c6c99af91c4974" providerId="LiveId" clId="{34DF7D6B-EB0F-4B53-B080-BB8D6F5C3D93}" dt="2024-05-10T16:01:20.804" v="555"/>
          <ac:spMkLst>
            <pc:docMk/>
            <pc:sldMk cId="2396760433" sldId="347"/>
            <ac:spMk id="112" creationId="{7EEAE306-A7BA-9BC2-115E-BD3A171EBA43}"/>
          </ac:spMkLst>
        </pc:spChg>
        <pc:spChg chg="mod">
          <ac:chgData name="Veniero Facchetti" userId="f2c6c99af91c4974" providerId="LiveId" clId="{34DF7D6B-EB0F-4B53-B080-BB8D6F5C3D93}" dt="2024-05-10T16:01:20.804" v="555"/>
          <ac:spMkLst>
            <pc:docMk/>
            <pc:sldMk cId="2396760433" sldId="347"/>
            <ac:spMk id="113" creationId="{E504D63D-BD01-8E6F-B3D6-D57317321870}"/>
          </ac:spMkLst>
        </pc:spChg>
        <pc:spChg chg="mod">
          <ac:chgData name="Veniero Facchetti" userId="f2c6c99af91c4974" providerId="LiveId" clId="{34DF7D6B-EB0F-4B53-B080-BB8D6F5C3D93}" dt="2024-05-10T16:01:20.804" v="555"/>
          <ac:spMkLst>
            <pc:docMk/>
            <pc:sldMk cId="2396760433" sldId="347"/>
            <ac:spMk id="114" creationId="{BCEE3516-4EA9-9CB7-0661-187299F3C4B8}"/>
          </ac:spMkLst>
        </pc:spChg>
        <pc:spChg chg="add mod">
          <ac:chgData name="Veniero Facchetti" userId="f2c6c99af91c4974" providerId="LiveId" clId="{34DF7D6B-EB0F-4B53-B080-BB8D6F5C3D93}" dt="2024-05-10T16:01:20.804" v="555"/>
          <ac:spMkLst>
            <pc:docMk/>
            <pc:sldMk cId="2396760433" sldId="347"/>
            <ac:spMk id="115" creationId="{AB5F2494-E11D-513D-019F-635C43830338}"/>
          </ac:spMkLst>
        </pc:spChg>
        <pc:spChg chg="add mod">
          <ac:chgData name="Veniero Facchetti" userId="f2c6c99af91c4974" providerId="LiveId" clId="{34DF7D6B-EB0F-4B53-B080-BB8D6F5C3D93}" dt="2024-05-10T16:01:20.804" v="555"/>
          <ac:spMkLst>
            <pc:docMk/>
            <pc:sldMk cId="2396760433" sldId="347"/>
            <ac:spMk id="116" creationId="{8ECF144F-BCE4-5F81-43E9-4DC9372C3FB5}"/>
          </ac:spMkLst>
        </pc:spChg>
        <pc:spChg chg="add mod">
          <ac:chgData name="Veniero Facchetti" userId="f2c6c99af91c4974" providerId="LiveId" clId="{34DF7D6B-EB0F-4B53-B080-BB8D6F5C3D93}" dt="2024-05-10T16:01:20.804" v="555"/>
          <ac:spMkLst>
            <pc:docMk/>
            <pc:sldMk cId="2396760433" sldId="347"/>
            <ac:spMk id="117" creationId="{03C07098-4E3E-4292-8A2A-5AEA0F86CCD1}"/>
          </ac:spMkLst>
        </pc:spChg>
        <pc:spChg chg="add mod">
          <ac:chgData name="Veniero Facchetti" userId="f2c6c99af91c4974" providerId="LiveId" clId="{34DF7D6B-EB0F-4B53-B080-BB8D6F5C3D93}" dt="2024-05-10T16:01:20.804" v="555"/>
          <ac:spMkLst>
            <pc:docMk/>
            <pc:sldMk cId="2396760433" sldId="347"/>
            <ac:spMk id="118" creationId="{0A773494-D81B-F32D-8320-9AA7B79C954B}"/>
          </ac:spMkLst>
        </pc:spChg>
        <pc:spChg chg="add mod">
          <ac:chgData name="Veniero Facchetti" userId="f2c6c99af91c4974" providerId="LiveId" clId="{34DF7D6B-EB0F-4B53-B080-BB8D6F5C3D93}" dt="2024-05-10T16:01:20.804" v="555"/>
          <ac:spMkLst>
            <pc:docMk/>
            <pc:sldMk cId="2396760433" sldId="347"/>
            <ac:spMk id="119" creationId="{0C27DF8C-65C6-CFF4-E934-3F42428A8563}"/>
          </ac:spMkLst>
        </pc:spChg>
        <pc:spChg chg="add mod">
          <ac:chgData name="Veniero Facchetti" userId="f2c6c99af91c4974" providerId="LiveId" clId="{34DF7D6B-EB0F-4B53-B080-BB8D6F5C3D93}" dt="2024-05-10T16:01:20.804" v="555"/>
          <ac:spMkLst>
            <pc:docMk/>
            <pc:sldMk cId="2396760433" sldId="347"/>
            <ac:spMk id="120" creationId="{2D4DA95A-2F33-D6CD-EE16-79F698BC2762}"/>
          </ac:spMkLst>
        </pc:spChg>
        <pc:spChg chg="add mod">
          <ac:chgData name="Veniero Facchetti" userId="f2c6c99af91c4974" providerId="LiveId" clId="{34DF7D6B-EB0F-4B53-B080-BB8D6F5C3D93}" dt="2024-05-10T16:01:20.804" v="555"/>
          <ac:spMkLst>
            <pc:docMk/>
            <pc:sldMk cId="2396760433" sldId="347"/>
            <ac:spMk id="121" creationId="{442F9278-E00F-3247-BED4-1160845AE61A}"/>
          </ac:spMkLst>
        </pc:spChg>
        <pc:spChg chg="add mod">
          <ac:chgData name="Veniero Facchetti" userId="f2c6c99af91c4974" providerId="LiveId" clId="{34DF7D6B-EB0F-4B53-B080-BB8D6F5C3D93}" dt="2024-05-10T16:01:20.804" v="555"/>
          <ac:spMkLst>
            <pc:docMk/>
            <pc:sldMk cId="2396760433" sldId="347"/>
            <ac:spMk id="122" creationId="{9237C84A-6C4D-D4AA-7F33-46F9AC9927EB}"/>
          </ac:spMkLst>
        </pc:spChg>
        <pc:spChg chg="add mod">
          <ac:chgData name="Veniero Facchetti" userId="f2c6c99af91c4974" providerId="LiveId" clId="{34DF7D6B-EB0F-4B53-B080-BB8D6F5C3D93}" dt="2024-05-10T16:01:20.804" v="555"/>
          <ac:spMkLst>
            <pc:docMk/>
            <pc:sldMk cId="2396760433" sldId="347"/>
            <ac:spMk id="123" creationId="{21B6363E-C60D-C80D-44AB-B24CB8441303}"/>
          </ac:spMkLst>
        </pc:spChg>
        <pc:spChg chg="add mod">
          <ac:chgData name="Veniero Facchetti" userId="f2c6c99af91c4974" providerId="LiveId" clId="{34DF7D6B-EB0F-4B53-B080-BB8D6F5C3D93}" dt="2024-05-10T16:01:20.804" v="555"/>
          <ac:spMkLst>
            <pc:docMk/>
            <pc:sldMk cId="2396760433" sldId="347"/>
            <ac:spMk id="124" creationId="{D0D9071B-A438-30EF-EA1E-1C3C81C7099F}"/>
          </ac:spMkLst>
        </pc:spChg>
        <pc:spChg chg="add mod">
          <ac:chgData name="Veniero Facchetti" userId="f2c6c99af91c4974" providerId="LiveId" clId="{34DF7D6B-EB0F-4B53-B080-BB8D6F5C3D93}" dt="2024-05-10T16:01:20.804" v="555"/>
          <ac:spMkLst>
            <pc:docMk/>
            <pc:sldMk cId="2396760433" sldId="347"/>
            <ac:spMk id="125" creationId="{831AD078-F4EA-FC56-CB57-ADE929A3FFC1}"/>
          </ac:spMkLst>
        </pc:spChg>
        <pc:spChg chg="add mod">
          <ac:chgData name="Veniero Facchetti" userId="f2c6c99af91c4974" providerId="LiveId" clId="{34DF7D6B-EB0F-4B53-B080-BB8D6F5C3D93}" dt="2024-05-10T16:01:20.804" v="555"/>
          <ac:spMkLst>
            <pc:docMk/>
            <pc:sldMk cId="2396760433" sldId="347"/>
            <ac:spMk id="126" creationId="{7E7BEBB8-7E86-8205-42AD-386388EAF89B}"/>
          </ac:spMkLst>
        </pc:spChg>
        <pc:spChg chg="add mod">
          <ac:chgData name="Veniero Facchetti" userId="f2c6c99af91c4974" providerId="LiveId" clId="{34DF7D6B-EB0F-4B53-B080-BB8D6F5C3D93}" dt="2024-05-10T16:01:20.804" v="555"/>
          <ac:spMkLst>
            <pc:docMk/>
            <pc:sldMk cId="2396760433" sldId="347"/>
            <ac:spMk id="127" creationId="{6504BA01-17A4-B282-2D79-2191C0826687}"/>
          </ac:spMkLst>
        </pc:spChg>
        <pc:spChg chg="add mod">
          <ac:chgData name="Veniero Facchetti" userId="f2c6c99af91c4974" providerId="LiveId" clId="{34DF7D6B-EB0F-4B53-B080-BB8D6F5C3D93}" dt="2024-05-10T16:01:20.804" v="555"/>
          <ac:spMkLst>
            <pc:docMk/>
            <pc:sldMk cId="2396760433" sldId="347"/>
            <ac:spMk id="128" creationId="{023D8EC1-516F-13CE-C03D-50E4E1EF8055}"/>
          </ac:spMkLst>
        </pc:spChg>
        <pc:spChg chg="add mod">
          <ac:chgData name="Veniero Facchetti" userId="f2c6c99af91c4974" providerId="LiveId" clId="{34DF7D6B-EB0F-4B53-B080-BB8D6F5C3D93}" dt="2024-05-10T16:01:20.804" v="555"/>
          <ac:spMkLst>
            <pc:docMk/>
            <pc:sldMk cId="2396760433" sldId="347"/>
            <ac:spMk id="129" creationId="{6D0DBA3B-E37C-1E97-CEED-4EE05383DC5D}"/>
          </ac:spMkLst>
        </pc:spChg>
        <pc:spChg chg="add mod">
          <ac:chgData name="Veniero Facchetti" userId="f2c6c99af91c4974" providerId="LiveId" clId="{34DF7D6B-EB0F-4B53-B080-BB8D6F5C3D93}" dt="2024-05-10T16:01:20.804" v="555"/>
          <ac:spMkLst>
            <pc:docMk/>
            <pc:sldMk cId="2396760433" sldId="347"/>
            <ac:spMk id="130" creationId="{D48AE8BE-46B3-1688-7D8E-B364A825EE19}"/>
          </ac:spMkLst>
        </pc:spChg>
        <pc:spChg chg="add mod">
          <ac:chgData name="Veniero Facchetti" userId="f2c6c99af91c4974" providerId="LiveId" clId="{34DF7D6B-EB0F-4B53-B080-BB8D6F5C3D93}" dt="2024-05-10T16:01:20.804" v="555"/>
          <ac:spMkLst>
            <pc:docMk/>
            <pc:sldMk cId="2396760433" sldId="347"/>
            <ac:spMk id="131" creationId="{A5660809-C9AD-C828-D5BD-2534DFD17059}"/>
          </ac:spMkLst>
        </pc:spChg>
        <pc:spChg chg="add mod">
          <ac:chgData name="Veniero Facchetti" userId="f2c6c99af91c4974" providerId="LiveId" clId="{34DF7D6B-EB0F-4B53-B080-BB8D6F5C3D93}" dt="2024-05-10T16:01:20.804" v="555"/>
          <ac:spMkLst>
            <pc:docMk/>
            <pc:sldMk cId="2396760433" sldId="347"/>
            <ac:spMk id="132" creationId="{A30BE86B-FF49-E33A-E98C-25265D247CE3}"/>
          </ac:spMkLst>
        </pc:spChg>
        <pc:spChg chg="add mod">
          <ac:chgData name="Veniero Facchetti" userId="f2c6c99af91c4974" providerId="LiveId" clId="{34DF7D6B-EB0F-4B53-B080-BB8D6F5C3D93}" dt="2024-05-10T16:01:20.804" v="555"/>
          <ac:spMkLst>
            <pc:docMk/>
            <pc:sldMk cId="2396760433" sldId="347"/>
            <ac:spMk id="133" creationId="{88B206CE-52CA-0E74-24E7-4FF9D2E8BF92}"/>
          </ac:spMkLst>
        </pc:spChg>
        <pc:spChg chg="add mod">
          <ac:chgData name="Veniero Facchetti" userId="f2c6c99af91c4974" providerId="LiveId" clId="{34DF7D6B-EB0F-4B53-B080-BB8D6F5C3D93}" dt="2024-05-10T16:01:20.804" v="555"/>
          <ac:spMkLst>
            <pc:docMk/>
            <pc:sldMk cId="2396760433" sldId="347"/>
            <ac:spMk id="134" creationId="{3FAC13BA-A6B4-2364-1056-DEFDCE0B17FD}"/>
          </ac:spMkLst>
        </pc:spChg>
        <pc:spChg chg="add mod">
          <ac:chgData name="Veniero Facchetti" userId="f2c6c99af91c4974" providerId="LiveId" clId="{34DF7D6B-EB0F-4B53-B080-BB8D6F5C3D93}" dt="2024-05-10T16:01:20.804" v="555"/>
          <ac:spMkLst>
            <pc:docMk/>
            <pc:sldMk cId="2396760433" sldId="347"/>
            <ac:spMk id="135" creationId="{F6E4367C-B264-F390-00D0-DF27E507A562}"/>
          </ac:spMkLst>
        </pc:spChg>
        <pc:spChg chg="add mod">
          <ac:chgData name="Veniero Facchetti" userId="f2c6c99af91c4974" providerId="LiveId" clId="{34DF7D6B-EB0F-4B53-B080-BB8D6F5C3D93}" dt="2024-05-10T16:01:20.804" v="555"/>
          <ac:spMkLst>
            <pc:docMk/>
            <pc:sldMk cId="2396760433" sldId="347"/>
            <ac:spMk id="136" creationId="{B1640A57-1872-2DFE-B47C-3BACA2C36628}"/>
          </ac:spMkLst>
        </pc:spChg>
        <pc:spChg chg="add mod">
          <ac:chgData name="Veniero Facchetti" userId="f2c6c99af91c4974" providerId="LiveId" clId="{34DF7D6B-EB0F-4B53-B080-BB8D6F5C3D93}" dt="2024-05-10T16:01:20.804" v="555"/>
          <ac:spMkLst>
            <pc:docMk/>
            <pc:sldMk cId="2396760433" sldId="347"/>
            <ac:spMk id="137" creationId="{1D754551-FB4C-854F-B01F-B3A3C66DF86E}"/>
          </ac:spMkLst>
        </pc:spChg>
        <pc:spChg chg="add mod">
          <ac:chgData name="Veniero Facchetti" userId="f2c6c99af91c4974" providerId="LiveId" clId="{34DF7D6B-EB0F-4B53-B080-BB8D6F5C3D93}" dt="2024-05-10T16:01:20.804" v="555"/>
          <ac:spMkLst>
            <pc:docMk/>
            <pc:sldMk cId="2396760433" sldId="347"/>
            <ac:spMk id="138" creationId="{CAEE4A79-0B75-72E8-C326-D6E9E27EBACF}"/>
          </ac:spMkLst>
        </pc:spChg>
        <pc:spChg chg="add mod">
          <ac:chgData name="Veniero Facchetti" userId="f2c6c99af91c4974" providerId="LiveId" clId="{34DF7D6B-EB0F-4B53-B080-BB8D6F5C3D93}" dt="2024-05-10T16:01:20.804" v="555"/>
          <ac:spMkLst>
            <pc:docMk/>
            <pc:sldMk cId="2396760433" sldId="347"/>
            <ac:spMk id="139" creationId="{6C776161-C044-4B74-92D2-9753F25B66DB}"/>
          </ac:spMkLst>
        </pc:spChg>
        <pc:spChg chg="add mod">
          <ac:chgData name="Veniero Facchetti" userId="f2c6c99af91c4974" providerId="LiveId" clId="{34DF7D6B-EB0F-4B53-B080-BB8D6F5C3D93}" dt="2024-05-10T16:01:20.804" v="555"/>
          <ac:spMkLst>
            <pc:docMk/>
            <pc:sldMk cId="2396760433" sldId="347"/>
            <ac:spMk id="140" creationId="{32D6CD8E-C260-F804-6AEC-CB060C72A09F}"/>
          </ac:spMkLst>
        </pc:spChg>
        <pc:spChg chg="add mod">
          <ac:chgData name="Veniero Facchetti" userId="f2c6c99af91c4974" providerId="LiveId" clId="{34DF7D6B-EB0F-4B53-B080-BB8D6F5C3D93}" dt="2024-05-10T16:01:20.804" v="555"/>
          <ac:spMkLst>
            <pc:docMk/>
            <pc:sldMk cId="2396760433" sldId="347"/>
            <ac:spMk id="141" creationId="{BE4DAA1C-870F-8823-2555-A72FB0A87899}"/>
          </ac:spMkLst>
        </pc:spChg>
        <pc:spChg chg="add mod">
          <ac:chgData name="Veniero Facchetti" userId="f2c6c99af91c4974" providerId="LiveId" clId="{34DF7D6B-EB0F-4B53-B080-BB8D6F5C3D93}" dt="2024-05-10T16:01:20.804" v="555"/>
          <ac:spMkLst>
            <pc:docMk/>
            <pc:sldMk cId="2396760433" sldId="347"/>
            <ac:spMk id="142" creationId="{DADBC8B0-0B03-EF09-7E58-39DD0240617A}"/>
          </ac:spMkLst>
        </pc:spChg>
        <pc:spChg chg="add mod">
          <ac:chgData name="Veniero Facchetti" userId="f2c6c99af91c4974" providerId="LiveId" clId="{34DF7D6B-EB0F-4B53-B080-BB8D6F5C3D93}" dt="2024-05-10T16:01:20.804" v="555"/>
          <ac:spMkLst>
            <pc:docMk/>
            <pc:sldMk cId="2396760433" sldId="347"/>
            <ac:spMk id="143" creationId="{014000C9-BABC-93E5-6B44-8B99AC339619}"/>
          </ac:spMkLst>
        </pc:spChg>
        <pc:spChg chg="mod">
          <ac:chgData name="Veniero Facchetti" userId="f2c6c99af91c4974" providerId="LiveId" clId="{34DF7D6B-EB0F-4B53-B080-BB8D6F5C3D93}" dt="2024-05-10T16:01:20.804" v="555"/>
          <ac:spMkLst>
            <pc:docMk/>
            <pc:sldMk cId="2396760433" sldId="347"/>
            <ac:spMk id="145" creationId="{622E990F-3D7E-4DC6-42D4-6B8D0310FCA6}"/>
          </ac:spMkLst>
        </pc:spChg>
        <pc:spChg chg="mod">
          <ac:chgData name="Veniero Facchetti" userId="f2c6c99af91c4974" providerId="LiveId" clId="{34DF7D6B-EB0F-4B53-B080-BB8D6F5C3D93}" dt="2024-05-10T16:01:20.804" v="555"/>
          <ac:spMkLst>
            <pc:docMk/>
            <pc:sldMk cId="2396760433" sldId="347"/>
            <ac:spMk id="146" creationId="{A759A576-EC63-0C98-D51A-3A716983FC55}"/>
          </ac:spMkLst>
        </pc:spChg>
        <pc:spChg chg="mod">
          <ac:chgData name="Veniero Facchetti" userId="f2c6c99af91c4974" providerId="LiveId" clId="{34DF7D6B-EB0F-4B53-B080-BB8D6F5C3D93}" dt="2024-05-10T16:01:20.804" v="555"/>
          <ac:spMkLst>
            <pc:docMk/>
            <pc:sldMk cId="2396760433" sldId="347"/>
            <ac:spMk id="147" creationId="{8195510A-B05D-6E5E-9F61-6787F9921EA9}"/>
          </ac:spMkLst>
        </pc:spChg>
        <pc:spChg chg="add mod">
          <ac:chgData name="Veniero Facchetti" userId="f2c6c99af91c4974" providerId="LiveId" clId="{34DF7D6B-EB0F-4B53-B080-BB8D6F5C3D93}" dt="2024-05-10T16:01:20.804" v="555"/>
          <ac:spMkLst>
            <pc:docMk/>
            <pc:sldMk cId="2396760433" sldId="347"/>
            <ac:spMk id="148" creationId="{D8D3D280-3C56-5B2A-E0BC-8DD2575EF808}"/>
          </ac:spMkLst>
        </pc:spChg>
        <pc:spChg chg="add mod">
          <ac:chgData name="Veniero Facchetti" userId="f2c6c99af91c4974" providerId="LiveId" clId="{34DF7D6B-EB0F-4B53-B080-BB8D6F5C3D93}" dt="2024-05-10T16:01:20.804" v="555"/>
          <ac:spMkLst>
            <pc:docMk/>
            <pc:sldMk cId="2396760433" sldId="347"/>
            <ac:spMk id="149" creationId="{0F01701F-6CC6-1269-AEDF-18ACFF4EC212}"/>
          </ac:spMkLst>
        </pc:spChg>
        <pc:spChg chg="add mod">
          <ac:chgData name="Veniero Facchetti" userId="f2c6c99af91c4974" providerId="LiveId" clId="{34DF7D6B-EB0F-4B53-B080-BB8D6F5C3D93}" dt="2024-05-10T16:01:20.804" v="555"/>
          <ac:spMkLst>
            <pc:docMk/>
            <pc:sldMk cId="2396760433" sldId="347"/>
            <ac:spMk id="150" creationId="{9702C223-F45B-3741-114A-371D57E24A95}"/>
          </ac:spMkLst>
        </pc:spChg>
        <pc:spChg chg="add mod">
          <ac:chgData name="Veniero Facchetti" userId="f2c6c99af91c4974" providerId="LiveId" clId="{34DF7D6B-EB0F-4B53-B080-BB8D6F5C3D93}" dt="2024-05-10T16:01:20.804" v="555"/>
          <ac:spMkLst>
            <pc:docMk/>
            <pc:sldMk cId="2396760433" sldId="347"/>
            <ac:spMk id="151" creationId="{130CEF3F-E27E-0D94-FEC6-17A1E5BEE58E}"/>
          </ac:spMkLst>
        </pc:spChg>
        <pc:spChg chg="add mod">
          <ac:chgData name="Veniero Facchetti" userId="f2c6c99af91c4974" providerId="LiveId" clId="{34DF7D6B-EB0F-4B53-B080-BB8D6F5C3D93}" dt="2024-05-10T16:01:20.804" v="555"/>
          <ac:spMkLst>
            <pc:docMk/>
            <pc:sldMk cId="2396760433" sldId="347"/>
            <ac:spMk id="152" creationId="{F2F0E1AA-267B-3336-8F7B-80A387B60530}"/>
          </ac:spMkLst>
        </pc:spChg>
        <pc:spChg chg="add mod">
          <ac:chgData name="Veniero Facchetti" userId="f2c6c99af91c4974" providerId="LiveId" clId="{34DF7D6B-EB0F-4B53-B080-BB8D6F5C3D93}" dt="2024-05-10T16:01:20.804" v="555"/>
          <ac:spMkLst>
            <pc:docMk/>
            <pc:sldMk cId="2396760433" sldId="347"/>
            <ac:spMk id="153" creationId="{4BC26AE4-3D90-ABD9-1A10-E727D60DF7A7}"/>
          </ac:spMkLst>
        </pc:spChg>
        <pc:spChg chg="add mod">
          <ac:chgData name="Veniero Facchetti" userId="f2c6c99af91c4974" providerId="LiveId" clId="{34DF7D6B-EB0F-4B53-B080-BB8D6F5C3D93}" dt="2024-05-10T16:01:20.804" v="555"/>
          <ac:spMkLst>
            <pc:docMk/>
            <pc:sldMk cId="2396760433" sldId="347"/>
            <ac:spMk id="154" creationId="{D309F5E8-D428-DA67-581E-AC7074DFB5FB}"/>
          </ac:spMkLst>
        </pc:spChg>
        <pc:spChg chg="add mod">
          <ac:chgData name="Veniero Facchetti" userId="f2c6c99af91c4974" providerId="LiveId" clId="{34DF7D6B-EB0F-4B53-B080-BB8D6F5C3D93}" dt="2024-05-10T16:01:20.804" v="555"/>
          <ac:spMkLst>
            <pc:docMk/>
            <pc:sldMk cId="2396760433" sldId="347"/>
            <ac:spMk id="155" creationId="{32F72E85-C920-0C43-1BFC-14DDBFD294C6}"/>
          </ac:spMkLst>
        </pc:spChg>
        <pc:spChg chg="add mod">
          <ac:chgData name="Veniero Facchetti" userId="f2c6c99af91c4974" providerId="LiveId" clId="{34DF7D6B-EB0F-4B53-B080-BB8D6F5C3D93}" dt="2024-05-10T16:01:20.804" v="555"/>
          <ac:spMkLst>
            <pc:docMk/>
            <pc:sldMk cId="2396760433" sldId="347"/>
            <ac:spMk id="156" creationId="{FFE78325-30D7-D648-B312-A14B352A3CBB}"/>
          </ac:spMkLst>
        </pc:spChg>
        <pc:spChg chg="add mod">
          <ac:chgData name="Veniero Facchetti" userId="f2c6c99af91c4974" providerId="LiveId" clId="{34DF7D6B-EB0F-4B53-B080-BB8D6F5C3D93}" dt="2024-05-10T16:01:20.804" v="555"/>
          <ac:spMkLst>
            <pc:docMk/>
            <pc:sldMk cId="2396760433" sldId="347"/>
            <ac:spMk id="157" creationId="{9B06A1D6-1A6D-DECA-FA48-8229ADD7BA9F}"/>
          </ac:spMkLst>
        </pc:spChg>
        <pc:spChg chg="add mod">
          <ac:chgData name="Veniero Facchetti" userId="f2c6c99af91c4974" providerId="LiveId" clId="{34DF7D6B-EB0F-4B53-B080-BB8D6F5C3D93}" dt="2024-05-10T16:01:20.804" v="555"/>
          <ac:spMkLst>
            <pc:docMk/>
            <pc:sldMk cId="2396760433" sldId="347"/>
            <ac:spMk id="158" creationId="{5162A549-9ABF-C9E5-5188-D9FDB01B4EFD}"/>
          </ac:spMkLst>
        </pc:spChg>
        <pc:spChg chg="add mod">
          <ac:chgData name="Veniero Facchetti" userId="f2c6c99af91c4974" providerId="LiveId" clId="{34DF7D6B-EB0F-4B53-B080-BB8D6F5C3D93}" dt="2024-05-10T16:01:20.804" v="555"/>
          <ac:spMkLst>
            <pc:docMk/>
            <pc:sldMk cId="2396760433" sldId="347"/>
            <ac:spMk id="159" creationId="{07CC984D-2CCE-CBD1-29CE-37AD44D16A9F}"/>
          </ac:spMkLst>
        </pc:spChg>
        <pc:spChg chg="add mod">
          <ac:chgData name="Veniero Facchetti" userId="f2c6c99af91c4974" providerId="LiveId" clId="{34DF7D6B-EB0F-4B53-B080-BB8D6F5C3D93}" dt="2024-05-10T16:01:20.804" v="555"/>
          <ac:spMkLst>
            <pc:docMk/>
            <pc:sldMk cId="2396760433" sldId="347"/>
            <ac:spMk id="160" creationId="{65A1512C-F358-995E-9AD3-C1DCBAF86F6B}"/>
          </ac:spMkLst>
        </pc:spChg>
        <pc:spChg chg="add mod">
          <ac:chgData name="Veniero Facchetti" userId="f2c6c99af91c4974" providerId="LiveId" clId="{34DF7D6B-EB0F-4B53-B080-BB8D6F5C3D93}" dt="2024-05-10T16:01:20.804" v="555"/>
          <ac:spMkLst>
            <pc:docMk/>
            <pc:sldMk cId="2396760433" sldId="347"/>
            <ac:spMk id="161" creationId="{2C110341-465B-FA74-9C63-C4C0B67BCBF2}"/>
          </ac:spMkLst>
        </pc:spChg>
        <pc:spChg chg="add mod">
          <ac:chgData name="Veniero Facchetti" userId="f2c6c99af91c4974" providerId="LiveId" clId="{34DF7D6B-EB0F-4B53-B080-BB8D6F5C3D93}" dt="2024-05-10T16:01:20.804" v="555"/>
          <ac:spMkLst>
            <pc:docMk/>
            <pc:sldMk cId="2396760433" sldId="347"/>
            <ac:spMk id="162" creationId="{66AF8BFA-9428-1D9B-C279-F19DD1B0DAE7}"/>
          </ac:spMkLst>
        </pc:spChg>
        <pc:spChg chg="add mod">
          <ac:chgData name="Veniero Facchetti" userId="f2c6c99af91c4974" providerId="LiveId" clId="{34DF7D6B-EB0F-4B53-B080-BB8D6F5C3D93}" dt="2024-05-10T16:01:20.804" v="555"/>
          <ac:spMkLst>
            <pc:docMk/>
            <pc:sldMk cId="2396760433" sldId="347"/>
            <ac:spMk id="163" creationId="{47677860-7BFA-7DBA-27A2-922F2AD4256A}"/>
          </ac:spMkLst>
        </pc:spChg>
        <pc:spChg chg="add mod">
          <ac:chgData name="Veniero Facchetti" userId="f2c6c99af91c4974" providerId="LiveId" clId="{34DF7D6B-EB0F-4B53-B080-BB8D6F5C3D93}" dt="2024-05-10T16:01:20.804" v="555"/>
          <ac:spMkLst>
            <pc:docMk/>
            <pc:sldMk cId="2396760433" sldId="347"/>
            <ac:spMk id="164" creationId="{F9ACA0E5-0903-9B03-F706-9FAC50D6A494}"/>
          </ac:spMkLst>
        </pc:spChg>
        <pc:spChg chg="add mod">
          <ac:chgData name="Veniero Facchetti" userId="f2c6c99af91c4974" providerId="LiveId" clId="{34DF7D6B-EB0F-4B53-B080-BB8D6F5C3D93}" dt="2024-05-10T16:01:20.804" v="555"/>
          <ac:spMkLst>
            <pc:docMk/>
            <pc:sldMk cId="2396760433" sldId="347"/>
            <ac:spMk id="165" creationId="{334EA082-00B3-DED3-06FD-17B0CAFD0EDA}"/>
          </ac:spMkLst>
        </pc:spChg>
        <pc:spChg chg="add mod">
          <ac:chgData name="Veniero Facchetti" userId="f2c6c99af91c4974" providerId="LiveId" clId="{34DF7D6B-EB0F-4B53-B080-BB8D6F5C3D93}" dt="2024-05-10T16:01:20.804" v="555"/>
          <ac:spMkLst>
            <pc:docMk/>
            <pc:sldMk cId="2396760433" sldId="347"/>
            <ac:spMk id="166" creationId="{FF67FB5E-3E8F-EDEA-7951-F450432C78A7}"/>
          </ac:spMkLst>
        </pc:spChg>
        <pc:spChg chg="add mod">
          <ac:chgData name="Veniero Facchetti" userId="f2c6c99af91c4974" providerId="LiveId" clId="{34DF7D6B-EB0F-4B53-B080-BB8D6F5C3D93}" dt="2024-05-10T16:01:20.804" v="555"/>
          <ac:spMkLst>
            <pc:docMk/>
            <pc:sldMk cId="2396760433" sldId="347"/>
            <ac:spMk id="167" creationId="{4BFB1260-514F-88A7-869E-B57836992FA5}"/>
          </ac:spMkLst>
        </pc:spChg>
        <pc:spChg chg="add mod">
          <ac:chgData name="Veniero Facchetti" userId="f2c6c99af91c4974" providerId="LiveId" clId="{34DF7D6B-EB0F-4B53-B080-BB8D6F5C3D93}" dt="2024-05-10T16:01:20.804" v="555"/>
          <ac:spMkLst>
            <pc:docMk/>
            <pc:sldMk cId="2396760433" sldId="347"/>
            <ac:spMk id="168" creationId="{54B171C1-0639-B41C-DBF6-5705082E0F01}"/>
          </ac:spMkLst>
        </pc:spChg>
        <pc:spChg chg="add mod">
          <ac:chgData name="Veniero Facchetti" userId="f2c6c99af91c4974" providerId="LiveId" clId="{34DF7D6B-EB0F-4B53-B080-BB8D6F5C3D93}" dt="2024-05-10T16:01:20.804" v="555"/>
          <ac:spMkLst>
            <pc:docMk/>
            <pc:sldMk cId="2396760433" sldId="347"/>
            <ac:spMk id="169" creationId="{5640132B-D959-394C-DF72-D325A5D3D882}"/>
          </ac:spMkLst>
        </pc:spChg>
        <pc:spChg chg="add mod">
          <ac:chgData name="Veniero Facchetti" userId="f2c6c99af91c4974" providerId="LiveId" clId="{34DF7D6B-EB0F-4B53-B080-BB8D6F5C3D93}" dt="2024-05-10T16:01:20.804" v="555"/>
          <ac:spMkLst>
            <pc:docMk/>
            <pc:sldMk cId="2396760433" sldId="347"/>
            <ac:spMk id="170" creationId="{D4E0D83D-E208-F55E-AE54-A6B7559F5128}"/>
          </ac:spMkLst>
        </pc:spChg>
        <pc:spChg chg="add mod">
          <ac:chgData name="Veniero Facchetti" userId="f2c6c99af91c4974" providerId="LiveId" clId="{34DF7D6B-EB0F-4B53-B080-BB8D6F5C3D93}" dt="2024-05-10T16:01:20.804" v="555"/>
          <ac:spMkLst>
            <pc:docMk/>
            <pc:sldMk cId="2396760433" sldId="347"/>
            <ac:spMk id="171" creationId="{4612BAAF-2FC8-8817-5A50-658A65C868AE}"/>
          </ac:spMkLst>
        </pc:spChg>
        <pc:spChg chg="add mod">
          <ac:chgData name="Veniero Facchetti" userId="f2c6c99af91c4974" providerId="LiveId" clId="{34DF7D6B-EB0F-4B53-B080-BB8D6F5C3D93}" dt="2024-05-10T16:01:20.804" v="555"/>
          <ac:spMkLst>
            <pc:docMk/>
            <pc:sldMk cId="2396760433" sldId="347"/>
            <ac:spMk id="172" creationId="{6F6EAA1B-6D23-A4B8-3375-09575FF291A6}"/>
          </ac:spMkLst>
        </pc:spChg>
        <pc:spChg chg="add mod">
          <ac:chgData name="Veniero Facchetti" userId="f2c6c99af91c4974" providerId="LiveId" clId="{34DF7D6B-EB0F-4B53-B080-BB8D6F5C3D93}" dt="2024-05-10T16:01:20.804" v="555"/>
          <ac:spMkLst>
            <pc:docMk/>
            <pc:sldMk cId="2396760433" sldId="347"/>
            <ac:spMk id="173" creationId="{4C8DEA3C-96A5-C65D-81E4-3DBCB95A09B9}"/>
          </ac:spMkLst>
        </pc:spChg>
        <pc:spChg chg="add mod">
          <ac:chgData name="Veniero Facchetti" userId="f2c6c99af91c4974" providerId="LiveId" clId="{34DF7D6B-EB0F-4B53-B080-BB8D6F5C3D93}" dt="2024-05-10T16:01:20.804" v="555"/>
          <ac:spMkLst>
            <pc:docMk/>
            <pc:sldMk cId="2396760433" sldId="347"/>
            <ac:spMk id="174" creationId="{27C19B65-9619-45C0-B33F-F0691E96A8E0}"/>
          </ac:spMkLst>
        </pc:spChg>
        <pc:spChg chg="add mod">
          <ac:chgData name="Veniero Facchetti" userId="f2c6c99af91c4974" providerId="LiveId" clId="{34DF7D6B-EB0F-4B53-B080-BB8D6F5C3D93}" dt="2024-05-10T16:01:20.804" v="555"/>
          <ac:spMkLst>
            <pc:docMk/>
            <pc:sldMk cId="2396760433" sldId="347"/>
            <ac:spMk id="175" creationId="{A9527E8A-F155-977E-60CF-ACA1B6D742C5}"/>
          </ac:spMkLst>
        </pc:spChg>
        <pc:spChg chg="add mod">
          <ac:chgData name="Veniero Facchetti" userId="f2c6c99af91c4974" providerId="LiveId" clId="{34DF7D6B-EB0F-4B53-B080-BB8D6F5C3D93}" dt="2024-05-10T16:01:20.804" v="555"/>
          <ac:spMkLst>
            <pc:docMk/>
            <pc:sldMk cId="2396760433" sldId="347"/>
            <ac:spMk id="176" creationId="{EF85F21C-E579-0EC5-1157-2CDBE0DA6443}"/>
          </ac:spMkLst>
        </pc:spChg>
        <pc:spChg chg="add mod">
          <ac:chgData name="Veniero Facchetti" userId="f2c6c99af91c4974" providerId="LiveId" clId="{34DF7D6B-EB0F-4B53-B080-BB8D6F5C3D93}" dt="2024-05-10T16:01:20.804" v="555"/>
          <ac:spMkLst>
            <pc:docMk/>
            <pc:sldMk cId="2396760433" sldId="347"/>
            <ac:spMk id="177" creationId="{838F2F49-46C9-9E0E-93E7-40E2201113D7}"/>
          </ac:spMkLst>
        </pc:spChg>
        <pc:spChg chg="add mod">
          <ac:chgData name="Veniero Facchetti" userId="f2c6c99af91c4974" providerId="LiveId" clId="{34DF7D6B-EB0F-4B53-B080-BB8D6F5C3D93}" dt="2024-05-10T16:01:20.804" v="555"/>
          <ac:spMkLst>
            <pc:docMk/>
            <pc:sldMk cId="2396760433" sldId="347"/>
            <ac:spMk id="178" creationId="{3152F673-776D-71F7-79F2-A6C07645F6B7}"/>
          </ac:spMkLst>
        </pc:spChg>
        <pc:spChg chg="add mod">
          <ac:chgData name="Veniero Facchetti" userId="f2c6c99af91c4974" providerId="LiveId" clId="{34DF7D6B-EB0F-4B53-B080-BB8D6F5C3D93}" dt="2024-05-10T16:01:20.804" v="555"/>
          <ac:spMkLst>
            <pc:docMk/>
            <pc:sldMk cId="2396760433" sldId="347"/>
            <ac:spMk id="179" creationId="{80D0BD8D-4F2D-C4C3-F88D-5A9DACEC388E}"/>
          </ac:spMkLst>
        </pc:spChg>
        <pc:spChg chg="add mod">
          <ac:chgData name="Veniero Facchetti" userId="f2c6c99af91c4974" providerId="LiveId" clId="{34DF7D6B-EB0F-4B53-B080-BB8D6F5C3D93}" dt="2024-05-10T16:01:20.804" v="555"/>
          <ac:spMkLst>
            <pc:docMk/>
            <pc:sldMk cId="2396760433" sldId="347"/>
            <ac:spMk id="180" creationId="{35821AF8-C79C-5FA9-E6DF-47E3FBBC2C78}"/>
          </ac:spMkLst>
        </pc:spChg>
        <pc:spChg chg="add mod">
          <ac:chgData name="Veniero Facchetti" userId="f2c6c99af91c4974" providerId="LiveId" clId="{34DF7D6B-EB0F-4B53-B080-BB8D6F5C3D93}" dt="2024-05-10T16:01:20.804" v="555"/>
          <ac:spMkLst>
            <pc:docMk/>
            <pc:sldMk cId="2396760433" sldId="347"/>
            <ac:spMk id="181" creationId="{F40F3298-28AF-45AE-3474-4016EAF389C4}"/>
          </ac:spMkLst>
        </pc:spChg>
        <pc:spChg chg="add mod">
          <ac:chgData name="Veniero Facchetti" userId="f2c6c99af91c4974" providerId="LiveId" clId="{34DF7D6B-EB0F-4B53-B080-BB8D6F5C3D93}" dt="2024-05-10T16:01:20.804" v="555"/>
          <ac:spMkLst>
            <pc:docMk/>
            <pc:sldMk cId="2396760433" sldId="347"/>
            <ac:spMk id="182" creationId="{C949A1DD-D4EC-7B7C-6AC7-7694DB438EAD}"/>
          </ac:spMkLst>
        </pc:spChg>
        <pc:spChg chg="add mod">
          <ac:chgData name="Veniero Facchetti" userId="f2c6c99af91c4974" providerId="LiveId" clId="{34DF7D6B-EB0F-4B53-B080-BB8D6F5C3D93}" dt="2024-05-10T16:01:20.804" v="555"/>
          <ac:spMkLst>
            <pc:docMk/>
            <pc:sldMk cId="2396760433" sldId="347"/>
            <ac:spMk id="183" creationId="{65F9BDD0-B067-C5FA-BD30-69E19A4F3542}"/>
          </ac:spMkLst>
        </pc:spChg>
        <pc:spChg chg="add mod">
          <ac:chgData name="Veniero Facchetti" userId="f2c6c99af91c4974" providerId="LiveId" clId="{34DF7D6B-EB0F-4B53-B080-BB8D6F5C3D93}" dt="2024-05-10T16:01:20.804" v="555"/>
          <ac:spMkLst>
            <pc:docMk/>
            <pc:sldMk cId="2396760433" sldId="347"/>
            <ac:spMk id="184" creationId="{3596826A-678F-EE71-28A6-40220400BF46}"/>
          </ac:spMkLst>
        </pc:spChg>
        <pc:spChg chg="add mod">
          <ac:chgData name="Veniero Facchetti" userId="f2c6c99af91c4974" providerId="LiveId" clId="{34DF7D6B-EB0F-4B53-B080-BB8D6F5C3D93}" dt="2024-05-10T16:01:20.804" v="555"/>
          <ac:spMkLst>
            <pc:docMk/>
            <pc:sldMk cId="2396760433" sldId="347"/>
            <ac:spMk id="185" creationId="{C238BCA4-84E3-3841-414A-C92F4D30EB78}"/>
          </ac:spMkLst>
        </pc:spChg>
        <pc:spChg chg="add mod">
          <ac:chgData name="Veniero Facchetti" userId="f2c6c99af91c4974" providerId="LiveId" clId="{34DF7D6B-EB0F-4B53-B080-BB8D6F5C3D93}" dt="2024-05-10T16:01:20.804" v="555"/>
          <ac:spMkLst>
            <pc:docMk/>
            <pc:sldMk cId="2396760433" sldId="347"/>
            <ac:spMk id="186" creationId="{9C4C0C5A-0C3A-8814-5A3F-12A00CFA6468}"/>
          </ac:spMkLst>
        </pc:spChg>
        <pc:spChg chg="add mod">
          <ac:chgData name="Veniero Facchetti" userId="f2c6c99af91c4974" providerId="LiveId" clId="{34DF7D6B-EB0F-4B53-B080-BB8D6F5C3D93}" dt="2024-05-10T16:01:20.804" v="555"/>
          <ac:spMkLst>
            <pc:docMk/>
            <pc:sldMk cId="2396760433" sldId="347"/>
            <ac:spMk id="187" creationId="{34EF34E1-D69A-3375-5CF9-B23EBED00AFD}"/>
          </ac:spMkLst>
        </pc:spChg>
        <pc:spChg chg="add mod">
          <ac:chgData name="Veniero Facchetti" userId="f2c6c99af91c4974" providerId="LiveId" clId="{34DF7D6B-EB0F-4B53-B080-BB8D6F5C3D93}" dt="2024-05-10T16:01:20.804" v="555"/>
          <ac:spMkLst>
            <pc:docMk/>
            <pc:sldMk cId="2396760433" sldId="347"/>
            <ac:spMk id="188" creationId="{B419087A-CDF5-08CF-F9DD-C76A46B56348}"/>
          </ac:spMkLst>
        </pc:spChg>
        <pc:spChg chg="add mod">
          <ac:chgData name="Veniero Facchetti" userId="f2c6c99af91c4974" providerId="LiveId" clId="{34DF7D6B-EB0F-4B53-B080-BB8D6F5C3D93}" dt="2024-05-10T16:01:20.804" v="555"/>
          <ac:spMkLst>
            <pc:docMk/>
            <pc:sldMk cId="2396760433" sldId="347"/>
            <ac:spMk id="189" creationId="{B9F703D6-A0F8-60C1-48E8-AE81EAF56212}"/>
          </ac:spMkLst>
        </pc:spChg>
        <pc:spChg chg="add mod">
          <ac:chgData name="Veniero Facchetti" userId="f2c6c99af91c4974" providerId="LiveId" clId="{34DF7D6B-EB0F-4B53-B080-BB8D6F5C3D93}" dt="2024-05-10T16:01:20.804" v="555"/>
          <ac:spMkLst>
            <pc:docMk/>
            <pc:sldMk cId="2396760433" sldId="347"/>
            <ac:spMk id="190" creationId="{9737C65B-AA98-71F8-6983-D24B565E8BAF}"/>
          </ac:spMkLst>
        </pc:spChg>
        <pc:spChg chg="add mod">
          <ac:chgData name="Veniero Facchetti" userId="f2c6c99af91c4974" providerId="LiveId" clId="{34DF7D6B-EB0F-4B53-B080-BB8D6F5C3D93}" dt="2024-05-10T16:01:20.804" v="555"/>
          <ac:spMkLst>
            <pc:docMk/>
            <pc:sldMk cId="2396760433" sldId="347"/>
            <ac:spMk id="191" creationId="{BB2B0E97-BBC4-DC72-5438-0325B9F8BD01}"/>
          </ac:spMkLst>
        </pc:spChg>
        <pc:spChg chg="add mod">
          <ac:chgData name="Veniero Facchetti" userId="f2c6c99af91c4974" providerId="LiveId" clId="{34DF7D6B-EB0F-4B53-B080-BB8D6F5C3D93}" dt="2024-05-10T16:01:20.804" v="555"/>
          <ac:spMkLst>
            <pc:docMk/>
            <pc:sldMk cId="2396760433" sldId="347"/>
            <ac:spMk id="192" creationId="{A10905A9-A7E4-33D4-33AC-053A64D20593}"/>
          </ac:spMkLst>
        </pc:spChg>
        <pc:spChg chg="add mod">
          <ac:chgData name="Veniero Facchetti" userId="f2c6c99af91c4974" providerId="LiveId" clId="{34DF7D6B-EB0F-4B53-B080-BB8D6F5C3D93}" dt="2024-05-10T16:01:20.804" v="555"/>
          <ac:spMkLst>
            <pc:docMk/>
            <pc:sldMk cId="2396760433" sldId="347"/>
            <ac:spMk id="193" creationId="{BC71F774-4C88-F342-E0E2-5F46A765B68C}"/>
          </ac:spMkLst>
        </pc:spChg>
        <pc:spChg chg="add mod">
          <ac:chgData name="Veniero Facchetti" userId="f2c6c99af91c4974" providerId="LiveId" clId="{34DF7D6B-EB0F-4B53-B080-BB8D6F5C3D93}" dt="2024-05-10T16:01:20.804" v="555"/>
          <ac:spMkLst>
            <pc:docMk/>
            <pc:sldMk cId="2396760433" sldId="347"/>
            <ac:spMk id="194" creationId="{50FEE982-448A-D4C2-0530-B7E52419AA5E}"/>
          </ac:spMkLst>
        </pc:spChg>
        <pc:spChg chg="add mod">
          <ac:chgData name="Veniero Facchetti" userId="f2c6c99af91c4974" providerId="LiveId" clId="{34DF7D6B-EB0F-4B53-B080-BB8D6F5C3D93}" dt="2024-05-10T16:01:20.804" v="555"/>
          <ac:spMkLst>
            <pc:docMk/>
            <pc:sldMk cId="2396760433" sldId="347"/>
            <ac:spMk id="195" creationId="{C29F623E-E9CA-2015-833D-FFF027AD5001}"/>
          </ac:spMkLst>
        </pc:spChg>
        <pc:spChg chg="add mod">
          <ac:chgData name="Veniero Facchetti" userId="f2c6c99af91c4974" providerId="LiveId" clId="{34DF7D6B-EB0F-4B53-B080-BB8D6F5C3D93}" dt="2024-05-10T16:01:20.804" v="555"/>
          <ac:spMkLst>
            <pc:docMk/>
            <pc:sldMk cId="2396760433" sldId="347"/>
            <ac:spMk id="196" creationId="{D05D5858-10E5-8186-CBBE-E1CA823A813A}"/>
          </ac:spMkLst>
        </pc:spChg>
        <pc:spChg chg="add mod">
          <ac:chgData name="Veniero Facchetti" userId="f2c6c99af91c4974" providerId="LiveId" clId="{34DF7D6B-EB0F-4B53-B080-BB8D6F5C3D93}" dt="2024-05-10T16:01:20.804" v="555"/>
          <ac:spMkLst>
            <pc:docMk/>
            <pc:sldMk cId="2396760433" sldId="347"/>
            <ac:spMk id="197" creationId="{C3BE5882-181E-71C1-DCD3-D8BAA38D36FE}"/>
          </ac:spMkLst>
        </pc:spChg>
        <pc:spChg chg="add mod">
          <ac:chgData name="Veniero Facchetti" userId="f2c6c99af91c4974" providerId="LiveId" clId="{34DF7D6B-EB0F-4B53-B080-BB8D6F5C3D93}" dt="2024-05-10T16:01:20.804" v="555"/>
          <ac:spMkLst>
            <pc:docMk/>
            <pc:sldMk cId="2396760433" sldId="347"/>
            <ac:spMk id="198" creationId="{B7745AEA-27E1-B92E-B20A-A8BC1DAA4D95}"/>
          </ac:spMkLst>
        </pc:spChg>
        <pc:spChg chg="add mod">
          <ac:chgData name="Veniero Facchetti" userId="f2c6c99af91c4974" providerId="LiveId" clId="{34DF7D6B-EB0F-4B53-B080-BB8D6F5C3D93}" dt="2024-05-10T16:01:20.804" v="555"/>
          <ac:spMkLst>
            <pc:docMk/>
            <pc:sldMk cId="2396760433" sldId="347"/>
            <ac:spMk id="199" creationId="{235A2807-AA4F-5D7E-94DD-D8F2AC4A6B7F}"/>
          </ac:spMkLst>
        </pc:spChg>
        <pc:spChg chg="add mod">
          <ac:chgData name="Veniero Facchetti" userId="f2c6c99af91c4974" providerId="LiveId" clId="{34DF7D6B-EB0F-4B53-B080-BB8D6F5C3D93}" dt="2024-05-10T16:01:20.804" v="555"/>
          <ac:spMkLst>
            <pc:docMk/>
            <pc:sldMk cId="2396760433" sldId="347"/>
            <ac:spMk id="200" creationId="{F131F6EC-00ED-E4D2-80F6-0DA92E480973}"/>
          </ac:spMkLst>
        </pc:spChg>
        <pc:spChg chg="add mod">
          <ac:chgData name="Veniero Facchetti" userId="f2c6c99af91c4974" providerId="LiveId" clId="{34DF7D6B-EB0F-4B53-B080-BB8D6F5C3D93}" dt="2024-05-10T16:01:20.804" v="555"/>
          <ac:spMkLst>
            <pc:docMk/>
            <pc:sldMk cId="2396760433" sldId="347"/>
            <ac:spMk id="201" creationId="{9014669F-F6F2-85E7-6698-E3D7471DC56B}"/>
          </ac:spMkLst>
        </pc:spChg>
        <pc:spChg chg="add mod">
          <ac:chgData name="Veniero Facchetti" userId="f2c6c99af91c4974" providerId="LiveId" clId="{34DF7D6B-EB0F-4B53-B080-BB8D6F5C3D93}" dt="2024-05-10T16:01:20.804" v="555"/>
          <ac:spMkLst>
            <pc:docMk/>
            <pc:sldMk cId="2396760433" sldId="347"/>
            <ac:spMk id="202" creationId="{6C904B0D-F375-A547-75EA-F8CB3C7F0CD5}"/>
          </ac:spMkLst>
        </pc:spChg>
        <pc:spChg chg="add mod">
          <ac:chgData name="Veniero Facchetti" userId="f2c6c99af91c4974" providerId="LiveId" clId="{34DF7D6B-EB0F-4B53-B080-BB8D6F5C3D93}" dt="2024-05-10T16:01:20.804" v="555"/>
          <ac:spMkLst>
            <pc:docMk/>
            <pc:sldMk cId="2396760433" sldId="347"/>
            <ac:spMk id="203" creationId="{76895955-80AE-0EEC-1FCD-A1B84AFABBFE}"/>
          </ac:spMkLst>
        </pc:spChg>
        <pc:spChg chg="add mod">
          <ac:chgData name="Veniero Facchetti" userId="f2c6c99af91c4974" providerId="LiveId" clId="{34DF7D6B-EB0F-4B53-B080-BB8D6F5C3D93}" dt="2024-05-10T16:01:20.804" v="555"/>
          <ac:spMkLst>
            <pc:docMk/>
            <pc:sldMk cId="2396760433" sldId="347"/>
            <ac:spMk id="204" creationId="{A213B881-88BE-AAAC-9646-201E776A762A}"/>
          </ac:spMkLst>
        </pc:spChg>
        <pc:spChg chg="add mod">
          <ac:chgData name="Veniero Facchetti" userId="f2c6c99af91c4974" providerId="LiveId" clId="{34DF7D6B-EB0F-4B53-B080-BB8D6F5C3D93}" dt="2024-05-10T16:01:20.804" v="555"/>
          <ac:spMkLst>
            <pc:docMk/>
            <pc:sldMk cId="2396760433" sldId="347"/>
            <ac:spMk id="205" creationId="{4FFE96E8-F01B-1642-1AA2-F53FC321EAE9}"/>
          </ac:spMkLst>
        </pc:spChg>
        <pc:spChg chg="add mod">
          <ac:chgData name="Veniero Facchetti" userId="f2c6c99af91c4974" providerId="LiveId" clId="{34DF7D6B-EB0F-4B53-B080-BB8D6F5C3D93}" dt="2024-05-10T16:01:20.804" v="555"/>
          <ac:spMkLst>
            <pc:docMk/>
            <pc:sldMk cId="2396760433" sldId="347"/>
            <ac:spMk id="206" creationId="{9C891331-7F87-8274-988B-B0502A5C62AB}"/>
          </ac:spMkLst>
        </pc:spChg>
        <pc:spChg chg="add mod">
          <ac:chgData name="Veniero Facchetti" userId="f2c6c99af91c4974" providerId="LiveId" clId="{34DF7D6B-EB0F-4B53-B080-BB8D6F5C3D93}" dt="2024-05-10T16:01:20.804" v="555"/>
          <ac:spMkLst>
            <pc:docMk/>
            <pc:sldMk cId="2396760433" sldId="347"/>
            <ac:spMk id="207" creationId="{C6AF4962-4623-66B7-AFED-C825E78386DB}"/>
          </ac:spMkLst>
        </pc:spChg>
        <pc:spChg chg="add mod">
          <ac:chgData name="Veniero Facchetti" userId="f2c6c99af91c4974" providerId="LiveId" clId="{34DF7D6B-EB0F-4B53-B080-BB8D6F5C3D93}" dt="2024-05-10T16:01:20.804" v="555"/>
          <ac:spMkLst>
            <pc:docMk/>
            <pc:sldMk cId="2396760433" sldId="347"/>
            <ac:spMk id="208" creationId="{1047B99C-0E3D-CC48-C204-A7E3081B5B91}"/>
          </ac:spMkLst>
        </pc:spChg>
        <pc:spChg chg="add mod">
          <ac:chgData name="Veniero Facchetti" userId="f2c6c99af91c4974" providerId="LiveId" clId="{34DF7D6B-EB0F-4B53-B080-BB8D6F5C3D93}" dt="2024-05-10T16:01:20.804" v="555"/>
          <ac:spMkLst>
            <pc:docMk/>
            <pc:sldMk cId="2396760433" sldId="347"/>
            <ac:spMk id="209" creationId="{9CEE9FA1-A1B2-905F-5EB3-A50B9E4B03EA}"/>
          </ac:spMkLst>
        </pc:spChg>
        <pc:spChg chg="add mod">
          <ac:chgData name="Veniero Facchetti" userId="f2c6c99af91c4974" providerId="LiveId" clId="{34DF7D6B-EB0F-4B53-B080-BB8D6F5C3D93}" dt="2024-05-10T16:01:20.804" v="555"/>
          <ac:spMkLst>
            <pc:docMk/>
            <pc:sldMk cId="2396760433" sldId="347"/>
            <ac:spMk id="210" creationId="{24F6C72A-85B6-B2A1-61DC-CAF40109994A}"/>
          </ac:spMkLst>
        </pc:spChg>
        <pc:spChg chg="add mod">
          <ac:chgData name="Veniero Facchetti" userId="f2c6c99af91c4974" providerId="LiveId" clId="{34DF7D6B-EB0F-4B53-B080-BB8D6F5C3D93}" dt="2024-05-10T16:01:20.804" v="555"/>
          <ac:spMkLst>
            <pc:docMk/>
            <pc:sldMk cId="2396760433" sldId="347"/>
            <ac:spMk id="211" creationId="{53C10386-EB3C-8195-03A1-D584A48308E1}"/>
          </ac:spMkLst>
        </pc:spChg>
        <pc:spChg chg="add mod">
          <ac:chgData name="Veniero Facchetti" userId="f2c6c99af91c4974" providerId="LiveId" clId="{34DF7D6B-EB0F-4B53-B080-BB8D6F5C3D93}" dt="2024-05-10T16:01:20.804" v="555"/>
          <ac:spMkLst>
            <pc:docMk/>
            <pc:sldMk cId="2396760433" sldId="347"/>
            <ac:spMk id="212" creationId="{6299ABA6-842D-500F-A903-3B02991F9B1D}"/>
          </ac:spMkLst>
        </pc:spChg>
        <pc:spChg chg="add mod">
          <ac:chgData name="Veniero Facchetti" userId="f2c6c99af91c4974" providerId="LiveId" clId="{34DF7D6B-EB0F-4B53-B080-BB8D6F5C3D93}" dt="2024-05-10T16:01:20.804" v="555"/>
          <ac:spMkLst>
            <pc:docMk/>
            <pc:sldMk cId="2396760433" sldId="347"/>
            <ac:spMk id="213" creationId="{33F09FB2-4EDF-58E2-0708-F4D815674B5D}"/>
          </ac:spMkLst>
        </pc:spChg>
        <pc:spChg chg="add mod">
          <ac:chgData name="Veniero Facchetti" userId="f2c6c99af91c4974" providerId="LiveId" clId="{34DF7D6B-EB0F-4B53-B080-BB8D6F5C3D93}" dt="2024-05-10T16:01:20.804" v="555"/>
          <ac:spMkLst>
            <pc:docMk/>
            <pc:sldMk cId="2396760433" sldId="347"/>
            <ac:spMk id="214" creationId="{71ECA352-AB88-0073-DC4E-63D186E1AF98}"/>
          </ac:spMkLst>
        </pc:spChg>
        <pc:spChg chg="add mod">
          <ac:chgData name="Veniero Facchetti" userId="f2c6c99af91c4974" providerId="LiveId" clId="{34DF7D6B-EB0F-4B53-B080-BB8D6F5C3D93}" dt="2024-05-10T16:01:20.804" v="555"/>
          <ac:spMkLst>
            <pc:docMk/>
            <pc:sldMk cId="2396760433" sldId="347"/>
            <ac:spMk id="215" creationId="{36DC91DE-4F74-F450-490F-C62D6E5857D4}"/>
          </ac:spMkLst>
        </pc:spChg>
        <pc:spChg chg="add mod">
          <ac:chgData name="Veniero Facchetti" userId="f2c6c99af91c4974" providerId="LiveId" clId="{34DF7D6B-EB0F-4B53-B080-BB8D6F5C3D93}" dt="2024-05-10T16:01:20.804" v="555"/>
          <ac:spMkLst>
            <pc:docMk/>
            <pc:sldMk cId="2396760433" sldId="347"/>
            <ac:spMk id="216" creationId="{E85ECDE1-03D2-65F2-C36C-DB3B638CBD47}"/>
          </ac:spMkLst>
        </pc:spChg>
        <pc:spChg chg="add mod">
          <ac:chgData name="Veniero Facchetti" userId="f2c6c99af91c4974" providerId="LiveId" clId="{34DF7D6B-EB0F-4B53-B080-BB8D6F5C3D93}" dt="2024-05-10T16:01:20.804" v="555"/>
          <ac:spMkLst>
            <pc:docMk/>
            <pc:sldMk cId="2396760433" sldId="347"/>
            <ac:spMk id="217" creationId="{60DCEB89-218F-6AFF-7A13-67B338723C07}"/>
          </ac:spMkLst>
        </pc:spChg>
        <pc:spChg chg="add mod">
          <ac:chgData name="Veniero Facchetti" userId="f2c6c99af91c4974" providerId="LiveId" clId="{34DF7D6B-EB0F-4B53-B080-BB8D6F5C3D93}" dt="2024-05-10T16:01:20.804" v="555"/>
          <ac:spMkLst>
            <pc:docMk/>
            <pc:sldMk cId="2396760433" sldId="347"/>
            <ac:spMk id="218" creationId="{0F7A0DD5-8F83-60F1-E81F-04196C162213}"/>
          </ac:spMkLst>
        </pc:spChg>
        <pc:spChg chg="add mod">
          <ac:chgData name="Veniero Facchetti" userId="f2c6c99af91c4974" providerId="LiveId" clId="{34DF7D6B-EB0F-4B53-B080-BB8D6F5C3D93}" dt="2024-05-10T16:01:20.804" v="555"/>
          <ac:spMkLst>
            <pc:docMk/>
            <pc:sldMk cId="2396760433" sldId="347"/>
            <ac:spMk id="219" creationId="{9647EC57-773F-200E-2871-049DD9A9398B}"/>
          </ac:spMkLst>
        </pc:spChg>
        <pc:spChg chg="add mod">
          <ac:chgData name="Veniero Facchetti" userId="f2c6c99af91c4974" providerId="LiveId" clId="{34DF7D6B-EB0F-4B53-B080-BB8D6F5C3D93}" dt="2024-05-10T16:01:20.804" v="555"/>
          <ac:spMkLst>
            <pc:docMk/>
            <pc:sldMk cId="2396760433" sldId="347"/>
            <ac:spMk id="220" creationId="{0C6DAC76-AC48-A561-BE62-ED6DCFDB8C76}"/>
          </ac:spMkLst>
        </pc:spChg>
        <pc:spChg chg="add mod">
          <ac:chgData name="Veniero Facchetti" userId="f2c6c99af91c4974" providerId="LiveId" clId="{34DF7D6B-EB0F-4B53-B080-BB8D6F5C3D93}" dt="2024-05-10T16:01:20.804" v="555"/>
          <ac:spMkLst>
            <pc:docMk/>
            <pc:sldMk cId="2396760433" sldId="347"/>
            <ac:spMk id="221" creationId="{BCF2CEA1-EF4E-EA94-1045-43EC524E0AF0}"/>
          </ac:spMkLst>
        </pc:spChg>
        <pc:spChg chg="add mod">
          <ac:chgData name="Veniero Facchetti" userId="f2c6c99af91c4974" providerId="LiveId" clId="{34DF7D6B-EB0F-4B53-B080-BB8D6F5C3D93}" dt="2024-05-10T16:01:20.804" v="555"/>
          <ac:spMkLst>
            <pc:docMk/>
            <pc:sldMk cId="2396760433" sldId="347"/>
            <ac:spMk id="222" creationId="{A600B31D-51E4-E850-36FE-0BB03F2C275F}"/>
          </ac:spMkLst>
        </pc:spChg>
        <pc:spChg chg="add mod">
          <ac:chgData name="Veniero Facchetti" userId="f2c6c99af91c4974" providerId="LiveId" clId="{34DF7D6B-EB0F-4B53-B080-BB8D6F5C3D93}" dt="2024-05-10T16:01:20.804" v="555"/>
          <ac:spMkLst>
            <pc:docMk/>
            <pc:sldMk cId="2396760433" sldId="347"/>
            <ac:spMk id="223" creationId="{F5633258-9C0C-708F-7DA8-1E6E4F0EE496}"/>
          </ac:spMkLst>
        </pc:spChg>
        <pc:spChg chg="add mod">
          <ac:chgData name="Veniero Facchetti" userId="f2c6c99af91c4974" providerId="LiveId" clId="{34DF7D6B-EB0F-4B53-B080-BB8D6F5C3D93}" dt="2024-05-10T16:01:20.804" v="555"/>
          <ac:spMkLst>
            <pc:docMk/>
            <pc:sldMk cId="2396760433" sldId="347"/>
            <ac:spMk id="224" creationId="{15008B9A-9416-2A40-20C6-6085E06B328C}"/>
          </ac:spMkLst>
        </pc:spChg>
        <pc:spChg chg="add mod">
          <ac:chgData name="Veniero Facchetti" userId="f2c6c99af91c4974" providerId="LiveId" clId="{34DF7D6B-EB0F-4B53-B080-BB8D6F5C3D93}" dt="2024-05-10T16:01:20.804" v="555"/>
          <ac:spMkLst>
            <pc:docMk/>
            <pc:sldMk cId="2396760433" sldId="347"/>
            <ac:spMk id="225" creationId="{92306236-4753-C60F-3099-4BB7CD27AF01}"/>
          </ac:spMkLst>
        </pc:spChg>
        <pc:spChg chg="add mod">
          <ac:chgData name="Veniero Facchetti" userId="f2c6c99af91c4974" providerId="LiveId" clId="{34DF7D6B-EB0F-4B53-B080-BB8D6F5C3D93}" dt="2024-05-10T16:01:20.804" v="555"/>
          <ac:spMkLst>
            <pc:docMk/>
            <pc:sldMk cId="2396760433" sldId="347"/>
            <ac:spMk id="226" creationId="{D373927A-12CF-0231-C6AB-A9833EB7629D}"/>
          </ac:spMkLst>
        </pc:spChg>
        <pc:spChg chg="add mod">
          <ac:chgData name="Veniero Facchetti" userId="f2c6c99af91c4974" providerId="LiveId" clId="{34DF7D6B-EB0F-4B53-B080-BB8D6F5C3D93}" dt="2024-05-10T16:01:20.804" v="555"/>
          <ac:spMkLst>
            <pc:docMk/>
            <pc:sldMk cId="2396760433" sldId="347"/>
            <ac:spMk id="227" creationId="{6368FADB-34E6-BD39-AFE7-9D871B831211}"/>
          </ac:spMkLst>
        </pc:spChg>
        <pc:spChg chg="add mod">
          <ac:chgData name="Veniero Facchetti" userId="f2c6c99af91c4974" providerId="LiveId" clId="{34DF7D6B-EB0F-4B53-B080-BB8D6F5C3D93}" dt="2024-05-10T16:01:20.804" v="555"/>
          <ac:spMkLst>
            <pc:docMk/>
            <pc:sldMk cId="2396760433" sldId="347"/>
            <ac:spMk id="228" creationId="{AC96E5F6-7CCF-8F3D-4AC2-7D33C8CE5511}"/>
          </ac:spMkLst>
        </pc:spChg>
        <pc:spChg chg="add mod">
          <ac:chgData name="Veniero Facchetti" userId="f2c6c99af91c4974" providerId="LiveId" clId="{34DF7D6B-EB0F-4B53-B080-BB8D6F5C3D93}" dt="2024-05-10T16:01:20.804" v="555"/>
          <ac:spMkLst>
            <pc:docMk/>
            <pc:sldMk cId="2396760433" sldId="347"/>
            <ac:spMk id="229" creationId="{BEE3DA8B-DE19-3483-95BB-5ECA9CF049D3}"/>
          </ac:spMkLst>
        </pc:spChg>
        <pc:spChg chg="add mod">
          <ac:chgData name="Veniero Facchetti" userId="f2c6c99af91c4974" providerId="LiveId" clId="{34DF7D6B-EB0F-4B53-B080-BB8D6F5C3D93}" dt="2024-05-10T16:01:20.804" v="555"/>
          <ac:spMkLst>
            <pc:docMk/>
            <pc:sldMk cId="2396760433" sldId="347"/>
            <ac:spMk id="230" creationId="{303727FD-75C9-9A77-1593-BC7B195F7B62}"/>
          </ac:spMkLst>
        </pc:spChg>
        <pc:spChg chg="add mod">
          <ac:chgData name="Veniero Facchetti" userId="f2c6c99af91c4974" providerId="LiveId" clId="{34DF7D6B-EB0F-4B53-B080-BB8D6F5C3D93}" dt="2024-05-10T16:01:20.804" v="555"/>
          <ac:spMkLst>
            <pc:docMk/>
            <pc:sldMk cId="2396760433" sldId="347"/>
            <ac:spMk id="231" creationId="{23C1A8FA-2393-E414-0750-05ADBC4A95FD}"/>
          </ac:spMkLst>
        </pc:spChg>
        <pc:spChg chg="add mod">
          <ac:chgData name="Veniero Facchetti" userId="f2c6c99af91c4974" providerId="LiveId" clId="{34DF7D6B-EB0F-4B53-B080-BB8D6F5C3D93}" dt="2024-05-10T16:01:20.804" v="555"/>
          <ac:spMkLst>
            <pc:docMk/>
            <pc:sldMk cId="2396760433" sldId="347"/>
            <ac:spMk id="232" creationId="{9DD3904C-51C4-A932-FFA9-8840C6597296}"/>
          </ac:spMkLst>
        </pc:spChg>
        <pc:spChg chg="add mod">
          <ac:chgData name="Veniero Facchetti" userId="f2c6c99af91c4974" providerId="LiveId" clId="{34DF7D6B-EB0F-4B53-B080-BB8D6F5C3D93}" dt="2024-05-10T16:01:20.804" v="555"/>
          <ac:spMkLst>
            <pc:docMk/>
            <pc:sldMk cId="2396760433" sldId="347"/>
            <ac:spMk id="233" creationId="{17D7AB6A-E7B4-04E3-F7AD-D2BA4D7373AD}"/>
          </ac:spMkLst>
        </pc:spChg>
        <pc:spChg chg="add mod">
          <ac:chgData name="Veniero Facchetti" userId="f2c6c99af91c4974" providerId="LiveId" clId="{34DF7D6B-EB0F-4B53-B080-BB8D6F5C3D93}" dt="2024-05-10T16:01:20.804" v="555"/>
          <ac:spMkLst>
            <pc:docMk/>
            <pc:sldMk cId="2396760433" sldId="347"/>
            <ac:spMk id="234" creationId="{E6CB4C8A-C3CF-5836-0391-05F1B389228E}"/>
          </ac:spMkLst>
        </pc:spChg>
        <pc:spChg chg="add mod">
          <ac:chgData name="Veniero Facchetti" userId="f2c6c99af91c4974" providerId="LiveId" clId="{34DF7D6B-EB0F-4B53-B080-BB8D6F5C3D93}" dt="2024-05-10T16:01:20.804" v="555"/>
          <ac:spMkLst>
            <pc:docMk/>
            <pc:sldMk cId="2396760433" sldId="347"/>
            <ac:spMk id="235" creationId="{936F2EAD-E33F-CEA1-1C90-95F02D105302}"/>
          </ac:spMkLst>
        </pc:spChg>
        <pc:spChg chg="add mod">
          <ac:chgData name="Veniero Facchetti" userId="f2c6c99af91c4974" providerId="LiveId" clId="{34DF7D6B-EB0F-4B53-B080-BB8D6F5C3D93}" dt="2024-05-10T16:01:20.804" v="555"/>
          <ac:spMkLst>
            <pc:docMk/>
            <pc:sldMk cId="2396760433" sldId="347"/>
            <ac:spMk id="236" creationId="{0E61F6A1-EED4-8961-5222-232F76AFC45B}"/>
          </ac:spMkLst>
        </pc:spChg>
        <pc:spChg chg="add mod">
          <ac:chgData name="Veniero Facchetti" userId="f2c6c99af91c4974" providerId="LiveId" clId="{34DF7D6B-EB0F-4B53-B080-BB8D6F5C3D93}" dt="2024-05-10T16:01:20.804" v="555"/>
          <ac:spMkLst>
            <pc:docMk/>
            <pc:sldMk cId="2396760433" sldId="347"/>
            <ac:spMk id="237" creationId="{8512D9ED-A681-D941-D679-C0C92CDB634A}"/>
          </ac:spMkLst>
        </pc:spChg>
        <pc:spChg chg="add mod">
          <ac:chgData name="Veniero Facchetti" userId="f2c6c99af91c4974" providerId="LiveId" clId="{34DF7D6B-EB0F-4B53-B080-BB8D6F5C3D93}" dt="2024-05-10T16:01:20.804" v="555"/>
          <ac:spMkLst>
            <pc:docMk/>
            <pc:sldMk cId="2396760433" sldId="347"/>
            <ac:spMk id="238" creationId="{2868E65F-9E07-A2F9-E4DB-00A9286D763F}"/>
          </ac:spMkLst>
        </pc:spChg>
        <pc:spChg chg="add mod">
          <ac:chgData name="Veniero Facchetti" userId="f2c6c99af91c4974" providerId="LiveId" clId="{34DF7D6B-EB0F-4B53-B080-BB8D6F5C3D93}" dt="2024-05-10T16:01:20.804" v="555"/>
          <ac:spMkLst>
            <pc:docMk/>
            <pc:sldMk cId="2396760433" sldId="347"/>
            <ac:spMk id="239" creationId="{A659260E-92DB-0154-7639-E6E28D08580F}"/>
          </ac:spMkLst>
        </pc:spChg>
        <pc:spChg chg="add mod">
          <ac:chgData name="Veniero Facchetti" userId="f2c6c99af91c4974" providerId="LiveId" clId="{34DF7D6B-EB0F-4B53-B080-BB8D6F5C3D93}" dt="2024-05-10T16:01:20.804" v="555"/>
          <ac:spMkLst>
            <pc:docMk/>
            <pc:sldMk cId="2396760433" sldId="347"/>
            <ac:spMk id="240" creationId="{1C22EF0B-496A-C062-4F59-E00407B60911}"/>
          </ac:spMkLst>
        </pc:spChg>
        <pc:spChg chg="add mod">
          <ac:chgData name="Veniero Facchetti" userId="f2c6c99af91c4974" providerId="LiveId" clId="{34DF7D6B-EB0F-4B53-B080-BB8D6F5C3D93}" dt="2024-05-10T16:01:20.804" v="555"/>
          <ac:spMkLst>
            <pc:docMk/>
            <pc:sldMk cId="2396760433" sldId="347"/>
            <ac:spMk id="241" creationId="{A5210B6F-F22D-4ED9-9FEC-D64DDF9A1E07}"/>
          </ac:spMkLst>
        </pc:spChg>
        <pc:spChg chg="add mod">
          <ac:chgData name="Veniero Facchetti" userId="f2c6c99af91c4974" providerId="LiveId" clId="{34DF7D6B-EB0F-4B53-B080-BB8D6F5C3D93}" dt="2024-05-10T16:01:20.804" v="555"/>
          <ac:spMkLst>
            <pc:docMk/>
            <pc:sldMk cId="2396760433" sldId="347"/>
            <ac:spMk id="242" creationId="{6C6A5E4C-7A0B-DADB-BA50-2F214BD98A3F}"/>
          </ac:spMkLst>
        </pc:spChg>
        <pc:spChg chg="add mod">
          <ac:chgData name="Veniero Facchetti" userId="f2c6c99af91c4974" providerId="LiveId" clId="{34DF7D6B-EB0F-4B53-B080-BB8D6F5C3D93}" dt="2024-05-10T16:01:20.804" v="555"/>
          <ac:spMkLst>
            <pc:docMk/>
            <pc:sldMk cId="2396760433" sldId="347"/>
            <ac:spMk id="243" creationId="{78255F21-CC06-1A01-450B-DC1B1A0C585A}"/>
          </ac:spMkLst>
        </pc:spChg>
        <pc:spChg chg="add mod">
          <ac:chgData name="Veniero Facchetti" userId="f2c6c99af91c4974" providerId="LiveId" clId="{34DF7D6B-EB0F-4B53-B080-BB8D6F5C3D93}" dt="2024-05-10T16:01:20.804" v="555"/>
          <ac:spMkLst>
            <pc:docMk/>
            <pc:sldMk cId="2396760433" sldId="347"/>
            <ac:spMk id="244" creationId="{679E3AEA-6A6B-5A27-99B2-ADBDCD8823C7}"/>
          </ac:spMkLst>
        </pc:spChg>
        <pc:spChg chg="add mod">
          <ac:chgData name="Veniero Facchetti" userId="f2c6c99af91c4974" providerId="LiveId" clId="{34DF7D6B-EB0F-4B53-B080-BB8D6F5C3D93}" dt="2024-05-10T16:01:20.804" v="555"/>
          <ac:spMkLst>
            <pc:docMk/>
            <pc:sldMk cId="2396760433" sldId="347"/>
            <ac:spMk id="245" creationId="{F5812995-2BF8-DD43-6D14-65DBC1D5181C}"/>
          </ac:spMkLst>
        </pc:spChg>
        <pc:spChg chg="add mod">
          <ac:chgData name="Veniero Facchetti" userId="f2c6c99af91c4974" providerId="LiveId" clId="{34DF7D6B-EB0F-4B53-B080-BB8D6F5C3D93}" dt="2024-05-10T16:01:20.804" v="555"/>
          <ac:spMkLst>
            <pc:docMk/>
            <pc:sldMk cId="2396760433" sldId="347"/>
            <ac:spMk id="246" creationId="{0002467F-6C87-4A74-F8D5-32E6E1C0F6AE}"/>
          </ac:spMkLst>
        </pc:spChg>
        <pc:spChg chg="add mod">
          <ac:chgData name="Veniero Facchetti" userId="f2c6c99af91c4974" providerId="LiveId" clId="{34DF7D6B-EB0F-4B53-B080-BB8D6F5C3D93}" dt="2024-05-10T16:01:20.804" v="555"/>
          <ac:spMkLst>
            <pc:docMk/>
            <pc:sldMk cId="2396760433" sldId="347"/>
            <ac:spMk id="247" creationId="{0921216C-927F-85BA-7663-DA7CF10DA316}"/>
          </ac:spMkLst>
        </pc:spChg>
        <pc:spChg chg="add mod">
          <ac:chgData name="Veniero Facchetti" userId="f2c6c99af91c4974" providerId="LiveId" clId="{34DF7D6B-EB0F-4B53-B080-BB8D6F5C3D93}" dt="2024-05-10T16:01:20.804" v="555"/>
          <ac:spMkLst>
            <pc:docMk/>
            <pc:sldMk cId="2396760433" sldId="347"/>
            <ac:spMk id="248" creationId="{0A9842EE-4903-EDCD-6359-1651715F5BB3}"/>
          </ac:spMkLst>
        </pc:spChg>
        <pc:spChg chg="add mod">
          <ac:chgData name="Veniero Facchetti" userId="f2c6c99af91c4974" providerId="LiveId" clId="{34DF7D6B-EB0F-4B53-B080-BB8D6F5C3D93}" dt="2024-05-10T16:01:20.804" v="555"/>
          <ac:spMkLst>
            <pc:docMk/>
            <pc:sldMk cId="2396760433" sldId="347"/>
            <ac:spMk id="249" creationId="{585B0DDB-8F06-2FBE-28BA-59EBAEEA545D}"/>
          </ac:spMkLst>
        </pc:spChg>
        <pc:spChg chg="add mod">
          <ac:chgData name="Veniero Facchetti" userId="f2c6c99af91c4974" providerId="LiveId" clId="{34DF7D6B-EB0F-4B53-B080-BB8D6F5C3D93}" dt="2024-05-10T16:01:20.804" v="555"/>
          <ac:spMkLst>
            <pc:docMk/>
            <pc:sldMk cId="2396760433" sldId="347"/>
            <ac:spMk id="250" creationId="{7BC1EB54-0AC9-E68C-7D30-952587BDEE60}"/>
          </ac:spMkLst>
        </pc:spChg>
        <pc:spChg chg="add mod">
          <ac:chgData name="Veniero Facchetti" userId="f2c6c99af91c4974" providerId="LiveId" clId="{34DF7D6B-EB0F-4B53-B080-BB8D6F5C3D93}" dt="2024-05-10T16:01:20.804" v="555"/>
          <ac:spMkLst>
            <pc:docMk/>
            <pc:sldMk cId="2396760433" sldId="347"/>
            <ac:spMk id="251" creationId="{66279F2B-526D-8317-0BE8-E191AFC06885}"/>
          </ac:spMkLst>
        </pc:spChg>
        <pc:spChg chg="add mod">
          <ac:chgData name="Veniero Facchetti" userId="f2c6c99af91c4974" providerId="LiveId" clId="{34DF7D6B-EB0F-4B53-B080-BB8D6F5C3D93}" dt="2024-05-10T16:01:20.804" v="555"/>
          <ac:spMkLst>
            <pc:docMk/>
            <pc:sldMk cId="2396760433" sldId="347"/>
            <ac:spMk id="252" creationId="{A17F51ED-210B-5893-8314-CB606F5BEAB3}"/>
          </ac:spMkLst>
        </pc:spChg>
        <pc:spChg chg="add mod">
          <ac:chgData name="Veniero Facchetti" userId="f2c6c99af91c4974" providerId="LiveId" clId="{34DF7D6B-EB0F-4B53-B080-BB8D6F5C3D93}" dt="2024-05-10T16:01:20.804" v="555"/>
          <ac:spMkLst>
            <pc:docMk/>
            <pc:sldMk cId="2396760433" sldId="347"/>
            <ac:spMk id="253" creationId="{FC75610E-B451-4BA4-8901-46EB12348D65}"/>
          </ac:spMkLst>
        </pc:spChg>
        <pc:spChg chg="add mod">
          <ac:chgData name="Veniero Facchetti" userId="f2c6c99af91c4974" providerId="LiveId" clId="{34DF7D6B-EB0F-4B53-B080-BB8D6F5C3D93}" dt="2024-05-10T16:01:20.804" v="555"/>
          <ac:spMkLst>
            <pc:docMk/>
            <pc:sldMk cId="2396760433" sldId="347"/>
            <ac:spMk id="254" creationId="{EF820E34-B743-8B5C-2744-01D1E339A7D3}"/>
          </ac:spMkLst>
        </pc:spChg>
        <pc:spChg chg="add mod">
          <ac:chgData name="Veniero Facchetti" userId="f2c6c99af91c4974" providerId="LiveId" clId="{34DF7D6B-EB0F-4B53-B080-BB8D6F5C3D93}" dt="2024-05-10T16:01:20.804" v="555"/>
          <ac:spMkLst>
            <pc:docMk/>
            <pc:sldMk cId="2396760433" sldId="347"/>
            <ac:spMk id="255" creationId="{316CA160-1BE0-9FAC-EEE4-F30C086A653A}"/>
          </ac:spMkLst>
        </pc:spChg>
        <pc:spChg chg="add mod">
          <ac:chgData name="Veniero Facchetti" userId="f2c6c99af91c4974" providerId="LiveId" clId="{34DF7D6B-EB0F-4B53-B080-BB8D6F5C3D93}" dt="2024-05-10T16:01:20.804" v="555"/>
          <ac:spMkLst>
            <pc:docMk/>
            <pc:sldMk cId="2396760433" sldId="347"/>
            <ac:spMk id="256" creationId="{DF5A541B-544F-1622-61F2-672AF006A708}"/>
          </ac:spMkLst>
        </pc:spChg>
        <pc:spChg chg="add mod">
          <ac:chgData name="Veniero Facchetti" userId="f2c6c99af91c4974" providerId="LiveId" clId="{34DF7D6B-EB0F-4B53-B080-BB8D6F5C3D93}" dt="2024-05-10T16:01:20.804" v="555"/>
          <ac:spMkLst>
            <pc:docMk/>
            <pc:sldMk cId="2396760433" sldId="347"/>
            <ac:spMk id="257" creationId="{4C7EB8EE-2BEA-4E4C-93E1-456CA1387789}"/>
          </ac:spMkLst>
        </pc:spChg>
        <pc:spChg chg="add mod">
          <ac:chgData name="Veniero Facchetti" userId="f2c6c99af91c4974" providerId="LiveId" clId="{34DF7D6B-EB0F-4B53-B080-BB8D6F5C3D93}" dt="2024-05-10T16:01:20.804" v="555"/>
          <ac:spMkLst>
            <pc:docMk/>
            <pc:sldMk cId="2396760433" sldId="347"/>
            <ac:spMk id="258" creationId="{ECDEEE94-FC2C-9169-A9FB-5B699E869C72}"/>
          </ac:spMkLst>
        </pc:spChg>
        <pc:spChg chg="add mod">
          <ac:chgData name="Veniero Facchetti" userId="f2c6c99af91c4974" providerId="LiveId" clId="{34DF7D6B-EB0F-4B53-B080-BB8D6F5C3D93}" dt="2024-05-10T16:01:20.804" v="555"/>
          <ac:spMkLst>
            <pc:docMk/>
            <pc:sldMk cId="2396760433" sldId="347"/>
            <ac:spMk id="259" creationId="{7A42301C-37B2-77AC-8A52-FAFD34B66B25}"/>
          </ac:spMkLst>
        </pc:spChg>
        <pc:spChg chg="add mod">
          <ac:chgData name="Veniero Facchetti" userId="f2c6c99af91c4974" providerId="LiveId" clId="{34DF7D6B-EB0F-4B53-B080-BB8D6F5C3D93}" dt="2024-05-10T16:01:20.804" v="555"/>
          <ac:spMkLst>
            <pc:docMk/>
            <pc:sldMk cId="2396760433" sldId="347"/>
            <ac:spMk id="260" creationId="{FAC6F555-B341-045C-9FFB-D3801C89E14D}"/>
          </ac:spMkLst>
        </pc:spChg>
        <pc:spChg chg="add mod">
          <ac:chgData name="Veniero Facchetti" userId="f2c6c99af91c4974" providerId="LiveId" clId="{34DF7D6B-EB0F-4B53-B080-BB8D6F5C3D93}" dt="2024-05-10T16:01:20.804" v="555"/>
          <ac:spMkLst>
            <pc:docMk/>
            <pc:sldMk cId="2396760433" sldId="347"/>
            <ac:spMk id="261" creationId="{69C889D9-9A19-7E6D-76AB-75203815B126}"/>
          </ac:spMkLst>
        </pc:spChg>
        <pc:spChg chg="add mod">
          <ac:chgData name="Veniero Facchetti" userId="f2c6c99af91c4974" providerId="LiveId" clId="{34DF7D6B-EB0F-4B53-B080-BB8D6F5C3D93}" dt="2024-05-10T16:01:20.804" v="555"/>
          <ac:spMkLst>
            <pc:docMk/>
            <pc:sldMk cId="2396760433" sldId="347"/>
            <ac:spMk id="262" creationId="{E9D6F8DC-3DE3-DFB7-EA89-BB0C88D7764B}"/>
          </ac:spMkLst>
        </pc:spChg>
        <pc:spChg chg="add mod">
          <ac:chgData name="Veniero Facchetti" userId="f2c6c99af91c4974" providerId="LiveId" clId="{34DF7D6B-EB0F-4B53-B080-BB8D6F5C3D93}" dt="2024-05-10T16:01:20.804" v="555"/>
          <ac:spMkLst>
            <pc:docMk/>
            <pc:sldMk cId="2396760433" sldId="347"/>
            <ac:spMk id="263" creationId="{24206BAB-AE45-4A50-42F2-315C952EE8F6}"/>
          </ac:spMkLst>
        </pc:spChg>
        <pc:spChg chg="add mod">
          <ac:chgData name="Veniero Facchetti" userId="f2c6c99af91c4974" providerId="LiveId" clId="{34DF7D6B-EB0F-4B53-B080-BB8D6F5C3D93}" dt="2024-05-10T16:01:20.804" v="555"/>
          <ac:spMkLst>
            <pc:docMk/>
            <pc:sldMk cId="2396760433" sldId="347"/>
            <ac:spMk id="264" creationId="{DE89C029-DF56-58CA-2472-431454EAAE2F}"/>
          </ac:spMkLst>
        </pc:spChg>
        <pc:spChg chg="add mod">
          <ac:chgData name="Veniero Facchetti" userId="f2c6c99af91c4974" providerId="LiveId" clId="{34DF7D6B-EB0F-4B53-B080-BB8D6F5C3D93}" dt="2024-05-10T16:01:20.804" v="555"/>
          <ac:spMkLst>
            <pc:docMk/>
            <pc:sldMk cId="2396760433" sldId="347"/>
            <ac:spMk id="265" creationId="{48C3B187-764C-B02C-4743-A39CA189F9F8}"/>
          </ac:spMkLst>
        </pc:spChg>
        <pc:spChg chg="add mod">
          <ac:chgData name="Veniero Facchetti" userId="f2c6c99af91c4974" providerId="LiveId" clId="{34DF7D6B-EB0F-4B53-B080-BB8D6F5C3D93}" dt="2024-05-10T16:01:20.804" v="555"/>
          <ac:spMkLst>
            <pc:docMk/>
            <pc:sldMk cId="2396760433" sldId="347"/>
            <ac:spMk id="266" creationId="{7442C3DB-790B-7D8E-B9C5-33E2DC465833}"/>
          </ac:spMkLst>
        </pc:spChg>
        <pc:spChg chg="add mod">
          <ac:chgData name="Veniero Facchetti" userId="f2c6c99af91c4974" providerId="LiveId" clId="{34DF7D6B-EB0F-4B53-B080-BB8D6F5C3D93}" dt="2024-05-10T16:01:20.804" v="555"/>
          <ac:spMkLst>
            <pc:docMk/>
            <pc:sldMk cId="2396760433" sldId="347"/>
            <ac:spMk id="267" creationId="{4216B289-DE6E-1B5F-40C1-A5D824AAD1AA}"/>
          </ac:spMkLst>
        </pc:spChg>
        <pc:spChg chg="add mod">
          <ac:chgData name="Veniero Facchetti" userId="f2c6c99af91c4974" providerId="LiveId" clId="{34DF7D6B-EB0F-4B53-B080-BB8D6F5C3D93}" dt="2024-05-10T16:01:20.804" v="555"/>
          <ac:spMkLst>
            <pc:docMk/>
            <pc:sldMk cId="2396760433" sldId="347"/>
            <ac:spMk id="268" creationId="{D511C10E-F5D0-AE69-FE91-C2AB8D2D266D}"/>
          </ac:spMkLst>
        </pc:spChg>
        <pc:spChg chg="add mod">
          <ac:chgData name="Veniero Facchetti" userId="f2c6c99af91c4974" providerId="LiveId" clId="{34DF7D6B-EB0F-4B53-B080-BB8D6F5C3D93}" dt="2024-05-10T16:01:20.804" v="555"/>
          <ac:spMkLst>
            <pc:docMk/>
            <pc:sldMk cId="2396760433" sldId="347"/>
            <ac:spMk id="269" creationId="{54A4C80E-2FDC-152C-CAD9-640FD33DCC9C}"/>
          </ac:spMkLst>
        </pc:spChg>
        <pc:spChg chg="add mod">
          <ac:chgData name="Veniero Facchetti" userId="f2c6c99af91c4974" providerId="LiveId" clId="{34DF7D6B-EB0F-4B53-B080-BB8D6F5C3D93}" dt="2024-05-10T16:01:20.804" v="555"/>
          <ac:spMkLst>
            <pc:docMk/>
            <pc:sldMk cId="2396760433" sldId="347"/>
            <ac:spMk id="270" creationId="{28FBDA92-8168-0505-24E4-B66234DB4AD0}"/>
          </ac:spMkLst>
        </pc:spChg>
        <pc:spChg chg="add mod">
          <ac:chgData name="Veniero Facchetti" userId="f2c6c99af91c4974" providerId="LiveId" clId="{34DF7D6B-EB0F-4B53-B080-BB8D6F5C3D93}" dt="2024-05-10T16:01:20.804" v="555"/>
          <ac:spMkLst>
            <pc:docMk/>
            <pc:sldMk cId="2396760433" sldId="347"/>
            <ac:spMk id="271" creationId="{F4E98316-0428-06DA-7D08-F8B621BEA4D0}"/>
          </ac:spMkLst>
        </pc:spChg>
        <pc:spChg chg="add mod">
          <ac:chgData name="Veniero Facchetti" userId="f2c6c99af91c4974" providerId="LiveId" clId="{34DF7D6B-EB0F-4B53-B080-BB8D6F5C3D93}" dt="2024-05-10T16:01:20.804" v="555"/>
          <ac:spMkLst>
            <pc:docMk/>
            <pc:sldMk cId="2396760433" sldId="347"/>
            <ac:spMk id="272" creationId="{B4E7CE10-A24D-F9E9-DB80-3DC07136226E}"/>
          </ac:spMkLst>
        </pc:spChg>
        <pc:spChg chg="add mod">
          <ac:chgData name="Veniero Facchetti" userId="f2c6c99af91c4974" providerId="LiveId" clId="{34DF7D6B-EB0F-4B53-B080-BB8D6F5C3D93}" dt="2024-05-10T16:01:20.804" v="555"/>
          <ac:spMkLst>
            <pc:docMk/>
            <pc:sldMk cId="2396760433" sldId="347"/>
            <ac:spMk id="273" creationId="{D436B9F0-9738-C627-5CB7-53F7CC4532DF}"/>
          </ac:spMkLst>
        </pc:spChg>
        <pc:spChg chg="add mod">
          <ac:chgData name="Veniero Facchetti" userId="f2c6c99af91c4974" providerId="LiveId" clId="{34DF7D6B-EB0F-4B53-B080-BB8D6F5C3D93}" dt="2024-05-10T16:01:20.804" v="555"/>
          <ac:spMkLst>
            <pc:docMk/>
            <pc:sldMk cId="2396760433" sldId="347"/>
            <ac:spMk id="274" creationId="{BB36AFFC-C3F6-3A15-D19B-9B201200C9DD}"/>
          </ac:spMkLst>
        </pc:spChg>
        <pc:spChg chg="add mod">
          <ac:chgData name="Veniero Facchetti" userId="f2c6c99af91c4974" providerId="LiveId" clId="{34DF7D6B-EB0F-4B53-B080-BB8D6F5C3D93}" dt="2024-05-10T16:01:20.804" v="555"/>
          <ac:spMkLst>
            <pc:docMk/>
            <pc:sldMk cId="2396760433" sldId="347"/>
            <ac:spMk id="275" creationId="{80B9D908-CCCC-EFC8-157C-D450984D8090}"/>
          </ac:spMkLst>
        </pc:spChg>
        <pc:spChg chg="add mod">
          <ac:chgData name="Veniero Facchetti" userId="f2c6c99af91c4974" providerId="LiveId" clId="{34DF7D6B-EB0F-4B53-B080-BB8D6F5C3D93}" dt="2024-05-10T16:01:20.804" v="555"/>
          <ac:spMkLst>
            <pc:docMk/>
            <pc:sldMk cId="2396760433" sldId="347"/>
            <ac:spMk id="276" creationId="{8413A7F0-8AEF-51A9-ED55-56548C37BC7B}"/>
          </ac:spMkLst>
        </pc:spChg>
        <pc:spChg chg="add mod">
          <ac:chgData name="Veniero Facchetti" userId="f2c6c99af91c4974" providerId="LiveId" clId="{34DF7D6B-EB0F-4B53-B080-BB8D6F5C3D93}" dt="2024-05-10T16:01:20.804" v="555"/>
          <ac:spMkLst>
            <pc:docMk/>
            <pc:sldMk cId="2396760433" sldId="347"/>
            <ac:spMk id="277" creationId="{7C43B0E5-C5F3-2356-8FDC-9D21A8C0CFDC}"/>
          </ac:spMkLst>
        </pc:spChg>
        <pc:spChg chg="add mod">
          <ac:chgData name="Veniero Facchetti" userId="f2c6c99af91c4974" providerId="LiveId" clId="{34DF7D6B-EB0F-4B53-B080-BB8D6F5C3D93}" dt="2024-05-10T16:01:20.804" v="555"/>
          <ac:spMkLst>
            <pc:docMk/>
            <pc:sldMk cId="2396760433" sldId="347"/>
            <ac:spMk id="278" creationId="{23094C01-6200-B01A-485A-70EA9C9ABD91}"/>
          </ac:spMkLst>
        </pc:spChg>
        <pc:spChg chg="add mod">
          <ac:chgData name="Veniero Facchetti" userId="f2c6c99af91c4974" providerId="LiveId" clId="{34DF7D6B-EB0F-4B53-B080-BB8D6F5C3D93}" dt="2024-05-10T16:01:20.804" v="555"/>
          <ac:spMkLst>
            <pc:docMk/>
            <pc:sldMk cId="2396760433" sldId="347"/>
            <ac:spMk id="279" creationId="{ED0ED47C-87B5-13FA-325C-240B9CE3857A}"/>
          </ac:spMkLst>
        </pc:spChg>
        <pc:spChg chg="mod">
          <ac:chgData name="Veniero Facchetti" userId="f2c6c99af91c4974" providerId="LiveId" clId="{34DF7D6B-EB0F-4B53-B080-BB8D6F5C3D93}" dt="2024-05-10T16:01:20.804" v="555"/>
          <ac:spMkLst>
            <pc:docMk/>
            <pc:sldMk cId="2396760433" sldId="347"/>
            <ac:spMk id="281" creationId="{539770EB-BEC0-BA14-90A2-F64E31E46A8F}"/>
          </ac:spMkLst>
        </pc:spChg>
        <pc:spChg chg="mod">
          <ac:chgData name="Veniero Facchetti" userId="f2c6c99af91c4974" providerId="LiveId" clId="{34DF7D6B-EB0F-4B53-B080-BB8D6F5C3D93}" dt="2024-05-10T16:01:20.804" v="555"/>
          <ac:spMkLst>
            <pc:docMk/>
            <pc:sldMk cId="2396760433" sldId="347"/>
            <ac:spMk id="282" creationId="{DA356FFF-5358-A01A-893A-4987ADD7A381}"/>
          </ac:spMkLst>
        </pc:spChg>
        <pc:spChg chg="add mod">
          <ac:chgData name="Veniero Facchetti" userId="f2c6c99af91c4974" providerId="LiveId" clId="{34DF7D6B-EB0F-4B53-B080-BB8D6F5C3D93}" dt="2024-05-10T16:01:20.804" v="555"/>
          <ac:spMkLst>
            <pc:docMk/>
            <pc:sldMk cId="2396760433" sldId="347"/>
            <ac:spMk id="283" creationId="{405AD37F-1A3A-A9D9-E8EC-1BEDE880D5DE}"/>
          </ac:spMkLst>
        </pc:spChg>
        <pc:spChg chg="add mod">
          <ac:chgData name="Veniero Facchetti" userId="f2c6c99af91c4974" providerId="LiveId" clId="{34DF7D6B-EB0F-4B53-B080-BB8D6F5C3D93}" dt="2024-05-10T16:01:20.804" v="555"/>
          <ac:spMkLst>
            <pc:docMk/>
            <pc:sldMk cId="2396760433" sldId="347"/>
            <ac:spMk id="284" creationId="{03009A17-1193-2C9D-CFE4-D28555335B1A}"/>
          </ac:spMkLst>
        </pc:spChg>
        <pc:spChg chg="add mod">
          <ac:chgData name="Veniero Facchetti" userId="f2c6c99af91c4974" providerId="LiveId" clId="{34DF7D6B-EB0F-4B53-B080-BB8D6F5C3D93}" dt="2024-05-10T16:01:20.804" v="555"/>
          <ac:spMkLst>
            <pc:docMk/>
            <pc:sldMk cId="2396760433" sldId="347"/>
            <ac:spMk id="285" creationId="{D8B6D2EE-A685-3BFB-F7A4-51297EB2AB24}"/>
          </ac:spMkLst>
        </pc:spChg>
        <pc:spChg chg="add mod">
          <ac:chgData name="Veniero Facchetti" userId="f2c6c99af91c4974" providerId="LiveId" clId="{34DF7D6B-EB0F-4B53-B080-BB8D6F5C3D93}" dt="2024-05-10T16:01:20.804" v="555"/>
          <ac:spMkLst>
            <pc:docMk/>
            <pc:sldMk cId="2396760433" sldId="347"/>
            <ac:spMk id="286" creationId="{8AA79C40-31E2-7C34-674E-1EB964C4743B}"/>
          </ac:spMkLst>
        </pc:spChg>
        <pc:spChg chg="add mod">
          <ac:chgData name="Veniero Facchetti" userId="f2c6c99af91c4974" providerId="LiveId" clId="{34DF7D6B-EB0F-4B53-B080-BB8D6F5C3D93}" dt="2024-05-10T16:01:20.804" v="555"/>
          <ac:spMkLst>
            <pc:docMk/>
            <pc:sldMk cId="2396760433" sldId="347"/>
            <ac:spMk id="287" creationId="{158D2F63-B484-252F-6DCD-628A0373BCF4}"/>
          </ac:spMkLst>
        </pc:spChg>
        <pc:spChg chg="add mod">
          <ac:chgData name="Veniero Facchetti" userId="f2c6c99af91c4974" providerId="LiveId" clId="{34DF7D6B-EB0F-4B53-B080-BB8D6F5C3D93}" dt="2024-05-10T16:01:20.804" v="555"/>
          <ac:spMkLst>
            <pc:docMk/>
            <pc:sldMk cId="2396760433" sldId="347"/>
            <ac:spMk id="288" creationId="{85FEF5FF-631F-FA34-CD21-C30D6EEA3F0E}"/>
          </ac:spMkLst>
        </pc:spChg>
        <pc:spChg chg="add mod">
          <ac:chgData name="Veniero Facchetti" userId="f2c6c99af91c4974" providerId="LiveId" clId="{34DF7D6B-EB0F-4B53-B080-BB8D6F5C3D93}" dt="2024-05-10T16:01:20.804" v="555"/>
          <ac:spMkLst>
            <pc:docMk/>
            <pc:sldMk cId="2396760433" sldId="347"/>
            <ac:spMk id="289" creationId="{9BEB4CD1-1BA5-70F6-46BE-C7E4F5221ED0}"/>
          </ac:spMkLst>
        </pc:spChg>
        <pc:spChg chg="add mod">
          <ac:chgData name="Veniero Facchetti" userId="f2c6c99af91c4974" providerId="LiveId" clId="{34DF7D6B-EB0F-4B53-B080-BB8D6F5C3D93}" dt="2024-05-10T16:01:20.804" v="555"/>
          <ac:spMkLst>
            <pc:docMk/>
            <pc:sldMk cId="2396760433" sldId="347"/>
            <ac:spMk id="290" creationId="{871068B0-6D49-09CB-886A-38555505E1D4}"/>
          </ac:spMkLst>
        </pc:spChg>
        <pc:spChg chg="add mod">
          <ac:chgData name="Veniero Facchetti" userId="f2c6c99af91c4974" providerId="LiveId" clId="{34DF7D6B-EB0F-4B53-B080-BB8D6F5C3D93}" dt="2024-05-10T16:01:20.804" v="555"/>
          <ac:spMkLst>
            <pc:docMk/>
            <pc:sldMk cId="2396760433" sldId="347"/>
            <ac:spMk id="291" creationId="{98D80AD1-AC05-F638-1C28-D936FE63FF5F}"/>
          </ac:spMkLst>
        </pc:spChg>
        <pc:spChg chg="add mod">
          <ac:chgData name="Veniero Facchetti" userId="f2c6c99af91c4974" providerId="LiveId" clId="{34DF7D6B-EB0F-4B53-B080-BB8D6F5C3D93}" dt="2024-05-10T16:01:20.804" v="555"/>
          <ac:spMkLst>
            <pc:docMk/>
            <pc:sldMk cId="2396760433" sldId="347"/>
            <ac:spMk id="292" creationId="{66121A75-7D9F-FA88-A7EA-3BC4CAC37867}"/>
          </ac:spMkLst>
        </pc:spChg>
        <pc:spChg chg="add mod">
          <ac:chgData name="Veniero Facchetti" userId="f2c6c99af91c4974" providerId="LiveId" clId="{34DF7D6B-EB0F-4B53-B080-BB8D6F5C3D93}" dt="2024-05-10T16:01:20.804" v="555"/>
          <ac:spMkLst>
            <pc:docMk/>
            <pc:sldMk cId="2396760433" sldId="347"/>
            <ac:spMk id="293" creationId="{5AA96280-D7E5-B9A8-5F7B-E6C992D7BA63}"/>
          </ac:spMkLst>
        </pc:spChg>
        <pc:spChg chg="add mod">
          <ac:chgData name="Veniero Facchetti" userId="f2c6c99af91c4974" providerId="LiveId" clId="{34DF7D6B-EB0F-4B53-B080-BB8D6F5C3D93}" dt="2024-05-10T16:01:20.804" v="555"/>
          <ac:spMkLst>
            <pc:docMk/>
            <pc:sldMk cId="2396760433" sldId="347"/>
            <ac:spMk id="294" creationId="{B1475E4E-D3D1-8A40-A86B-1CE811D35321}"/>
          </ac:spMkLst>
        </pc:spChg>
        <pc:spChg chg="add mod">
          <ac:chgData name="Veniero Facchetti" userId="f2c6c99af91c4974" providerId="LiveId" clId="{34DF7D6B-EB0F-4B53-B080-BB8D6F5C3D93}" dt="2024-05-10T16:01:20.804" v="555"/>
          <ac:spMkLst>
            <pc:docMk/>
            <pc:sldMk cId="2396760433" sldId="347"/>
            <ac:spMk id="295" creationId="{08A2F77E-4814-3ED8-ECEA-E1916478CB58}"/>
          </ac:spMkLst>
        </pc:spChg>
        <pc:spChg chg="add mod">
          <ac:chgData name="Veniero Facchetti" userId="f2c6c99af91c4974" providerId="LiveId" clId="{34DF7D6B-EB0F-4B53-B080-BB8D6F5C3D93}" dt="2024-05-10T16:01:20.804" v="555"/>
          <ac:spMkLst>
            <pc:docMk/>
            <pc:sldMk cId="2396760433" sldId="347"/>
            <ac:spMk id="296" creationId="{B30E41E3-654F-0968-215D-7D47D6DDF47F}"/>
          </ac:spMkLst>
        </pc:spChg>
        <pc:spChg chg="add mod">
          <ac:chgData name="Veniero Facchetti" userId="f2c6c99af91c4974" providerId="LiveId" clId="{34DF7D6B-EB0F-4B53-B080-BB8D6F5C3D93}" dt="2024-05-10T16:01:20.804" v="555"/>
          <ac:spMkLst>
            <pc:docMk/>
            <pc:sldMk cId="2396760433" sldId="347"/>
            <ac:spMk id="297" creationId="{B7557E21-EAE6-28AB-2BA8-F1647F45ECD7}"/>
          </ac:spMkLst>
        </pc:spChg>
        <pc:spChg chg="add mod">
          <ac:chgData name="Veniero Facchetti" userId="f2c6c99af91c4974" providerId="LiveId" clId="{34DF7D6B-EB0F-4B53-B080-BB8D6F5C3D93}" dt="2024-05-10T16:01:20.804" v="555"/>
          <ac:spMkLst>
            <pc:docMk/>
            <pc:sldMk cId="2396760433" sldId="347"/>
            <ac:spMk id="298" creationId="{7A626FC9-7997-AE98-5A51-9AF320BD81BD}"/>
          </ac:spMkLst>
        </pc:spChg>
        <pc:spChg chg="add mod">
          <ac:chgData name="Veniero Facchetti" userId="f2c6c99af91c4974" providerId="LiveId" clId="{34DF7D6B-EB0F-4B53-B080-BB8D6F5C3D93}" dt="2024-05-10T16:01:20.804" v="555"/>
          <ac:spMkLst>
            <pc:docMk/>
            <pc:sldMk cId="2396760433" sldId="347"/>
            <ac:spMk id="299" creationId="{AFC2EAB3-49F3-331F-0313-75E4DAE20304}"/>
          </ac:spMkLst>
        </pc:spChg>
        <pc:spChg chg="add mod">
          <ac:chgData name="Veniero Facchetti" userId="f2c6c99af91c4974" providerId="LiveId" clId="{34DF7D6B-EB0F-4B53-B080-BB8D6F5C3D93}" dt="2024-05-10T16:01:20.804" v="555"/>
          <ac:spMkLst>
            <pc:docMk/>
            <pc:sldMk cId="2396760433" sldId="347"/>
            <ac:spMk id="300" creationId="{20488F18-33F4-2C0F-2ACF-AD0ECE6DE110}"/>
          </ac:spMkLst>
        </pc:spChg>
        <pc:spChg chg="add mod">
          <ac:chgData name="Veniero Facchetti" userId="f2c6c99af91c4974" providerId="LiveId" clId="{34DF7D6B-EB0F-4B53-B080-BB8D6F5C3D93}" dt="2024-05-10T16:01:20.804" v="555"/>
          <ac:spMkLst>
            <pc:docMk/>
            <pc:sldMk cId="2396760433" sldId="347"/>
            <ac:spMk id="301" creationId="{4131010F-574D-7CA8-659B-1E4BF21542C0}"/>
          </ac:spMkLst>
        </pc:spChg>
        <pc:spChg chg="add mod">
          <ac:chgData name="Veniero Facchetti" userId="f2c6c99af91c4974" providerId="LiveId" clId="{34DF7D6B-EB0F-4B53-B080-BB8D6F5C3D93}" dt="2024-05-10T16:01:20.804" v="555"/>
          <ac:spMkLst>
            <pc:docMk/>
            <pc:sldMk cId="2396760433" sldId="347"/>
            <ac:spMk id="302" creationId="{10F68674-C337-58EC-9595-66F21A6B089F}"/>
          </ac:spMkLst>
        </pc:spChg>
        <pc:spChg chg="add mod">
          <ac:chgData name="Veniero Facchetti" userId="f2c6c99af91c4974" providerId="LiveId" clId="{34DF7D6B-EB0F-4B53-B080-BB8D6F5C3D93}" dt="2024-05-10T16:01:20.804" v="555"/>
          <ac:spMkLst>
            <pc:docMk/>
            <pc:sldMk cId="2396760433" sldId="347"/>
            <ac:spMk id="303" creationId="{68BD9248-1F76-5C27-35C6-58664D3DAFC8}"/>
          </ac:spMkLst>
        </pc:spChg>
        <pc:spChg chg="add mod">
          <ac:chgData name="Veniero Facchetti" userId="f2c6c99af91c4974" providerId="LiveId" clId="{34DF7D6B-EB0F-4B53-B080-BB8D6F5C3D93}" dt="2024-05-10T16:01:20.804" v="555"/>
          <ac:spMkLst>
            <pc:docMk/>
            <pc:sldMk cId="2396760433" sldId="347"/>
            <ac:spMk id="304" creationId="{CE659DD6-5E7F-490E-00A1-EDB2F2633E60}"/>
          </ac:spMkLst>
        </pc:spChg>
        <pc:spChg chg="add mod">
          <ac:chgData name="Veniero Facchetti" userId="f2c6c99af91c4974" providerId="LiveId" clId="{34DF7D6B-EB0F-4B53-B080-BB8D6F5C3D93}" dt="2024-05-10T16:01:20.804" v="555"/>
          <ac:spMkLst>
            <pc:docMk/>
            <pc:sldMk cId="2396760433" sldId="347"/>
            <ac:spMk id="305" creationId="{39F4F9AB-72C3-DB0E-E659-E721E5618444}"/>
          </ac:spMkLst>
        </pc:spChg>
        <pc:spChg chg="add mod">
          <ac:chgData name="Veniero Facchetti" userId="f2c6c99af91c4974" providerId="LiveId" clId="{34DF7D6B-EB0F-4B53-B080-BB8D6F5C3D93}" dt="2024-05-10T16:01:20.804" v="555"/>
          <ac:spMkLst>
            <pc:docMk/>
            <pc:sldMk cId="2396760433" sldId="347"/>
            <ac:spMk id="306" creationId="{AEA5AD7C-8C98-D6C2-B998-AE404A1A8B36}"/>
          </ac:spMkLst>
        </pc:spChg>
        <pc:spChg chg="add mod">
          <ac:chgData name="Veniero Facchetti" userId="f2c6c99af91c4974" providerId="LiveId" clId="{34DF7D6B-EB0F-4B53-B080-BB8D6F5C3D93}" dt="2024-05-10T16:01:20.804" v="555"/>
          <ac:spMkLst>
            <pc:docMk/>
            <pc:sldMk cId="2396760433" sldId="347"/>
            <ac:spMk id="307" creationId="{013A3CDF-425A-0E0E-ADDC-98EDD2332654}"/>
          </ac:spMkLst>
        </pc:spChg>
        <pc:spChg chg="add mod">
          <ac:chgData name="Veniero Facchetti" userId="f2c6c99af91c4974" providerId="LiveId" clId="{34DF7D6B-EB0F-4B53-B080-BB8D6F5C3D93}" dt="2024-05-10T16:01:20.804" v="555"/>
          <ac:spMkLst>
            <pc:docMk/>
            <pc:sldMk cId="2396760433" sldId="347"/>
            <ac:spMk id="308" creationId="{A17B999C-F8E0-870C-E4F2-AF09043F00A4}"/>
          </ac:spMkLst>
        </pc:spChg>
        <pc:spChg chg="add mod">
          <ac:chgData name="Veniero Facchetti" userId="f2c6c99af91c4974" providerId="LiveId" clId="{34DF7D6B-EB0F-4B53-B080-BB8D6F5C3D93}" dt="2024-05-10T16:01:20.804" v="555"/>
          <ac:spMkLst>
            <pc:docMk/>
            <pc:sldMk cId="2396760433" sldId="347"/>
            <ac:spMk id="309" creationId="{2F911A37-1776-DD87-11E2-95CDE9DA0D24}"/>
          </ac:spMkLst>
        </pc:spChg>
        <pc:spChg chg="add mod">
          <ac:chgData name="Veniero Facchetti" userId="f2c6c99af91c4974" providerId="LiveId" clId="{34DF7D6B-EB0F-4B53-B080-BB8D6F5C3D93}" dt="2024-05-10T16:01:20.804" v="555"/>
          <ac:spMkLst>
            <pc:docMk/>
            <pc:sldMk cId="2396760433" sldId="347"/>
            <ac:spMk id="310" creationId="{151ACA4E-3811-242D-E4F0-18CCA3A20E2D}"/>
          </ac:spMkLst>
        </pc:spChg>
        <pc:spChg chg="add mod">
          <ac:chgData name="Veniero Facchetti" userId="f2c6c99af91c4974" providerId="LiveId" clId="{34DF7D6B-EB0F-4B53-B080-BB8D6F5C3D93}" dt="2024-05-10T16:01:20.804" v="555"/>
          <ac:spMkLst>
            <pc:docMk/>
            <pc:sldMk cId="2396760433" sldId="347"/>
            <ac:spMk id="311" creationId="{F342A430-B033-9B66-785A-E77668ED5094}"/>
          </ac:spMkLst>
        </pc:spChg>
        <pc:spChg chg="add mod">
          <ac:chgData name="Veniero Facchetti" userId="f2c6c99af91c4974" providerId="LiveId" clId="{34DF7D6B-EB0F-4B53-B080-BB8D6F5C3D93}" dt="2024-05-10T16:01:20.804" v="555"/>
          <ac:spMkLst>
            <pc:docMk/>
            <pc:sldMk cId="2396760433" sldId="347"/>
            <ac:spMk id="312" creationId="{00A86CD7-6A6A-1BE7-B8BF-B436AF060A81}"/>
          </ac:spMkLst>
        </pc:spChg>
        <pc:spChg chg="add mod">
          <ac:chgData name="Veniero Facchetti" userId="f2c6c99af91c4974" providerId="LiveId" clId="{34DF7D6B-EB0F-4B53-B080-BB8D6F5C3D93}" dt="2024-05-10T16:01:20.804" v="555"/>
          <ac:spMkLst>
            <pc:docMk/>
            <pc:sldMk cId="2396760433" sldId="347"/>
            <ac:spMk id="313" creationId="{B96BD73C-4F6B-398A-C128-566CB43AB44B}"/>
          </ac:spMkLst>
        </pc:spChg>
        <pc:spChg chg="add mod">
          <ac:chgData name="Veniero Facchetti" userId="f2c6c99af91c4974" providerId="LiveId" clId="{34DF7D6B-EB0F-4B53-B080-BB8D6F5C3D93}" dt="2024-05-10T16:01:20.804" v="555"/>
          <ac:spMkLst>
            <pc:docMk/>
            <pc:sldMk cId="2396760433" sldId="347"/>
            <ac:spMk id="314" creationId="{C4275C55-0FC7-91BF-5595-FC834A4D0206}"/>
          </ac:spMkLst>
        </pc:spChg>
        <pc:spChg chg="add mod">
          <ac:chgData name="Veniero Facchetti" userId="f2c6c99af91c4974" providerId="LiveId" clId="{34DF7D6B-EB0F-4B53-B080-BB8D6F5C3D93}" dt="2024-05-10T16:01:20.804" v="555"/>
          <ac:spMkLst>
            <pc:docMk/>
            <pc:sldMk cId="2396760433" sldId="347"/>
            <ac:spMk id="315" creationId="{5535685D-3B4D-B343-05D6-8DA82CEE19D2}"/>
          </ac:spMkLst>
        </pc:spChg>
        <pc:spChg chg="add mod">
          <ac:chgData name="Veniero Facchetti" userId="f2c6c99af91c4974" providerId="LiveId" clId="{34DF7D6B-EB0F-4B53-B080-BB8D6F5C3D93}" dt="2024-05-10T16:01:20.804" v="555"/>
          <ac:spMkLst>
            <pc:docMk/>
            <pc:sldMk cId="2396760433" sldId="347"/>
            <ac:spMk id="316" creationId="{5AA0523A-C030-102E-9804-E282A50FF5F8}"/>
          </ac:spMkLst>
        </pc:spChg>
        <pc:spChg chg="add mod">
          <ac:chgData name="Veniero Facchetti" userId="f2c6c99af91c4974" providerId="LiveId" clId="{34DF7D6B-EB0F-4B53-B080-BB8D6F5C3D93}" dt="2024-05-10T16:01:20.804" v="555"/>
          <ac:spMkLst>
            <pc:docMk/>
            <pc:sldMk cId="2396760433" sldId="347"/>
            <ac:spMk id="317" creationId="{D139B0C3-AA54-86A3-E13C-698E75DDD20F}"/>
          </ac:spMkLst>
        </pc:spChg>
        <pc:spChg chg="add mod">
          <ac:chgData name="Veniero Facchetti" userId="f2c6c99af91c4974" providerId="LiveId" clId="{34DF7D6B-EB0F-4B53-B080-BB8D6F5C3D93}" dt="2024-05-10T16:01:20.804" v="555"/>
          <ac:spMkLst>
            <pc:docMk/>
            <pc:sldMk cId="2396760433" sldId="347"/>
            <ac:spMk id="318" creationId="{88847D0A-7D35-2BE5-DDF9-B83C1CEBF888}"/>
          </ac:spMkLst>
        </pc:spChg>
        <pc:spChg chg="add mod">
          <ac:chgData name="Veniero Facchetti" userId="f2c6c99af91c4974" providerId="LiveId" clId="{34DF7D6B-EB0F-4B53-B080-BB8D6F5C3D93}" dt="2024-05-10T16:01:20.804" v="555"/>
          <ac:spMkLst>
            <pc:docMk/>
            <pc:sldMk cId="2396760433" sldId="347"/>
            <ac:spMk id="319" creationId="{AACB565C-85C1-2E72-6B42-6AB46708F379}"/>
          </ac:spMkLst>
        </pc:spChg>
        <pc:spChg chg="add mod">
          <ac:chgData name="Veniero Facchetti" userId="f2c6c99af91c4974" providerId="LiveId" clId="{34DF7D6B-EB0F-4B53-B080-BB8D6F5C3D93}" dt="2024-05-10T16:01:20.804" v="555"/>
          <ac:spMkLst>
            <pc:docMk/>
            <pc:sldMk cId="2396760433" sldId="347"/>
            <ac:spMk id="320" creationId="{722ADCB9-BDF5-1879-8400-F47721CAC796}"/>
          </ac:spMkLst>
        </pc:spChg>
        <pc:spChg chg="add mod">
          <ac:chgData name="Veniero Facchetti" userId="f2c6c99af91c4974" providerId="LiveId" clId="{34DF7D6B-EB0F-4B53-B080-BB8D6F5C3D93}" dt="2024-05-10T16:01:20.804" v="555"/>
          <ac:spMkLst>
            <pc:docMk/>
            <pc:sldMk cId="2396760433" sldId="347"/>
            <ac:spMk id="321" creationId="{29C272BF-72F8-66D5-DFA3-A0D7AEF9C6A0}"/>
          </ac:spMkLst>
        </pc:spChg>
        <pc:spChg chg="add mod">
          <ac:chgData name="Veniero Facchetti" userId="f2c6c99af91c4974" providerId="LiveId" clId="{34DF7D6B-EB0F-4B53-B080-BB8D6F5C3D93}" dt="2024-05-10T16:01:20.804" v="555"/>
          <ac:spMkLst>
            <pc:docMk/>
            <pc:sldMk cId="2396760433" sldId="347"/>
            <ac:spMk id="322" creationId="{13597F4F-4836-DA60-FAF1-0499B571BEE7}"/>
          </ac:spMkLst>
        </pc:spChg>
        <pc:spChg chg="add mod">
          <ac:chgData name="Veniero Facchetti" userId="f2c6c99af91c4974" providerId="LiveId" clId="{34DF7D6B-EB0F-4B53-B080-BB8D6F5C3D93}" dt="2024-05-10T16:01:20.804" v="555"/>
          <ac:spMkLst>
            <pc:docMk/>
            <pc:sldMk cId="2396760433" sldId="347"/>
            <ac:spMk id="323" creationId="{655E61C2-F2F6-68A0-47C7-9FA6B0229151}"/>
          </ac:spMkLst>
        </pc:spChg>
        <pc:spChg chg="add mod">
          <ac:chgData name="Veniero Facchetti" userId="f2c6c99af91c4974" providerId="LiveId" clId="{34DF7D6B-EB0F-4B53-B080-BB8D6F5C3D93}" dt="2024-05-10T16:01:20.804" v="555"/>
          <ac:spMkLst>
            <pc:docMk/>
            <pc:sldMk cId="2396760433" sldId="347"/>
            <ac:spMk id="324" creationId="{8FB40430-A91A-2BFE-9F53-A850F33871B3}"/>
          </ac:spMkLst>
        </pc:spChg>
        <pc:spChg chg="add mod">
          <ac:chgData name="Veniero Facchetti" userId="f2c6c99af91c4974" providerId="LiveId" clId="{34DF7D6B-EB0F-4B53-B080-BB8D6F5C3D93}" dt="2024-05-10T16:01:20.804" v="555"/>
          <ac:spMkLst>
            <pc:docMk/>
            <pc:sldMk cId="2396760433" sldId="347"/>
            <ac:spMk id="325" creationId="{71C82E8F-0DE6-18DE-6323-2BC976C4EC3C}"/>
          </ac:spMkLst>
        </pc:spChg>
        <pc:spChg chg="add mod">
          <ac:chgData name="Veniero Facchetti" userId="f2c6c99af91c4974" providerId="LiveId" clId="{34DF7D6B-EB0F-4B53-B080-BB8D6F5C3D93}" dt="2024-05-10T16:01:20.804" v="555"/>
          <ac:spMkLst>
            <pc:docMk/>
            <pc:sldMk cId="2396760433" sldId="347"/>
            <ac:spMk id="326" creationId="{8336CD3A-96AA-7F0D-F54D-0171EA3FB88A}"/>
          </ac:spMkLst>
        </pc:spChg>
        <pc:spChg chg="add mod">
          <ac:chgData name="Veniero Facchetti" userId="f2c6c99af91c4974" providerId="LiveId" clId="{34DF7D6B-EB0F-4B53-B080-BB8D6F5C3D93}" dt="2024-05-10T16:01:20.804" v="555"/>
          <ac:spMkLst>
            <pc:docMk/>
            <pc:sldMk cId="2396760433" sldId="347"/>
            <ac:spMk id="327" creationId="{3082E7B5-8307-9AAE-13C9-0D2938FA6B3C}"/>
          </ac:spMkLst>
        </pc:spChg>
        <pc:spChg chg="add mod">
          <ac:chgData name="Veniero Facchetti" userId="f2c6c99af91c4974" providerId="LiveId" clId="{34DF7D6B-EB0F-4B53-B080-BB8D6F5C3D93}" dt="2024-05-10T16:01:20.804" v="555"/>
          <ac:spMkLst>
            <pc:docMk/>
            <pc:sldMk cId="2396760433" sldId="347"/>
            <ac:spMk id="328" creationId="{46C8D854-F2F6-6B91-216D-C2BF9544E976}"/>
          </ac:spMkLst>
        </pc:spChg>
        <pc:spChg chg="add mod">
          <ac:chgData name="Veniero Facchetti" userId="f2c6c99af91c4974" providerId="LiveId" clId="{34DF7D6B-EB0F-4B53-B080-BB8D6F5C3D93}" dt="2024-05-10T16:01:20.804" v="555"/>
          <ac:spMkLst>
            <pc:docMk/>
            <pc:sldMk cId="2396760433" sldId="347"/>
            <ac:spMk id="329" creationId="{AABFCE16-BF91-D8D1-6ABC-5DDF5F865F36}"/>
          </ac:spMkLst>
        </pc:spChg>
        <pc:spChg chg="add mod">
          <ac:chgData name="Veniero Facchetti" userId="f2c6c99af91c4974" providerId="LiveId" clId="{34DF7D6B-EB0F-4B53-B080-BB8D6F5C3D93}" dt="2024-05-10T16:01:20.804" v="555"/>
          <ac:spMkLst>
            <pc:docMk/>
            <pc:sldMk cId="2396760433" sldId="347"/>
            <ac:spMk id="330" creationId="{66CBD386-49AB-6722-F5CF-F19158AAF5B4}"/>
          </ac:spMkLst>
        </pc:spChg>
        <pc:spChg chg="add mod">
          <ac:chgData name="Veniero Facchetti" userId="f2c6c99af91c4974" providerId="LiveId" clId="{34DF7D6B-EB0F-4B53-B080-BB8D6F5C3D93}" dt="2024-05-10T16:01:20.804" v="555"/>
          <ac:spMkLst>
            <pc:docMk/>
            <pc:sldMk cId="2396760433" sldId="347"/>
            <ac:spMk id="331" creationId="{878299A9-1A66-7BCD-6DA4-7FC3A070CCB1}"/>
          </ac:spMkLst>
        </pc:spChg>
        <pc:spChg chg="add mod">
          <ac:chgData name="Veniero Facchetti" userId="f2c6c99af91c4974" providerId="LiveId" clId="{34DF7D6B-EB0F-4B53-B080-BB8D6F5C3D93}" dt="2024-05-10T16:01:20.804" v="555"/>
          <ac:spMkLst>
            <pc:docMk/>
            <pc:sldMk cId="2396760433" sldId="347"/>
            <ac:spMk id="332" creationId="{6C984B96-8C2E-B6F6-579D-3012C23C59C7}"/>
          </ac:spMkLst>
        </pc:spChg>
        <pc:spChg chg="add mod">
          <ac:chgData name="Veniero Facchetti" userId="f2c6c99af91c4974" providerId="LiveId" clId="{34DF7D6B-EB0F-4B53-B080-BB8D6F5C3D93}" dt="2024-05-10T16:01:20.804" v="555"/>
          <ac:spMkLst>
            <pc:docMk/>
            <pc:sldMk cId="2396760433" sldId="347"/>
            <ac:spMk id="333" creationId="{1BD02867-F8DB-F2CD-9999-D89F5094A1A9}"/>
          </ac:spMkLst>
        </pc:spChg>
        <pc:spChg chg="add mod">
          <ac:chgData name="Veniero Facchetti" userId="f2c6c99af91c4974" providerId="LiveId" clId="{34DF7D6B-EB0F-4B53-B080-BB8D6F5C3D93}" dt="2024-05-10T16:01:20.804" v="555"/>
          <ac:spMkLst>
            <pc:docMk/>
            <pc:sldMk cId="2396760433" sldId="347"/>
            <ac:spMk id="334" creationId="{0A7CAB0E-16B2-AA16-36A7-5F543122E923}"/>
          </ac:spMkLst>
        </pc:spChg>
        <pc:spChg chg="add mod">
          <ac:chgData name="Veniero Facchetti" userId="f2c6c99af91c4974" providerId="LiveId" clId="{34DF7D6B-EB0F-4B53-B080-BB8D6F5C3D93}" dt="2024-05-10T16:01:20.804" v="555"/>
          <ac:spMkLst>
            <pc:docMk/>
            <pc:sldMk cId="2396760433" sldId="347"/>
            <ac:spMk id="335" creationId="{3D251E2E-BAF4-200E-7C00-47412B7AB669}"/>
          </ac:spMkLst>
        </pc:spChg>
        <pc:spChg chg="add mod">
          <ac:chgData name="Veniero Facchetti" userId="f2c6c99af91c4974" providerId="LiveId" clId="{34DF7D6B-EB0F-4B53-B080-BB8D6F5C3D93}" dt="2024-05-10T16:01:20.804" v="555"/>
          <ac:spMkLst>
            <pc:docMk/>
            <pc:sldMk cId="2396760433" sldId="347"/>
            <ac:spMk id="336" creationId="{49DDB7DF-0810-5700-4A4A-964AD714D534}"/>
          </ac:spMkLst>
        </pc:spChg>
        <pc:spChg chg="add mod">
          <ac:chgData name="Veniero Facchetti" userId="f2c6c99af91c4974" providerId="LiveId" clId="{34DF7D6B-EB0F-4B53-B080-BB8D6F5C3D93}" dt="2024-05-10T16:01:20.804" v="555"/>
          <ac:spMkLst>
            <pc:docMk/>
            <pc:sldMk cId="2396760433" sldId="347"/>
            <ac:spMk id="337" creationId="{93AFFA49-C1C4-47E8-5D02-07A979EFFA3F}"/>
          </ac:spMkLst>
        </pc:spChg>
        <pc:spChg chg="add mod">
          <ac:chgData name="Veniero Facchetti" userId="f2c6c99af91c4974" providerId="LiveId" clId="{34DF7D6B-EB0F-4B53-B080-BB8D6F5C3D93}" dt="2024-05-10T16:01:20.804" v="555"/>
          <ac:spMkLst>
            <pc:docMk/>
            <pc:sldMk cId="2396760433" sldId="347"/>
            <ac:spMk id="338" creationId="{B07E882C-8628-9FD4-56E8-EF8EF107E7ED}"/>
          </ac:spMkLst>
        </pc:spChg>
        <pc:spChg chg="add mod">
          <ac:chgData name="Veniero Facchetti" userId="f2c6c99af91c4974" providerId="LiveId" clId="{34DF7D6B-EB0F-4B53-B080-BB8D6F5C3D93}" dt="2024-05-10T16:01:20.804" v="555"/>
          <ac:spMkLst>
            <pc:docMk/>
            <pc:sldMk cId="2396760433" sldId="347"/>
            <ac:spMk id="339" creationId="{BE9179F5-DE57-DFAF-1A7C-C4C90B237F25}"/>
          </ac:spMkLst>
        </pc:spChg>
        <pc:spChg chg="add mod">
          <ac:chgData name="Veniero Facchetti" userId="f2c6c99af91c4974" providerId="LiveId" clId="{34DF7D6B-EB0F-4B53-B080-BB8D6F5C3D93}" dt="2024-05-10T16:01:20.804" v="555"/>
          <ac:spMkLst>
            <pc:docMk/>
            <pc:sldMk cId="2396760433" sldId="347"/>
            <ac:spMk id="340" creationId="{F11ED6BC-013F-08BB-17A2-4BBCAFB2827B}"/>
          </ac:spMkLst>
        </pc:spChg>
        <pc:spChg chg="add mod">
          <ac:chgData name="Veniero Facchetti" userId="f2c6c99af91c4974" providerId="LiveId" clId="{34DF7D6B-EB0F-4B53-B080-BB8D6F5C3D93}" dt="2024-05-10T16:01:20.804" v="555"/>
          <ac:spMkLst>
            <pc:docMk/>
            <pc:sldMk cId="2396760433" sldId="347"/>
            <ac:spMk id="341" creationId="{1E669400-1D21-B41A-1C30-996E0C11B1CC}"/>
          </ac:spMkLst>
        </pc:spChg>
        <pc:spChg chg="add mod">
          <ac:chgData name="Veniero Facchetti" userId="f2c6c99af91c4974" providerId="LiveId" clId="{34DF7D6B-EB0F-4B53-B080-BB8D6F5C3D93}" dt="2024-05-10T16:01:20.804" v="555"/>
          <ac:spMkLst>
            <pc:docMk/>
            <pc:sldMk cId="2396760433" sldId="347"/>
            <ac:spMk id="342" creationId="{E49140AB-CCC4-5E5C-0C50-47C56315868B}"/>
          </ac:spMkLst>
        </pc:spChg>
        <pc:spChg chg="add mod">
          <ac:chgData name="Veniero Facchetti" userId="f2c6c99af91c4974" providerId="LiveId" clId="{34DF7D6B-EB0F-4B53-B080-BB8D6F5C3D93}" dt="2024-05-10T16:01:20.804" v="555"/>
          <ac:spMkLst>
            <pc:docMk/>
            <pc:sldMk cId="2396760433" sldId="347"/>
            <ac:spMk id="343" creationId="{BE6FDA55-89D4-893F-E782-C374613EB5D8}"/>
          </ac:spMkLst>
        </pc:spChg>
        <pc:spChg chg="add mod">
          <ac:chgData name="Veniero Facchetti" userId="f2c6c99af91c4974" providerId="LiveId" clId="{34DF7D6B-EB0F-4B53-B080-BB8D6F5C3D93}" dt="2024-05-10T16:01:20.804" v="555"/>
          <ac:spMkLst>
            <pc:docMk/>
            <pc:sldMk cId="2396760433" sldId="347"/>
            <ac:spMk id="344" creationId="{ACC54C1C-C51F-7CFB-47C5-E50302C7782F}"/>
          </ac:spMkLst>
        </pc:spChg>
        <pc:spChg chg="add mod">
          <ac:chgData name="Veniero Facchetti" userId="f2c6c99af91c4974" providerId="LiveId" clId="{34DF7D6B-EB0F-4B53-B080-BB8D6F5C3D93}" dt="2024-05-10T16:01:20.804" v="555"/>
          <ac:spMkLst>
            <pc:docMk/>
            <pc:sldMk cId="2396760433" sldId="347"/>
            <ac:spMk id="345" creationId="{485AB03A-4855-CA22-2857-95A4AB4E7D7E}"/>
          </ac:spMkLst>
        </pc:spChg>
        <pc:spChg chg="add mod">
          <ac:chgData name="Veniero Facchetti" userId="f2c6c99af91c4974" providerId="LiveId" clId="{34DF7D6B-EB0F-4B53-B080-BB8D6F5C3D93}" dt="2024-05-10T16:01:20.804" v="555"/>
          <ac:spMkLst>
            <pc:docMk/>
            <pc:sldMk cId="2396760433" sldId="347"/>
            <ac:spMk id="346" creationId="{0E63BEA1-5237-371B-A596-54857BD0A4E0}"/>
          </ac:spMkLst>
        </pc:spChg>
        <pc:spChg chg="add mod">
          <ac:chgData name="Veniero Facchetti" userId="f2c6c99af91c4974" providerId="LiveId" clId="{34DF7D6B-EB0F-4B53-B080-BB8D6F5C3D93}" dt="2024-05-10T16:01:20.804" v="555"/>
          <ac:spMkLst>
            <pc:docMk/>
            <pc:sldMk cId="2396760433" sldId="347"/>
            <ac:spMk id="347" creationId="{E17726BE-A4BA-0C62-BF84-F9C158D6893D}"/>
          </ac:spMkLst>
        </pc:spChg>
        <pc:spChg chg="add mod">
          <ac:chgData name="Veniero Facchetti" userId="f2c6c99af91c4974" providerId="LiveId" clId="{34DF7D6B-EB0F-4B53-B080-BB8D6F5C3D93}" dt="2024-05-10T16:01:20.804" v="555"/>
          <ac:spMkLst>
            <pc:docMk/>
            <pc:sldMk cId="2396760433" sldId="347"/>
            <ac:spMk id="348" creationId="{DEBDCF50-EC9E-0148-82BE-43DA972B61E1}"/>
          </ac:spMkLst>
        </pc:spChg>
        <pc:spChg chg="add mod">
          <ac:chgData name="Veniero Facchetti" userId="f2c6c99af91c4974" providerId="LiveId" clId="{34DF7D6B-EB0F-4B53-B080-BB8D6F5C3D93}" dt="2024-05-10T16:01:20.804" v="555"/>
          <ac:spMkLst>
            <pc:docMk/>
            <pc:sldMk cId="2396760433" sldId="347"/>
            <ac:spMk id="349" creationId="{417D944D-5DE8-4C54-A6D6-123E27F12892}"/>
          </ac:spMkLst>
        </pc:spChg>
        <pc:spChg chg="add mod">
          <ac:chgData name="Veniero Facchetti" userId="f2c6c99af91c4974" providerId="LiveId" clId="{34DF7D6B-EB0F-4B53-B080-BB8D6F5C3D93}" dt="2024-05-10T16:01:20.804" v="555"/>
          <ac:spMkLst>
            <pc:docMk/>
            <pc:sldMk cId="2396760433" sldId="347"/>
            <ac:spMk id="350" creationId="{9FDBA228-1BE5-84E7-53BB-018AE401235D}"/>
          </ac:spMkLst>
        </pc:spChg>
        <pc:spChg chg="add mod">
          <ac:chgData name="Veniero Facchetti" userId="f2c6c99af91c4974" providerId="LiveId" clId="{34DF7D6B-EB0F-4B53-B080-BB8D6F5C3D93}" dt="2024-05-10T16:01:20.804" v="555"/>
          <ac:spMkLst>
            <pc:docMk/>
            <pc:sldMk cId="2396760433" sldId="347"/>
            <ac:spMk id="351" creationId="{956A303B-AE9E-9F69-16F0-F1F4DD5542FE}"/>
          </ac:spMkLst>
        </pc:spChg>
        <pc:spChg chg="add mod">
          <ac:chgData name="Veniero Facchetti" userId="f2c6c99af91c4974" providerId="LiveId" clId="{34DF7D6B-EB0F-4B53-B080-BB8D6F5C3D93}" dt="2024-05-10T16:01:20.804" v="555"/>
          <ac:spMkLst>
            <pc:docMk/>
            <pc:sldMk cId="2396760433" sldId="347"/>
            <ac:spMk id="352" creationId="{6BF0AA95-ADCA-0873-C7E8-8126FC201AA9}"/>
          </ac:spMkLst>
        </pc:spChg>
        <pc:spChg chg="add mod">
          <ac:chgData name="Veniero Facchetti" userId="f2c6c99af91c4974" providerId="LiveId" clId="{34DF7D6B-EB0F-4B53-B080-BB8D6F5C3D93}" dt="2024-05-10T16:01:20.804" v="555"/>
          <ac:spMkLst>
            <pc:docMk/>
            <pc:sldMk cId="2396760433" sldId="347"/>
            <ac:spMk id="353" creationId="{D8DE4990-1DBD-231C-6384-4C8F68F30F81}"/>
          </ac:spMkLst>
        </pc:spChg>
        <pc:spChg chg="add mod">
          <ac:chgData name="Veniero Facchetti" userId="f2c6c99af91c4974" providerId="LiveId" clId="{34DF7D6B-EB0F-4B53-B080-BB8D6F5C3D93}" dt="2024-05-10T16:01:20.804" v="555"/>
          <ac:spMkLst>
            <pc:docMk/>
            <pc:sldMk cId="2396760433" sldId="347"/>
            <ac:spMk id="354" creationId="{54352118-615D-EF33-B890-1B3A112EC048}"/>
          </ac:spMkLst>
        </pc:spChg>
        <pc:spChg chg="add mod">
          <ac:chgData name="Veniero Facchetti" userId="f2c6c99af91c4974" providerId="LiveId" clId="{34DF7D6B-EB0F-4B53-B080-BB8D6F5C3D93}" dt="2024-05-10T16:01:20.804" v="555"/>
          <ac:spMkLst>
            <pc:docMk/>
            <pc:sldMk cId="2396760433" sldId="347"/>
            <ac:spMk id="355" creationId="{6204A441-9F19-F088-12A0-8B914F4113C8}"/>
          </ac:spMkLst>
        </pc:spChg>
        <pc:spChg chg="add mod">
          <ac:chgData name="Veniero Facchetti" userId="f2c6c99af91c4974" providerId="LiveId" clId="{34DF7D6B-EB0F-4B53-B080-BB8D6F5C3D93}" dt="2024-05-10T16:01:20.804" v="555"/>
          <ac:spMkLst>
            <pc:docMk/>
            <pc:sldMk cId="2396760433" sldId="347"/>
            <ac:spMk id="356" creationId="{0CC83E8A-03A2-1337-9FBF-C51B21CB06A2}"/>
          </ac:spMkLst>
        </pc:spChg>
        <pc:spChg chg="add mod">
          <ac:chgData name="Veniero Facchetti" userId="f2c6c99af91c4974" providerId="LiveId" clId="{34DF7D6B-EB0F-4B53-B080-BB8D6F5C3D93}" dt="2024-05-10T16:01:20.804" v="555"/>
          <ac:spMkLst>
            <pc:docMk/>
            <pc:sldMk cId="2396760433" sldId="347"/>
            <ac:spMk id="357" creationId="{70B8C6E8-2E32-BE0F-9453-CB56CD2CD738}"/>
          </ac:spMkLst>
        </pc:spChg>
        <pc:spChg chg="add mod">
          <ac:chgData name="Veniero Facchetti" userId="f2c6c99af91c4974" providerId="LiveId" clId="{34DF7D6B-EB0F-4B53-B080-BB8D6F5C3D93}" dt="2024-05-10T16:01:20.804" v="555"/>
          <ac:spMkLst>
            <pc:docMk/>
            <pc:sldMk cId="2396760433" sldId="347"/>
            <ac:spMk id="358" creationId="{E4F8DD6C-8D2A-0E24-6514-8DD80C530F22}"/>
          </ac:spMkLst>
        </pc:spChg>
        <pc:spChg chg="add mod">
          <ac:chgData name="Veniero Facchetti" userId="f2c6c99af91c4974" providerId="LiveId" clId="{34DF7D6B-EB0F-4B53-B080-BB8D6F5C3D93}" dt="2024-05-10T16:01:20.804" v="555"/>
          <ac:spMkLst>
            <pc:docMk/>
            <pc:sldMk cId="2396760433" sldId="347"/>
            <ac:spMk id="359" creationId="{07FB4301-381F-3EDA-2024-1B1F73C709E4}"/>
          </ac:spMkLst>
        </pc:spChg>
        <pc:spChg chg="add mod">
          <ac:chgData name="Veniero Facchetti" userId="f2c6c99af91c4974" providerId="LiveId" clId="{34DF7D6B-EB0F-4B53-B080-BB8D6F5C3D93}" dt="2024-05-10T16:01:20.804" v="555"/>
          <ac:spMkLst>
            <pc:docMk/>
            <pc:sldMk cId="2396760433" sldId="347"/>
            <ac:spMk id="360" creationId="{0362AD14-6C9F-4772-C37E-834E38F35FA1}"/>
          </ac:spMkLst>
        </pc:spChg>
        <pc:spChg chg="add mod">
          <ac:chgData name="Veniero Facchetti" userId="f2c6c99af91c4974" providerId="LiveId" clId="{34DF7D6B-EB0F-4B53-B080-BB8D6F5C3D93}" dt="2024-05-10T16:01:20.804" v="555"/>
          <ac:spMkLst>
            <pc:docMk/>
            <pc:sldMk cId="2396760433" sldId="347"/>
            <ac:spMk id="361" creationId="{305A16A2-EF22-EDE2-8220-7D0CD8626973}"/>
          </ac:spMkLst>
        </pc:spChg>
        <pc:spChg chg="add mod">
          <ac:chgData name="Veniero Facchetti" userId="f2c6c99af91c4974" providerId="LiveId" clId="{34DF7D6B-EB0F-4B53-B080-BB8D6F5C3D93}" dt="2024-05-10T16:01:20.804" v="555"/>
          <ac:spMkLst>
            <pc:docMk/>
            <pc:sldMk cId="2396760433" sldId="347"/>
            <ac:spMk id="362" creationId="{43CD94F1-20FB-3AB6-9544-940522A943D0}"/>
          </ac:spMkLst>
        </pc:spChg>
        <pc:spChg chg="add mod">
          <ac:chgData name="Veniero Facchetti" userId="f2c6c99af91c4974" providerId="LiveId" clId="{34DF7D6B-EB0F-4B53-B080-BB8D6F5C3D93}" dt="2024-05-10T16:01:20.804" v="555"/>
          <ac:spMkLst>
            <pc:docMk/>
            <pc:sldMk cId="2396760433" sldId="347"/>
            <ac:spMk id="363" creationId="{CF3F7645-B203-62AB-6518-89C0B4F3C741}"/>
          </ac:spMkLst>
        </pc:spChg>
        <pc:spChg chg="mod">
          <ac:chgData name="Veniero Facchetti" userId="f2c6c99af91c4974" providerId="LiveId" clId="{34DF7D6B-EB0F-4B53-B080-BB8D6F5C3D93}" dt="2024-05-10T16:01:20.804" v="555"/>
          <ac:spMkLst>
            <pc:docMk/>
            <pc:sldMk cId="2396760433" sldId="347"/>
            <ac:spMk id="365" creationId="{272D0E36-1647-8C08-DC81-EA8DE6E03699}"/>
          </ac:spMkLst>
        </pc:spChg>
        <pc:spChg chg="mod">
          <ac:chgData name="Veniero Facchetti" userId="f2c6c99af91c4974" providerId="LiveId" clId="{34DF7D6B-EB0F-4B53-B080-BB8D6F5C3D93}" dt="2024-05-10T16:01:20.804" v="555"/>
          <ac:spMkLst>
            <pc:docMk/>
            <pc:sldMk cId="2396760433" sldId="347"/>
            <ac:spMk id="366" creationId="{595CC4C7-8092-9DCE-7925-144F3717DAF2}"/>
          </ac:spMkLst>
        </pc:spChg>
        <pc:spChg chg="add mod">
          <ac:chgData name="Veniero Facchetti" userId="f2c6c99af91c4974" providerId="LiveId" clId="{34DF7D6B-EB0F-4B53-B080-BB8D6F5C3D93}" dt="2024-05-10T16:01:20.804" v="555"/>
          <ac:spMkLst>
            <pc:docMk/>
            <pc:sldMk cId="2396760433" sldId="347"/>
            <ac:spMk id="367" creationId="{354A05C0-9772-C43E-B8B5-DC90AF8C6088}"/>
          </ac:spMkLst>
        </pc:spChg>
        <pc:spChg chg="add mod">
          <ac:chgData name="Veniero Facchetti" userId="f2c6c99af91c4974" providerId="LiveId" clId="{34DF7D6B-EB0F-4B53-B080-BB8D6F5C3D93}" dt="2024-05-10T16:01:20.804" v="555"/>
          <ac:spMkLst>
            <pc:docMk/>
            <pc:sldMk cId="2396760433" sldId="347"/>
            <ac:spMk id="368" creationId="{CC73D222-41D0-1FCE-F34D-B6CAB5CF889E}"/>
          </ac:spMkLst>
        </pc:spChg>
        <pc:spChg chg="add mod">
          <ac:chgData name="Veniero Facchetti" userId="f2c6c99af91c4974" providerId="LiveId" clId="{34DF7D6B-EB0F-4B53-B080-BB8D6F5C3D93}" dt="2024-05-10T16:01:20.804" v="555"/>
          <ac:spMkLst>
            <pc:docMk/>
            <pc:sldMk cId="2396760433" sldId="347"/>
            <ac:spMk id="369" creationId="{92A59931-AFB0-E74F-9BE1-7E3169B46993}"/>
          </ac:spMkLst>
        </pc:spChg>
        <pc:spChg chg="add mod">
          <ac:chgData name="Veniero Facchetti" userId="f2c6c99af91c4974" providerId="LiveId" clId="{34DF7D6B-EB0F-4B53-B080-BB8D6F5C3D93}" dt="2024-05-10T16:01:20.804" v="555"/>
          <ac:spMkLst>
            <pc:docMk/>
            <pc:sldMk cId="2396760433" sldId="347"/>
            <ac:spMk id="370" creationId="{1D291BB6-E809-A372-62B0-017226EF7236}"/>
          </ac:spMkLst>
        </pc:spChg>
        <pc:spChg chg="add mod">
          <ac:chgData name="Veniero Facchetti" userId="f2c6c99af91c4974" providerId="LiveId" clId="{34DF7D6B-EB0F-4B53-B080-BB8D6F5C3D93}" dt="2024-05-10T16:01:20.804" v="555"/>
          <ac:spMkLst>
            <pc:docMk/>
            <pc:sldMk cId="2396760433" sldId="347"/>
            <ac:spMk id="375" creationId="{6FA8CD98-FE50-3110-49B2-B4367BAA8FE9}"/>
          </ac:spMkLst>
        </pc:spChg>
        <pc:spChg chg="add mod">
          <ac:chgData name="Veniero Facchetti" userId="f2c6c99af91c4974" providerId="LiveId" clId="{34DF7D6B-EB0F-4B53-B080-BB8D6F5C3D93}" dt="2024-05-10T16:01:20.804" v="555"/>
          <ac:spMkLst>
            <pc:docMk/>
            <pc:sldMk cId="2396760433" sldId="347"/>
            <ac:spMk id="376" creationId="{83A09484-ABEC-AB64-415C-7462FCA6DED1}"/>
          </ac:spMkLst>
        </pc:spChg>
        <pc:spChg chg="add mod">
          <ac:chgData name="Veniero Facchetti" userId="f2c6c99af91c4974" providerId="LiveId" clId="{34DF7D6B-EB0F-4B53-B080-BB8D6F5C3D93}" dt="2024-05-10T16:01:20.804" v="555"/>
          <ac:spMkLst>
            <pc:docMk/>
            <pc:sldMk cId="2396760433" sldId="347"/>
            <ac:spMk id="377" creationId="{8BC5C90D-2343-9C87-BAB4-1A295A1FC339}"/>
          </ac:spMkLst>
        </pc:spChg>
        <pc:spChg chg="add mod">
          <ac:chgData name="Veniero Facchetti" userId="f2c6c99af91c4974" providerId="LiveId" clId="{34DF7D6B-EB0F-4B53-B080-BB8D6F5C3D93}" dt="2024-05-10T16:01:20.804" v="555"/>
          <ac:spMkLst>
            <pc:docMk/>
            <pc:sldMk cId="2396760433" sldId="347"/>
            <ac:spMk id="378" creationId="{AE2F8C59-6E80-8C0C-B4F3-E438CDECA54D}"/>
          </ac:spMkLst>
        </pc:spChg>
        <pc:spChg chg="add mod">
          <ac:chgData name="Veniero Facchetti" userId="f2c6c99af91c4974" providerId="LiveId" clId="{34DF7D6B-EB0F-4B53-B080-BB8D6F5C3D93}" dt="2024-05-10T16:01:20.804" v="555"/>
          <ac:spMkLst>
            <pc:docMk/>
            <pc:sldMk cId="2396760433" sldId="347"/>
            <ac:spMk id="379" creationId="{EF8F1F4A-0F9D-EC6B-9A5F-FA6ACA59EC29}"/>
          </ac:spMkLst>
        </pc:spChg>
        <pc:spChg chg="add mod">
          <ac:chgData name="Veniero Facchetti" userId="f2c6c99af91c4974" providerId="LiveId" clId="{34DF7D6B-EB0F-4B53-B080-BB8D6F5C3D93}" dt="2024-05-10T16:01:20.804" v="555"/>
          <ac:spMkLst>
            <pc:docMk/>
            <pc:sldMk cId="2396760433" sldId="347"/>
            <ac:spMk id="380" creationId="{E3C14C05-5A24-EF85-5577-F06C941F00F0}"/>
          </ac:spMkLst>
        </pc:spChg>
        <pc:spChg chg="add mod">
          <ac:chgData name="Veniero Facchetti" userId="f2c6c99af91c4974" providerId="LiveId" clId="{34DF7D6B-EB0F-4B53-B080-BB8D6F5C3D93}" dt="2024-05-10T16:01:20.804" v="555"/>
          <ac:spMkLst>
            <pc:docMk/>
            <pc:sldMk cId="2396760433" sldId="347"/>
            <ac:spMk id="381" creationId="{01BD7989-C9D9-95A7-1F3C-BBB57AD69B63}"/>
          </ac:spMkLst>
        </pc:spChg>
        <pc:spChg chg="add mod">
          <ac:chgData name="Veniero Facchetti" userId="f2c6c99af91c4974" providerId="LiveId" clId="{34DF7D6B-EB0F-4B53-B080-BB8D6F5C3D93}" dt="2024-05-10T16:01:20.804" v="555"/>
          <ac:spMkLst>
            <pc:docMk/>
            <pc:sldMk cId="2396760433" sldId="347"/>
            <ac:spMk id="382" creationId="{9EBC9BB2-3C95-9FD0-C0F9-02912D072AF7}"/>
          </ac:spMkLst>
        </pc:spChg>
        <pc:spChg chg="add mod">
          <ac:chgData name="Veniero Facchetti" userId="f2c6c99af91c4974" providerId="LiveId" clId="{34DF7D6B-EB0F-4B53-B080-BB8D6F5C3D93}" dt="2024-05-10T16:01:20.804" v="555"/>
          <ac:spMkLst>
            <pc:docMk/>
            <pc:sldMk cId="2396760433" sldId="347"/>
            <ac:spMk id="387" creationId="{A2D7DDE7-F5A7-F38D-09D4-CCAB804855EF}"/>
          </ac:spMkLst>
        </pc:spChg>
        <pc:spChg chg="add mod">
          <ac:chgData name="Veniero Facchetti" userId="f2c6c99af91c4974" providerId="LiveId" clId="{34DF7D6B-EB0F-4B53-B080-BB8D6F5C3D93}" dt="2024-05-10T16:01:20.804" v="555"/>
          <ac:spMkLst>
            <pc:docMk/>
            <pc:sldMk cId="2396760433" sldId="347"/>
            <ac:spMk id="389" creationId="{BCF3421D-6B0B-3EC1-2D08-9787D0F8E4FC}"/>
          </ac:spMkLst>
        </pc:spChg>
        <pc:spChg chg="add mod">
          <ac:chgData name="Veniero Facchetti" userId="f2c6c99af91c4974" providerId="LiveId" clId="{34DF7D6B-EB0F-4B53-B080-BB8D6F5C3D93}" dt="2024-05-10T16:01:20.804" v="555"/>
          <ac:spMkLst>
            <pc:docMk/>
            <pc:sldMk cId="2396760433" sldId="347"/>
            <ac:spMk id="390" creationId="{BD9A0C6D-286C-B8C7-6BC2-AE17FD0488EF}"/>
          </ac:spMkLst>
        </pc:spChg>
        <pc:spChg chg="add mod">
          <ac:chgData name="Veniero Facchetti" userId="f2c6c99af91c4974" providerId="LiveId" clId="{34DF7D6B-EB0F-4B53-B080-BB8D6F5C3D93}" dt="2024-05-10T16:01:20.804" v="555"/>
          <ac:spMkLst>
            <pc:docMk/>
            <pc:sldMk cId="2396760433" sldId="347"/>
            <ac:spMk id="391" creationId="{E25DF664-B0D1-C474-4A50-952510623040}"/>
          </ac:spMkLst>
        </pc:spChg>
        <pc:spChg chg="add mod">
          <ac:chgData name="Veniero Facchetti" userId="f2c6c99af91c4974" providerId="LiveId" clId="{34DF7D6B-EB0F-4B53-B080-BB8D6F5C3D93}" dt="2024-05-10T16:01:20.804" v="555"/>
          <ac:spMkLst>
            <pc:docMk/>
            <pc:sldMk cId="2396760433" sldId="347"/>
            <ac:spMk id="392" creationId="{5DBD61DF-BFAE-A873-5D5C-C4E41C9C6263}"/>
          </ac:spMkLst>
        </pc:spChg>
        <pc:spChg chg="add mod">
          <ac:chgData name="Veniero Facchetti" userId="f2c6c99af91c4974" providerId="LiveId" clId="{34DF7D6B-EB0F-4B53-B080-BB8D6F5C3D93}" dt="2024-05-10T16:01:20.804" v="555"/>
          <ac:spMkLst>
            <pc:docMk/>
            <pc:sldMk cId="2396760433" sldId="347"/>
            <ac:spMk id="393" creationId="{05CC5E13-782F-1C19-1FB8-13033529D490}"/>
          </ac:spMkLst>
        </pc:spChg>
        <pc:spChg chg="add mod">
          <ac:chgData name="Veniero Facchetti" userId="f2c6c99af91c4974" providerId="LiveId" clId="{34DF7D6B-EB0F-4B53-B080-BB8D6F5C3D93}" dt="2024-05-10T16:01:20.804" v="555"/>
          <ac:spMkLst>
            <pc:docMk/>
            <pc:sldMk cId="2396760433" sldId="347"/>
            <ac:spMk id="394" creationId="{C39A7928-CD4E-9316-94A5-1BED1DED05F2}"/>
          </ac:spMkLst>
        </pc:spChg>
        <pc:spChg chg="add mod">
          <ac:chgData name="Veniero Facchetti" userId="f2c6c99af91c4974" providerId="LiveId" clId="{34DF7D6B-EB0F-4B53-B080-BB8D6F5C3D93}" dt="2024-05-10T16:01:20.804" v="555"/>
          <ac:spMkLst>
            <pc:docMk/>
            <pc:sldMk cId="2396760433" sldId="347"/>
            <ac:spMk id="395" creationId="{0D1350D8-E209-88A3-B144-C455A6CECF7B}"/>
          </ac:spMkLst>
        </pc:spChg>
        <pc:spChg chg="add mod">
          <ac:chgData name="Veniero Facchetti" userId="f2c6c99af91c4974" providerId="LiveId" clId="{34DF7D6B-EB0F-4B53-B080-BB8D6F5C3D93}" dt="2024-05-10T16:01:20.804" v="555"/>
          <ac:spMkLst>
            <pc:docMk/>
            <pc:sldMk cId="2396760433" sldId="347"/>
            <ac:spMk id="396" creationId="{DDA77491-DCB0-D766-E607-14141272D85C}"/>
          </ac:spMkLst>
        </pc:spChg>
        <pc:spChg chg="add mod">
          <ac:chgData name="Veniero Facchetti" userId="f2c6c99af91c4974" providerId="LiveId" clId="{34DF7D6B-EB0F-4B53-B080-BB8D6F5C3D93}" dt="2024-05-10T16:01:20.804" v="555"/>
          <ac:spMkLst>
            <pc:docMk/>
            <pc:sldMk cId="2396760433" sldId="347"/>
            <ac:spMk id="397" creationId="{9942B757-0F42-FE92-DBAD-5DD04D6BDD31}"/>
          </ac:spMkLst>
        </pc:spChg>
        <pc:spChg chg="add mod">
          <ac:chgData name="Veniero Facchetti" userId="f2c6c99af91c4974" providerId="LiveId" clId="{34DF7D6B-EB0F-4B53-B080-BB8D6F5C3D93}" dt="2024-05-10T16:01:20.804" v="555"/>
          <ac:spMkLst>
            <pc:docMk/>
            <pc:sldMk cId="2396760433" sldId="347"/>
            <ac:spMk id="398" creationId="{33D468C1-8A44-B797-027E-A06A06DE3AEC}"/>
          </ac:spMkLst>
        </pc:spChg>
        <pc:spChg chg="add mod">
          <ac:chgData name="Veniero Facchetti" userId="f2c6c99af91c4974" providerId="LiveId" clId="{34DF7D6B-EB0F-4B53-B080-BB8D6F5C3D93}" dt="2024-05-10T16:01:20.804" v="555"/>
          <ac:spMkLst>
            <pc:docMk/>
            <pc:sldMk cId="2396760433" sldId="347"/>
            <ac:spMk id="399" creationId="{E7050326-6048-FCC6-B7FC-F608E51744A6}"/>
          </ac:spMkLst>
        </pc:spChg>
        <pc:spChg chg="add mod">
          <ac:chgData name="Veniero Facchetti" userId="f2c6c99af91c4974" providerId="LiveId" clId="{34DF7D6B-EB0F-4B53-B080-BB8D6F5C3D93}" dt="2024-05-10T16:01:20.804" v="555"/>
          <ac:spMkLst>
            <pc:docMk/>
            <pc:sldMk cId="2396760433" sldId="347"/>
            <ac:spMk id="400" creationId="{07728D09-0E51-199A-6117-EA8F96260B33}"/>
          </ac:spMkLst>
        </pc:spChg>
        <pc:spChg chg="add mod">
          <ac:chgData name="Veniero Facchetti" userId="f2c6c99af91c4974" providerId="LiveId" clId="{34DF7D6B-EB0F-4B53-B080-BB8D6F5C3D93}" dt="2024-05-10T16:01:20.804" v="555"/>
          <ac:spMkLst>
            <pc:docMk/>
            <pc:sldMk cId="2396760433" sldId="347"/>
            <ac:spMk id="408" creationId="{12BC55C5-B4CC-C98C-3BA5-B537B9260E7B}"/>
          </ac:spMkLst>
        </pc:spChg>
        <pc:spChg chg="add mod">
          <ac:chgData name="Veniero Facchetti" userId="f2c6c99af91c4974" providerId="LiveId" clId="{34DF7D6B-EB0F-4B53-B080-BB8D6F5C3D93}" dt="2024-05-10T16:01:20.804" v="555"/>
          <ac:spMkLst>
            <pc:docMk/>
            <pc:sldMk cId="2396760433" sldId="347"/>
            <ac:spMk id="409" creationId="{0E71703D-DC8B-3AE9-F606-8EA844C6E6D5}"/>
          </ac:spMkLst>
        </pc:spChg>
        <pc:spChg chg="add mod">
          <ac:chgData name="Veniero Facchetti" userId="f2c6c99af91c4974" providerId="LiveId" clId="{34DF7D6B-EB0F-4B53-B080-BB8D6F5C3D93}" dt="2024-05-10T16:01:20.804" v="555"/>
          <ac:spMkLst>
            <pc:docMk/>
            <pc:sldMk cId="2396760433" sldId="347"/>
            <ac:spMk id="410" creationId="{423199CD-5ECA-D2FB-FCD9-447843004CF0}"/>
          </ac:spMkLst>
        </pc:spChg>
        <pc:spChg chg="add mod">
          <ac:chgData name="Veniero Facchetti" userId="f2c6c99af91c4974" providerId="LiveId" clId="{34DF7D6B-EB0F-4B53-B080-BB8D6F5C3D93}" dt="2024-05-10T16:01:20.804" v="555"/>
          <ac:spMkLst>
            <pc:docMk/>
            <pc:sldMk cId="2396760433" sldId="347"/>
            <ac:spMk id="411" creationId="{6861E0E2-25CB-3013-F48A-1CD2DBF701C8}"/>
          </ac:spMkLst>
        </pc:spChg>
        <pc:spChg chg="add mod">
          <ac:chgData name="Veniero Facchetti" userId="f2c6c99af91c4974" providerId="LiveId" clId="{34DF7D6B-EB0F-4B53-B080-BB8D6F5C3D93}" dt="2024-05-10T16:01:20.804" v="555"/>
          <ac:spMkLst>
            <pc:docMk/>
            <pc:sldMk cId="2396760433" sldId="347"/>
            <ac:spMk id="412" creationId="{321199EF-D96F-6AF7-87C9-41FC4C7219F1}"/>
          </ac:spMkLst>
        </pc:spChg>
        <pc:spChg chg="add mod">
          <ac:chgData name="Veniero Facchetti" userId="f2c6c99af91c4974" providerId="LiveId" clId="{34DF7D6B-EB0F-4B53-B080-BB8D6F5C3D93}" dt="2024-05-10T16:01:20.804" v="555"/>
          <ac:spMkLst>
            <pc:docMk/>
            <pc:sldMk cId="2396760433" sldId="347"/>
            <ac:spMk id="413" creationId="{3D894D18-0176-330C-ED61-8E27A31B1912}"/>
          </ac:spMkLst>
        </pc:spChg>
        <pc:spChg chg="add mod">
          <ac:chgData name="Veniero Facchetti" userId="f2c6c99af91c4974" providerId="LiveId" clId="{34DF7D6B-EB0F-4B53-B080-BB8D6F5C3D93}" dt="2024-05-10T16:01:20.804" v="555"/>
          <ac:spMkLst>
            <pc:docMk/>
            <pc:sldMk cId="2396760433" sldId="347"/>
            <ac:spMk id="414" creationId="{4E147B93-BCE1-FE08-1126-D46E7D2B5F38}"/>
          </ac:spMkLst>
        </pc:spChg>
        <pc:spChg chg="add mod">
          <ac:chgData name="Veniero Facchetti" userId="f2c6c99af91c4974" providerId="LiveId" clId="{34DF7D6B-EB0F-4B53-B080-BB8D6F5C3D93}" dt="2024-05-10T16:01:20.804" v="555"/>
          <ac:spMkLst>
            <pc:docMk/>
            <pc:sldMk cId="2396760433" sldId="347"/>
            <ac:spMk id="415" creationId="{D6592CF6-610D-4C86-0346-1D610865658C}"/>
          </ac:spMkLst>
        </pc:spChg>
        <pc:spChg chg="add mod">
          <ac:chgData name="Veniero Facchetti" userId="f2c6c99af91c4974" providerId="LiveId" clId="{34DF7D6B-EB0F-4B53-B080-BB8D6F5C3D93}" dt="2024-05-10T16:01:20.804" v="555"/>
          <ac:spMkLst>
            <pc:docMk/>
            <pc:sldMk cId="2396760433" sldId="347"/>
            <ac:spMk id="416" creationId="{7E41CEE9-3E49-A9F4-2EDF-5E4B1CACF968}"/>
          </ac:spMkLst>
        </pc:spChg>
        <pc:spChg chg="add mod">
          <ac:chgData name="Veniero Facchetti" userId="f2c6c99af91c4974" providerId="LiveId" clId="{34DF7D6B-EB0F-4B53-B080-BB8D6F5C3D93}" dt="2024-05-10T16:01:20.804" v="555"/>
          <ac:spMkLst>
            <pc:docMk/>
            <pc:sldMk cId="2396760433" sldId="347"/>
            <ac:spMk id="417" creationId="{E18E5DC7-BA8A-4B66-060C-4EE880A4A8C2}"/>
          </ac:spMkLst>
        </pc:spChg>
        <pc:spChg chg="add mod">
          <ac:chgData name="Veniero Facchetti" userId="f2c6c99af91c4974" providerId="LiveId" clId="{34DF7D6B-EB0F-4B53-B080-BB8D6F5C3D93}" dt="2024-05-10T16:01:20.804" v="555"/>
          <ac:spMkLst>
            <pc:docMk/>
            <pc:sldMk cId="2396760433" sldId="347"/>
            <ac:spMk id="418" creationId="{2EF1EC3F-C98E-5913-BBBF-59B4EA3B673B}"/>
          </ac:spMkLst>
        </pc:spChg>
        <pc:spChg chg="add mod">
          <ac:chgData name="Veniero Facchetti" userId="f2c6c99af91c4974" providerId="LiveId" clId="{34DF7D6B-EB0F-4B53-B080-BB8D6F5C3D93}" dt="2024-05-10T16:01:20.804" v="555"/>
          <ac:spMkLst>
            <pc:docMk/>
            <pc:sldMk cId="2396760433" sldId="347"/>
            <ac:spMk id="419" creationId="{D7843C91-E67A-8C2B-9BBA-3B43A86CACE0}"/>
          </ac:spMkLst>
        </pc:spChg>
        <pc:spChg chg="add mod">
          <ac:chgData name="Veniero Facchetti" userId="f2c6c99af91c4974" providerId="LiveId" clId="{34DF7D6B-EB0F-4B53-B080-BB8D6F5C3D93}" dt="2024-05-10T16:01:20.804" v="555"/>
          <ac:spMkLst>
            <pc:docMk/>
            <pc:sldMk cId="2396760433" sldId="347"/>
            <ac:spMk id="420" creationId="{D38AC57C-B90C-FB95-2E74-4D99C634D09D}"/>
          </ac:spMkLst>
        </pc:spChg>
        <pc:spChg chg="add mod">
          <ac:chgData name="Veniero Facchetti" userId="f2c6c99af91c4974" providerId="LiveId" clId="{34DF7D6B-EB0F-4B53-B080-BB8D6F5C3D93}" dt="2024-05-10T16:01:20.804" v="555"/>
          <ac:spMkLst>
            <pc:docMk/>
            <pc:sldMk cId="2396760433" sldId="347"/>
            <ac:spMk id="421" creationId="{DCF3F055-370E-5973-043D-E863435677BF}"/>
          </ac:spMkLst>
        </pc:spChg>
        <pc:spChg chg="add mod">
          <ac:chgData name="Veniero Facchetti" userId="f2c6c99af91c4974" providerId="LiveId" clId="{34DF7D6B-EB0F-4B53-B080-BB8D6F5C3D93}" dt="2024-05-10T16:01:20.804" v="555"/>
          <ac:spMkLst>
            <pc:docMk/>
            <pc:sldMk cId="2396760433" sldId="347"/>
            <ac:spMk id="422" creationId="{339A808A-C174-0779-2E5D-83C645BCE119}"/>
          </ac:spMkLst>
        </pc:spChg>
        <pc:spChg chg="add mod">
          <ac:chgData name="Veniero Facchetti" userId="f2c6c99af91c4974" providerId="LiveId" clId="{34DF7D6B-EB0F-4B53-B080-BB8D6F5C3D93}" dt="2024-05-10T16:01:20.804" v="555"/>
          <ac:spMkLst>
            <pc:docMk/>
            <pc:sldMk cId="2396760433" sldId="347"/>
            <ac:spMk id="423" creationId="{F1A26E7C-D26A-CDA4-518C-BC0A16DE14C8}"/>
          </ac:spMkLst>
        </pc:spChg>
        <pc:spChg chg="add mod">
          <ac:chgData name="Veniero Facchetti" userId="f2c6c99af91c4974" providerId="LiveId" clId="{34DF7D6B-EB0F-4B53-B080-BB8D6F5C3D93}" dt="2024-05-10T16:01:20.804" v="555"/>
          <ac:spMkLst>
            <pc:docMk/>
            <pc:sldMk cId="2396760433" sldId="347"/>
            <ac:spMk id="424" creationId="{DA9BEB5D-7B4E-CBFA-8ACE-D3642A10D0B5}"/>
          </ac:spMkLst>
        </pc:spChg>
        <pc:spChg chg="add mod">
          <ac:chgData name="Veniero Facchetti" userId="f2c6c99af91c4974" providerId="LiveId" clId="{34DF7D6B-EB0F-4B53-B080-BB8D6F5C3D93}" dt="2024-05-10T16:01:20.804" v="555"/>
          <ac:spMkLst>
            <pc:docMk/>
            <pc:sldMk cId="2396760433" sldId="347"/>
            <ac:spMk id="425" creationId="{8A685EE2-2D88-50D3-A591-3BA60C0EDC36}"/>
          </ac:spMkLst>
        </pc:spChg>
        <pc:spChg chg="mod">
          <ac:chgData name="Veniero Facchetti" userId="f2c6c99af91c4974" providerId="LiveId" clId="{34DF7D6B-EB0F-4B53-B080-BB8D6F5C3D93}" dt="2024-05-10T16:01:20.804" v="555"/>
          <ac:spMkLst>
            <pc:docMk/>
            <pc:sldMk cId="2396760433" sldId="347"/>
            <ac:spMk id="427" creationId="{A69FB9B5-10D4-C0EB-1325-B4E655F2D65C}"/>
          </ac:spMkLst>
        </pc:spChg>
        <pc:spChg chg="mod">
          <ac:chgData name="Veniero Facchetti" userId="f2c6c99af91c4974" providerId="LiveId" clId="{34DF7D6B-EB0F-4B53-B080-BB8D6F5C3D93}" dt="2024-05-10T16:01:20.804" v="555"/>
          <ac:spMkLst>
            <pc:docMk/>
            <pc:sldMk cId="2396760433" sldId="347"/>
            <ac:spMk id="428" creationId="{45184571-F501-6CD0-170F-A2C5B1B97C4A}"/>
          </ac:spMkLst>
        </pc:spChg>
        <pc:spChg chg="add mod">
          <ac:chgData name="Veniero Facchetti" userId="f2c6c99af91c4974" providerId="LiveId" clId="{34DF7D6B-EB0F-4B53-B080-BB8D6F5C3D93}" dt="2024-05-10T16:01:32.747" v="561" actId="1076"/>
          <ac:spMkLst>
            <pc:docMk/>
            <pc:sldMk cId="2396760433" sldId="347"/>
            <ac:spMk id="429" creationId="{EEDF8AA8-382B-3699-8574-D1CDF39C5B1D}"/>
          </ac:spMkLst>
        </pc:spChg>
        <pc:grpChg chg="add mod">
          <ac:chgData name="Veniero Facchetti" userId="f2c6c99af91c4974" providerId="LiveId" clId="{34DF7D6B-EB0F-4B53-B080-BB8D6F5C3D93}" dt="2024-05-10T16:01:20.804" v="555"/>
          <ac:grpSpMkLst>
            <pc:docMk/>
            <pc:sldMk cId="2396760433" sldId="347"/>
            <ac:grpSpMk id="3" creationId="{96CA7857-A3E4-B1B3-E579-4C50AA0E7EE6}"/>
          </ac:grpSpMkLst>
        </pc:grpChg>
        <pc:grpChg chg="add mod">
          <ac:chgData name="Veniero Facchetti" userId="f2c6c99af91c4974" providerId="LiveId" clId="{34DF7D6B-EB0F-4B53-B080-BB8D6F5C3D93}" dt="2024-05-10T16:01:20.804" v="555"/>
          <ac:grpSpMkLst>
            <pc:docMk/>
            <pc:sldMk cId="2396760433" sldId="347"/>
            <ac:grpSpMk id="6" creationId="{3FFA887E-2431-F52D-9E36-347C801BCE55}"/>
          </ac:grpSpMkLst>
        </pc:grpChg>
        <pc:grpChg chg="add mod">
          <ac:chgData name="Veniero Facchetti" userId="f2c6c99af91c4974" providerId="LiveId" clId="{34DF7D6B-EB0F-4B53-B080-BB8D6F5C3D93}" dt="2024-05-10T16:01:20.804" v="555"/>
          <ac:grpSpMkLst>
            <pc:docMk/>
            <pc:sldMk cId="2396760433" sldId="347"/>
            <ac:grpSpMk id="10" creationId="{CF67C54D-F62A-6683-5E3C-D6FD519014B4}"/>
          </ac:grpSpMkLst>
        </pc:grpChg>
        <pc:grpChg chg="add mod">
          <ac:chgData name="Veniero Facchetti" userId="f2c6c99af91c4974" providerId="LiveId" clId="{34DF7D6B-EB0F-4B53-B080-BB8D6F5C3D93}" dt="2024-05-10T16:01:20.804" v="555"/>
          <ac:grpSpMkLst>
            <pc:docMk/>
            <pc:sldMk cId="2396760433" sldId="347"/>
            <ac:grpSpMk id="52" creationId="{0F077D1C-73CB-E214-0FC7-8884C4FE57EC}"/>
          </ac:grpSpMkLst>
        </pc:grpChg>
        <pc:grpChg chg="mod">
          <ac:chgData name="Veniero Facchetti" userId="f2c6c99af91c4974" providerId="LiveId" clId="{34DF7D6B-EB0F-4B53-B080-BB8D6F5C3D93}" dt="2024-05-10T16:01:20.804" v="555"/>
          <ac:grpSpMkLst>
            <pc:docMk/>
            <pc:sldMk cId="2396760433" sldId="347"/>
            <ac:grpSpMk id="53" creationId="{A60168BE-9794-34B2-0821-706D0467EF07}"/>
          </ac:grpSpMkLst>
        </pc:grpChg>
        <pc:grpChg chg="add mod">
          <ac:chgData name="Veniero Facchetti" userId="f2c6c99af91c4974" providerId="LiveId" clId="{34DF7D6B-EB0F-4B53-B080-BB8D6F5C3D93}" dt="2024-05-10T16:01:20.804" v="555"/>
          <ac:grpSpMkLst>
            <pc:docMk/>
            <pc:sldMk cId="2396760433" sldId="347"/>
            <ac:grpSpMk id="106" creationId="{E3CC3DDC-04BE-715C-4C63-43D668E61C2E}"/>
          </ac:grpSpMkLst>
        </pc:grpChg>
        <pc:grpChg chg="add mod">
          <ac:chgData name="Veniero Facchetti" userId="f2c6c99af91c4974" providerId="LiveId" clId="{34DF7D6B-EB0F-4B53-B080-BB8D6F5C3D93}" dt="2024-05-10T16:01:20.804" v="555"/>
          <ac:grpSpMkLst>
            <pc:docMk/>
            <pc:sldMk cId="2396760433" sldId="347"/>
            <ac:grpSpMk id="144" creationId="{6FDC8D93-E06A-127C-B559-740C3CA96992}"/>
          </ac:grpSpMkLst>
        </pc:grpChg>
        <pc:grpChg chg="add mod">
          <ac:chgData name="Veniero Facchetti" userId="f2c6c99af91c4974" providerId="LiveId" clId="{34DF7D6B-EB0F-4B53-B080-BB8D6F5C3D93}" dt="2024-05-10T16:01:20.804" v="555"/>
          <ac:grpSpMkLst>
            <pc:docMk/>
            <pc:sldMk cId="2396760433" sldId="347"/>
            <ac:grpSpMk id="280" creationId="{F2272516-F7D0-AF04-76C8-CAA0EC73F3FC}"/>
          </ac:grpSpMkLst>
        </pc:grpChg>
        <pc:grpChg chg="add mod">
          <ac:chgData name="Veniero Facchetti" userId="f2c6c99af91c4974" providerId="LiveId" clId="{34DF7D6B-EB0F-4B53-B080-BB8D6F5C3D93}" dt="2024-05-10T16:01:20.804" v="555"/>
          <ac:grpSpMkLst>
            <pc:docMk/>
            <pc:sldMk cId="2396760433" sldId="347"/>
            <ac:grpSpMk id="364" creationId="{64EDADDC-CCBA-8E73-E38A-BE1C62FE07B3}"/>
          </ac:grpSpMkLst>
        </pc:grpChg>
        <pc:grpChg chg="add mod">
          <ac:chgData name="Veniero Facchetti" userId="f2c6c99af91c4974" providerId="LiveId" clId="{34DF7D6B-EB0F-4B53-B080-BB8D6F5C3D93}" dt="2024-05-10T16:01:20.804" v="555"/>
          <ac:grpSpMkLst>
            <pc:docMk/>
            <pc:sldMk cId="2396760433" sldId="347"/>
            <ac:grpSpMk id="426" creationId="{D28EEDCE-5CBE-FDDD-280F-9EB819DA9F67}"/>
          </ac:grpSpMkLst>
        </pc:grpChg>
        <pc:graphicFrameChg chg="add mod">
          <ac:chgData name="Veniero Facchetti" userId="f2c6c99af91c4974" providerId="LiveId" clId="{34DF7D6B-EB0F-4B53-B080-BB8D6F5C3D93}" dt="2024-05-10T16:01:20.804" v="555"/>
          <ac:graphicFrameMkLst>
            <pc:docMk/>
            <pc:sldMk cId="2396760433" sldId="347"/>
            <ac:graphicFrameMk id="371" creationId="{B6677FD6-EF6A-5C0B-ADB5-DE4CEF453252}"/>
          </ac:graphicFrameMkLst>
        </pc:graphicFrameChg>
        <pc:graphicFrameChg chg="add mod">
          <ac:chgData name="Veniero Facchetti" userId="f2c6c99af91c4974" providerId="LiveId" clId="{34DF7D6B-EB0F-4B53-B080-BB8D6F5C3D93}" dt="2024-05-10T16:01:20.804" v="555"/>
          <ac:graphicFrameMkLst>
            <pc:docMk/>
            <pc:sldMk cId="2396760433" sldId="347"/>
            <ac:graphicFrameMk id="401" creationId="{780FD5E2-E87D-2DBC-3320-1A5CFF34C558}"/>
          </ac:graphicFrameMkLst>
        </pc:graphicFrameChg>
        <pc:picChg chg="add mod">
          <ac:chgData name="Veniero Facchetti" userId="f2c6c99af91c4974" providerId="LiveId" clId="{34DF7D6B-EB0F-4B53-B080-BB8D6F5C3D93}" dt="2024-05-10T16:01:20.804" v="555"/>
          <ac:picMkLst>
            <pc:docMk/>
            <pc:sldMk cId="2396760433" sldId="347"/>
            <ac:picMk id="384" creationId="{05688D1F-8673-C95E-E7FA-334B7759643C}"/>
          </ac:picMkLst>
        </pc:picChg>
        <pc:picChg chg="add mod">
          <ac:chgData name="Veniero Facchetti" userId="f2c6c99af91c4974" providerId="LiveId" clId="{34DF7D6B-EB0F-4B53-B080-BB8D6F5C3D93}" dt="2024-05-10T16:01:20.804" v="555"/>
          <ac:picMkLst>
            <pc:docMk/>
            <pc:sldMk cId="2396760433" sldId="347"/>
            <ac:picMk id="385" creationId="{1214A59D-90CB-B6A9-B028-4CF144735002}"/>
          </ac:picMkLst>
        </pc:picChg>
        <pc:picChg chg="add mod">
          <ac:chgData name="Veniero Facchetti" userId="f2c6c99af91c4974" providerId="LiveId" clId="{34DF7D6B-EB0F-4B53-B080-BB8D6F5C3D93}" dt="2024-05-10T16:01:20.804" v="555"/>
          <ac:picMkLst>
            <pc:docMk/>
            <pc:sldMk cId="2396760433" sldId="347"/>
            <ac:picMk id="386" creationId="{8AFC8889-361E-D985-74F4-341ADAD389AF}"/>
          </ac:picMkLst>
        </pc:picChg>
        <pc:cxnChg chg="add mod">
          <ac:chgData name="Veniero Facchetti" userId="f2c6c99af91c4974" providerId="LiveId" clId="{34DF7D6B-EB0F-4B53-B080-BB8D6F5C3D93}" dt="2024-05-10T16:01:20.804" v="555"/>
          <ac:cxnSpMkLst>
            <pc:docMk/>
            <pc:sldMk cId="2396760433" sldId="347"/>
            <ac:cxnSpMk id="372" creationId="{609F920D-38B2-D588-92DA-7B469CA0D0AC}"/>
          </ac:cxnSpMkLst>
        </pc:cxnChg>
        <pc:cxnChg chg="add mod">
          <ac:chgData name="Veniero Facchetti" userId="f2c6c99af91c4974" providerId="LiveId" clId="{34DF7D6B-EB0F-4B53-B080-BB8D6F5C3D93}" dt="2024-05-10T16:01:20.804" v="555"/>
          <ac:cxnSpMkLst>
            <pc:docMk/>
            <pc:sldMk cId="2396760433" sldId="347"/>
            <ac:cxnSpMk id="373" creationId="{7B455A40-8E7D-CD35-C695-8353B870FBA5}"/>
          </ac:cxnSpMkLst>
        </pc:cxnChg>
        <pc:cxnChg chg="add mod">
          <ac:chgData name="Veniero Facchetti" userId="f2c6c99af91c4974" providerId="LiveId" clId="{34DF7D6B-EB0F-4B53-B080-BB8D6F5C3D93}" dt="2024-05-10T16:01:20.804" v="555"/>
          <ac:cxnSpMkLst>
            <pc:docMk/>
            <pc:sldMk cId="2396760433" sldId="347"/>
            <ac:cxnSpMk id="374" creationId="{BB8DB8B5-6EF1-C7EB-D02B-53E1FF10B811}"/>
          </ac:cxnSpMkLst>
        </pc:cxnChg>
        <pc:cxnChg chg="add mod">
          <ac:chgData name="Veniero Facchetti" userId="f2c6c99af91c4974" providerId="LiveId" clId="{34DF7D6B-EB0F-4B53-B080-BB8D6F5C3D93}" dt="2024-05-10T16:01:20.804" v="555"/>
          <ac:cxnSpMkLst>
            <pc:docMk/>
            <pc:sldMk cId="2396760433" sldId="347"/>
            <ac:cxnSpMk id="383" creationId="{EEF9FDE4-F29F-587B-02D1-6514FFEA1955}"/>
          </ac:cxnSpMkLst>
        </pc:cxnChg>
        <pc:cxnChg chg="add mod">
          <ac:chgData name="Veniero Facchetti" userId="f2c6c99af91c4974" providerId="LiveId" clId="{34DF7D6B-EB0F-4B53-B080-BB8D6F5C3D93}" dt="2024-05-10T16:01:20.804" v="555"/>
          <ac:cxnSpMkLst>
            <pc:docMk/>
            <pc:sldMk cId="2396760433" sldId="347"/>
            <ac:cxnSpMk id="388" creationId="{DC9412C9-9C5A-E778-0701-20AD37CA0845}"/>
          </ac:cxnSpMkLst>
        </pc:cxnChg>
        <pc:cxnChg chg="add mod">
          <ac:chgData name="Veniero Facchetti" userId="f2c6c99af91c4974" providerId="LiveId" clId="{34DF7D6B-EB0F-4B53-B080-BB8D6F5C3D93}" dt="2024-05-10T16:01:20.804" v="555"/>
          <ac:cxnSpMkLst>
            <pc:docMk/>
            <pc:sldMk cId="2396760433" sldId="347"/>
            <ac:cxnSpMk id="402" creationId="{5AD0451E-05A4-37AD-050A-C4015DCFA279}"/>
          </ac:cxnSpMkLst>
        </pc:cxnChg>
        <pc:cxnChg chg="add mod">
          <ac:chgData name="Veniero Facchetti" userId="f2c6c99af91c4974" providerId="LiveId" clId="{34DF7D6B-EB0F-4B53-B080-BB8D6F5C3D93}" dt="2024-05-10T16:01:20.804" v="555"/>
          <ac:cxnSpMkLst>
            <pc:docMk/>
            <pc:sldMk cId="2396760433" sldId="347"/>
            <ac:cxnSpMk id="403" creationId="{4A4ECACB-5E3C-399D-DDA2-B478CEFA273A}"/>
          </ac:cxnSpMkLst>
        </pc:cxnChg>
        <pc:cxnChg chg="add mod">
          <ac:chgData name="Veniero Facchetti" userId="f2c6c99af91c4974" providerId="LiveId" clId="{34DF7D6B-EB0F-4B53-B080-BB8D6F5C3D93}" dt="2024-05-10T16:01:20.804" v="555"/>
          <ac:cxnSpMkLst>
            <pc:docMk/>
            <pc:sldMk cId="2396760433" sldId="347"/>
            <ac:cxnSpMk id="404" creationId="{661C4883-977C-C5E9-EE15-ECD102204E1C}"/>
          </ac:cxnSpMkLst>
        </pc:cxnChg>
        <pc:cxnChg chg="add mod">
          <ac:chgData name="Veniero Facchetti" userId="f2c6c99af91c4974" providerId="LiveId" clId="{34DF7D6B-EB0F-4B53-B080-BB8D6F5C3D93}" dt="2024-05-10T16:01:20.804" v="555"/>
          <ac:cxnSpMkLst>
            <pc:docMk/>
            <pc:sldMk cId="2396760433" sldId="347"/>
            <ac:cxnSpMk id="405" creationId="{4216CBB6-5120-613A-082C-D33FB0114EC5}"/>
          </ac:cxnSpMkLst>
        </pc:cxnChg>
        <pc:cxnChg chg="add mod">
          <ac:chgData name="Veniero Facchetti" userId="f2c6c99af91c4974" providerId="LiveId" clId="{34DF7D6B-EB0F-4B53-B080-BB8D6F5C3D93}" dt="2024-05-10T16:01:20.804" v="555"/>
          <ac:cxnSpMkLst>
            <pc:docMk/>
            <pc:sldMk cId="2396760433" sldId="347"/>
            <ac:cxnSpMk id="406" creationId="{45B52413-C942-6389-3AA4-8AAD13FC7486}"/>
          </ac:cxnSpMkLst>
        </pc:cxnChg>
        <pc:cxnChg chg="add mod">
          <ac:chgData name="Veniero Facchetti" userId="f2c6c99af91c4974" providerId="LiveId" clId="{34DF7D6B-EB0F-4B53-B080-BB8D6F5C3D93}" dt="2024-05-10T16:01:20.804" v="555"/>
          <ac:cxnSpMkLst>
            <pc:docMk/>
            <pc:sldMk cId="2396760433" sldId="347"/>
            <ac:cxnSpMk id="407" creationId="{16E271FB-E7F0-3AB5-2E80-61FA444449DC}"/>
          </ac:cxnSpMkLst>
        </pc:cxnChg>
      </pc:sldChg>
      <pc:sldChg chg="addSp modSp new mod">
        <pc:chgData name="Veniero Facchetti" userId="f2c6c99af91c4974" providerId="LiveId" clId="{34DF7D6B-EB0F-4B53-B080-BB8D6F5C3D93}" dt="2024-05-10T16:02:58.811" v="581" actId="1076"/>
        <pc:sldMkLst>
          <pc:docMk/>
          <pc:sldMk cId="2786795598" sldId="348"/>
        </pc:sldMkLst>
        <pc:spChg chg="add mod">
          <ac:chgData name="Veniero Facchetti" userId="f2c6c99af91c4974" providerId="LiveId" clId="{34DF7D6B-EB0F-4B53-B080-BB8D6F5C3D93}" dt="2024-05-10T16:02:52.467" v="580" actId="1076"/>
          <ac:spMkLst>
            <pc:docMk/>
            <pc:sldMk cId="2786795598" sldId="348"/>
            <ac:spMk id="2" creationId="{CF6CFA8C-8323-0F12-2D22-2F93245836AF}"/>
          </ac:spMkLst>
        </pc:spChg>
        <pc:spChg chg="add mod">
          <ac:chgData name="Veniero Facchetti" userId="f2c6c99af91c4974" providerId="LiveId" clId="{34DF7D6B-EB0F-4B53-B080-BB8D6F5C3D93}" dt="2024-05-10T16:02:49.294" v="579" actId="1076"/>
          <ac:spMkLst>
            <pc:docMk/>
            <pc:sldMk cId="2786795598" sldId="348"/>
            <ac:spMk id="3" creationId="{BDC0584E-E40E-D97F-D6D4-C0E49FE7A76C}"/>
          </ac:spMkLst>
        </pc:spChg>
        <pc:spChg chg="add mod">
          <ac:chgData name="Veniero Facchetti" userId="f2c6c99af91c4974" providerId="LiveId" clId="{34DF7D6B-EB0F-4B53-B080-BB8D6F5C3D93}" dt="2024-05-10T16:02:49.294" v="579" actId="1076"/>
          <ac:spMkLst>
            <pc:docMk/>
            <pc:sldMk cId="2786795598" sldId="348"/>
            <ac:spMk id="4" creationId="{AA180B73-B71E-7E95-D1B1-BE25EB7FA672}"/>
          </ac:spMkLst>
        </pc:spChg>
        <pc:spChg chg="add mod">
          <ac:chgData name="Veniero Facchetti" userId="f2c6c99af91c4974" providerId="LiveId" clId="{34DF7D6B-EB0F-4B53-B080-BB8D6F5C3D93}" dt="2024-05-10T16:02:49.294" v="579" actId="1076"/>
          <ac:spMkLst>
            <pc:docMk/>
            <pc:sldMk cId="2786795598" sldId="348"/>
            <ac:spMk id="5" creationId="{A6431D59-D86C-BB2D-00CA-CDFBF2F5DEAD}"/>
          </ac:spMkLst>
        </pc:spChg>
        <pc:spChg chg="add mod">
          <ac:chgData name="Veniero Facchetti" userId="f2c6c99af91c4974" providerId="LiveId" clId="{34DF7D6B-EB0F-4B53-B080-BB8D6F5C3D93}" dt="2024-05-10T16:02:49.294" v="579" actId="1076"/>
          <ac:spMkLst>
            <pc:docMk/>
            <pc:sldMk cId="2786795598" sldId="348"/>
            <ac:spMk id="6" creationId="{2DECB6E2-BA80-C751-67A8-C00CC39A753E}"/>
          </ac:spMkLst>
        </pc:spChg>
        <pc:spChg chg="add mod">
          <ac:chgData name="Veniero Facchetti" userId="f2c6c99af91c4974" providerId="LiveId" clId="{34DF7D6B-EB0F-4B53-B080-BB8D6F5C3D93}" dt="2024-05-10T16:02:49.294" v="579" actId="1076"/>
          <ac:spMkLst>
            <pc:docMk/>
            <pc:sldMk cId="2786795598" sldId="348"/>
            <ac:spMk id="7" creationId="{6811933B-0BB5-88F2-3B98-5EE1641BACAD}"/>
          </ac:spMkLst>
        </pc:spChg>
        <pc:spChg chg="add mod">
          <ac:chgData name="Veniero Facchetti" userId="f2c6c99af91c4974" providerId="LiveId" clId="{34DF7D6B-EB0F-4B53-B080-BB8D6F5C3D93}" dt="2024-05-10T16:02:49.294" v="579" actId="1076"/>
          <ac:spMkLst>
            <pc:docMk/>
            <pc:sldMk cId="2786795598" sldId="348"/>
            <ac:spMk id="8" creationId="{86DF61F8-3252-20FA-D169-31F4C952AAC7}"/>
          </ac:spMkLst>
        </pc:spChg>
        <pc:spChg chg="add mod">
          <ac:chgData name="Veniero Facchetti" userId="f2c6c99af91c4974" providerId="LiveId" clId="{34DF7D6B-EB0F-4B53-B080-BB8D6F5C3D93}" dt="2024-05-10T16:02:49.294" v="579" actId="1076"/>
          <ac:spMkLst>
            <pc:docMk/>
            <pc:sldMk cId="2786795598" sldId="348"/>
            <ac:spMk id="20" creationId="{3A3593B5-2181-ADB0-4F60-FFBE6540EFD5}"/>
          </ac:spMkLst>
        </pc:spChg>
        <pc:spChg chg="add mod">
          <ac:chgData name="Veniero Facchetti" userId="f2c6c99af91c4974" providerId="LiveId" clId="{34DF7D6B-EB0F-4B53-B080-BB8D6F5C3D93}" dt="2024-05-10T16:02:49.294" v="579" actId="1076"/>
          <ac:spMkLst>
            <pc:docMk/>
            <pc:sldMk cId="2786795598" sldId="348"/>
            <ac:spMk id="21" creationId="{6528D9E4-EC76-7EF0-2CBA-3C223ED14539}"/>
          </ac:spMkLst>
        </pc:spChg>
        <pc:spChg chg="add mod">
          <ac:chgData name="Veniero Facchetti" userId="f2c6c99af91c4974" providerId="LiveId" clId="{34DF7D6B-EB0F-4B53-B080-BB8D6F5C3D93}" dt="2024-05-10T16:02:49.294" v="579" actId="1076"/>
          <ac:spMkLst>
            <pc:docMk/>
            <pc:sldMk cId="2786795598" sldId="348"/>
            <ac:spMk id="22" creationId="{6108D64B-128E-DFB1-08BB-807F00CB5DF4}"/>
          </ac:spMkLst>
        </pc:spChg>
        <pc:spChg chg="add mod">
          <ac:chgData name="Veniero Facchetti" userId="f2c6c99af91c4974" providerId="LiveId" clId="{34DF7D6B-EB0F-4B53-B080-BB8D6F5C3D93}" dt="2024-05-10T16:02:49.294" v="579" actId="1076"/>
          <ac:spMkLst>
            <pc:docMk/>
            <pc:sldMk cId="2786795598" sldId="348"/>
            <ac:spMk id="23" creationId="{47D4AC59-72E1-9CFB-D117-9E62BF6F9FB8}"/>
          </ac:spMkLst>
        </pc:spChg>
        <pc:spChg chg="add mod">
          <ac:chgData name="Veniero Facchetti" userId="f2c6c99af91c4974" providerId="LiveId" clId="{34DF7D6B-EB0F-4B53-B080-BB8D6F5C3D93}" dt="2024-05-10T16:02:49.294" v="579" actId="1076"/>
          <ac:spMkLst>
            <pc:docMk/>
            <pc:sldMk cId="2786795598" sldId="348"/>
            <ac:spMk id="31" creationId="{43806D9B-1CBA-9FBF-FE06-DBCCDFBE6FE9}"/>
          </ac:spMkLst>
        </pc:spChg>
        <pc:spChg chg="add mod">
          <ac:chgData name="Veniero Facchetti" userId="f2c6c99af91c4974" providerId="LiveId" clId="{34DF7D6B-EB0F-4B53-B080-BB8D6F5C3D93}" dt="2024-05-10T16:02:49.294" v="579" actId="1076"/>
          <ac:spMkLst>
            <pc:docMk/>
            <pc:sldMk cId="2786795598" sldId="348"/>
            <ac:spMk id="32" creationId="{0CBF0B78-34C7-5581-DBB5-325CD0835389}"/>
          </ac:spMkLst>
        </pc:spChg>
        <pc:spChg chg="mod">
          <ac:chgData name="Veniero Facchetti" userId="f2c6c99af91c4974" providerId="LiveId" clId="{34DF7D6B-EB0F-4B53-B080-BB8D6F5C3D93}" dt="2024-05-10T16:01:59.295" v="567"/>
          <ac:spMkLst>
            <pc:docMk/>
            <pc:sldMk cId="2786795598" sldId="348"/>
            <ac:spMk id="35" creationId="{A6D3FA53-16E9-3642-D639-A0CFDA7DFBDE}"/>
          </ac:spMkLst>
        </pc:spChg>
        <pc:spChg chg="add mod">
          <ac:chgData name="Veniero Facchetti" userId="f2c6c99af91c4974" providerId="LiveId" clId="{34DF7D6B-EB0F-4B53-B080-BB8D6F5C3D93}" dt="2024-05-10T16:02:49.294" v="579" actId="1076"/>
          <ac:spMkLst>
            <pc:docMk/>
            <pc:sldMk cId="2786795598" sldId="348"/>
            <ac:spMk id="37" creationId="{14850A03-A7C9-0792-9EBA-50A5814B07C5}"/>
          </ac:spMkLst>
        </pc:spChg>
        <pc:spChg chg="add mod">
          <ac:chgData name="Veniero Facchetti" userId="f2c6c99af91c4974" providerId="LiveId" clId="{34DF7D6B-EB0F-4B53-B080-BB8D6F5C3D93}" dt="2024-05-10T16:02:49.294" v="579" actId="1076"/>
          <ac:spMkLst>
            <pc:docMk/>
            <pc:sldMk cId="2786795598" sldId="348"/>
            <ac:spMk id="38" creationId="{32686967-9DE4-E290-8A2B-B1C3CCBB508E}"/>
          </ac:spMkLst>
        </pc:spChg>
        <pc:spChg chg="add mod">
          <ac:chgData name="Veniero Facchetti" userId="f2c6c99af91c4974" providerId="LiveId" clId="{34DF7D6B-EB0F-4B53-B080-BB8D6F5C3D93}" dt="2024-05-10T16:02:49.294" v="579" actId="1076"/>
          <ac:spMkLst>
            <pc:docMk/>
            <pc:sldMk cId="2786795598" sldId="348"/>
            <ac:spMk id="39" creationId="{8C456067-196B-EF30-BE75-9CB5C133FF53}"/>
          </ac:spMkLst>
        </pc:spChg>
        <pc:spChg chg="add mod">
          <ac:chgData name="Veniero Facchetti" userId="f2c6c99af91c4974" providerId="LiveId" clId="{34DF7D6B-EB0F-4B53-B080-BB8D6F5C3D93}" dt="2024-05-10T16:02:49.294" v="579" actId="1076"/>
          <ac:spMkLst>
            <pc:docMk/>
            <pc:sldMk cId="2786795598" sldId="348"/>
            <ac:spMk id="40" creationId="{88D4C8BF-BC8B-5EA7-9DE8-B0644331B8E1}"/>
          </ac:spMkLst>
        </pc:spChg>
        <pc:spChg chg="add mod">
          <ac:chgData name="Veniero Facchetti" userId="f2c6c99af91c4974" providerId="LiveId" clId="{34DF7D6B-EB0F-4B53-B080-BB8D6F5C3D93}" dt="2024-05-10T16:02:49.294" v="579" actId="1076"/>
          <ac:spMkLst>
            <pc:docMk/>
            <pc:sldMk cId="2786795598" sldId="348"/>
            <ac:spMk id="41" creationId="{3E01DD7A-119E-F673-314F-9020E2DE8AD4}"/>
          </ac:spMkLst>
        </pc:spChg>
        <pc:spChg chg="add mod">
          <ac:chgData name="Veniero Facchetti" userId="f2c6c99af91c4974" providerId="LiveId" clId="{34DF7D6B-EB0F-4B53-B080-BB8D6F5C3D93}" dt="2024-05-10T16:02:49.294" v="579" actId="1076"/>
          <ac:spMkLst>
            <pc:docMk/>
            <pc:sldMk cId="2786795598" sldId="348"/>
            <ac:spMk id="42" creationId="{87DD92F3-ECE0-F1DF-6BA0-EB7BB92E256D}"/>
          </ac:spMkLst>
        </pc:spChg>
        <pc:spChg chg="add mod">
          <ac:chgData name="Veniero Facchetti" userId="f2c6c99af91c4974" providerId="LiveId" clId="{34DF7D6B-EB0F-4B53-B080-BB8D6F5C3D93}" dt="2024-05-10T16:02:49.294" v="579" actId="1076"/>
          <ac:spMkLst>
            <pc:docMk/>
            <pc:sldMk cId="2786795598" sldId="348"/>
            <ac:spMk id="46" creationId="{572CE8BC-1F52-3E74-7352-4E037E74A7DB}"/>
          </ac:spMkLst>
        </pc:spChg>
        <pc:spChg chg="add mod">
          <ac:chgData name="Veniero Facchetti" userId="f2c6c99af91c4974" providerId="LiveId" clId="{34DF7D6B-EB0F-4B53-B080-BB8D6F5C3D93}" dt="2024-05-10T16:02:49.294" v="579" actId="1076"/>
          <ac:spMkLst>
            <pc:docMk/>
            <pc:sldMk cId="2786795598" sldId="348"/>
            <ac:spMk id="47" creationId="{261464AB-8DF9-1D3A-DBE3-98AA08A3246A}"/>
          </ac:spMkLst>
        </pc:spChg>
        <pc:spChg chg="add mod">
          <ac:chgData name="Veniero Facchetti" userId="f2c6c99af91c4974" providerId="LiveId" clId="{34DF7D6B-EB0F-4B53-B080-BB8D6F5C3D93}" dt="2024-05-10T16:02:49.294" v="579" actId="1076"/>
          <ac:spMkLst>
            <pc:docMk/>
            <pc:sldMk cId="2786795598" sldId="348"/>
            <ac:spMk id="48" creationId="{07AC59D1-1337-8675-7228-7D59DCF82550}"/>
          </ac:spMkLst>
        </pc:spChg>
        <pc:spChg chg="add mod">
          <ac:chgData name="Veniero Facchetti" userId="f2c6c99af91c4974" providerId="LiveId" clId="{34DF7D6B-EB0F-4B53-B080-BB8D6F5C3D93}" dt="2024-05-10T16:02:58.811" v="581" actId="1076"/>
          <ac:spMkLst>
            <pc:docMk/>
            <pc:sldMk cId="2786795598" sldId="348"/>
            <ac:spMk id="49" creationId="{AA971486-F450-2EE2-6FAA-439669E73D34}"/>
          </ac:spMkLst>
        </pc:spChg>
        <pc:spChg chg="add mod">
          <ac:chgData name="Veniero Facchetti" userId="f2c6c99af91c4974" providerId="LiveId" clId="{34DF7D6B-EB0F-4B53-B080-BB8D6F5C3D93}" dt="2024-05-10T16:02:58.811" v="581" actId="1076"/>
          <ac:spMkLst>
            <pc:docMk/>
            <pc:sldMk cId="2786795598" sldId="348"/>
            <ac:spMk id="50" creationId="{61EB7D08-3575-39AD-2687-1746EBC07438}"/>
          </ac:spMkLst>
        </pc:spChg>
        <pc:spChg chg="add mod">
          <ac:chgData name="Veniero Facchetti" userId="f2c6c99af91c4974" providerId="LiveId" clId="{34DF7D6B-EB0F-4B53-B080-BB8D6F5C3D93}" dt="2024-05-10T16:02:49.294" v="579" actId="1076"/>
          <ac:spMkLst>
            <pc:docMk/>
            <pc:sldMk cId="2786795598" sldId="348"/>
            <ac:spMk id="51" creationId="{D6EAEA28-C72C-C02C-C940-A0C61D25919F}"/>
          </ac:spMkLst>
        </pc:spChg>
        <pc:spChg chg="mod">
          <ac:chgData name="Veniero Facchetti" userId="f2c6c99af91c4974" providerId="LiveId" clId="{34DF7D6B-EB0F-4B53-B080-BB8D6F5C3D93}" dt="2024-05-10T16:01:59.295" v="567"/>
          <ac:spMkLst>
            <pc:docMk/>
            <pc:sldMk cId="2786795598" sldId="348"/>
            <ac:spMk id="53" creationId="{43872DD0-F959-DBE6-AF86-CD43D36C0165}"/>
          </ac:spMkLst>
        </pc:spChg>
        <pc:spChg chg="mod">
          <ac:chgData name="Veniero Facchetti" userId="f2c6c99af91c4974" providerId="LiveId" clId="{34DF7D6B-EB0F-4B53-B080-BB8D6F5C3D93}" dt="2024-05-10T16:01:59.295" v="567"/>
          <ac:spMkLst>
            <pc:docMk/>
            <pc:sldMk cId="2786795598" sldId="348"/>
            <ac:spMk id="54" creationId="{4B34CC95-14F7-E231-B062-843E4B60C601}"/>
          </ac:spMkLst>
        </pc:spChg>
        <pc:grpChg chg="add mod">
          <ac:chgData name="Veniero Facchetti" userId="f2c6c99af91c4974" providerId="LiveId" clId="{34DF7D6B-EB0F-4B53-B080-BB8D6F5C3D93}" dt="2024-05-10T16:02:49.294" v="579" actId="1076"/>
          <ac:grpSpMkLst>
            <pc:docMk/>
            <pc:sldMk cId="2786795598" sldId="348"/>
            <ac:grpSpMk id="24" creationId="{8585634E-3452-F014-1396-366663ED0A1E}"/>
          </ac:grpSpMkLst>
        </pc:grpChg>
        <pc:grpChg chg="add mod">
          <ac:chgData name="Veniero Facchetti" userId="f2c6c99af91c4974" providerId="LiveId" clId="{34DF7D6B-EB0F-4B53-B080-BB8D6F5C3D93}" dt="2024-05-10T16:02:49.294" v="579" actId="1076"/>
          <ac:grpSpMkLst>
            <pc:docMk/>
            <pc:sldMk cId="2786795598" sldId="348"/>
            <ac:grpSpMk id="33" creationId="{7E9A7B9E-1FFE-874B-F169-F15E9DF31CED}"/>
          </ac:grpSpMkLst>
        </pc:grpChg>
        <pc:grpChg chg="add mod">
          <ac:chgData name="Veniero Facchetti" userId="f2c6c99af91c4974" providerId="LiveId" clId="{34DF7D6B-EB0F-4B53-B080-BB8D6F5C3D93}" dt="2024-05-10T16:01:59.295" v="567"/>
          <ac:grpSpMkLst>
            <pc:docMk/>
            <pc:sldMk cId="2786795598" sldId="348"/>
            <ac:grpSpMk id="52" creationId="{DEB68D98-5D12-9237-C0B5-374486385582}"/>
          </ac:grpSpMkLst>
        </pc:grpChg>
        <pc:graphicFrameChg chg="add mod">
          <ac:chgData name="Veniero Facchetti" userId="f2c6c99af91c4974" providerId="LiveId" clId="{34DF7D6B-EB0F-4B53-B080-BB8D6F5C3D93}" dt="2024-05-10T16:02:49.294" v="579" actId="1076"/>
          <ac:graphicFrameMkLst>
            <pc:docMk/>
            <pc:sldMk cId="2786795598" sldId="348"/>
            <ac:graphicFrameMk id="19" creationId="{F59CE0DF-4CEB-57D1-F68F-05C7267B7F24}"/>
          </ac:graphicFrameMkLst>
        </pc:graphicFrameChg>
        <pc:picChg chg="add mod">
          <ac:chgData name="Veniero Facchetti" userId="f2c6c99af91c4974" providerId="LiveId" clId="{34DF7D6B-EB0F-4B53-B080-BB8D6F5C3D93}" dt="2024-05-10T16:02:49.294" v="579" actId="1076"/>
          <ac:picMkLst>
            <pc:docMk/>
            <pc:sldMk cId="2786795598" sldId="348"/>
            <ac:picMk id="9" creationId="{797E11B1-F1F5-E554-3A12-248E5D49A888}"/>
          </ac:picMkLst>
        </pc:picChg>
        <pc:picChg chg="add mod">
          <ac:chgData name="Veniero Facchetti" userId="f2c6c99af91c4974" providerId="LiveId" clId="{34DF7D6B-EB0F-4B53-B080-BB8D6F5C3D93}" dt="2024-05-10T16:02:49.294" v="579" actId="1076"/>
          <ac:picMkLst>
            <pc:docMk/>
            <pc:sldMk cId="2786795598" sldId="348"/>
            <ac:picMk id="10" creationId="{3CEDF1D8-46C5-18EE-B291-F6BF4A169DBD}"/>
          </ac:picMkLst>
        </pc:picChg>
        <pc:picChg chg="add mod">
          <ac:chgData name="Veniero Facchetti" userId="f2c6c99af91c4974" providerId="LiveId" clId="{34DF7D6B-EB0F-4B53-B080-BB8D6F5C3D93}" dt="2024-05-10T16:02:49.294" v="579" actId="1076"/>
          <ac:picMkLst>
            <pc:docMk/>
            <pc:sldMk cId="2786795598" sldId="348"/>
            <ac:picMk id="11" creationId="{9ECB8919-019B-BDBE-1E9B-42B6B9D9D514}"/>
          </ac:picMkLst>
        </pc:picChg>
        <pc:picChg chg="add mod">
          <ac:chgData name="Veniero Facchetti" userId="f2c6c99af91c4974" providerId="LiveId" clId="{34DF7D6B-EB0F-4B53-B080-BB8D6F5C3D93}" dt="2024-05-10T16:02:49.294" v="579" actId="1076"/>
          <ac:picMkLst>
            <pc:docMk/>
            <pc:sldMk cId="2786795598" sldId="348"/>
            <ac:picMk id="27" creationId="{EF614B59-4604-73F4-C1FC-0DBE98E39255}"/>
          </ac:picMkLst>
        </pc:picChg>
        <pc:picChg chg="add mod">
          <ac:chgData name="Veniero Facchetti" userId="f2c6c99af91c4974" providerId="LiveId" clId="{34DF7D6B-EB0F-4B53-B080-BB8D6F5C3D93}" dt="2024-05-10T16:02:49.294" v="579" actId="1076"/>
          <ac:picMkLst>
            <pc:docMk/>
            <pc:sldMk cId="2786795598" sldId="348"/>
            <ac:picMk id="28" creationId="{F4C9911D-CC80-B004-7AD6-AB78DD3F5633}"/>
          </ac:picMkLst>
        </pc:picChg>
        <pc:picChg chg="add mod">
          <ac:chgData name="Veniero Facchetti" userId="f2c6c99af91c4974" providerId="LiveId" clId="{34DF7D6B-EB0F-4B53-B080-BB8D6F5C3D93}" dt="2024-05-10T16:02:49.294" v="579" actId="1076"/>
          <ac:picMkLst>
            <pc:docMk/>
            <pc:sldMk cId="2786795598" sldId="348"/>
            <ac:picMk id="29" creationId="{84FE2663-74B4-0081-52F0-146FC1E5DFC5}"/>
          </ac:picMkLst>
        </pc:picChg>
        <pc:picChg chg="add mod">
          <ac:chgData name="Veniero Facchetti" userId="f2c6c99af91c4974" providerId="LiveId" clId="{34DF7D6B-EB0F-4B53-B080-BB8D6F5C3D93}" dt="2024-05-10T16:02:49.294" v="579" actId="1076"/>
          <ac:picMkLst>
            <pc:docMk/>
            <pc:sldMk cId="2786795598" sldId="348"/>
            <ac:picMk id="30" creationId="{26E6C0C6-3E13-3C69-FB87-AFAE17A9DD41}"/>
          </ac:picMkLst>
        </pc:picChg>
        <pc:picChg chg="mod">
          <ac:chgData name="Veniero Facchetti" userId="f2c6c99af91c4974" providerId="LiveId" clId="{34DF7D6B-EB0F-4B53-B080-BB8D6F5C3D93}" dt="2024-05-10T16:01:59.295" v="567"/>
          <ac:picMkLst>
            <pc:docMk/>
            <pc:sldMk cId="2786795598" sldId="348"/>
            <ac:picMk id="34" creationId="{492E2384-04E1-E19A-C411-CB940D62E431}"/>
          </ac:picMkLst>
        </pc:picChg>
        <pc:picChg chg="add mod">
          <ac:chgData name="Veniero Facchetti" userId="f2c6c99af91c4974" providerId="LiveId" clId="{34DF7D6B-EB0F-4B53-B080-BB8D6F5C3D93}" dt="2024-05-10T16:02:49.294" v="579" actId="1076"/>
          <ac:picMkLst>
            <pc:docMk/>
            <pc:sldMk cId="2786795598" sldId="348"/>
            <ac:picMk id="44" creationId="{07EFEAE9-E08A-6FA7-9228-AE439BC06CC9}"/>
          </ac:picMkLst>
        </pc:picChg>
        <pc:picChg chg="add mod">
          <ac:chgData name="Veniero Facchetti" userId="f2c6c99af91c4974" providerId="LiveId" clId="{34DF7D6B-EB0F-4B53-B080-BB8D6F5C3D93}" dt="2024-05-10T16:02:49.294" v="579" actId="1076"/>
          <ac:picMkLst>
            <pc:docMk/>
            <pc:sldMk cId="2786795598" sldId="348"/>
            <ac:picMk id="45" creationId="{5633B5B3-084D-2FFA-6EB5-AF751C86908D}"/>
          </ac:picMkLst>
        </pc:picChg>
        <pc:cxnChg chg="add mod">
          <ac:chgData name="Veniero Facchetti" userId="f2c6c99af91c4974" providerId="LiveId" clId="{34DF7D6B-EB0F-4B53-B080-BB8D6F5C3D93}" dt="2024-05-10T16:02:49.294" v="579" actId="1076"/>
          <ac:cxnSpMkLst>
            <pc:docMk/>
            <pc:sldMk cId="2786795598" sldId="348"/>
            <ac:cxnSpMk id="12" creationId="{8EE05615-249D-6A9D-C17E-5F5B693AA2E7}"/>
          </ac:cxnSpMkLst>
        </pc:cxnChg>
        <pc:cxnChg chg="add mod">
          <ac:chgData name="Veniero Facchetti" userId="f2c6c99af91c4974" providerId="LiveId" clId="{34DF7D6B-EB0F-4B53-B080-BB8D6F5C3D93}" dt="2024-05-10T16:02:49.294" v="579" actId="1076"/>
          <ac:cxnSpMkLst>
            <pc:docMk/>
            <pc:sldMk cId="2786795598" sldId="348"/>
            <ac:cxnSpMk id="13" creationId="{2B9A6ED4-2C9E-8A95-3219-39EF649CB30A}"/>
          </ac:cxnSpMkLst>
        </pc:cxnChg>
        <pc:cxnChg chg="add mod">
          <ac:chgData name="Veniero Facchetti" userId="f2c6c99af91c4974" providerId="LiveId" clId="{34DF7D6B-EB0F-4B53-B080-BB8D6F5C3D93}" dt="2024-05-10T16:02:49.294" v="579" actId="1076"/>
          <ac:cxnSpMkLst>
            <pc:docMk/>
            <pc:sldMk cId="2786795598" sldId="348"/>
            <ac:cxnSpMk id="14" creationId="{99C74252-A744-807A-30B3-29AAF05D29CC}"/>
          </ac:cxnSpMkLst>
        </pc:cxnChg>
        <pc:cxnChg chg="add mod">
          <ac:chgData name="Veniero Facchetti" userId="f2c6c99af91c4974" providerId="LiveId" clId="{34DF7D6B-EB0F-4B53-B080-BB8D6F5C3D93}" dt="2024-05-10T16:02:49.294" v="579" actId="1076"/>
          <ac:cxnSpMkLst>
            <pc:docMk/>
            <pc:sldMk cId="2786795598" sldId="348"/>
            <ac:cxnSpMk id="15" creationId="{7E8DEE1D-26C0-02CB-26BD-0EEE8BE59752}"/>
          </ac:cxnSpMkLst>
        </pc:cxnChg>
        <pc:cxnChg chg="add mod">
          <ac:chgData name="Veniero Facchetti" userId="f2c6c99af91c4974" providerId="LiveId" clId="{34DF7D6B-EB0F-4B53-B080-BB8D6F5C3D93}" dt="2024-05-10T16:02:49.294" v="579" actId="1076"/>
          <ac:cxnSpMkLst>
            <pc:docMk/>
            <pc:sldMk cId="2786795598" sldId="348"/>
            <ac:cxnSpMk id="16" creationId="{C61D506B-394C-F9EC-B4E9-A6555BB3C4D4}"/>
          </ac:cxnSpMkLst>
        </pc:cxnChg>
        <pc:cxnChg chg="add mod">
          <ac:chgData name="Veniero Facchetti" userId="f2c6c99af91c4974" providerId="LiveId" clId="{34DF7D6B-EB0F-4B53-B080-BB8D6F5C3D93}" dt="2024-05-10T16:02:49.294" v="579" actId="1076"/>
          <ac:cxnSpMkLst>
            <pc:docMk/>
            <pc:sldMk cId="2786795598" sldId="348"/>
            <ac:cxnSpMk id="17" creationId="{511E1CF6-F207-A112-938F-ABB8977F6E37}"/>
          </ac:cxnSpMkLst>
        </pc:cxnChg>
        <pc:cxnChg chg="add mod">
          <ac:chgData name="Veniero Facchetti" userId="f2c6c99af91c4974" providerId="LiveId" clId="{34DF7D6B-EB0F-4B53-B080-BB8D6F5C3D93}" dt="2024-05-10T16:02:49.294" v="579" actId="1076"/>
          <ac:cxnSpMkLst>
            <pc:docMk/>
            <pc:sldMk cId="2786795598" sldId="348"/>
            <ac:cxnSpMk id="18" creationId="{6952CBA2-87D0-77E2-8D34-91DB7F940555}"/>
          </ac:cxnSpMkLst>
        </pc:cxnChg>
        <pc:cxnChg chg="mod">
          <ac:chgData name="Veniero Facchetti" userId="f2c6c99af91c4974" providerId="LiveId" clId="{34DF7D6B-EB0F-4B53-B080-BB8D6F5C3D93}" dt="2024-05-10T16:01:59.295" v="567"/>
          <ac:cxnSpMkLst>
            <pc:docMk/>
            <pc:sldMk cId="2786795598" sldId="348"/>
            <ac:cxnSpMk id="25" creationId="{EF4A85FF-2140-24E3-A0E0-E73C07362FDE}"/>
          </ac:cxnSpMkLst>
        </pc:cxnChg>
        <pc:cxnChg chg="mod">
          <ac:chgData name="Veniero Facchetti" userId="f2c6c99af91c4974" providerId="LiveId" clId="{34DF7D6B-EB0F-4B53-B080-BB8D6F5C3D93}" dt="2024-05-10T16:01:59.295" v="567"/>
          <ac:cxnSpMkLst>
            <pc:docMk/>
            <pc:sldMk cId="2786795598" sldId="348"/>
            <ac:cxnSpMk id="26" creationId="{3121FF00-F8C5-24E1-27DB-DFED74773A90}"/>
          </ac:cxnSpMkLst>
        </pc:cxnChg>
        <pc:cxnChg chg="add mod">
          <ac:chgData name="Veniero Facchetti" userId="f2c6c99af91c4974" providerId="LiveId" clId="{34DF7D6B-EB0F-4B53-B080-BB8D6F5C3D93}" dt="2024-05-10T16:02:49.294" v="579" actId="1076"/>
          <ac:cxnSpMkLst>
            <pc:docMk/>
            <pc:sldMk cId="2786795598" sldId="348"/>
            <ac:cxnSpMk id="36" creationId="{6A884A68-8144-6F22-36A0-EE1DAE321DE5}"/>
          </ac:cxnSpMkLst>
        </pc:cxnChg>
        <pc:cxnChg chg="add mod">
          <ac:chgData name="Veniero Facchetti" userId="f2c6c99af91c4974" providerId="LiveId" clId="{34DF7D6B-EB0F-4B53-B080-BB8D6F5C3D93}" dt="2024-05-10T16:02:49.294" v="579" actId="1076"/>
          <ac:cxnSpMkLst>
            <pc:docMk/>
            <pc:sldMk cId="2786795598" sldId="348"/>
            <ac:cxnSpMk id="43" creationId="{07ED3B31-E6EA-5539-70E4-4D58C19BA076}"/>
          </ac:cxnSpMkLst>
        </pc:cxnChg>
      </pc:sldChg>
      <pc:sldChg chg="addSp modSp new mod">
        <pc:chgData name="Veniero Facchetti" userId="f2c6c99af91c4974" providerId="LiveId" clId="{34DF7D6B-EB0F-4B53-B080-BB8D6F5C3D93}" dt="2024-05-10T16:03:54.571" v="598" actId="1076"/>
        <pc:sldMkLst>
          <pc:docMk/>
          <pc:sldMk cId="3297894908" sldId="349"/>
        </pc:sldMkLst>
        <pc:spChg chg="add mod">
          <ac:chgData name="Veniero Facchetti" userId="f2c6c99af91c4974" providerId="LiveId" clId="{34DF7D6B-EB0F-4B53-B080-BB8D6F5C3D93}" dt="2024-05-10T16:03:50.470" v="597" actId="403"/>
          <ac:spMkLst>
            <pc:docMk/>
            <pc:sldMk cId="3297894908" sldId="349"/>
            <ac:spMk id="2" creationId="{FC2CE688-9BA4-4809-8B30-91D0CC22D521}"/>
          </ac:spMkLst>
        </pc:spChg>
        <pc:spChg chg="add mod">
          <ac:chgData name="Veniero Facchetti" userId="f2c6c99af91c4974" providerId="LiveId" clId="{34DF7D6B-EB0F-4B53-B080-BB8D6F5C3D93}" dt="2024-05-10T16:03:37.431" v="591" actId="1076"/>
          <ac:spMkLst>
            <pc:docMk/>
            <pc:sldMk cId="3297894908" sldId="349"/>
            <ac:spMk id="3" creationId="{855D0D74-5099-DCF3-73DC-958E5CC1894D}"/>
          </ac:spMkLst>
        </pc:spChg>
        <pc:spChg chg="add mod">
          <ac:chgData name="Veniero Facchetti" userId="f2c6c99af91c4974" providerId="LiveId" clId="{34DF7D6B-EB0F-4B53-B080-BB8D6F5C3D93}" dt="2024-05-10T16:03:37.431" v="591" actId="1076"/>
          <ac:spMkLst>
            <pc:docMk/>
            <pc:sldMk cId="3297894908" sldId="349"/>
            <ac:spMk id="7" creationId="{75EC61B1-5DC4-830C-03A6-9CA2F0CC7C6D}"/>
          </ac:spMkLst>
        </pc:spChg>
        <pc:spChg chg="add mod">
          <ac:chgData name="Veniero Facchetti" userId="f2c6c99af91c4974" providerId="LiveId" clId="{34DF7D6B-EB0F-4B53-B080-BB8D6F5C3D93}" dt="2024-05-10T16:03:37.431" v="591" actId="1076"/>
          <ac:spMkLst>
            <pc:docMk/>
            <pc:sldMk cId="3297894908" sldId="349"/>
            <ac:spMk id="8" creationId="{DD636D1F-BD4F-3CB8-25E9-6A296C4BF890}"/>
          </ac:spMkLst>
        </pc:spChg>
        <pc:spChg chg="add mod">
          <ac:chgData name="Veniero Facchetti" userId="f2c6c99af91c4974" providerId="LiveId" clId="{34DF7D6B-EB0F-4B53-B080-BB8D6F5C3D93}" dt="2024-05-10T16:03:37.431" v="591" actId="1076"/>
          <ac:spMkLst>
            <pc:docMk/>
            <pc:sldMk cId="3297894908" sldId="349"/>
            <ac:spMk id="9" creationId="{24E308A2-060E-9D61-B6AA-8F8EFB3BCBAC}"/>
          </ac:spMkLst>
        </pc:spChg>
        <pc:spChg chg="add mod">
          <ac:chgData name="Veniero Facchetti" userId="f2c6c99af91c4974" providerId="LiveId" clId="{34DF7D6B-EB0F-4B53-B080-BB8D6F5C3D93}" dt="2024-05-10T16:03:37.431" v="591" actId="1076"/>
          <ac:spMkLst>
            <pc:docMk/>
            <pc:sldMk cId="3297894908" sldId="349"/>
            <ac:spMk id="10" creationId="{53011B61-13D1-B5A7-679B-638BB4F7ED36}"/>
          </ac:spMkLst>
        </pc:spChg>
        <pc:spChg chg="add mod">
          <ac:chgData name="Veniero Facchetti" userId="f2c6c99af91c4974" providerId="LiveId" clId="{34DF7D6B-EB0F-4B53-B080-BB8D6F5C3D93}" dt="2024-05-10T16:03:37.431" v="591" actId="1076"/>
          <ac:spMkLst>
            <pc:docMk/>
            <pc:sldMk cId="3297894908" sldId="349"/>
            <ac:spMk id="11" creationId="{FDB632FB-42E2-55E5-B16D-A7472B4FC7EE}"/>
          </ac:spMkLst>
        </pc:spChg>
        <pc:spChg chg="add mod">
          <ac:chgData name="Veniero Facchetti" userId="f2c6c99af91c4974" providerId="LiveId" clId="{34DF7D6B-EB0F-4B53-B080-BB8D6F5C3D93}" dt="2024-05-10T16:03:37.431" v="591" actId="1076"/>
          <ac:spMkLst>
            <pc:docMk/>
            <pc:sldMk cId="3297894908" sldId="349"/>
            <ac:spMk id="12" creationId="{90169356-4E88-904D-91E8-391FE8F13C5E}"/>
          </ac:spMkLst>
        </pc:spChg>
        <pc:spChg chg="add mod">
          <ac:chgData name="Veniero Facchetti" userId="f2c6c99af91c4974" providerId="LiveId" clId="{34DF7D6B-EB0F-4B53-B080-BB8D6F5C3D93}" dt="2024-05-10T16:03:37.431" v="591" actId="1076"/>
          <ac:spMkLst>
            <pc:docMk/>
            <pc:sldMk cId="3297894908" sldId="349"/>
            <ac:spMk id="13" creationId="{C58C92E8-00C6-C777-DF9F-DBBE4327D2C5}"/>
          </ac:spMkLst>
        </pc:spChg>
        <pc:spChg chg="add mod">
          <ac:chgData name="Veniero Facchetti" userId="f2c6c99af91c4974" providerId="LiveId" clId="{34DF7D6B-EB0F-4B53-B080-BB8D6F5C3D93}" dt="2024-05-10T16:03:37.431" v="591" actId="1076"/>
          <ac:spMkLst>
            <pc:docMk/>
            <pc:sldMk cId="3297894908" sldId="349"/>
            <ac:spMk id="15" creationId="{87BEAC2C-9D71-5A23-8AB6-79F8C5F38DF7}"/>
          </ac:spMkLst>
        </pc:spChg>
        <pc:spChg chg="add mod">
          <ac:chgData name="Veniero Facchetti" userId="f2c6c99af91c4974" providerId="LiveId" clId="{34DF7D6B-EB0F-4B53-B080-BB8D6F5C3D93}" dt="2024-05-10T16:03:37.431" v="591" actId="1076"/>
          <ac:spMkLst>
            <pc:docMk/>
            <pc:sldMk cId="3297894908" sldId="349"/>
            <ac:spMk id="16" creationId="{1DDE94DE-28EC-CB08-324C-B4AC96ED6ED8}"/>
          </ac:spMkLst>
        </pc:spChg>
        <pc:spChg chg="add mod">
          <ac:chgData name="Veniero Facchetti" userId="f2c6c99af91c4974" providerId="LiveId" clId="{34DF7D6B-EB0F-4B53-B080-BB8D6F5C3D93}" dt="2024-05-10T16:03:37.431" v="591" actId="1076"/>
          <ac:spMkLst>
            <pc:docMk/>
            <pc:sldMk cId="3297894908" sldId="349"/>
            <ac:spMk id="17" creationId="{B06FB644-098C-0134-E285-2E9D333FA028}"/>
          </ac:spMkLst>
        </pc:spChg>
        <pc:spChg chg="add mod">
          <ac:chgData name="Veniero Facchetti" userId="f2c6c99af91c4974" providerId="LiveId" clId="{34DF7D6B-EB0F-4B53-B080-BB8D6F5C3D93}" dt="2024-05-10T16:03:37.431" v="591" actId="1076"/>
          <ac:spMkLst>
            <pc:docMk/>
            <pc:sldMk cId="3297894908" sldId="349"/>
            <ac:spMk id="18" creationId="{7C89C22D-8FCE-32FC-5329-0081A3F43F48}"/>
          </ac:spMkLst>
        </pc:spChg>
        <pc:spChg chg="add mod">
          <ac:chgData name="Veniero Facchetti" userId="f2c6c99af91c4974" providerId="LiveId" clId="{34DF7D6B-EB0F-4B53-B080-BB8D6F5C3D93}" dt="2024-05-10T16:03:37.431" v="591" actId="1076"/>
          <ac:spMkLst>
            <pc:docMk/>
            <pc:sldMk cId="3297894908" sldId="349"/>
            <ac:spMk id="19" creationId="{34FEF2BA-D6F3-DB90-A2FF-D1AAD0AE6D40}"/>
          </ac:spMkLst>
        </pc:spChg>
        <pc:spChg chg="mod">
          <ac:chgData name="Veniero Facchetti" userId="f2c6c99af91c4974" providerId="LiveId" clId="{34DF7D6B-EB0F-4B53-B080-BB8D6F5C3D93}" dt="2024-05-10T16:03:15.719" v="583"/>
          <ac:spMkLst>
            <pc:docMk/>
            <pc:sldMk cId="3297894908" sldId="349"/>
            <ac:spMk id="21" creationId="{94265C8A-C87B-A62D-F56B-A7DE67FD888E}"/>
          </ac:spMkLst>
        </pc:spChg>
        <pc:spChg chg="mod">
          <ac:chgData name="Veniero Facchetti" userId="f2c6c99af91c4974" providerId="LiveId" clId="{34DF7D6B-EB0F-4B53-B080-BB8D6F5C3D93}" dt="2024-05-10T16:03:15.719" v="583"/>
          <ac:spMkLst>
            <pc:docMk/>
            <pc:sldMk cId="3297894908" sldId="349"/>
            <ac:spMk id="22" creationId="{77EAF63F-BE41-00C1-6DBA-F50B4A3E88C1}"/>
          </ac:spMkLst>
        </pc:spChg>
        <pc:spChg chg="add mod">
          <ac:chgData name="Veniero Facchetti" userId="f2c6c99af91c4974" providerId="LiveId" clId="{34DF7D6B-EB0F-4B53-B080-BB8D6F5C3D93}" dt="2024-05-10T16:03:37.431" v="591" actId="1076"/>
          <ac:spMkLst>
            <pc:docMk/>
            <pc:sldMk cId="3297894908" sldId="349"/>
            <ac:spMk id="24" creationId="{07E4DA0E-5D9E-1B9C-8ECD-CA002B97BD3A}"/>
          </ac:spMkLst>
        </pc:spChg>
        <pc:spChg chg="add mod">
          <ac:chgData name="Veniero Facchetti" userId="f2c6c99af91c4974" providerId="LiveId" clId="{34DF7D6B-EB0F-4B53-B080-BB8D6F5C3D93}" dt="2024-05-10T16:03:37.431" v="591" actId="1076"/>
          <ac:spMkLst>
            <pc:docMk/>
            <pc:sldMk cId="3297894908" sldId="349"/>
            <ac:spMk id="25" creationId="{AF3CA0B9-B368-CAA0-D2E9-3D3C2643ADD4}"/>
          </ac:spMkLst>
        </pc:spChg>
        <pc:spChg chg="add mod">
          <ac:chgData name="Veniero Facchetti" userId="f2c6c99af91c4974" providerId="LiveId" clId="{34DF7D6B-EB0F-4B53-B080-BB8D6F5C3D93}" dt="2024-05-10T16:03:37.431" v="591" actId="1076"/>
          <ac:spMkLst>
            <pc:docMk/>
            <pc:sldMk cId="3297894908" sldId="349"/>
            <ac:spMk id="26" creationId="{03613882-77D1-6923-0B81-F453A7D2AB00}"/>
          </ac:spMkLst>
        </pc:spChg>
        <pc:spChg chg="add mod">
          <ac:chgData name="Veniero Facchetti" userId="f2c6c99af91c4974" providerId="LiveId" clId="{34DF7D6B-EB0F-4B53-B080-BB8D6F5C3D93}" dt="2024-05-10T16:03:37.431" v="591" actId="1076"/>
          <ac:spMkLst>
            <pc:docMk/>
            <pc:sldMk cId="3297894908" sldId="349"/>
            <ac:spMk id="27" creationId="{FA934F77-3B6B-CE8A-07EA-3C6A8547CF82}"/>
          </ac:spMkLst>
        </pc:spChg>
        <pc:spChg chg="add mod">
          <ac:chgData name="Veniero Facchetti" userId="f2c6c99af91c4974" providerId="LiveId" clId="{34DF7D6B-EB0F-4B53-B080-BB8D6F5C3D93}" dt="2024-05-10T16:03:37.431" v="591" actId="1076"/>
          <ac:spMkLst>
            <pc:docMk/>
            <pc:sldMk cId="3297894908" sldId="349"/>
            <ac:spMk id="28" creationId="{F3C2674A-803D-8DD0-DC74-6426FE5150EC}"/>
          </ac:spMkLst>
        </pc:spChg>
        <pc:spChg chg="add mod">
          <ac:chgData name="Veniero Facchetti" userId="f2c6c99af91c4974" providerId="LiveId" clId="{34DF7D6B-EB0F-4B53-B080-BB8D6F5C3D93}" dt="2024-05-10T16:03:37.431" v="591" actId="1076"/>
          <ac:spMkLst>
            <pc:docMk/>
            <pc:sldMk cId="3297894908" sldId="349"/>
            <ac:spMk id="29" creationId="{B7456EB1-F882-2798-67DD-A43B0BE83622}"/>
          </ac:spMkLst>
        </pc:spChg>
        <pc:spChg chg="mod">
          <ac:chgData name="Veniero Facchetti" userId="f2c6c99af91c4974" providerId="LiveId" clId="{34DF7D6B-EB0F-4B53-B080-BB8D6F5C3D93}" dt="2024-05-10T16:03:15.719" v="583"/>
          <ac:spMkLst>
            <pc:docMk/>
            <pc:sldMk cId="3297894908" sldId="349"/>
            <ac:spMk id="31" creationId="{2A766A7E-DBA8-D584-87F5-06CBFA3DF273}"/>
          </ac:spMkLst>
        </pc:spChg>
        <pc:spChg chg="mod">
          <ac:chgData name="Veniero Facchetti" userId="f2c6c99af91c4974" providerId="LiveId" clId="{34DF7D6B-EB0F-4B53-B080-BB8D6F5C3D93}" dt="2024-05-10T16:03:15.719" v="583"/>
          <ac:spMkLst>
            <pc:docMk/>
            <pc:sldMk cId="3297894908" sldId="349"/>
            <ac:spMk id="32" creationId="{6F25C21B-6B11-FCA7-370F-A3CFB1860D28}"/>
          </ac:spMkLst>
        </pc:spChg>
        <pc:spChg chg="add mod">
          <ac:chgData name="Veniero Facchetti" userId="f2c6c99af91c4974" providerId="LiveId" clId="{34DF7D6B-EB0F-4B53-B080-BB8D6F5C3D93}" dt="2024-05-10T16:03:37.431" v="591" actId="1076"/>
          <ac:spMkLst>
            <pc:docMk/>
            <pc:sldMk cId="3297894908" sldId="349"/>
            <ac:spMk id="34" creationId="{EAAB0146-1CEC-AB1B-5530-1F8D873A1B1D}"/>
          </ac:spMkLst>
        </pc:spChg>
        <pc:spChg chg="add mod">
          <ac:chgData name="Veniero Facchetti" userId="f2c6c99af91c4974" providerId="LiveId" clId="{34DF7D6B-EB0F-4B53-B080-BB8D6F5C3D93}" dt="2024-05-10T16:03:37.431" v="591" actId="1076"/>
          <ac:spMkLst>
            <pc:docMk/>
            <pc:sldMk cId="3297894908" sldId="349"/>
            <ac:spMk id="35" creationId="{4DF2CDB0-E982-AB76-041B-C6AD24F80431}"/>
          </ac:spMkLst>
        </pc:spChg>
        <pc:spChg chg="add mod">
          <ac:chgData name="Veniero Facchetti" userId="f2c6c99af91c4974" providerId="LiveId" clId="{34DF7D6B-EB0F-4B53-B080-BB8D6F5C3D93}" dt="2024-05-10T16:03:37.431" v="591" actId="1076"/>
          <ac:spMkLst>
            <pc:docMk/>
            <pc:sldMk cId="3297894908" sldId="349"/>
            <ac:spMk id="36" creationId="{A518BE97-557F-7309-3DAE-7D4FE8ADC3E9}"/>
          </ac:spMkLst>
        </pc:spChg>
        <pc:spChg chg="add mod">
          <ac:chgData name="Veniero Facchetti" userId="f2c6c99af91c4974" providerId="LiveId" clId="{34DF7D6B-EB0F-4B53-B080-BB8D6F5C3D93}" dt="2024-05-10T16:03:37.431" v="591" actId="1076"/>
          <ac:spMkLst>
            <pc:docMk/>
            <pc:sldMk cId="3297894908" sldId="349"/>
            <ac:spMk id="37" creationId="{EB4A6477-D344-1E80-C5F2-761017CF36D8}"/>
          </ac:spMkLst>
        </pc:spChg>
        <pc:spChg chg="add mod">
          <ac:chgData name="Veniero Facchetti" userId="f2c6c99af91c4974" providerId="LiveId" clId="{34DF7D6B-EB0F-4B53-B080-BB8D6F5C3D93}" dt="2024-05-10T16:03:37.431" v="591" actId="1076"/>
          <ac:spMkLst>
            <pc:docMk/>
            <pc:sldMk cId="3297894908" sldId="349"/>
            <ac:spMk id="38" creationId="{C85C2C17-8209-6775-6007-6CA74567F106}"/>
          </ac:spMkLst>
        </pc:spChg>
        <pc:spChg chg="add mod">
          <ac:chgData name="Veniero Facchetti" userId="f2c6c99af91c4974" providerId="LiveId" clId="{34DF7D6B-EB0F-4B53-B080-BB8D6F5C3D93}" dt="2024-05-10T16:03:37.431" v="591" actId="1076"/>
          <ac:spMkLst>
            <pc:docMk/>
            <pc:sldMk cId="3297894908" sldId="349"/>
            <ac:spMk id="39" creationId="{C06373C7-BE5E-42CE-702A-BE095F0EA9EB}"/>
          </ac:spMkLst>
        </pc:spChg>
        <pc:spChg chg="mod">
          <ac:chgData name="Veniero Facchetti" userId="f2c6c99af91c4974" providerId="LiveId" clId="{34DF7D6B-EB0F-4B53-B080-BB8D6F5C3D93}" dt="2024-05-10T16:03:15.719" v="583"/>
          <ac:spMkLst>
            <pc:docMk/>
            <pc:sldMk cId="3297894908" sldId="349"/>
            <ac:spMk id="41" creationId="{79D5379A-F023-18F2-E6D8-A1B761DBC498}"/>
          </ac:spMkLst>
        </pc:spChg>
        <pc:spChg chg="mod">
          <ac:chgData name="Veniero Facchetti" userId="f2c6c99af91c4974" providerId="LiveId" clId="{34DF7D6B-EB0F-4B53-B080-BB8D6F5C3D93}" dt="2024-05-10T16:03:15.719" v="583"/>
          <ac:spMkLst>
            <pc:docMk/>
            <pc:sldMk cId="3297894908" sldId="349"/>
            <ac:spMk id="42" creationId="{6DA5E138-6E83-7C8C-C43E-BC74689CD3C0}"/>
          </ac:spMkLst>
        </pc:spChg>
        <pc:spChg chg="add mod">
          <ac:chgData name="Veniero Facchetti" userId="f2c6c99af91c4974" providerId="LiveId" clId="{34DF7D6B-EB0F-4B53-B080-BB8D6F5C3D93}" dt="2024-05-10T16:03:37.431" v="591" actId="1076"/>
          <ac:spMkLst>
            <pc:docMk/>
            <pc:sldMk cId="3297894908" sldId="349"/>
            <ac:spMk id="44" creationId="{72AEE0BE-30DB-65D4-8DF5-E8C0E1A5E637}"/>
          </ac:spMkLst>
        </pc:spChg>
        <pc:spChg chg="add mod">
          <ac:chgData name="Veniero Facchetti" userId="f2c6c99af91c4974" providerId="LiveId" clId="{34DF7D6B-EB0F-4B53-B080-BB8D6F5C3D93}" dt="2024-05-10T16:03:37.431" v="591" actId="1076"/>
          <ac:spMkLst>
            <pc:docMk/>
            <pc:sldMk cId="3297894908" sldId="349"/>
            <ac:spMk id="45" creationId="{70014F6C-D233-3313-DCE8-378167A49544}"/>
          </ac:spMkLst>
        </pc:spChg>
        <pc:spChg chg="add mod">
          <ac:chgData name="Veniero Facchetti" userId="f2c6c99af91c4974" providerId="LiveId" clId="{34DF7D6B-EB0F-4B53-B080-BB8D6F5C3D93}" dt="2024-05-10T16:03:37.431" v="591" actId="1076"/>
          <ac:spMkLst>
            <pc:docMk/>
            <pc:sldMk cId="3297894908" sldId="349"/>
            <ac:spMk id="46" creationId="{F03DEFA4-AC76-8031-6143-1A21E2F95117}"/>
          </ac:spMkLst>
        </pc:spChg>
        <pc:spChg chg="add mod">
          <ac:chgData name="Veniero Facchetti" userId="f2c6c99af91c4974" providerId="LiveId" clId="{34DF7D6B-EB0F-4B53-B080-BB8D6F5C3D93}" dt="2024-05-10T16:03:37.431" v="591" actId="1076"/>
          <ac:spMkLst>
            <pc:docMk/>
            <pc:sldMk cId="3297894908" sldId="349"/>
            <ac:spMk id="47" creationId="{9FE3A913-BDAC-CCE2-93FD-3E71FD08A4D5}"/>
          </ac:spMkLst>
        </pc:spChg>
        <pc:spChg chg="add mod">
          <ac:chgData name="Veniero Facchetti" userId="f2c6c99af91c4974" providerId="LiveId" clId="{34DF7D6B-EB0F-4B53-B080-BB8D6F5C3D93}" dt="2024-05-10T16:03:37.431" v="591" actId="1076"/>
          <ac:spMkLst>
            <pc:docMk/>
            <pc:sldMk cId="3297894908" sldId="349"/>
            <ac:spMk id="48" creationId="{E6C92932-E53E-B2D0-E93D-B6F21798BE1D}"/>
          </ac:spMkLst>
        </pc:spChg>
        <pc:spChg chg="add mod">
          <ac:chgData name="Veniero Facchetti" userId="f2c6c99af91c4974" providerId="LiveId" clId="{34DF7D6B-EB0F-4B53-B080-BB8D6F5C3D93}" dt="2024-05-10T16:03:37.431" v="591" actId="1076"/>
          <ac:spMkLst>
            <pc:docMk/>
            <pc:sldMk cId="3297894908" sldId="349"/>
            <ac:spMk id="49" creationId="{307DC377-DE5D-5846-FEE2-4E1F4713FBB3}"/>
          </ac:spMkLst>
        </pc:spChg>
        <pc:spChg chg="mod">
          <ac:chgData name="Veniero Facchetti" userId="f2c6c99af91c4974" providerId="LiveId" clId="{34DF7D6B-EB0F-4B53-B080-BB8D6F5C3D93}" dt="2024-05-10T16:03:15.719" v="583"/>
          <ac:spMkLst>
            <pc:docMk/>
            <pc:sldMk cId="3297894908" sldId="349"/>
            <ac:spMk id="51" creationId="{E97F92A2-3C0B-E15E-7F00-AD0F292F01DF}"/>
          </ac:spMkLst>
        </pc:spChg>
        <pc:spChg chg="mod">
          <ac:chgData name="Veniero Facchetti" userId="f2c6c99af91c4974" providerId="LiveId" clId="{34DF7D6B-EB0F-4B53-B080-BB8D6F5C3D93}" dt="2024-05-10T16:03:15.719" v="583"/>
          <ac:spMkLst>
            <pc:docMk/>
            <pc:sldMk cId="3297894908" sldId="349"/>
            <ac:spMk id="52" creationId="{B16A94F1-D591-90F3-672E-E9CB0C1A849F}"/>
          </ac:spMkLst>
        </pc:spChg>
        <pc:spChg chg="add mod">
          <ac:chgData name="Veniero Facchetti" userId="f2c6c99af91c4974" providerId="LiveId" clId="{34DF7D6B-EB0F-4B53-B080-BB8D6F5C3D93}" dt="2024-05-10T16:03:37.431" v="591" actId="1076"/>
          <ac:spMkLst>
            <pc:docMk/>
            <pc:sldMk cId="3297894908" sldId="349"/>
            <ac:spMk id="56" creationId="{2479CC7A-6823-1B74-D586-08E6C2B05B26}"/>
          </ac:spMkLst>
        </pc:spChg>
        <pc:spChg chg="add mod">
          <ac:chgData name="Veniero Facchetti" userId="f2c6c99af91c4974" providerId="LiveId" clId="{34DF7D6B-EB0F-4B53-B080-BB8D6F5C3D93}" dt="2024-05-10T16:03:37.431" v="591" actId="1076"/>
          <ac:spMkLst>
            <pc:docMk/>
            <pc:sldMk cId="3297894908" sldId="349"/>
            <ac:spMk id="57" creationId="{32D92FF5-CD37-6586-B6FB-63D1045BCF70}"/>
          </ac:spMkLst>
        </pc:spChg>
        <pc:spChg chg="add mod">
          <ac:chgData name="Veniero Facchetti" userId="f2c6c99af91c4974" providerId="LiveId" clId="{34DF7D6B-EB0F-4B53-B080-BB8D6F5C3D93}" dt="2024-05-10T16:03:37.431" v="591" actId="1076"/>
          <ac:spMkLst>
            <pc:docMk/>
            <pc:sldMk cId="3297894908" sldId="349"/>
            <ac:spMk id="58" creationId="{C343B961-AD07-1068-D0AF-E94A2C05FEF8}"/>
          </ac:spMkLst>
        </pc:spChg>
        <pc:spChg chg="add mod">
          <ac:chgData name="Veniero Facchetti" userId="f2c6c99af91c4974" providerId="LiveId" clId="{34DF7D6B-EB0F-4B53-B080-BB8D6F5C3D93}" dt="2024-05-10T16:03:37.431" v="591" actId="1076"/>
          <ac:spMkLst>
            <pc:docMk/>
            <pc:sldMk cId="3297894908" sldId="349"/>
            <ac:spMk id="59" creationId="{2430853A-34B3-1C97-C709-18EAD7805A0C}"/>
          </ac:spMkLst>
        </pc:spChg>
        <pc:spChg chg="add mod">
          <ac:chgData name="Veniero Facchetti" userId="f2c6c99af91c4974" providerId="LiveId" clId="{34DF7D6B-EB0F-4B53-B080-BB8D6F5C3D93}" dt="2024-05-10T16:03:37.431" v="591" actId="1076"/>
          <ac:spMkLst>
            <pc:docMk/>
            <pc:sldMk cId="3297894908" sldId="349"/>
            <ac:spMk id="60" creationId="{978524E9-2502-C584-3342-FD477071895F}"/>
          </ac:spMkLst>
        </pc:spChg>
        <pc:spChg chg="add mod">
          <ac:chgData name="Veniero Facchetti" userId="f2c6c99af91c4974" providerId="LiveId" clId="{34DF7D6B-EB0F-4B53-B080-BB8D6F5C3D93}" dt="2024-05-10T16:03:37.431" v="591" actId="1076"/>
          <ac:spMkLst>
            <pc:docMk/>
            <pc:sldMk cId="3297894908" sldId="349"/>
            <ac:spMk id="61" creationId="{0E51FC52-AD04-F383-AA64-12D3AFD76CB0}"/>
          </ac:spMkLst>
        </pc:spChg>
        <pc:spChg chg="mod">
          <ac:chgData name="Veniero Facchetti" userId="f2c6c99af91c4974" providerId="LiveId" clId="{34DF7D6B-EB0F-4B53-B080-BB8D6F5C3D93}" dt="2024-05-10T16:03:15.719" v="583"/>
          <ac:spMkLst>
            <pc:docMk/>
            <pc:sldMk cId="3297894908" sldId="349"/>
            <ac:spMk id="63" creationId="{811757BF-6D72-7D55-7647-A8E783B73282}"/>
          </ac:spMkLst>
        </pc:spChg>
        <pc:spChg chg="mod">
          <ac:chgData name="Veniero Facchetti" userId="f2c6c99af91c4974" providerId="LiveId" clId="{34DF7D6B-EB0F-4B53-B080-BB8D6F5C3D93}" dt="2024-05-10T16:03:15.719" v="583"/>
          <ac:spMkLst>
            <pc:docMk/>
            <pc:sldMk cId="3297894908" sldId="349"/>
            <ac:spMk id="64" creationId="{26282A4E-BBBC-963B-9B3E-050322871DF5}"/>
          </ac:spMkLst>
        </pc:spChg>
        <pc:spChg chg="add mod">
          <ac:chgData name="Veniero Facchetti" userId="f2c6c99af91c4974" providerId="LiveId" clId="{34DF7D6B-EB0F-4B53-B080-BB8D6F5C3D93}" dt="2024-05-10T16:03:54.571" v="598" actId="1076"/>
          <ac:spMkLst>
            <pc:docMk/>
            <pc:sldMk cId="3297894908" sldId="349"/>
            <ac:spMk id="65" creationId="{341EACCC-01C2-FBD7-F0FA-4748EAAD4586}"/>
          </ac:spMkLst>
        </pc:spChg>
        <pc:spChg chg="add mod">
          <ac:chgData name="Veniero Facchetti" userId="f2c6c99af91c4974" providerId="LiveId" clId="{34DF7D6B-EB0F-4B53-B080-BB8D6F5C3D93}" dt="2024-05-10T16:03:40.108" v="592" actId="1076"/>
          <ac:spMkLst>
            <pc:docMk/>
            <pc:sldMk cId="3297894908" sldId="349"/>
            <ac:spMk id="66" creationId="{0E9638F4-3BE9-1723-B324-6BB114247D36}"/>
          </ac:spMkLst>
        </pc:spChg>
        <pc:spChg chg="mod">
          <ac:chgData name="Veniero Facchetti" userId="f2c6c99af91c4974" providerId="LiveId" clId="{34DF7D6B-EB0F-4B53-B080-BB8D6F5C3D93}" dt="2024-05-10T16:03:15.719" v="583"/>
          <ac:spMkLst>
            <pc:docMk/>
            <pc:sldMk cId="3297894908" sldId="349"/>
            <ac:spMk id="68" creationId="{3331D364-02CF-90A8-4592-F6D2DCB6F484}"/>
          </ac:spMkLst>
        </pc:spChg>
        <pc:spChg chg="mod">
          <ac:chgData name="Veniero Facchetti" userId="f2c6c99af91c4974" providerId="LiveId" clId="{34DF7D6B-EB0F-4B53-B080-BB8D6F5C3D93}" dt="2024-05-10T16:03:15.719" v="583"/>
          <ac:spMkLst>
            <pc:docMk/>
            <pc:sldMk cId="3297894908" sldId="349"/>
            <ac:spMk id="69" creationId="{B08D6724-1E08-DBE9-F3EA-A6A30AE89F37}"/>
          </ac:spMkLst>
        </pc:spChg>
        <pc:grpChg chg="add mod">
          <ac:chgData name="Veniero Facchetti" userId="f2c6c99af91c4974" providerId="LiveId" clId="{34DF7D6B-EB0F-4B53-B080-BB8D6F5C3D93}" dt="2024-05-10T16:03:37.431" v="591" actId="1076"/>
          <ac:grpSpMkLst>
            <pc:docMk/>
            <pc:sldMk cId="3297894908" sldId="349"/>
            <ac:grpSpMk id="20" creationId="{843FEE17-CCF1-FE30-4784-044353C54057}"/>
          </ac:grpSpMkLst>
        </pc:grpChg>
        <pc:grpChg chg="add mod">
          <ac:chgData name="Veniero Facchetti" userId="f2c6c99af91c4974" providerId="LiveId" clId="{34DF7D6B-EB0F-4B53-B080-BB8D6F5C3D93}" dt="2024-05-10T16:03:37.431" v="591" actId="1076"/>
          <ac:grpSpMkLst>
            <pc:docMk/>
            <pc:sldMk cId="3297894908" sldId="349"/>
            <ac:grpSpMk id="30" creationId="{3ED0C5E5-E60A-16AF-922A-3C9DE8960507}"/>
          </ac:grpSpMkLst>
        </pc:grpChg>
        <pc:grpChg chg="add mod">
          <ac:chgData name="Veniero Facchetti" userId="f2c6c99af91c4974" providerId="LiveId" clId="{34DF7D6B-EB0F-4B53-B080-BB8D6F5C3D93}" dt="2024-05-10T16:03:37.431" v="591" actId="1076"/>
          <ac:grpSpMkLst>
            <pc:docMk/>
            <pc:sldMk cId="3297894908" sldId="349"/>
            <ac:grpSpMk id="40" creationId="{35C33AF3-61EA-8CE8-9AD7-C5F0E01D0DA4}"/>
          </ac:grpSpMkLst>
        </pc:grpChg>
        <pc:grpChg chg="add mod">
          <ac:chgData name="Veniero Facchetti" userId="f2c6c99af91c4974" providerId="LiveId" clId="{34DF7D6B-EB0F-4B53-B080-BB8D6F5C3D93}" dt="2024-05-10T16:03:37.431" v="591" actId="1076"/>
          <ac:grpSpMkLst>
            <pc:docMk/>
            <pc:sldMk cId="3297894908" sldId="349"/>
            <ac:grpSpMk id="50" creationId="{B6D4E1C0-9E18-3286-FEA7-05022FFE0051}"/>
          </ac:grpSpMkLst>
        </pc:grpChg>
        <pc:grpChg chg="add mod">
          <ac:chgData name="Veniero Facchetti" userId="f2c6c99af91c4974" providerId="LiveId" clId="{34DF7D6B-EB0F-4B53-B080-BB8D6F5C3D93}" dt="2024-05-10T16:03:37.431" v="591" actId="1076"/>
          <ac:grpSpMkLst>
            <pc:docMk/>
            <pc:sldMk cId="3297894908" sldId="349"/>
            <ac:grpSpMk id="53" creationId="{923B417E-6034-9CC4-6801-A7629E19EB75}"/>
          </ac:grpSpMkLst>
        </pc:grpChg>
        <pc:grpChg chg="add mod">
          <ac:chgData name="Veniero Facchetti" userId="f2c6c99af91c4974" providerId="LiveId" clId="{34DF7D6B-EB0F-4B53-B080-BB8D6F5C3D93}" dt="2024-05-10T16:03:37.431" v="591" actId="1076"/>
          <ac:grpSpMkLst>
            <pc:docMk/>
            <pc:sldMk cId="3297894908" sldId="349"/>
            <ac:grpSpMk id="62" creationId="{46E0A729-7E63-22FC-DC1A-519741819CCE}"/>
          </ac:grpSpMkLst>
        </pc:grpChg>
        <pc:grpChg chg="add mod">
          <ac:chgData name="Veniero Facchetti" userId="f2c6c99af91c4974" providerId="LiveId" clId="{34DF7D6B-EB0F-4B53-B080-BB8D6F5C3D93}" dt="2024-05-10T16:03:15.719" v="583"/>
          <ac:grpSpMkLst>
            <pc:docMk/>
            <pc:sldMk cId="3297894908" sldId="349"/>
            <ac:grpSpMk id="67" creationId="{AEC2F24A-74CD-CC0B-9C21-C4AFB203AC62}"/>
          </ac:grpSpMkLst>
        </pc:grpChg>
        <pc:picChg chg="add mod">
          <ac:chgData name="Veniero Facchetti" userId="f2c6c99af91c4974" providerId="LiveId" clId="{34DF7D6B-EB0F-4B53-B080-BB8D6F5C3D93}" dt="2024-05-10T16:03:37.431" v="591" actId="1076"/>
          <ac:picMkLst>
            <pc:docMk/>
            <pc:sldMk cId="3297894908" sldId="349"/>
            <ac:picMk id="14" creationId="{CA89BCAA-79E7-E701-31A3-EEAB7B16AC56}"/>
          </ac:picMkLst>
        </pc:picChg>
        <pc:picChg chg="add mod">
          <ac:chgData name="Veniero Facchetti" userId="f2c6c99af91c4974" providerId="LiveId" clId="{34DF7D6B-EB0F-4B53-B080-BB8D6F5C3D93}" dt="2024-05-10T16:03:37.431" v="591" actId="1076"/>
          <ac:picMkLst>
            <pc:docMk/>
            <pc:sldMk cId="3297894908" sldId="349"/>
            <ac:picMk id="23" creationId="{7872C0FF-269E-C6F2-F1DE-70245A769BE6}"/>
          </ac:picMkLst>
        </pc:picChg>
        <pc:picChg chg="add mod">
          <ac:chgData name="Veniero Facchetti" userId="f2c6c99af91c4974" providerId="LiveId" clId="{34DF7D6B-EB0F-4B53-B080-BB8D6F5C3D93}" dt="2024-05-10T16:03:37.431" v="591" actId="1076"/>
          <ac:picMkLst>
            <pc:docMk/>
            <pc:sldMk cId="3297894908" sldId="349"/>
            <ac:picMk id="33" creationId="{52BB8FFA-3F22-3201-4828-C75D61A32146}"/>
          </ac:picMkLst>
        </pc:picChg>
        <pc:picChg chg="add mod">
          <ac:chgData name="Veniero Facchetti" userId="f2c6c99af91c4974" providerId="LiveId" clId="{34DF7D6B-EB0F-4B53-B080-BB8D6F5C3D93}" dt="2024-05-10T16:03:37.431" v="591" actId="1076"/>
          <ac:picMkLst>
            <pc:docMk/>
            <pc:sldMk cId="3297894908" sldId="349"/>
            <ac:picMk id="43" creationId="{E59C8976-984B-37E6-7278-E336CCFDA262}"/>
          </ac:picMkLst>
        </pc:picChg>
        <pc:picChg chg="mod">
          <ac:chgData name="Veniero Facchetti" userId="f2c6c99af91c4974" providerId="LiveId" clId="{34DF7D6B-EB0F-4B53-B080-BB8D6F5C3D93}" dt="2024-05-10T16:03:15.719" v="583"/>
          <ac:picMkLst>
            <pc:docMk/>
            <pc:sldMk cId="3297894908" sldId="349"/>
            <ac:picMk id="54" creationId="{8B228C49-0668-CC48-1B08-091523332125}"/>
          </ac:picMkLst>
        </pc:picChg>
        <pc:picChg chg="mod">
          <ac:chgData name="Veniero Facchetti" userId="f2c6c99af91c4974" providerId="LiveId" clId="{34DF7D6B-EB0F-4B53-B080-BB8D6F5C3D93}" dt="2024-05-10T16:03:15.719" v="583"/>
          <ac:picMkLst>
            <pc:docMk/>
            <pc:sldMk cId="3297894908" sldId="349"/>
            <ac:picMk id="55" creationId="{A8FEFD1D-97D4-27F1-76E6-E937D2128404}"/>
          </ac:picMkLst>
        </pc:picChg>
        <pc:cxnChg chg="add mod">
          <ac:chgData name="Veniero Facchetti" userId="f2c6c99af91c4974" providerId="LiveId" clId="{34DF7D6B-EB0F-4B53-B080-BB8D6F5C3D93}" dt="2024-05-10T16:03:37.431" v="591" actId="1076"/>
          <ac:cxnSpMkLst>
            <pc:docMk/>
            <pc:sldMk cId="3297894908" sldId="349"/>
            <ac:cxnSpMk id="4" creationId="{3CFBC1CF-5461-B10B-CD3B-20DD6C5C9E0D}"/>
          </ac:cxnSpMkLst>
        </pc:cxnChg>
        <pc:cxnChg chg="add mod">
          <ac:chgData name="Veniero Facchetti" userId="f2c6c99af91c4974" providerId="LiveId" clId="{34DF7D6B-EB0F-4B53-B080-BB8D6F5C3D93}" dt="2024-05-10T16:03:37.431" v="591" actId="1076"/>
          <ac:cxnSpMkLst>
            <pc:docMk/>
            <pc:sldMk cId="3297894908" sldId="349"/>
            <ac:cxnSpMk id="5" creationId="{63BCEA6E-3606-7C3B-FFF0-61174F6B1823}"/>
          </ac:cxnSpMkLst>
        </pc:cxnChg>
        <pc:cxnChg chg="add mod">
          <ac:chgData name="Veniero Facchetti" userId="f2c6c99af91c4974" providerId="LiveId" clId="{34DF7D6B-EB0F-4B53-B080-BB8D6F5C3D93}" dt="2024-05-10T16:03:37.431" v="591" actId="1076"/>
          <ac:cxnSpMkLst>
            <pc:docMk/>
            <pc:sldMk cId="3297894908" sldId="349"/>
            <ac:cxnSpMk id="6" creationId="{73367557-75D9-E02B-6942-6FD1562B0CD2}"/>
          </ac:cxnSpMkLst>
        </pc:cxnChg>
      </pc:sldChg>
      <pc:sldChg chg="addSp modSp new mod">
        <pc:chgData name="Veniero Facchetti" userId="f2c6c99af91c4974" providerId="LiveId" clId="{34DF7D6B-EB0F-4B53-B080-BB8D6F5C3D93}" dt="2024-05-10T16:05:24.019" v="619" actId="1076"/>
        <pc:sldMkLst>
          <pc:docMk/>
          <pc:sldMk cId="703791636" sldId="350"/>
        </pc:sldMkLst>
        <pc:spChg chg="add mod">
          <ac:chgData name="Veniero Facchetti" userId="f2c6c99af91c4974" providerId="LiveId" clId="{34DF7D6B-EB0F-4B53-B080-BB8D6F5C3D93}" dt="2024-05-10T16:05:19.669" v="618" actId="404"/>
          <ac:spMkLst>
            <pc:docMk/>
            <pc:sldMk cId="703791636" sldId="350"/>
            <ac:spMk id="2" creationId="{0F137471-BA50-DD41-6B78-BFE3A3539276}"/>
          </ac:spMkLst>
        </pc:spChg>
        <pc:spChg chg="add mod">
          <ac:chgData name="Veniero Facchetti" userId="f2c6c99af91c4974" providerId="LiveId" clId="{34DF7D6B-EB0F-4B53-B080-BB8D6F5C3D93}" dt="2024-05-10T16:04:58.748" v="616" actId="1076"/>
          <ac:spMkLst>
            <pc:docMk/>
            <pc:sldMk cId="703791636" sldId="350"/>
            <ac:spMk id="3" creationId="{41090A6F-17B1-12D3-01D4-C31625D909CC}"/>
          </ac:spMkLst>
        </pc:spChg>
        <pc:spChg chg="add mod">
          <ac:chgData name="Veniero Facchetti" userId="f2c6c99af91c4974" providerId="LiveId" clId="{34DF7D6B-EB0F-4B53-B080-BB8D6F5C3D93}" dt="2024-05-10T16:04:31.454" v="607" actId="1076"/>
          <ac:spMkLst>
            <pc:docMk/>
            <pc:sldMk cId="703791636" sldId="350"/>
            <ac:spMk id="4" creationId="{18FD3259-2209-A730-EBBB-EF50BC981552}"/>
          </ac:spMkLst>
        </pc:spChg>
        <pc:spChg chg="add mod">
          <ac:chgData name="Veniero Facchetti" userId="f2c6c99af91c4974" providerId="LiveId" clId="{34DF7D6B-EB0F-4B53-B080-BB8D6F5C3D93}" dt="2024-05-10T16:04:31.454" v="607" actId="1076"/>
          <ac:spMkLst>
            <pc:docMk/>
            <pc:sldMk cId="703791636" sldId="350"/>
            <ac:spMk id="6" creationId="{B2D120E7-CC57-363B-E0FF-F7117B1E414E}"/>
          </ac:spMkLst>
        </pc:spChg>
        <pc:spChg chg="add mod">
          <ac:chgData name="Veniero Facchetti" userId="f2c6c99af91c4974" providerId="LiveId" clId="{34DF7D6B-EB0F-4B53-B080-BB8D6F5C3D93}" dt="2024-05-10T16:04:31.454" v="607" actId="1076"/>
          <ac:spMkLst>
            <pc:docMk/>
            <pc:sldMk cId="703791636" sldId="350"/>
            <ac:spMk id="7" creationId="{D0F6FC85-19CA-C8FF-4975-A5D13316936D}"/>
          </ac:spMkLst>
        </pc:spChg>
        <pc:spChg chg="add mod">
          <ac:chgData name="Veniero Facchetti" userId="f2c6c99af91c4974" providerId="LiveId" clId="{34DF7D6B-EB0F-4B53-B080-BB8D6F5C3D93}" dt="2024-05-10T16:04:31.454" v="607" actId="1076"/>
          <ac:spMkLst>
            <pc:docMk/>
            <pc:sldMk cId="703791636" sldId="350"/>
            <ac:spMk id="8" creationId="{7DC82142-D17B-AA8F-DB27-650B0853C924}"/>
          </ac:spMkLst>
        </pc:spChg>
        <pc:spChg chg="add mod">
          <ac:chgData name="Veniero Facchetti" userId="f2c6c99af91c4974" providerId="LiveId" clId="{34DF7D6B-EB0F-4B53-B080-BB8D6F5C3D93}" dt="2024-05-10T16:04:31.454" v="607" actId="1076"/>
          <ac:spMkLst>
            <pc:docMk/>
            <pc:sldMk cId="703791636" sldId="350"/>
            <ac:spMk id="9" creationId="{3A15ED70-35BC-DB1F-9258-18E2C3B78454}"/>
          </ac:spMkLst>
        </pc:spChg>
        <pc:spChg chg="add mod">
          <ac:chgData name="Veniero Facchetti" userId="f2c6c99af91c4974" providerId="LiveId" clId="{34DF7D6B-EB0F-4B53-B080-BB8D6F5C3D93}" dt="2024-05-10T16:04:31.454" v="607" actId="1076"/>
          <ac:spMkLst>
            <pc:docMk/>
            <pc:sldMk cId="703791636" sldId="350"/>
            <ac:spMk id="10" creationId="{194F71F9-D922-8AE1-E6E8-C8FBB57849FB}"/>
          </ac:spMkLst>
        </pc:spChg>
        <pc:spChg chg="add mod">
          <ac:chgData name="Veniero Facchetti" userId="f2c6c99af91c4974" providerId="LiveId" clId="{34DF7D6B-EB0F-4B53-B080-BB8D6F5C3D93}" dt="2024-05-10T16:04:31.454" v="607" actId="1076"/>
          <ac:spMkLst>
            <pc:docMk/>
            <pc:sldMk cId="703791636" sldId="350"/>
            <ac:spMk id="12" creationId="{2F5C6F6B-6B95-1026-AC59-59F551844B35}"/>
          </ac:spMkLst>
        </pc:spChg>
        <pc:spChg chg="add mod">
          <ac:chgData name="Veniero Facchetti" userId="f2c6c99af91c4974" providerId="LiveId" clId="{34DF7D6B-EB0F-4B53-B080-BB8D6F5C3D93}" dt="2024-05-10T16:04:31.454" v="607" actId="1076"/>
          <ac:spMkLst>
            <pc:docMk/>
            <pc:sldMk cId="703791636" sldId="350"/>
            <ac:spMk id="13" creationId="{49DDC74A-88EA-E8CF-7B63-9A4A36916155}"/>
          </ac:spMkLst>
        </pc:spChg>
        <pc:spChg chg="add mod">
          <ac:chgData name="Veniero Facchetti" userId="f2c6c99af91c4974" providerId="LiveId" clId="{34DF7D6B-EB0F-4B53-B080-BB8D6F5C3D93}" dt="2024-05-10T16:04:31.454" v="607" actId="1076"/>
          <ac:spMkLst>
            <pc:docMk/>
            <pc:sldMk cId="703791636" sldId="350"/>
            <ac:spMk id="14" creationId="{EDB33DE8-6D0F-9418-5DAF-08DC255E5D62}"/>
          </ac:spMkLst>
        </pc:spChg>
        <pc:spChg chg="add mod">
          <ac:chgData name="Veniero Facchetti" userId="f2c6c99af91c4974" providerId="LiveId" clId="{34DF7D6B-EB0F-4B53-B080-BB8D6F5C3D93}" dt="2024-05-10T16:04:31.454" v="607" actId="1076"/>
          <ac:spMkLst>
            <pc:docMk/>
            <pc:sldMk cId="703791636" sldId="350"/>
            <ac:spMk id="15" creationId="{7A8E4F91-4461-828F-9EE3-6BB85431A746}"/>
          </ac:spMkLst>
        </pc:spChg>
        <pc:spChg chg="add mod">
          <ac:chgData name="Veniero Facchetti" userId="f2c6c99af91c4974" providerId="LiveId" clId="{34DF7D6B-EB0F-4B53-B080-BB8D6F5C3D93}" dt="2024-05-10T16:04:31.454" v="607" actId="1076"/>
          <ac:spMkLst>
            <pc:docMk/>
            <pc:sldMk cId="703791636" sldId="350"/>
            <ac:spMk id="16" creationId="{B6C433EC-7928-84B6-5868-39428FD5C3D7}"/>
          </ac:spMkLst>
        </pc:spChg>
        <pc:spChg chg="add mod">
          <ac:chgData name="Veniero Facchetti" userId="f2c6c99af91c4974" providerId="LiveId" clId="{34DF7D6B-EB0F-4B53-B080-BB8D6F5C3D93}" dt="2024-05-10T16:04:31.454" v="607" actId="1076"/>
          <ac:spMkLst>
            <pc:docMk/>
            <pc:sldMk cId="703791636" sldId="350"/>
            <ac:spMk id="17" creationId="{2ED54A53-2281-2B28-3EEC-71A12A80A934}"/>
          </ac:spMkLst>
        </pc:spChg>
        <pc:spChg chg="mod">
          <ac:chgData name="Veniero Facchetti" userId="f2c6c99af91c4974" providerId="LiveId" clId="{34DF7D6B-EB0F-4B53-B080-BB8D6F5C3D93}" dt="2024-05-10T16:04:09.354" v="600"/>
          <ac:spMkLst>
            <pc:docMk/>
            <pc:sldMk cId="703791636" sldId="350"/>
            <ac:spMk id="20" creationId="{5BB38059-0B39-CB8A-196C-0202A338632B}"/>
          </ac:spMkLst>
        </pc:spChg>
        <pc:spChg chg="mod">
          <ac:chgData name="Veniero Facchetti" userId="f2c6c99af91c4974" providerId="LiveId" clId="{34DF7D6B-EB0F-4B53-B080-BB8D6F5C3D93}" dt="2024-05-10T16:04:09.354" v="600"/>
          <ac:spMkLst>
            <pc:docMk/>
            <pc:sldMk cId="703791636" sldId="350"/>
            <ac:spMk id="23" creationId="{4EEDB648-F8A7-D044-BA6A-BDF02C0345E2}"/>
          </ac:spMkLst>
        </pc:spChg>
        <pc:spChg chg="add mod">
          <ac:chgData name="Veniero Facchetti" userId="f2c6c99af91c4974" providerId="LiveId" clId="{34DF7D6B-EB0F-4B53-B080-BB8D6F5C3D93}" dt="2024-05-10T16:05:24.019" v="619" actId="1076"/>
          <ac:spMkLst>
            <pc:docMk/>
            <pc:sldMk cId="703791636" sldId="350"/>
            <ac:spMk id="24" creationId="{F9FE8DB2-5008-F373-471E-34E3CC497727}"/>
          </ac:spMkLst>
        </pc:spChg>
        <pc:spChg chg="mod">
          <ac:chgData name="Veniero Facchetti" userId="f2c6c99af91c4974" providerId="LiveId" clId="{34DF7D6B-EB0F-4B53-B080-BB8D6F5C3D93}" dt="2024-05-10T16:04:09.354" v="600"/>
          <ac:spMkLst>
            <pc:docMk/>
            <pc:sldMk cId="703791636" sldId="350"/>
            <ac:spMk id="26" creationId="{55A7F940-7E6D-5A6B-E692-E786EFC3257A}"/>
          </ac:spMkLst>
        </pc:spChg>
        <pc:spChg chg="mod">
          <ac:chgData name="Veniero Facchetti" userId="f2c6c99af91c4974" providerId="LiveId" clId="{34DF7D6B-EB0F-4B53-B080-BB8D6F5C3D93}" dt="2024-05-10T16:04:09.354" v="600"/>
          <ac:spMkLst>
            <pc:docMk/>
            <pc:sldMk cId="703791636" sldId="350"/>
            <ac:spMk id="27" creationId="{55FB3CDD-687E-59E9-C879-A9D3B1044B43}"/>
          </ac:spMkLst>
        </pc:spChg>
        <pc:spChg chg="mod">
          <ac:chgData name="Veniero Facchetti" userId="f2c6c99af91c4974" providerId="LiveId" clId="{34DF7D6B-EB0F-4B53-B080-BB8D6F5C3D93}" dt="2024-05-10T16:04:09.354" v="600"/>
          <ac:spMkLst>
            <pc:docMk/>
            <pc:sldMk cId="703791636" sldId="350"/>
            <ac:spMk id="30" creationId="{8AEA15E2-ECCC-749C-CD38-7996C7048881}"/>
          </ac:spMkLst>
        </pc:spChg>
        <pc:spChg chg="add mod">
          <ac:chgData name="Veniero Facchetti" userId="f2c6c99af91c4974" providerId="LiveId" clId="{34DF7D6B-EB0F-4B53-B080-BB8D6F5C3D93}" dt="2024-05-10T16:04:31.454" v="607" actId="1076"/>
          <ac:spMkLst>
            <pc:docMk/>
            <pc:sldMk cId="703791636" sldId="350"/>
            <ac:spMk id="31" creationId="{0ABB53BC-7F02-1435-88DA-E0AFF84445B6}"/>
          </ac:spMkLst>
        </pc:spChg>
        <pc:spChg chg="add mod">
          <ac:chgData name="Veniero Facchetti" userId="f2c6c99af91c4974" providerId="LiveId" clId="{34DF7D6B-EB0F-4B53-B080-BB8D6F5C3D93}" dt="2024-05-10T16:04:31.454" v="607" actId="1076"/>
          <ac:spMkLst>
            <pc:docMk/>
            <pc:sldMk cId="703791636" sldId="350"/>
            <ac:spMk id="32" creationId="{DC7E2CF9-28D7-2CBD-2EF1-15018DCDF293}"/>
          </ac:spMkLst>
        </pc:spChg>
        <pc:spChg chg="add mod">
          <ac:chgData name="Veniero Facchetti" userId="f2c6c99af91c4974" providerId="LiveId" clId="{34DF7D6B-EB0F-4B53-B080-BB8D6F5C3D93}" dt="2024-05-10T16:04:31.454" v="607" actId="1076"/>
          <ac:spMkLst>
            <pc:docMk/>
            <pc:sldMk cId="703791636" sldId="350"/>
            <ac:spMk id="33" creationId="{715349D7-92C4-B5BA-40CA-BDF632C3B2DA}"/>
          </ac:spMkLst>
        </pc:spChg>
        <pc:spChg chg="add mod">
          <ac:chgData name="Veniero Facchetti" userId="f2c6c99af91c4974" providerId="LiveId" clId="{34DF7D6B-EB0F-4B53-B080-BB8D6F5C3D93}" dt="2024-05-10T16:04:31.454" v="607" actId="1076"/>
          <ac:spMkLst>
            <pc:docMk/>
            <pc:sldMk cId="703791636" sldId="350"/>
            <ac:spMk id="35" creationId="{D7ECA20B-DAB0-B906-028A-9B43DBA3DD3E}"/>
          </ac:spMkLst>
        </pc:spChg>
        <pc:spChg chg="add mod">
          <ac:chgData name="Veniero Facchetti" userId="f2c6c99af91c4974" providerId="LiveId" clId="{34DF7D6B-EB0F-4B53-B080-BB8D6F5C3D93}" dt="2024-05-10T16:04:31.454" v="607" actId="1076"/>
          <ac:spMkLst>
            <pc:docMk/>
            <pc:sldMk cId="703791636" sldId="350"/>
            <ac:spMk id="36" creationId="{CB881BD3-6D4F-108E-AC07-40268779FB84}"/>
          </ac:spMkLst>
        </pc:spChg>
        <pc:spChg chg="add mod">
          <ac:chgData name="Veniero Facchetti" userId="f2c6c99af91c4974" providerId="LiveId" clId="{34DF7D6B-EB0F-4B53-B080-BB8D6F5C3D93}" dt="2024-05-10T16:04:31.454" v="607" actId="1076"/>
          <ac:spMkLst>
            <pc:docMk/>
            <pc:sldMk cId="703791636" sldId="350"/>
            <ac:spMk id="38" creationId="{1212AF33-B9CF-6F65-582F-3F6667194116}"/>
          </ac:spMkLst>
        </pc:spChg>
        <pc:spChg chg="add mod">
          <ac:chgData name="Veniero Facchetti" userId="f2c6c99af91c4974" providerId="LiveId" clId="{34DF7D6B-EB0F-4B53-B080-BB8D6F5C3D93}" dt="2024-05-10T16:04:31.454" v="607" actId="1076"/>
          <ac:spMkLst>
            <pc:docMk/>
            <pc:sldMk cId="703791636" sldId="350"/>
            <ac:spMk id="39" creationId="{32975536-3A7D-78E2-B597-A95FD327BF44}"/>
          </ac:spMkLst>
        </pc:spChg>
        <pc:spChg chg="add mod">
          <ac:chgData name="Veniero Facchetti" userId="f2c6c99af91c4974" providerId="LiveId" clId="{34DF7D6B-EB0F-4B53-B080-BB8D6F5C3D93}" dt="2024-05-10T16:04:31.454" v="607" actId="1076"/>
          <ac:spMkLst>
            <pc:docMk/>
            <pc:sldMk cId="703791636" sldId="350"/>
            <ac:spMk id="41" creationId="{B5511D7D-BEE2-2518-BCE8-867977F65949}"/>
          </ac:spMkLst>
        </pc:spChg>
        <pc:spChg chg="add mod">
          <ac:chgData name="Veniero Facchetti" userId="f2c6c99af91c4974" providerId="LiveId" clId="{34DF7D6B-EB0F-4B53-B080-BB8D6F5C3D93}" dt="2024-05-10T16:04:31.454" v="607" actId="1076"/>
          <ac:spMkLst>
            <pc:docMk/>
            <pc:sldMk cId="703791636" sldId="350"/>
            <ac:spMk id="42" creationId="{FA4D088A-123C-0A46-FA66-223320514C6C}"/>
          </ac:spMkLst>
        </pc:spChg>
        <pc:spChg chg="add mod">
          <ac:chgData name="Veniero Facchetti" userId="f2c6c99af91c4974" providerId="LiveId" clId="{34DF7D6B-EB0F-4B53-B080-BB8D6F5C3D93}" dt="2024-05-10T16:04:31.454" v="607" actId="1076"/>
          <ac:spMkLst>
            <pc:docMk/>
            <pc:sldMk cId="703791636" sldId="350"/>
            <ac:spMk id="44" creationId="{40EBFB73-874A-483C-108A-77C9E5A26825}"/>
          </ac:spMkLst>
        </pc:spChg>
        <pc:spChg chg="add mod">
          <ac:chgData name="Veniero Facchetti" userId="f2c6c99af91c4974" providerId="LiveId" clId="{34DF7D6B-EB0F-4B53-B080-BB8D6F5C3D93}" dt="2024-05-10T16:04:31.454" v="607" actId="1076"/>
          <ac:spMkLst>
            <pc:docMk/>
            <pc:sldMk cId="703791636" sldId="350"/>
            <ac:spMk id="45" creationId="{7F893FD0-0AC8-FE8C-5287-14B3B1937EF1}"/>
          </ac:spMkLst>
        </pc:spChg>
        <pc:spChg chg="add mod">
          <ac:chgData name="Veniero Facchetti" userId="f2c6c99af91c4974" providerId="LiveId" clId="{34DF7D6B-EB0F-4B53-B080-BB8D6F5C3D93}" dt="2024-05-10T16:04:31.454" v="607" actId="1076"/>
          <ac:spMkLst>
            <pc:docMk/>
            <pc:sldMk cId="703791636" sldId="350"/>
            <ac:spMk id="47" creationId="{7C335FF3-3EFD-3FE7-004D-3B84EA4802A4}"/>
          </ac:spMkLst>
        </pc:spChg>
        <pc:spChg chg="add mod">
          <ac:chgData name="Veniero Facchetti" userId="f2c6c99af91c4974" providerId="LiveId" clId="{34DF7D6B-EB0F-4B53-B080-BB8D6F5C3D93}" dt="2024-05-10T16:04:31.454" v="607" actId="1076"/>
          <ac:spMkLst>
            <pc:docMk/>
            <pc:sldMk cId="703791636" sldId="350"/>
            <ac:spMk id="48" creationId="{67B2371C-1F33-7D42-FEA2-BD8F59F79F33}"/>
          </ac:spMkLst>
        </pc:spChg>
        <pc:spChg chg="add mod">
          <ac:chgData name="Veniero Facchetti" userId="f2c6c99af91c4974" providerId="LiveId" clId="{34DF7D6B-EB0F-4B53-B080-BB8D6F5C3D93}" dt="2024-05-10T16:04:31.454" v="607" actId="1076"/>
          <ac:spMkLst>
            <pc:docMk/>
            <pc:sldMk cId="703791636" sldId="350"/>
            <ac:spMk id="49" creationId="{3D16C2E2-E435-F287-85EF-25D9D0E13CFA}"/>
          </ac:spMkLst>
        </pc:spChg>
        <pc:spChg chg="add mod">
          <ac:chgData name="Veniero Facchetti" userId="f2c6c99af91c4974" providerId="LiveId" clId="{34DF7D6B-EB0F-4B53-B080-BB8D6F5C3D93}" dt="2024-05-10T16:04:31.454" v="607" actId="1076"/>
          <ac:spMkLst>
            <pc:docMk/>
            <pc:sldMk cId="703791636" sldId="350"/>
            <ac:spMk id="50" creationId="{1C60685B-B97C-8023-896C-D2D06EDE99D4}"/>
          </ac:spMkLst>
        </pc:spChg>
        <pc:spChg chg="add mod">
          <ac:chgData name="Veniero Facchetti" userId="f2c6c99af91c4974" providerId="LiveId" clId="{34DF7D6B-EB0F-4B53-B080-BB8D6F5C3D93}" dt="2024-05-10T16:04:31.454" v="607" actId="1076"/>
          <ac:spMkLst>
            <pc:docMk/>
            <pc:sldMk cId="703791636" sldId="350"/>
            <ac:spMk id="51" creationId="{14D101A6-CC5C-DBAB-ED0A-1E783986D97C}"/>
          </ac:spMkLst>
        </pc:spChg>
        <pc:spChg chg="add mod">
          <ac:chgData name="Veniero Facchetti" userId="f2c6c99af91c4974" providerId="LiveId" clId="{34DF7D6B-EB0F-4B53-B080-BB8D6F5C3D93}" dt="2024-05-10T16:04:31.454" v="607" actId="1076"/>
          <ac:spMkLst>
            <pc:docMk/>
            <pc:sldMk cId="703791636" sldId="350"/>
            <ac:spMk id="52" creationId="{1DC60DD9-9B06-90CF-8D17-8233AD5E5A98}"/>
          </ac:spMkLst>
        </pc:spChg>
        <pc:spChg chg="add mod">
          <ac:chgData name="Veniero Facchetti" userId="f2c6c99af91c4974" providerId="LiveId" clId="{34DF7D6B-EB0F-4B53-B080-BB8D6F5C3D93}" dt="2024-05-10T16:04:31.454" v="607" actId="1076"/>
          <ac:spMkLst>
            <pc:docMk/>
            <pc:sldMk cId="703791636" sldId="350"/>
            <ac:spMk id="53" creationId="{73C8F704-E0D8-72B6-B6C1-B3A8DB8D3906}"/>
          </ac:spMkLst>
        </pc:spChg>
        <pc:grpChg chg="add mod">
          <ac:chgData name="Veniero Facchetti" userId="f2c6c99af91c4974" providerId="LiveId" clId="{34DF7D6B-EB0F-4B53-B080-BB8D6F5C3D93}" dt="2024-05-10T16:04:31.454" v="607" actId="1076"/>
          <ac:grpSpMkLst>
            <pc:docMk/>
            <pc:sldMk cId="703791636" sldId="350"/>
            <ac:grpSpMk id="18" creationId="{C4B0FCB9-530A-7426-010F-E3072D209B82}"/>
          </ac:grpSpMkLst>
        </pc:grpChg>
        <pc:grpChg chg="add mod">
          <ac:chgData name="Veniero Facchetti" userId="f2c6c99af91c4974" providerId="LiveId" clId="{34DF7D6B-EB0F-4B53-B080-BB8D6F5C3D93}" dt="2024-05-10T16:04:31.454" v="607" actId="1076"/>
          <ac:grpSpMkLst>
            <pc:docMk/>
            <pc:sldMk cId="703791636" sldId="350"/>
            <ac:grpSpMk id="21" creationId="{53A06946-28D4-DE7A-B0F6-51BF193290B5}"/>
          </ac:grpSpMkLst>
        </pc:grpChg>
        <pc:grpChg chg="add mod">
          <ac:chgData name="Veniero Facchetti" userId="f2c6c99af91c4974" providerId="LiveId" clId="{34DF7D6B-EB0F-4B53-B080-BB8D6F5C3D93}" dt="2024-05-10T16:04:09.354" v="600"/>
          <ac:grpSpMkLst>
            <pc:docMk/>
            <pc:sldMk cId="703791636" sldId="350"/>
            <ac:grpSpMk id="25" creationId="{2970A6DA-A0B5-C46A-C2C5-A6FAD438E57C}"/>
          </ac:grpSpMkLst>
        </pc:grpChg>
        <pc:grpChg chg="add mod">
          <ac:chgData name="Veniero Facchetti" userId="f2c6c99af91c4974" providerId="LiveId" clId="{34DF7D6B-EB0F-4B53-B080-BB8D6F5C3D93}" dt="2024-05-10T16:04:31.454" v="607" actId="1076"/>
          <ac:grpSpMkLst>
            <pc:docMk/>
            <pc:sldMk cId="703791636" sldId="350"/>
            <ac:grpSpMk id="28" creationId="{0AA99BA6-EED8-9311-6146-3B9A9C6EA719}"/>
          </ac:grpSpMkLst>
        </pc:grpChg>
        <pc:graphicFrameChg chg="add mod">
          <ac:chgData name="Veniero Facchetti" userId="f2c6c99af91c4974" providerId="LiveId" clId="{34DF7D6B-EB0F-4B53-B080-BB8D6F5C3D93}" dt="2024-05-10T16:04:31.454" v="607" actId="1076"/>
          <ac:graphicFrameMkLst>
            <pc:docMk/>
            <pc:sldMk cId="703791636" sldId="350"/>
            <ac:graphicFrameMk id="5" creationId="{42166366-A88D-4B52-4095-6094D9FFC967}"/>
          </ac:graphicFrameMkLst>
        </pc:graphicFrameChg>
        <pc:graphicFrameChg chg="add mod">
          <ac:chgData name="Veniero Facchetti" userId="f2c6c99af91c4974" providerId="LiveId" clId="{34DF7D6B-EB0F-4B53-B080-BB8D6F5C3D93}" dt="2024-05-10T16:04:31.454" v="607" actId="1076"/>
          <ac:graphicFrameMkLst>
            <pc:docMk/>
            <pc:sldMk cId="703791636" sldId="350"/>
            <ac:graphicFrameMk id="11" creationId="{28A61215-08AF-F217-0410-2725C4ADC319}"/>
          </ac:graphicFrameMkLst>
        </pc:graphicFrameChg>
        <pc:picChg chg="add mod">
          <ac:chgData name="Veniero Facchetti" userId="f2c6c99af91c4974" providerId="LiveId" clId="{34DF7D6B-EB0F-4B53-B080-BB8D6F5C3D93}" dt="2024-05-10T16:04:31.454" v="607" actId="1076"/>
          <ac:picMkLst>
            <pc:docMk/>
            <pc:sldMk cId="703791636" sldId="350"/>
            <ac:picMk id="34" creationId="{F9D5D1E1-7FF7-43C8-3E6D-FD0C5FDAD079}"/>
          </ac:picMkLst>
        </pc:picChg>
        <pc:picChg chg="add mod">
          <ac:chgData name="Veniero Facchetti" userId="f2c6c99af91c4974" providerId="LiveId" clId="{34DF7D6B-EB0F-4B53-B080-BB8D6F5C3D93}" dt="2024-05-10T16:04:31.454" v="607" actId="1076"/>
          <ac:picMkLst>
            <pc:docMk/>
            <pc:sldMk cId="703791636" sldId="350"/>
            <ac:picMk id="37" creationId="{96B05640-8D79-BFDD-A489-95686EB6235C}"/>
          </ac:picMkLst>
        </pc:picChg>
        <pc:picChg chg="add mod">
          <ac:chgData name="Veniero Facchetti" userId="f2c6c99af91c4974" providerId="LiveId" clId="{34DF7D6B-EB0F-4B53-B080-BB8D6F5C3D93}" dt="2024-05-10T16:04:31.454" v="607" actId="1076"/>
          <ac:picMkLst>
            <pc:docMk/>
            <pc:sldMk cId="703791636" sldId="350"/>
            <ac:picMk id="40" creationId="{61E74E67-5DE5-FB4E-EEDE-8B769A1D2B92}"/>
          </ac:picMkLst>
        </pc:picChg>
        <pc:picChg chg="add mod">
          <ac:chgData name="Veniero Facchetti" userId="f2c6c99af91c4974" providerId="LiveId" clId="{34DF7D6B-EB0F-4B53-B080-BB8D6F5C3D93}" dt="2024-05-10T16:04:31.454" v="607" actId="1076"/>
          <ac:picMkLst>
            <pc:docMk/>
            <pc:sldMk cId="703791636" sldId="350"/>
            <ac:picMk id="43" creationId="{6E64CB4B-82E7-3B1F-2E1A-267282D95281}"/>
          </ac:picMkLst>
        </pc:picChg>
        <pc:picChg chg="add mod">
          <ac:chgData name="Veniero Facchetti" userId="f2c6c99af91c4974" providerId="LiveId" clId="{34DF7D6B-EB0F-4B53-B080-BB8D6F5C3D93}" dt="2024-05-10T16:04:31.454" v="607" actId="1076"/>
          <ac:picMkLst>
            <pc:docMk/>
            <pc:sldMk cId="703791636" sldId="350"/>
            <ac:picMk id="46" creationId="{BABCA267-2DDD-51DE-39FF-EBE30D281EC3}"/>
          </ac:picMkLst>
        </pc:picChg>
        <pc:cxnChg chg="mod">
          <ac:chgData name="Veniero Facchetti" userId="f2c6c99af91c4974" providerId="LiveId" clId="{34DF7D6B-EB0F-4B53-B080-BB8D6F5C3D93}" dt="2024-05-10T16:04:09.354" v="600"/>
          <ac:cxnSpMkLst>
            <pc:docMk/>
            <pc:sldMk cId="703791636" sldId="350"/>
            <ac:cxnSpMk id="19" creationId="{19634BC4-6C03-2FDD-62E3-044B3FA25CE8}"/>
          </ac:cxnSpMkLst>
        </pc:cxnChg>
        <pc:cxnChg chg="mod">
          <ac:chgData name="Veniero Facchetti" userId="f2c6c99af91c4974" providerId="LiveId" clId="{34DF7D6B-EB0F-4B53-B080-BB8D6F5C3D93}" dt="2024-05-10T16:04:09.354" v="600"/>
          <ac:cxnSpMkLst>
            <pc:docMk/>
            <pc:sldMk cId="703791636" sldId="350"/>
            <ac:cxnSpMk id="22" creationId="{6248969C-878D-6923-505A-C27DF0F0E7FE}"/>
          </ac:cxnSpMkLst>
        </pc:cxnChg>
        <pc:cxnChg chg="mod">
          <ac:chgData name="Veniero Facchetti" userId="f2c6c99af91c4974" providerId="LiveId" clId="{34DF7D6B-EB0F-4B53-B080-BB8D6F5C3D93}" dt="2024-05-10T16:04:09.354" v="600"/>
          <ac:cxnSpMkLst>
            <pc:docMk/>
            <pc:sldMk cId="703791636" sldId="350"/>
            <ac:cxnSpMk id="29" creationId="{EC928C71-5F4D-8623-8235-0043180A30DE}"/>
          </ac:cxnSpMkLst>
        </pc:cxnChg>
      </pc:sldChg>
      <pc:sldChg chg="addSp delSp modSp new mod modClrScheme chgLayout">
        <pc:chgData name="Veniero Facchetti" userId="f2c6c99af91c4974" providerId="LiveId" clId="{34DF7D6B-EB0F-4B53-B080-BB8D6F5C3D93}" dt="2024-05-10T16:06:01.916" v="629" actId="14100"/>
        <pc:sldMkLst>
          <pc:docMk/>
          <pc:sldMk cId="473677211" sldId="351"/>
        </pc:sldMkLst>
        <pc:spChg chg="add mod">
          <ac:chgData name="Veniero Facchetti" userId="f2c6c99af91c4974" providerId="LiveId" clId="{34DF7D6B-EB0F-4B53-B080-BB8D6F5C3D93}" dt="2024-05-10T16:06:01.916" v="629" actId="14100"/>
          <ac:spMkLst>
            <pc:docMk/>
            <pc:sldMk cId="473677211" sldId="351"/>
            <ac:spMk id="2" creationId="{DFF3C238-4F66-5CD4-2E65-64DEC649F519}"/>
          </ac:spMkLst>
        </pc:spChg>
        <pc:spChg chg="add del mod">
          <ac:chgData name="Veniero Facchetti" userId="f2c6c99af91c4974" providerId="LiveId" clId="{34DF7D6B-EB0F-4B53-B080-BB8D6F5C3D93}" dt="2024-05-10T16:05:43.010" v="622" actId="478"/>
          <ac:spMkLst>
            <pc:docMk/>
            <pc:sldMk cId="473677211" sldId="351"/>
            <ac:spMk id="3" creationId="{DF024DAF-AFA5-4B10-5CCC-C5FAA13EC5DC}"/>
          </ac:spMkLst>
        </pc:spChg>
        <pc:spChg chg="add del mod">
          <ac:chgData name="Veniero Facchetti" userId="f2c6c99af91c4974" providerId="LiveId" clId="{34DF7D6B-EB0F-4B53-B080-BB8D6F5C3D93}" dt="2024-05-10T16:05:44.236" v="623" actId="478"/>
          <ac:spMkLst>
            <pc:docMk/>
            <pc:sldMk cId="473677211" sldId="351"/>
            <ac:spMk id="4" creationId="{10D6E861-76C8-3F88-3377-F74415C37119}"/>
          </ac:spMkLst>
        </pc:spChg>
      </pc:sldChg>
      <pc:sldChg chg="addSp delSp modSp new mod modClrScheme chgLayout">
        <pc:chgData name="Veniero Facchetti" userId="f2c6c99af91c4974" providerId="LiveId" clId="{34DF7D6B-EB0F-4B53-B080-BB8D6F5C3D93}" dt="2024-05-10T16:06:24.781" v="634" actId="1076"/>
        <pc:sldMkLst>
          <pc:docMk/>
          <pc:sldMk cId="507378900" sldId="352"/>
        </pc:sldMkLst>
        <pc:spChg chg="del">
          <ac:chgData name="Veniero Facchetti" userId="f2c6c99af91c4974" providerId="LiveId" clId="{34DF7D6B-EB0F-4B53-B080-BB8D6F5C3D93}" dt="2024-05-10T16:06:12.296" v="631" actId="700"/>
          <ac:spMkLst>
            <pc:docMk/>
            <pc:sldMk cId="507378900" sldId="352"/>
            <ac:spMk id="2" creationId="{5AA9AB17-6C3B-E65B-5277-0780D35B8799}"/>
          </ac:spMkLst>
        </pc:spChg>
        <pc:spChg chg="del">
          <ac:chgData name="Veniero Facchetti" userId="f2c6c99af91c4974" providerId="LiveId" clId="{34DF7D6B-EB0F-4B53-B080-BB8D6F5C3D93}" dt="2024-05-10T16:06:12.296" v="631" actId="700"/>
          <ac:spMkLst>
            <pc:docMk/>
            <pc:sldMk cId="507378900" sldId="352"/>
            <ac:spMk id="3" creationId="{658DF089-9BFE-92E0-0EEE-03870E07583F}"/>
          </ac:spMkLst>
        </pc:spChg>
        <pc:spChg chg="del mod ord">
          <ac:chgData name="Veniero Facchetti" userId="f2c6c99af91c4974" providerId="LiveId" clId="{34DF7D6B-EB0F-4B53-B080-BB8D6F5C3D93}" dt="2024-05-10T16:06:14.581" v="632" actId="478"/>
          <ac:spMkLst>
            <pc:docMk/>
            <pc:sldMk cId="507378900" sldId="352"/>
            <ac:spMk id="4" creationId="{454D2AC4-E02F-588F-49F8-776602DDD5C8}"/>
          </ac:spMkLst>
        </pc:spChg>
        <pc:spChg chg="del">
          <ac:chgData name="Veniero Facchetti" userId="f2c6c99af91c4974" providerId="LiveId" clId="{34DF7D6B-EB0F-4B53-B080-BB8D6F5C3D93}" dt="2024-05-10T16:06:12.296" v="631" actId="700"/>
          <ac:spMkLst>
            <pc:docMk/>
            <pc:sldMk cId="507378900" sldId="352"/>
            <ac:spMk id="5" creationId="{0B04110D-FDD4-2456-9482-F920F00E973B}"/>
          </ac:spMkLst>
        </pc:spChg>
        <pc:spChg chg="add mod">
          <ac:chgData name="Veniero Facchetti" userId="f2c6c99af91c4974" providerId="LiveId" clId="{34DF7D6B-EB0F-4B53-B080-BB8D6F5C3D93}" dt="2024-05-10T16:06:20.535" v="633"/>
          <ac:spMkLst>
            <pc:docMk/>
            <pc:sldMk cId="507378900" sldId="352"/>
            <ac:spMk id="6" creationId="{5CCE8442-3632-DBAB-C3FF-B5F22496D8AA}"/>
          </ac:spMkLst>
        </pc:spChg>
        <pc:spChg chg="add mod">
          <ac:chgData name="Veniero Facchetti" userId="f2c6c99af91c4974" providerId="LiveId" clId="{34DF7D6B-EB0F-4B53-B080-BB8D6F5C3D93}" dt="2024-05-10T16:06:24.781" v="634" actId="1076"/>
          <ac:spMkLst>
            <pc:docMk/>
            <pc:sldMk cId="507378900" sldId="352"/>
            <ac:spMk id="7" creationId="{4F2210A1-C62B-CD22-6848-A58FD9D11DF4}"/>
          </ac:spMkLst>
        </pc:spChg>
        <pc:spChg chg="add mod">
          <ac:chgData name="Veniero Facchetti" userId="f2c6c99af91c4974" providerId="LiveId" clId="{34DF7D6B-EB0F-4B53-B080-BB8D6F5C3D93}" dt="2024-05-10T16:06:20.535" v="633"/>
          <ac:spMkLst>
            <pc:docMk/>
            <pc:sldMk cId="507378900" sldId="352"/>
            <ac:spMk id="8" creationId="{D2140729-E1A7-F215-7654-9A3367B9A5A9}"/>
          </ac:spMkLst>
        </pc:spChg>
        <pc:spChg chg="add mod">
          <ac:chgData name="Veniero Facchetti" userId="f2c6c99af91c4974" providerId="LiveId" clId="{34DF7D6B-EB0F-4B53-B080-BB8D6F5C3D93}" dt="2024-05-10T16:06:20.535" v="633"/>
          <ac:spMkLst>
            <pc:docMk/>
            <pc:sldMk cId="507378900" sldId="352"/>
            <ac:spMk id="9" creationId="{8A50EF09-0308-6480-9BF6-8948D429687B}"/>
          </ac:spMkLst>
        </pc:spChg>
        <pc:spChg chg="add mod">
          <ac:chgData name="Veniero Facchetti" userId="f2c6c99af91c4974" providerId="LiveId" clId="{34DF7D6B-EB0F-4B53-B080-BB8D6F5C3D93}" dt="2024-05-10T16:06:20.535" v="633"/>
          <ac:spMkLst>
            <pc:docMk/>
            <pc:sldMk cId="507378900" sldId="352"/>
            <ac:spMk id="11" creationId="{05E23757-5D6F-F23B-C6DB-F4D77E341FBF}"/>
          </ac:spMkLst>
        </pc:spChg>
        <pc:spChg chg="mod">
          <ac:chgData name="Veniero Facchetti" userId="f2c6c99af91c4974" providerId="LiveId" clId="{34DF7D6B-EB0F-4B53-B080-BB8D6F5C3D93}" dt="2024-05-10T16:06:20.535" v="633"/>
          <ac:spMkLst>
            <pc:docMk/>
            <pc:sldMk cId="507378900" sldId="352"/>
            <ac:spMk id="14" creationId="{AF5B25F1-B752-FAB3-EB05-E6CCAFA55122}"/>
          </ac:spMkLst>
        </pc:spChg>
        <pc:spChg chg="mod">
          <ac:chgData name="Veniero Facchetti" userId="f2c6c99af91c4974" providerId="LiveId" clId="{34DF7D6B-EB0F-4B53-B080-BB8D6F5C3D93}" dt="2024-05-10T16:06:20.535" v="633"/>
          <ac:spMkLst>
            <pc:docMk/>
            <pc:sldMk cId="507378900" sldId="352"/>
            <ac:spMk id="16" creationId="{B21F8096-4CE6-75A5-E281-BC669B397E7C}"/>
          </ac:spMkLst>
        </pc:spChg>
        <pc:spChg chg="mod">
          <ac:chgData name="Veniero Facchetti" userId="f2c6c99af91c4974" providerId="LiveId" clId="{34DF7D6B-EB0F-4B53-B080-BB8D6F5C3D93}" dt="2024-05-10T16:06:20.535" v="633"/>
          <ac:spMkLst>
            <pc:docMk/>
            <pc:sldMk cId="507378900" sldId="352"/>
            <ac:spMk id="17" creationId="{85A51A7E-3C0A-C38F-C1BE-016812AD20E7}"/>
          </ac:spMkLst>
        </pc:spChg>
        <pc:spChg chg="mod">
          <ac:chgData name="Veniero Facchetti" userId="f2c6c99af91c4974" providerId="LiveId" clId="{34DF7D6B-EB0F-4B53-B080-BB8D6F5C3D93}" dt="2024-05-10T16:06:20.535" v="633"/>
          <ac:spMkLst>
            <pc:docMk/>
            <pc:sldMk cId="507378900" sldId="352"/>
            <ac:spMk id="18" creationId="{B8FC5BAC-A643-E6DC-21D4-3149D01B1527}"/>
          </ac:spMkLst>
        </pc:spChg>
        <pc:spChg chg="mod">
          <ac:chgData name="Veniero Facchetti" userId="f2c6c99af91c4974" providerId="LiveId" clId="{34DF7D6B-EB0F-4B53-B080-BB8D6F5C3D93}" dt="2024-05-10T16:06:20.535" v="633"/>
          <ac:spMkLst>
            <pc:docMk/>
            <pc:sldMk cId="507378900" sldId="352"/>
            <ac:spMk id="21" creationId="{F6E33390-AD53-AF2D-1E5D-5081869B986D}"/>
          </ac:spMkLst>
        </pc:spChg>
        <pc:spChg chg="mod">
          <ac:chgData name="Veniero Facchetti" userId="f2c6c99af91c4974" providerId="LiveId" clId="{34DF7D6B-EB0F-4B53-B080-BB8D6F5C3D93}" dt="2024-05-10T16:06:20.535" v="633"/>
          <ac:spMkLst>
            <pc:docMk/>
            <pc:sldMk cId="507378900" sldId="352"/>
            <ac:spMk id="22" creationId="{15D0A0A1-7003-AC74-6117-7AC123A3B12C}"/>
          </ac:spMkLst>
        </pc:spChg>
        <pc:spChg chg="mod">
          <ac:chgData name="Veniero Facchetti" userId="f2c6c99af91c4974" providerId="LiveId" clId="{34DF7D6B-EB0F-4B53-B080-BB8D6F5C3D93}" dt="2024-05-10T16:06:20.535" v="633"/>
          <ac:spMkLst>
            <pc:docMk/>
            <pc:sldMk cId="507378900" sldId="352"/>
            <ac:spMk id="23" creationId="{A71D355A-6834-056F-20DD-D1CE23F54FF4}"/>
          </ac:spMkLst>
        </pc:spChg>
        <pc:spChg chg="mod">
          <ac:chgData name="Veniero Facchetti" userId="f2c6c99af91c4974" providerId="LiveId" clId="{34DF7D6B-EB0F-4B53-B080-BB8D6F5C3D93}" dt="2024-05-10T16:06:20.535" v="633"/>
          <ac:spMkLst>
            <pc:docMk/>
            <pc:sldMk cId="507378900" sldId="352"/>
            <ac:spMk id="24" creationId="{8068DE72-9DEB-0884-0AF3-8E562B35F67A}"/>
          </ac:spMkLst>
        </pc:spChg>
        <pc:spChg chg="add mod">
          <ac:chgData name="Veniero Facchetti" userId="f2c6c99af91c4974" providerId="LiveId" clId="{34DF7D6B-EB0F-4B53-B080-BB8D6F5C3D93}" dt="2024-05-10T16:06:20.535" v="633"/>
          <ac:spMkLst>
            <pc:docMk/>
            <pc:sldMk cId="507378900" sldId="352"/>
            <ac:spMk id="29" creationId="{F568586F-673A-2B95-59E7-3865A88A1AD7}"/>
          </ac:spMkLst>
        </pc:spChg>
        <pc:grpChg chg="add mod">
          <ac:chgData name="Veniero Facchetti" userId="f2c6c99af91c4974" providerId="LiveId" clId="{34DF7D6B-EB0F-4B53-B080-BB8D6F5C3D93}" dt="2024-05-10T16:06:20.535" v="633"/>
          <ac:grpSpMkLst>
            <pc:docMk/>
            <pc:sldMk cId="507378900" sldId="352"/>
            <ac:grpSpMk id="13" creationId="{A1F16104-BD3B-B250-E90F-8C398055F2FA}"/>
          </ac:grpSpMkLst>
        </pc:grpChg>
        <pc:grpChg chg="mod">
          <ac:chgData name="Veniero Facchetti" userId="f2c6c99af91c4974" providerId="LiveId" clId="{34DF7D6B-EB0F-4B53-B080-BB8D6F5C3D93}" dt="2024-05-10T16:06:20.535" v="633"/>
          <ac:grpSpMkLst>
            <pc:docMk/>
            <pc:sldMk cId="507378900" sldId="352"/>
            <ac:grpSpMk id="15" creationId="{EFBF3C34-99B7-46ED-4F46-15C5D507FCC0}"/>
          </ac:grpSpMkLst>
        </pc:grpChg>
        <pc:grpChg chg="add mod">
          <ac:chgData name="Veniero Facchetti" userId="f2c6c99af91c4974" providerId="LiveId" clId="{34DF7D6B-EB0F-4B53-B080-BB8D6F5C3D93}" dt="2024-05-10T16:06:20.535" v="633"/>
          <ac:grpSpMkLst>
            <pc:docMk/>
            <pc:sldMk cId="507378900" sldId="352"/>
            <ac:grpSpMk id="19" creationId="{82CE634A-C4B2-A01D-BE34-7BDAAFEADB13}"/>
          </ac:grpSpMkLst>
        </pc:grpChg>
        <pc:grpChg chg="mod">
          <ac:chgData name="Veniero Facchetti" userId="f2c6c99af91c4974" providerId="LiveId" clId="{34DF7D6B-EB0F-4B53-B080-BB8D6F5C3D93}" dt="2024-05-10T16:06:20.535" v="633"/>
          <ac:grpSpMkLst>
            <pc:docMk/>
            <pc:sldMk cId="507378900" sldId="352"/>
            <ac:grpSpMk id="20" creationId="{5752A456-73E3-C045-FF7A-ECE18F4B89B6}"/>
          </ac:grpSpMkLst>
        </pc:grpChg>
        <pc:grpChg chg="add mod">
          <ac:chgData name="Veniero Facchetti" userId="f2c6c99af91c4974" providerId="LiveId" clId="{34DF7D6B-EB0F-4B53-B080-BB8D6F5C3D93}" dt="2024-05-10T16:06:20.535" v="633"/>
          <ac:grpSpMkLst>
            <pc:docMk/>
            <pc:sldMk cId="507378900" sldId="352"/>
            <ac:grpSpMk id="25" creationId="{E9A0D418-16FC-B574-55E8-F11DCFEA6501}"/>
          </ac:grpSpMkLst>
        </pc:grpChg>
        <pc:cxnChg chg="add mod">
          <ac:chgData name="Veniero Facchetti" userId="f2c6c99af91c4974" providerId="LiveId" clId="{34DF7D6B-EB0F-4B53-B080-BB8D6F5C3D93}" dt="2024-05-10T16:06:20.535" v="633"/>
          <ac:cxnSpMkLst>
            <pc:docMk/>
            <pc:sldMk cId="507378900" sldId="352"/>
            <ac:cxnSpMk id="10" creationId="{CAFB0316-A2C6-F650-529F-153200A1688A}"/>
          </ac:cxnSpMkLst>
        </pc:cxnChg>
        <pc:cxnChg chg="add mod">
          <ac:chgData name="Veniero Facchetti" userId="f2c6c99af91c4974" providerId="LiveId" clId="{34DF7D6B-EB0F-4B53-B080-BB8D6F5C3D93}" dt="2024-05-10T16:06:20.535" v="633"/>
          <ac:cxnSpMkLst>
            <pc:docMk/>
            <pc:sldMk cId="507378900" sldId="352"/>
            <ac:cxnSpMk id="12" creationId="{AE36AD8D-BB4C-3222-B9A5-EFC9808B112F}"/>
          </ac:cxnSpMkLst>
        </pc:cxnChg>
        <pc:cxnChg chg="mod">
          <ac:chgData name="Veniero Facchetti" userId="f2c6c99af91c4974" providerId="LiveId" clId="{34DF7D6B-EB0F-4B53-B080-BB8D6F5C3D93}" dt="2024-05-10T16:06:20.535" v="633"/>
          <ac:cxnSpMkLst>
            <pc:docMk/>
            <pc:sldMk cId="507378900" sldId="352"/>
            <ac:cxnSpMk id="26" creationId="{D34956F1-212E-A9FC-6412-3FDA46E1B836}"/>
          </ac:cxnSpMkLst>
        </pc:cxnChg>
        <pc:cxnChg chg="mod">
          <ac:chgData name="Veniero Facchetti" userId="f2c6c99af91c4974" providerId="LiveId" clId="{34DF7D6B-EB0F-4B53-B080-BB8D6F5C3D93}" dt="2024-05-10T16:06:20.535" v="633"/>
          <ac:cxnSpMkLst>
            <pc:docMk/>
            <pc:sldMk cId="507378900" sldId="352"/>
            <ac:cxnSpMk id="27" creationId="{8B380D3E-2190-8903-81FC-7CC2D6A79FFA}"/>
          </ac:cxnSpMkLst>
        </pc:cxnChg>
        <pc:cxnChg chg="mod">
          <ac:chgData name="Veniero Facchetti" userId="f2c6c99af91c4974" providerId="LiveId" clId="{34DF7D6B-EB0F-4B53-B080-BB8D6F5C3D93}" dt="2024-05-10T16:06:20.535" v="633"/>
          <ac:cxnSpMkLst>
            <pc:docMk/>
            <pc:sldMk cId="507378900" sldId="352"/>
            <ac:cxnSpMk id="28" creationId="{0030BBD7-6EEE-032E-D0CF-199CAD916870}"/>
          </ac:cxnSpMkLst>
        </pc:cxnChg>
        <pc:cxnChg chg="add mod">
          <ac:chgData name="Veniero Facchetti" userId="f2c6c99af91c4974" providerId="LiveId" clId="{34DF7D6B-EB0F-4B53-B080-BB8D6F5C3D93}" dt="2024-05-10T16:06:20.535" v="633"/>
          <ac:cxnSpMkLst>
            <pc:docMk/>
            <pc:sldMk cId="507378900" sldId="352"/>
            <ac:cxnSpMk id="30" creationId="{94C0BBDC-E3D3-CC60-2E42-EEB695C3E6CE}"/>
          </ac:cxnSpMkLst>
        </pc:cxnChg>
      </pc:sldChg>
      <pc:sldChg chg="modSp add mod ord">
        <pc:chgData name="Veniero Facchetti" userId="f2c6c99af91c4974" providerId="LiveId" clId="{34DF7D6B-EB0F-4B53-B080-BB8D6F5C3D93}" dt="2024-05-10T16:07:08.558" v="640"/>
        <pc:sldMkLst>
          <pc:docMk/>
          <pc:sldMk cId="779193960" sldId="353"/>
        </pc:sldMkLst>
        <pc:spChg chg="mod">
          <ac:chgData name="Veniero Facchetti" userId="f2c6c99af91c4974" providerId="LiveId" clId="{34DF7D6B-EB0F-4B53-B080-BB8D6F5C3D93}" dt="2024-05-10T16:07:08.558" v="640"/>
          <ac:spMkLst>
            <pc:docMk/>
            <pc:sldMk cId="779193960" sldId="353"/>
            <ac:spMk id="2" creationId="{DFF3C238-4F66-5CD4-2E65-64DEC649F519}"/>
          </ac:spMkLst>
        </pc:spChg>
      </pc:sldChg>
      <pc:sldChg chg="addSp delSp modSp new mod modClrScheme chgLayout">
        <pc:chgData name="Veniero Facchetti" userId="f2c6c99af91c4974" providerId="LiveId" clId="{34DF7D6B-EB0F-4B53-B080-BB8D6F5C3D93}" dt="2024-05-10T16:07:56.380" v="664" actId="14100"/>
        <pc:sldMkLst>
          <pc:docMk/>
          <pc:sldMk cId="2331723269" sldId="354"/>
        </pc:sldMkLst>
        <pc:spChg chg="del">
          <ac:chgData name="Veniero Facchetti" userId="f2c6c99af91c4974" providerId="LiveId" clId="{34DF7D6B-EB0F-4B53-B080-BB8D6F5C3D93}" dt="2024-05-10T16:07:23.287" v="642" actId="700"/>
          <ac:spMkLst>
            <pc:docMk/>
            <pc:sldMk cId="2331723269" sldId="354"/>
            <ac:spMk id="2" creationId="{94E3311A-73C6-941A-F967-1C65E71492E3}"/>
          </ac:spMkLst>
        </pc:spChg>
        <pc:spChg chg="del">
          <ac:chgData name="Veniero Facchetti" userId="f2c6c99af91c4974" providerId="LiveId" clId="{34DF7D6B-EB0F-4B53-B080-BB8D6F5C3D93}" dt="2024-05-10T16:07:23.287" v="642" actId="700"/>
          <ac:spMkLst>
            <pc:docMk/>
            <pc:sldMk cId="2331723269" sldId="354"/>
            <ac:spMk id="3" creationId="{751E0C96-46F6-A75A-771C-B385EE9BAAB0}"/>
          </ac:spMkLst>
        </pc:spChg>
        <pc:spChg chg="del mod ord">
          <ac:chgData name="Veniero Facchetti" userId="f2c6c99af91c4974" providerId="LiveId" clId="{34DF7D6B-EB0F-4B53-B080-BB8D6F5C3D93}" dt="2024-05-10T16:07:26.145" v="643" actId="478"/>
          <ac:spMkLst>
            <pc:docMk/>
            <pc:sldMk cId="2331723269" sldId="354"/>
            <ac:spMk id="4" creationId="{9E9A5C35-E9BB-7A37-9DFB-4EF5AB68907D}"/>
          </ac:spMkLst>
        </pc:spChg>
        <pc:spChg chg="del">
          <ac:chgData name="Veniero Facchetti" userId="f2c6c99af91c4974" providerId="LiveId" clId="{34DF7D6B-EB0F-4B53-B080-BB8D6F5C3D93}" dt="2024-05-10T16:07:23.287" v="642" actId="700"/>
          <ac:spMkLst>
            <pc:docMk/>
            <pc:sldMk cId="2331723269" sldId="354"/>
            <ac:spMk id="5" creationId="{A2DE9092-3948-C8EB-F025-7A68364CCC14}"/>
          </ac:spMkLst>
        </pc:spChg>
        <pc:spChg chg="add mod">
          <ac:chgData name="Veniero Facchetti" userId="f2c6c99af91c4974" providerId="LiveId" clId="{34DF7D6B-EB0F-4B53-B080-BB8D6F5C3D93}" dt="2024-05-10T16:07:45.909" v="647" actId="1076"/>
          <ac:spMkLst>
            <pc:docMk/>
            <pc:sldMk cId="2331723269" sldId="354"/>
            <ac:spMk id="6" creationId="{12D742DB-1B41-FBFD-5508-728C7CA3C4D3}"/>
          </ac:spMkLst>
        </pc:spChg>
        <pc:spChg chg="add mod">
          <ac:chgData name="Veniero Facchetti" userId="f2c6c99af91c4974" providerId="LiveId" clId="{34DF7D6B-EB0F-4B53-B080-BB8D6F5C3D93}" dt="2024-05-10T16:07:45.909" v="647" actId="1076"/>
          <ac:spMkLst>
            <pc:docMk/>
            <pc:sldMk cId="2331723269" sldId="354"/>
            <ac:spMk id="7" creationId="{30CF9AAE-F891-F2FB-4A68-14CB12114F91}"/>
          </ac:spMkLst>
        </pc:spChg>
        <pc:spChg chg="add mod">
          <ac:chgData name="Veniero Facchetti" userId="f2c6c99af91c4974" providerId="LiveId" clId="{34DF7D6B-EB0F-4B53-B080-BB8D6F5C3D93}" dt="2024-05-10T16:07:45.909" v="647" actId="1076"/>
          <ac:spMkLst>
            <pc:docMk/>
            <pc:sldMk cId="2331723269" sldId="354"/>
            <ac:spMk id="8" creationId="{40F9F2ED-B113-0576-4E76-3ABC08A4F389}"/>
          </ac:spMkLst>
        </pc:spChg>
        <pc:spChg chg="add mod">
          <ac:chgData name="Veniero Facchetti" userId="f2c6c99af91c4974" providerId="LiveId" clId="{34DF7D6B-EB0F-4B53-B080-BB8D6F5C3D93}" dt="2024-05-10T16:07:45.909" v="647" actId="1076"/>
          <ac:spMkLst>
            <pc:docMk/>
            <pc:sldMk cId="2331723269" sldId="354"/>
            <ac:spMk id="9" creationId="{13AF68F8-520B-85AC-DBEC-D3A71CB70946}"/>
          </ac:spMkLst>
        </pc:spChg>
        <pc:spChg chg="add mod">
          <ac:chgData name="Veniero Facchetti" userId="f2c6c99af91c4974" providerId="LiveId" clId="{34DF7D6B-EB0F-4B53-B080-BB8D6F5C3D93}" dt="2024-05-10T16:07:45.909" v="647" actId="1076"/>
          <ac:spMkLst>
            <pc:docMk/>
            <pc:sldMk cId="2331723269" sldId="354"/>
            <ac:spMk id="10" creationId="{BC0C5A4A-98CA-2882-A9A1-1A4E07A9B216}"/>
          </ac:spMkLst>
        </pc:spChg>
        <pc:spChg chg="add mod">
          <ac:chgData name="Veniero Facchetti" userId="f2c6c99af91c4974" providerId="LiveId" clId="{34DF7D6B-EB0F-4B53-B080-BB8D6F5C3D93}" dt="2024-05-10T16:07:45.909" v="647" actId="1076"/>
          <ac:spMkLst>
            <pc:docMk/>
            <pc:sldMk cId="2331723269" sldId="354"/>
            <ac:spMk id="11" creationId="{AB4B6B57-2E33-0662-2355-FA9BD6840141}"/>
          </ac:spMkLst>
        </pc:spChg>
        <pc:spChg chg="add mod">
          <ac:chgData name="Veniero Facchetti" userId="f2c6c99af91c4974" providerId="LiveId" clId="{34DF7D6B-EB0F-4B53-B080-BB8D6F5C3D93}" dt="2024-05-10T16:07:45.909" v="647" actId="1076"/>
          <ac:spMkLst>
            <pc:docMk/>
            <pc:sldMk cId="2331723269" sldId="354"/>
            <ac:spMk id="12" creationId="{36E4E946-A6FB-CC04-A511-84C9066FBEF9}"/>
          </ac:spMkLst>
        </pc:spChg>
        <pc:spChg chg="add mod">
          <ac:chgData name="Veniero Facchetti" userId="f2c6c99af91c4974" providerId="LiveId" clId="{34DF7D6B-EB0F-4B53-B080-BB8D6F5C3D93}" dt="2024-05-10T16:07:45.909" v="647" actId="1076"/>
          <ac:spMkLst>
            <pc:docMk/>
            <pc:sldMk cId="2331723269" sldId="354"/>
            <ac:spMk id="13" creationId="{0B39C2AF-DFD9-02BD-E99E-CD93A6443007}"/>
          </ac:spMkLst>
        </pc:spChg>
        <pc:spChg chg="add mod">
          <ac:chgData name="Veniero Facchetti" userId="f2c6c99af91c4974" providerId="LiveId" clId="{34DF7D6B-EB0F-4B53-B080-BB8D6F5C3D93}" dt="2024-05-10T16:07:45.909" v="647" actId="1076"/>
          <ac:spMkLst>
            <pc:docMk/>
            <pc:sldMk cId="2331723269" sldId="354"/>
            <ac:spMk id="14" creationId="{CD3E3252-2B4B-A620-5C98-85944B407DE0}"/>
          </ac:spMkLst>
        </pc:spChg>
        <pc:spChg chg="add mod">
          <ac:chgData name="Veniero Facchetti" userId="f2c6c99af91c4974" providerId="LiveId" clId="{34DF7D6B-EB0F-4B53-B080-BB8D6F5C3D93}" dt="2024-05-10T16:07:45.909" v="647" actId="1076"/>
          <ac:spMkLst>
            <pc:docMk/>
            <pc:sldMk cId="2331723269" sldId="354"/>
            <ac:spMk id="15" creationId="{8A4CDCED-B623-31F1-DE6C-CBDD11C03FA2}"/>
          </ac:spMkLst>
        </pc:spChg>
        <pc:spChg chg="add mod">
          <ac:chgData name="Veniero Facchetti" userId="f2c6c99af91c4974" providerId="LiveId" clId="{34DF7D6B-EB0F-4B53-B080-BB8D6F5C3D93}" dt="2024-05-10T16:07:45.909" v="647" actId="1076"/>
          <ac:spMkLst>
            <pc:docMk/>
            <pc:sldMk cId="2331723269" sldId="354"/>
            <ac:spMk id="16" creationId="{B1CB6738-8752-26C0-2959-8602D492615E}"/>
          </ac:spMkLst>
        </pc:spChg>
        <pc:spChg chg="add mod">
          <ac:chgData name="Veniero Facchetti" userId="f2c6c99af91c4974" providerId="LiveId" clId="{34DF7D6B-EB0F-4B53-B080-BB8D6F5C3D93}" dt="2024-05-10T16:07:45.909" v="647" actId="1076"/>
          <ac:spMkLst>
            <pc:docMk/>
            <pc:sldMk cId="2331723269" sldId="354"/>
            <ac:spMk id="17" creationId="{2BD1D7CE-C716-AEC2-55BB-AF6458BB15B2}"/>
          </ac:spMkLst>
        </pc:spChg>
        <pc:spChg chg="add mod">
          <ac:chgData name="Veniero Facchetti" userId="f2c6c99af91c4974" providerId="LiveId" clId="{34DF7D6B-EB0F-4B53-B080-BB8D6F5C3D93}" dt="2024-05-10T16:07:56.380" v="664" actId="14100"/>
          <ac:spMkLst>
            <pc:docMk/>
            <pc:sldMk cId="2331723269" sldId="354"/>
            <ac:spMk id="18" creationId="{8DD2C817-8980-8D32-A758-BF0CE1D63338}"/>
          </ac:spMkLst>
        </pc:spChg>
        <pc:spChg chg="add mod">
          <ac:chgData name="Veniero Facchetti" userId="f2c6c99af91c4974" providerId="LiveId" clId="{34DF7D6B-EB0F-4B53-B080-BB8D6F5C3D93}" dt="2024-05-10T16:07:45.909" v="647" actId="1076"/>
          <ac:spMkLst>
            <pc:docMk/>
            <pc:sldMk cId="2331723269" sldId="354"/>
            <ac:spMk id="19" creationId="{C2A7643B-F6EA-F3F2-EB9C-C9327B00A21F}"/>
          </ac:spMkLst>
        </pc:spChg>
        <pc:spChg chg="add mod">
          <ac:chgData name="Veniero Facchetti" userId="f2c6c99af91c4974" providerId="LiveId" clId="{34DF7D6B-EB0F-4B53-B080-BB8D6F5C3D93}" dt="2024-05-10T16:07:45.909" v="647" actId="1076"/>
          <ac:spMkLst>
            <pc:docMk/>
            <pc:sldMk cId="2331723269" sldId="354"/>
            <ac:spMk id="20" creationId="{5B931FC2-C57D-766E-CA3B-705C43B1DE79}"/>
          </ac:spMkLst>
        </pc:spChg>
        <pc:spChg chg="add mod">
          <ac:chgData name="Veniero Facchetti" userId="f2c6c99af91c4974" providerId="LiveId" clId="{34DF7D6B-EB0F-4B53-B080-BB8D6F5C3D93}" dt="2024-05-10T16:07:45.909" v="647" actId="1076"/>
          <ac:spMkLst>
            <pc:docMk/>
            <pc:sldMk cId="2331723269" sldId="354"/>
            <ac:spMk id="21" creationId="{062330F1-CFE2-1E6A-C5B4-3A7A6212B132}"/>
          </ac:spMkLst>
        </pc:spChg>
        <pc:spChg chg="add mod">
          <ac:chgData name="Veniero Facchetti" userId="f2c6c99af91c4974" providerId="LiveId" clId="{34DF7D6B-EB0F-4B53-B080-BB8D6F5C3D93}" dt="2024-05-10T16:07:45.909" v="647" actId="1076"/>
          <ac:spMkLst>
            <pc:docMk/>
            <pc:sldMk cId="2331723269" sldId="354"/>
            <ac:spMk id="22" creationId="{529F5DCF-EC76-11E8-20DF-470D7F552125}"/>
          </ac:spMkLst>
        </pc:spChg>
      </pc:sldChg>
      <pc:sldChg chg="addSp modSp new mod">
        <pc:chgData name="Veniero Facchetti" userId="f2c6c99af91c4974" providerId="LiveId" clId="{34DF7D6B-EB0F-4B53-B080-BB8D6F5C3D93}" dt="2024-05-10T16:08:53.260" v="678" actId="1076"/>
        <pc:sldMkLst>
          <pc:docMk/>
          <pc:sldMk cId="773402233" sldId="355"/>
        </pc:sldMkLst>
        <pc:spChg chg="add mod">
          <ac:chgData name="Veniero Facchetti" userId="f2c6c99af91c4974" providerId="LiveId" clId="{34DF7D6B-EB0F-4B53-B080-BB8D6F5C3D93}" dt="2024-05-10T16:08:43.151" v="677" actId="404"/>
          <ac:spMkLst>
            <pc:docMk/>
            <pc:sldMk cId="773402233" sldId="355"/>
            <ac:spMk id="5" creationId="{7754A16E-9EE4-4207-A49B-D9F82197356F}"/>
          </ac:spMkLst>
        </pc:spChg>
        <pc:spChg chg="add mod">
          <ac:chgData name="Veniero Facchetti" userId="f2c6c99af91c4974" providerId="LiveId" clId="{34DF7D6B-EB0F-4B53-B080-BB8D6F5C3D93}" dt="2024-05-10T16:08:53.260" v="678" actId="1076"/>
          <ac:spMkLst>
            <pc:docMk/>
            <pc:sldMk cId="773402233" sldId="355"/>
            <ac:spMk id="6" creationId="{8CE9BEAE-5D7C-7DC6-AD7A-1F8540D9D2AB}"/>
          </ac:spMkLst>
        </pc:spChg>
        <pc:spChg chg="add mod">
          <ac:chgData name="Veniero Facchetti" userId="f2c6c99af91c4974" providerId="LiveId" clId="{34DF7D6B-EB0F-4B53-B080-BB8D6F5C3D93}" dt="2024-05-10T16:08:30.806" v="673" actId="1076"/>
          <ac:spMkLst>
            <pc:docMk/>
            <pc:sldMk cId="773402233" sldId="355"/>
            <ac:spMk id="8" creationId="{74E3FFAA-0EA3-994F-F017-5E88DB3AC87A}"/>
          </ac:spMkLst>
        </pc:spChg>
        <pc:spChg chg="add mod">
          <ac:chgData name="Veniero Facchetti" userId="f2c6c99af91c4974" providerId="LiveId" clId="{34DF7D6B-EB0F-4B53-B080-BB8D6F5C3D93}" dt="2024-05-10T16:08:30.806" v="673" actId="1076"/>
          <ac:spMkLst>
            <pc:docMk/>
            <pc:sldMk cId="773402233" sldId="355"/>
            <ac:spMk id="9" creationId="{A4665F28-74F0-6519-CF0E-E8CBB5CE97A2}"/>
          </ac:spMkLst>
        </pc:spChg>
        <pc:spChg chg="add mod">
          <ac:chgData name="Veniero Facchetti" userId="f2c6c99af91c4974" providerId="LiveId" clId="{34DF7D6B-EB0F-4B53-B080-BB8D6F5C3D93}" dt="2024-05-10T16:08:30.806" v="673" actId="1076"/>
          <ac:spMkLst>
            <pc:docMk/>
            <pc:sldMk cId="773402233" sldId="355"/>
            <ac:spMk id="10" creationId="{0DA51D0D-65E9-4F31-9F01-3BB64959783B}"/>
          </ac:spMkLst>
        </pc:spChg>
        <pc:spChg chg="add mod">
          <ac:chgData name="Veniero Facchetti" userId="f2c6c99af91c4974" providerId="LiveId" clId="{34DF7D6B-EB0F-4B53-B080-BB8D6F5C3D93}" dt="2024-05-10T16:08:30.806" v="673" actId="1076"/>
          <ac:spMkLst>
            <pc:docMk/>
            <pc:sldMk cId="773402233" sldId="355"/>
            <ac:spMk id="11" creationId="{7B6F1AC7-B8A8-1BA3-829B-890DB50553CC}"/>
          </ac:spMkLst>
        </pc:spChg>
        <pc:spChg chg="add mod">
          <ac:chgData name="Veniero Facchetti" userId="f2c6c99af91c4974" providerId="LiveId" clId="{34DF7D6B-EB0F-4B53-B080-BB8D6F5C3D93}" dt="2024-05-10T16:08:30.806" v="673" actId="1076"/>
          <ac:spMkLst>
            <pc:docMk/>
            <pc:sldMk cId="773402233" sldId="355"/>
            <ac:spMk id="14" creationId="{52E428FF-E994-7F5F-C7F6-A80C7E8896BF}"/>
          </ac:spMkLst>
        </pc:spChg>
        <pc:spChg chg="add mod">
          <ac:chgData name="Veniero Facchetti" userId="f2c6c99af91c4974" providerId="LiveId" clId="{34DF7D6B-EB0F-4B53-B080-BB8D6F5C3D93}" dt="2024-05-10T16:08:30.806" v="673" actId="1076"/>
          <ac:spMkLst>
            <pc:docMk/>
            <pc:sldMk cId="773402233" sldId="355"/>
            <ac:spMk id="15" creationId="{EB7B41C3-3D37-8265-3643-BBC274DAA550}"/>
          </ac:spMkLst>
        </pc:spChg>
        <pc:spChg chg="add mod">
          <ac:chgData name="Veniero Facchetti" userId="f2c6c99af91c4974" providerId="LiveId" clId="{34DF7D6B-EB0F-4B53-B080-BB8D6F5C3D93}" dt="2024-05-10T16:08:30.806" v="673" actId="1076"/>
          <ac:spMkLst>
            <pc:docMk/>
            <pc:sldMk cId="773402233" sldId="355"/>
            <ac:spMk id="16" creationId="{3EFA3B45-928F-FC79-51C9-0F07933E3C84}"/>
          </ac:spMkLst>
        </pc:spChg>
        <pc:spChg chg="add mod">
          <ac:chgData name="Veniero Facchetti" userId="f2c6c99af91c4974" providerId="LiveId" clId="{34DF7D6B-EB0F-4B53-B080-BB8D6F5C3D93}" dt="2024-05-10T16:08:30.806" v="673" actId="1076"/>
          <ac:spMkLst>
            <pc:docMk/>
            <pc:sldMk cId="773402233" sldId="355"/>
            <ac:spMk id="17" creationId="{57315B8E-897F-79EA-BD26-D189428C7BE5}"/>
          </ac:spMkLst>
        </pc:spChg>
        <pc:spChg chg="add mod">
          <ac:chgData name="Veniero Facchetti" userId="f2c6c99af91c4974" providerId="LiveId" clId="{34DF7D6B-EB0F-4B53-B080-BB8D6F5C3D93}" dt="2024-05-10T16:08:30.806" v="673" actId="1076"/>
          <ac:spMkLst>
            <pc:docMk/>
            <pc:sldMk cId="773402233" sldId="355"/>
            <ac:spMk id="18" creationId="{7576FA57-361F-B975-6068-2E757F23E074}"/>
          </ac:spMkLst>
        </pc:spChg>
        <pc:spChg chg="add mod">
          <ac:chgData name="Veniero Facchetti" userId="f2c6c99af91c4974" providerId="LiveId" clId="{34DF7D6B-EB0F-4B53-B080-BB8D6F5C3D93}" dt="2024-05-10T16:08:30.806" v="673" actId="1076"/>
          <ac:spMkLst>
            <pc:docMk/>
            <pc:sldMk cId="773402233" sldId="355"/>
            <ac:spMk id="19" creationId="{F7145961-3B75-ABB7-77B7-6B01627C6C9E}"/>
          </ac:spMkLst>
        </pc:spChg>
        <pc:spChg chg="add mod">
          <ac:chgData name="Veniero Facchetti" userId="f2c6c99af91c4974" providerId="LiveId" clId="{34DF7D6B-EB0F-4B53-B080-BB8D6F5C3D93}" dt="2024-05-10T16:08:30.806" v="673" actId="1076"/>
          <ac:spMkLst>
            <pc:docMk/>
            <pc:sldMk cId="773402233" sldId="355"/>
            <ac:spMk id="20" creationId="{1D240571-1752-CF77-D07F-E513F7A5FD1C}"/>
          </ac:spMkLst>
        </pc:spChg>
        <pc:spChg chg="add mod">
          <ac:chgData name="Veniero Facchetti" userId="f2c6c99af91c4974" providerId="LiveId" clId="{34DF7D6B-EB0F-4B53-B080-BB8D6F5C3D93}" dt="2024-05-10T16:08:30.806" v="673" actId="1076"/>
          <ac:spMkLst>
            <pc:docMk/>
            <pc:sldMk cId="773402233" sldId="355"/>
            <ac:spMk id="21" creationId="{2B88AED1-E310-35C3-2D1B-0AAD03339878}"/>
          </ac:spMkLst>
        </pc:spChg>
        <pc:spChg chg="add mod">
          <ac:chgData name="Veniero Facchetti" userId="f2c6c99af91c4974" providerId="LiveId" clId="{34DF7D6B-EB0F-4B53-B080-BB8D6F5C3D93}" dt="2024-05-10T16:08:53.260" v="678" actId="1076"/>
          <ac:spMkLst>
            <pc:docMk/>
            <pc:sldMk cId="773402233" sldId="355"/>
            <ac:spMk id="22" creationId="{BA83A799-0867-50DD-300A-D13949D4B1B6}"/>
          </ac:spMkLst>
        </pc:spChg>
        <pc:spChg chg="mod">
          <ac:chgData name="Veniero Facchetti" userId="f2c6c99af91c4974" providerId="LiveId" clId="{34DF7D6B-EB0F-4B53-B080-BB8D6F5C3D93}" dt="2024-05-10T16:08:11.884" v="666"/>
          <ac:spMkLst>
            <pc:docMk/>
            <pc:sldMk cId="773402233" sldId="355"/>
            <ac:spMk id="24" creationId="{37932401-89D5-EB85-04E4-691D8A3E98B2}"/>
          </ac:spMkLst>
        </pc:spChg>
        <pc:spChg chg="mod">
          <ac:chgData name="Veniero Facchetti" userId="f2c6c99af91c4974" providerId="LiveId" clId="{34DF7D6B-EB0F-4B53-B080-BB8D6F5C3D93}" dt="2024-05-10T16:08:11.884" v="666"/>
          <ac:spMkLst>
            <pc:docMk/>
            <pc:sldMk cId="773402233" sldId="355"/>
            <ac:spMk id="25" creationId="{F4AFC748-4B92-588C-ED99-30455590578A}"/>
          </ac:spMkLst>
        </pc:spChg>
        <pc:spChg chg="mod">
          <ac:chgData name="Veniero Facchetti" userId="f2c6c99af91c4974" providerId="LiveId" clId="{34DF7D6B-EB0F-4B53-B080-BB8D6F5C3D93}" dt="2024-05-10T16:08:30.806" v="673" actId="1076"/>
          <ac:spMkLst>
            <pc:docMk/>
            <pc:sldMk cId="773402233" sldId="355"/>
            <ac:spMk id="28" creationId="{1F9D678C-F594-3ABD-1A67-84B9D6175596}"/>
          </ac:spMkLst>
        </pc:spChg>
        <pc:spChg chg="mod">
          <ac:chgData name="Veniero Facchetti" userId="f2c6c99af91c4974" providerId="LiveId" clId="{34DF7D6B-EB0F-4B53-B080-BB8D6F5C3D93}" dt="2024-05-10T16:08:30.806" v="673" actId="1076"/>
          <ac:spMkLst>
            <pc:docMk/>
            <pc:sldMk cId="773402233" sldId="355"/>
            <ac:spMk id="31" creationId="{36C94BF1-CDDE-E287-828F-7493752B5ED8}"/>
          </ac:spMkLst>
        </pc:spChg>
        <pc:spChg chg="mod">
          <ac:chgData name="Veniero Facchetti" userId="f2c6c99af91c4974" providerId="LiveId" clId="{34DF7D6B-EB0F-4B53-B080-BB8D6F5C3D93}" dt="2024-05-10T16:08:30.806" v="673" actId="1076"/>
          <ac:spMkLst>
            <pc:docMk/>
            <pc:sldMk cId="773402233" sldId="355"/>
            <ac:spMk id="34" creationId="{D2993672-919A-9701-0E92-FD880A216D9D}"/>
          </ac:spMkLst>
        </pc:spChg>
        <pc:spChg chg="add mod">
          <ac:chgData name="Veniero Facchetti" userId="f2c6c99af91c4974" providerId="LiveId" clId="{34DF7D6B-EB0F-4B53-B080-BB8D6F5C3D93}" dt="2024-05-10T16:08:35.012" v="674" actId="1076"/>
          <ac:spMkLst>
            <pc:docMk/>
            <pc:sldMk cId="773402233" sldId="355"/>
            <ac:spMk id="35" creationId="{FF37EA8D-F478-11BE-017E-CA5152B235BB}"/>
          </ac:spMkLst>
        </pc:spChg>
        <pc:grpChg chg="add mod">
          <ac:chgData name="Veniero Facchetti" userId="f2c6c99af91c4974" providerId="LiveId" clId="{34DF7D6B-EB0F-4B53-B080-BB8D6F5C3D93}" dt="2024-05-10T16:08:11.884" v="666"/>
          <ac:grpSpMkLst>
            <pc:docMk/>
            <pc:sldMk cId="773402233" sldId="355"/>
            <ac:grpSpMk id="23" creationId="{7C60D383-DE5D-3F41-12F5-0CECA34BABB6}"/>
          </ac:grpSpMkLst>
        </pc:grpChg>
        <pc:grpChg chg="add mod">
          <ac:chgData name="Veniero Facchetti" userId="f2c6c99af91c4974" providerId="LiveId" clId="{34DF7D6B-EB0F-4B53-B080-BB8D6F5C3D93}" dt="2024-05-10T16:08:30.806" v="673" actId="1076"/>
          <ac:grpSpMkLst>
            <pc:docMk/>
            <pc:sldMk cId="773402233" sldId="355"/>
            <ac:grpSpMk id="26" creationId="{48DA221E-1666-7425-6709-6252FF7B7FDB}"/>
          </ac:grpSpMkLst>
        </pc:grpChg>
        <pc:grpChg chg="add mod">
          <ac:chgData name="Veniero Facchetti" userId="f2c6c99af91c4974" providerId="LiveId" clId="{34DF7D6B-EB0F-4B53-B080-BB8D6F5C3D93}" dt="2024-05-10T16:08:30.806" v="673" actId="1076"/>
          <ac:grpSpMkLst>
            <pc:docMk/>
            <pc:sldMk cId="773402233" sldId="355"/>
            <ac:grpSpMk id="29" creationId="{0874CE10-47F0-8B13-3522-26D26D3B44BC}"/>
          </ac:grpSpMkLst>
        </pc:grpChg>
        <pc:grpChg chg="add mod">
          <ac:chgData name="Veniero Facchetti" userId="f2c6c99af91c4974" providerId="LiveId" clId="{34DF7D6B-EB0F-4B53-B080-BB8D6F5C3D93}" dt="2024-05-10T16:08:30.806" v="673" actId="1076"/>
          <ac:grpSpMkLst>
            <pc:docMk/>
            <pc:sldMk cId="773402233" sldId="355"/>
            <ac:grpSpMk id="32" creationId="{32E1E7ED-8578-1823-E90E-11538CEAE1B7}"/>
          </ac:grpSpMkLst>
        </pc:grpChg>
        <pc:graphicFrameChg chg="add mod">
          <ac:chgData name="Veniero Facchetti" userId="f2c6c99af91c4974" providerId="LiveId" clId="{34DF7D6B-EB0F-4B53-B080-BB8D6F5C3D93}" dt="2024-05-10T16:08:30.806" v="673" actId="1076"/>
          <ac:graphicFrameMkLst>
            <pc:docMk/>
            <pc:sldMk cId="773402233" sldId="355"/>
            <ac:graphicFrameMk id="7" creationId="{DD50E13B-EA86-97E4-FA49-0FEB152ECFD4}"/>
          </ac:graphicFrameMkLst>
        </pc:graphicFrameChg>
        <pc:graphicFrameChg chg="add mod">
          <ac:chgData name="Veniero Facchetti" userId="f2c6c99af91c4974" providerId="LiveId" clId="{34DF7D6B-EB0F-4B53-B080-BB8D6F5C3D93}" dt="2024-05-10T16:08:30.806" v="673" actId="1076"/>
          <ac:graphicFrameMkLst>
            <pc:docMk/>
            <pc:sldMk cId="773402233" sldId="355"/>
            <ac:graphicFrameMk id="12" creationId="{E59C5738-A00A-DE9F-BF60-C27FD8619B82}"/>
          </ac:graphicFrameMkLst>
        </pc:graphicFrameChg>
        <pc:graphicFrameChg chg="add mod">
          <ac:chgData name="Veniero Facchetti" userId="f2c6c99af91c4974" providerId="LiveId" clId="{34DF7D6B-EB0F-4B53-B080-BB8D6F5C3D93}" dt="2024-05-10T16:08:30.806" v="673" actId="1076"/>
          <ac:graphicFrameMkLst>
            <pc:docMk/>
            <pc:sldMk cId="773402233" sldId="355"/>
            <ac:graphicFrameMk id="13" creationId="{E830D362-8641-F7B9-6845-D5A82ACE7A9D}"/>
          </ac:graphicFrameMkLst>
        </pc:graphicFrameChg>
        <pc:cxnChg chg="add mod">
          <ac:chgData name="Veniero Facchetti" userId="f2c6c99af91c4974" providerId="LiveId" clId="{34DF7D6B-EB0F-4B53-B080-BB8D6F5C3D93}" dt="2024-05-10T16:08:30.806" v="673" actId="1076"/>
          <ac:cxnSpMkLst>
            <pc:docMk/>
            <pc:sldMk cId="773402233" sldId="355"/>
            <ac:cxnSpMk id="2" creationId="{E7CE828C-34B0-2613-44B7-2C52E84D23B4}"/>
          </ac:cxnSpMkLst>
        </pc:cxnChg>
        <pc:cxnChg chg="add mod">
          <ac:chgData name="Veniero Facchetti" userId="f2c6c99af91c4974" providerId="LiveId" clId="{34DF7D6B-EB0F-4B53-B080-BB8D6F5C3D93}" dt="2024-05-10T16:08:30.806" v="673" actId="1076"/>
          <ac:cxnSpMkLst>
            <pc:docMk/>
            <pc:sldMk cId="773402233" sldId="355"/>
            <ac:cxnSpMk id="3" creationId="{A47830D3-4AAB-52CC-D2A1-629AA11855C2}"/>
          </ac:cxnSpMkLst>
        </pc:cxnChg>
        <pc:cxnChg chg="add mod">
          <ac:chgData name="Veniero Facchetti" userId="f2c6c99af91c4974" providerId="LiveId" clId="{34DF7D6B-EB0F-4B53-B080-BB8D6F5C3D93}" dt="2024-05-10T16:08:30.806" v="673" actId="1076"/>
          <ac:cxnSpMkLst>
            <pc:docMk/>
            <pc:sldMk cId="773402233" sldId="355"/>
            <ac:cxnSpMk id="4" creationId="{7316362B-6102-906C-7488-A8E18625D756}"/>
          </ac:cxnSpMkLst>
        </pc:cxnChg>
        <pc:cxnChg chg="mod">
          <ac:chgData name="Veniero Facchetti" userId="f2c6c99af91c4974" providerId="LiveId" clId="{34DF7D6B-EB0F-4B53-B080-BB8D6F5C3D93}" dt="2024-05-10T16:08:30.806" v="673" actId="1076"/>
          <ac:cxnSpMkLst>
            <pc:docMk/>
            <pc:sldMk cId="773402233" sldId="355"/>
            <ac:cxnSpMk id="27" creationId="{CD00C18E-97A2-6C14-CBB8-73D9BBE70295}"/>
          </ac:cxnSpMkLst>
        </pc:cxnChg>
        <pc:cxnChg chg="mod">
          <ac:chgData name="Veniero Facchetti" userId="f2c6c99af91c4974" providerId="LiveId" clId="{34DF7D6B-EB0F-4B53-B080-BB8D6F5C3D93}" dt="2024-05-10T16:08:30.806" v="673" actId="1076"/>
          <ac:cxnSpMkLst>
            <pc:docMk/>
            <pc:sldMk cId="773402233" sldId="355"/>
            <ac:cxnSpMk id="30" creationId="{C87F6777-EFA4-0894-9984-91974A322AB7}"/>
          </ac:cxnSpMkLst>
        </pc:cxnChg>
        <pc:cxnChg chg="mod">
          <ac:chgData name="Veniero Facchetti" userId="f2c6c99af91c4974" providerId="LiveId" clId="{34DF7D6B-EB0F-4B53-B080-BB8D6F5C3D93}" dt="2024-05-10T16:08:30.806" v="673" actId="1076"/>
          <ac:cxnSpMkLst>
            <pc:docMk/>
            <pc:sldMk cId="773402233" sldId="355"/>
            <ac:cxnSpMk id="33" creationId="{200677DC-F78D-79A5-369F-A2369F27A946}"/>
          </ac:cxnSpMkLst>
        </pc:cxnChg>
      </pc:sldChg>
      <pc:sldChg chg="addSp modSp new mod">
        <pc:chgData name="Veniero Facchetti" userId="f2c6c99af91c4974" providerId="LiveId" clId="{34DF7D6B-EB0F-4B53-B080-BB8D6F5C3D93}" dt="2024-05-10T16:09:51.812" v="709" actId="1076"/>
        <pc:sldMkLst>
          <pc:docMk/>
          <pc:sldMk cId="2583446209" sldId="356"/>
        </pc:sldMkLst>
        <pc:spChg chg="add mod">
          <ac:chgData name="Veniero Facchetti" userId="f2c6c99af91c4974" providerId="LiveId" clId="{34DF7D6B-EB0F-4B53-B080-BB8D6F5C3D93}" dt="2024-05-10T16:09:51.812" v="709" actId="1076"/>
          <ac:spMkLst>
            <pc:docMk/>
            <pc:sldMk cId="2583446209" sldId="356"/>
            <ac:spMk id="2" creationId="{359EF920-D72B-6D3F-0B8D-2197BC379D4B}"/>
          </ac:spMkLst>
        </pc:spChg>
        <pc:spChg chg="add mod">
          <ac:chgData name="Veniero Facchetti" userId="f2c6c99af91c4974" providerId="LiveId" clId="{34DF7D6B-EB0F-4B53-B080-BB8D6F5C3D93}" dt="2024-05-10T16:09:16.685" v="680"/>
          <ac:spMkLst>
            <pc:docMk/>
            <pc:sldMk cId="2583446209" sldId="356"/>
            <ac:spMk id="3" creationId="{3490E111-1B4A-9B54-277E-49AFDD20D5A2}"/>
          </ac:spMkLst>
        </pc:spChg>
        <pc:spChg chg="add mod">
          <ac:chgData name="Veniero Facchetti" userId="f2c6c99af91c4974" providerId="LiveId" clId="{34DF7D6B-EB0F-4B53-B080-BB8D6F5C3D93}" dt="2024-05-10T16:09:37.686" v="687" actId="1076"/>
          <ac:spMkLst>
            <pc:docMk/>
            <pc:sldMk cId="2583446209" sldId="356"/>
            <ac:spMk id="4" creationId="{C98405F5-B809-D5E1-E927-32E2685C5EB1}"/>
          </ac:spMkLst>
        </pc:spChg>
        <pc:spChg chg="add mod">
          <ac:chgData name="Veniero Facchetti" userId="f2c6c99af91c4974" providerId="LiveId" clId="{34DF7D6B-EB0F-4B53-B080-BB8D6F5C3D93}" dt="2024-05-10T16:09:37.686" v="687" actId="1076"/>
          <ac:spMkLst>
            <pc:docMk/>
            <pc:sldMk cId="2583446209" sldId="356"/>
            <ac:spMk id="5" creationId="{1327165E-6A7C-5AD4-7F7B-36A1333DEAE3}"/>
          </ac:spMkLst>
        </pc:spChg>
        <pc:spChg chg="add mod">
          <ac:chgData name="Veniero Facchetti" userId="f2c6c99af91c4974" providerId="LiveId" clId="{34DF7D6B-EB0F-4B53-B080-BB8D6F5C3D93}" dt="2024-05-10T16:09:37.686" v="687" actId="1076"/>
          <ac:spMkLst>
            <pc:docMk/>
            <pc:sldMk cId="2583446209" sldId="356"/>
            <ac:spMk id="6" creationId="{391F30C3-2A14-1F15-7817-8CADCA2EFDE4}"/>
          </ac:spMkLst>
        </pc:spChg>
        <pc:spChg chg="add mod">
          <ac:chgData name="Veniero Facchetti" userId="f2c6c99af91c4974" providerId="LiveId" clId="{34DF7D6B-EB0F-4B53-B080-BB8D6F5C3D93}" dt="2024-05-10T16:09:37.686" v="687" actId="1076"/>
          <ac:spMkLst>
            <pc:docMk/>
            <pc:sldMk cId="2583446209" sldId="356"/>
            <ac:spMk id="7" creationId="{50D36479-F1CC-37BD-8BDA-38DBAD074CC3}"/>
          </ac:spMkLst>
        </pc:spChg>
        <pc:spChg chg="add mod">
          <ac:chgData name="Veniero Facchetti" userId="f2c6c99af91c4974" providerId="LiveId" clId="{34DF7D6B-EB0F-4B53-B080-BB8D6F5C3D93}" dt="2024-05-10T16:09:37.686" v="687" actId="1076"/>
          <ac:spMkLst>
            <pc:docMk/>
            <pc:sldMk cId="2583446209" sldId="356"/>
            <ac:spMk id="9" creationId="{D48FAF1B-3499-CA38-AA41-C3F855FC899D}"/>
          </ac:spMkLst>
        </pc:spChg>
        <pc:spChg chg="add mod">
          <ac:chgData name="Veniero Facchetti" userId="f2c6c99af91c4974" providerId="LiveId" clId="{34DF7D6B-EB0F-4B53-B080-BB8D6F5C3D93}" dt="2024-05-10T16:09:37.686" v="687" actId="1076"/>
          <ac:spMkLst>
            <pc:docMk/>
            <pc:sldMk cId="2583446209" sldId="356"/>
            <ac:spMk id="10" creationId="{375328A9-38C3-A0C2-E1E8-2BB2CAF5B1CF}"/>
          </ac:spMkLst>
        </pc:spChg>
        <pc:spChg chg="add mod">
          <ac:chgData name="Veniero Facchetti" userId="f2c6c99af91c4974" providerId="LiveId" clId="{34DF7D6B-EB0F-4B53-B080-BB8D6F5C3D93}" dt="2024-05-10T16:09:37.686" v="687" actId="1076"/>
          <ac:spMkLst>
            <pc:docMk/>
            <pc:sldMk cId="2583446209" sldId="356"/>
            <ac:spMk id="15" creationId="{C8A65493-C3AB-0DE4-2E6A-7A9B1AAF78B8}"/>
          </ac:spMkLst>
        </pc:spChg>
        <pc:spChg chg="add mod">
          <ac:chgData name="Veniero Facchetti" userId="f2c6c99af91c4974" providerId="LiveId" clId="{34DF7D6B-EB0F-4B53-B080-BB8D6F5C3D93}" dt="2024-05-10T16:09:37.686" v="687" actId="1076"/>
          <ac:spMkLst>
            <pc:docMk/>
            <pc:sldMk cId="2583446209" sldId="356"/>
            <ac:spMk id="16" creationId="{3F88A907-A97B-BE11-97AC-212CBAED441A}"/>
          </ac:spMkLst>
        </pc:spChg>
        <pc:spChg chg="add mod">
          <ac:chgData name="Veniero Facchetti" userId="f2c6c99af91c4974" providerId="LiveId" clId="{34DF7D6B-EB0F-4B53-B080-BB8D6F5C3D93}" dt="2024-05-10T16:09:37.686" v="687" actId="1076"/>
          <ac:spMkLst>
            <pc:docMk/>
            <pc:sldMk cId="2583446209" sldId="356"/>
            <ac:spMk id="17" creationId="{12FFAF8D-30F8-3330-8BC8-430F93AAA6DF}"/>
          </ac:spMkLst>
        </pc:spChg>
        <pc:spChg chg="add mod">
          <ac:chgData name="Veniero Facchetti" userId="f2c6c99af91c4974" providerId="LiveId" clId="{34DF7D6B-EB0F-4B53-B080-BB8D6F5C3D93}" dt="2024-05-10T16:09:37.686" v="687" actId="1076"/>
          <ac:spMkLst>
            <pc:docMk/>
            <pc:sldMk cId="2583446209" sldId="356"/>
            <ac:spMk id="18" creationId="{8E47976E-A05E-D3BA-AEC7-8F1932B80F41}"/>
          </ac:spMkLst>
        </pc:spChg>
        <pc:spChg chg="add mod">
          <ac:chgData name="Veniero Facchetti" userId="f2c6c99af91c4974" providerId="LiveId" clId="{34DF7D6B-EB0F-4B53-B080-BB8D6F5C3D93}" dt="2024-05-10T16:09:37.686" v="687" actId="1076"/>
          <ac:spMkLst>
            <pc:docMk/>
            <pc:sldMk cId="2583446209" sldId="356"/>
            <ac:spMk id="21" creationId="{C58C499B-C054-7662-719C-445C92B44D3F}"/>
          </ac:spMkLst>
        </pc:spChg>
        <pc:spChg chg="add mod">
          <ac:chgData name="Veniero Facchetti" userId="f2c6c99af91c4974" providerId="LiveId" clId="{34DF7D6B-EB0F-4B53-B080-BB8D6F5C3D93}" dt="2024-05-10T16:09:37.686" v="687" actId="1076"/>
          <ac:spMkLst>
            <pc:docMk/>
            <pc:sldMk cId="2583446209" sldId="356"/>
            <ac:spMk id="22" creationId="{BF392BD9-0C66-DC98-1AF1-AC10420694EC}"/>
          </ac:spMkLst>
        </pc:spChg>
        <pc:spChg chg="add mod">
          <ac:chgData name="Veniero Facchetti" userId="f2c6c99af91c4974" providerId="LiveId" clId="{34DF7D6B-EB0F-4B53-B080-BB8D6F5C3D93}" dt="2024-05-10T16:09:37.686" v="687" actId="1076"/>
          <ac:spMkLst>
            <pc:docMk/>
            <pc:sldMk cId="2583446209" sldId="356"/>
            <ac:spMk id="25" creationId="{BA1023E9-0D4C-FAC9-5BCD-E48D27F5A760}"/>
          </ac:spMkLst>
        </pc:spChg>
        <pc:spChg chg="add mod">
          <ac:chgData name="Veniero Facchetti" userId="f2c6c99af91c4974" providerId="LiveId" clId="{34DF7D6B-EB0F-4B53-B080-BB8D6F5C3D93}" dt="2024-05-10T16:09:37.686" v="687" actId="1076"/>
          <ac:spMkLst>
            <pc:docMk/>
            <pc:sldMk cId="2583446209" sldId="356"/>
            <ac:spMk id="26" creationId="{AEFA23E5-48FE-20CA-D2E4-BCFE04206351}"/>
          </ac:spMkLst>
        </pc:spChg>
        <pc:spChg chg="add mod">
          <ac:chgData name="Veniero Facchetti" userId="f2c6c99af91c4974" providerId="LiveId" clId="{34DF7D6B-EB0F-4B53-B080-BB8D6F5C3D93}" dt="2024-05-10T16:09:37.686" v="687" actId="1076"/>
          <ac:spMkLst>
            <pc:docMk/>
            <pc:sldMk cId="2583446209" sldId="356"/>
            <ac:spMk id="27" creationId="{A7466A9B-1B7E-548B-7327-7B3F8D7AA50D}"/>
          </ac:spMkLst>
        </pc:spChg>
        <pc:spChg chg="add mod">
          <ac:chgData name="Veniero Facchetti" userId="f2c6c99af91c4974" providerId="LiveId" clId="{34DF7D6B-EB0F-4B53-B080-BB8D6F5C3D93}" dt="2024-05-10T16:09:37.686" v="687" actId="1076"/>
          <ac:spMkLst>
            <pc:docMk/>
            <pc:sldMk cId="2583446209" sldId="356"/>
            <ac:spMk id="28" creationId="{F8050BC1-9170-A307-0589-2D43E535B87C}"/>
          </ac:spMkLst>
        </pc:spChg>
        <pc:spChg chg="add mod">
          <ac:chgData name="Veniero Facchetti" userId="f2c6c99af91c4974" providerId="LiveId" clId="{34DF7D6B-EB0F-4B53-B080-BB8D6F5C3D93}" dt="2024-05-10T16:09:37.686" v="687" actId="1076"/>
          <ac:spMkLst>
            <pc:docMk/>
            <pc:sldMk cId="2583446209" sldId="356"/>
            <ac:spMk id="29" creationId="{8C2A774F-F7B5-B206-B7AF-175D74739F6F}"/>
          </ac:spMkLst>
        </pc:spChg>
        <pc:spChg chg="add mod">
          <ac:chgData name="Veniero Facchetti" userId="f2c6c99af91c4974" providerId="LiveId" clId="{34DF7D6B-EB0F-4B53-B080-BB8D6F5C3D93}" dt="2024-05-10T16:09:37.686" v="687" actId="1076"/>
          <ac:spMkLst>
            <pc:docMk/>
            <pc:sldMk cId="2583446209" sldId="356"/>
            <ac:spMk id="30" creationId="{2B222F75-E45A-EF8C-FF8F-7753E6E25CCA}"/>
          </ac:spMkLst>
        </pc:spChg>
        <pc:spChg chg="add mod">
          <ac:chgData name="Veniero Facchetti" userId="f2c6c99af91c4974" providerId="LiveId" clId="{34DF7D6B-EB0F-4B53-B080-BB8D6F5C3D93}" dt="2024-05-10T16:09:37.686" v="687" actId="1076"/>
          <ac:spMkLst>
            <pc:docMk/>
            <pc:sldMk cId="2583446209" sldId="356"/>
            <ac:spMk id="33" creationId="{53A2EBC5-5F0F-F82D-F485-BD3E15D57517}"/>
          </ac:spMkLst>
        </pc:spChg>
        <pc:spChg chg="add mod">
          <ac:chgData name="Veniero Facchetti" userId="f2c6c99af91c4974" providerId="LiveId" clId="{34DF7D6B-EB0F-4B53-B080-BB8D6F5C3D93}" dt="2024-05-10T16:09:37.686" v="687" actId="1076"/>
          <ac:spMkLst>
            <pc:docMk/>
            <pc:sldMk cId="2583446209" sldId="356"/>
            <ac:spMk id="34" creationId="{956F0616-9DF4-780E-89AF-58B14DBB8E95}"/>
          </ac:spMkLst>
        </pc:spChg>
        <pc:spChg chg="add mod">
          <ac:chgData name="Veniero Facchetti" userId="f2c6c99af91c4974" providerId="LiveId" clId="{34DF7D6B-EB0F-4B53-B080-BB8D6F5C3D93}" dt="2024-05-10T16:09:37.686" v="687" actId="1076"/>
          <ac:spMkLst>
            <pc:docMk/>
            <pc:sldMk cId="2583446209" sldId="356"/>
            <ac:spMk id="35" creationId="{B49FC15C-388A-E1DA-AEB2-28CAFDACFA1C}"/>
          </ac:spMkLst>
        </pc:spChg>
        <pc:spChg chg="add mod">
          <ac:chgData name="Veniero Facchetti" userId="f2c6c99af91c4974" providerId="LiveId" clId="{34DF7D6B-EB0F-4B53-B080-BB8D6F5C3D93}" dt="2024-05-10T16:09:37.686" v="687" actId="1076"/>
          <ac:spMkLst>
            <pc:docMk/>
            <pc:sldMk cId="2583446209" sldId="356"/>
            <ac:spMk id="37" creationId="{EF380151-3451-B138-D587-CAB0C5CA3650}"/>
          </ac:spMkLst>
        </pc:spChg>
        <pc:spChg chg="add mod">
          <ac:chgData name="Veniero Facchetti" userId="f2c6c99af91c4974" providerId="LiveId" clId="{34DF7D6B-EB0F-4B53-B080-BB8D6F5C3D93}" dt="2024-05-10T16:09:37.686" v="687" actId="1076"/>
          <ac:spMkLst>
            <pc:docMk/>
            <pc:sldMk cId="2583446209" sldId="356"/>
            <ac:spMk id="42" creationId="{9DB97A62-AE56-B8A8-84ED-CB759BE16301}"/>
          </ac:spMkLst>
        </pc:spChg>
        <pc:spChg chg="add mod">
          <ac:chgData name="Veniero Facchetti" userId="f2c6c99af91c4974" providerId="LiveId" clId="{34DF7D6B-EB0F-4B53-B080-BB8D6F5C3D93}" dt="2024-05-10T16:09:37.686" v="687" actId="1076"/>
          <ac:spMkLst>
            <pc:docMk/>
            <pc:sldMk cId="2583446209" sldId="356"/>
            <ac:spMk id="43" creationId="{742CB34E-06C9-A3E6-568A-7EF4691828D8}"/>
          </ac:spMkLst>
        </pc:spChg>
        <pc:spChg chg="add mod">
          <ac:chgData name="Veniero Facchetti" userId="f2c6c99af91c4974" providerId="LiveId" clId="{34DF7D6B-EB0F-4B53-B080-BB8D6F5C3D93}" dt="2024-05-10T16:09:37.686" v="687" actId="1076"/>
          <ac:spMkLst>
            <pc:docMk/>
            <pc:sldMk cId="2583446209" sldId="356"/>
            <ac:spMk id="44" creationId="{150BD174-12E9-85E0-2A0C-7C0340440E81}"/>
          </ac:spMkLst>
        </pc:spChg>
        <pc:spChg chg="add mod">
          <ac:chgData name="Veniero Facchetti" userId="f2c6c99af91c4974" providerId="LiveId" clId="{34DF7D6B-EB0F-4B53-B080-BB8D6F5C3D93}" dt="2024-05-10T16:09:37.686" v="687" actId="1076"/>
          <ac:spMkLst>
            <pc:docMk/>
            <pc:sldMk cId="2583446209" sldId="356"/>
            <ac:spMk id="45" creationId="{45B29F66-9540-84BE-4B83-6FF3EA128D65}"/>
          </ac:spMkLst>
        </pc:spChg>
        <pc:spChg chg="add mod">
          <ac:chgData name="Veniero Facchetti" userId="f2c6c99af91c4974" providerId="LiveId" clId="{34DF7D6B-EB0F-4B53-B080-BB8D6F5C3D93}" dt="2024-05-10T16:09:37.686" v="687" actId="1076"/>
          <ac:spMkLst>
            <pc:docMk/>
            <pc:sldMk cId="2583446209" sldId="356"/>
            <ac:spMk id="46" creationId="{C4CBDA76-7F73-576A-F99F-AB716FD067E6}"/>
          </ac:spMkLst>
        </pc:spChg>
        <pc:spChg chg="add mod">
          <ac:chgData name="Veniero Facchetti" userId="f2c6c99af91c4974" providerId="LiveId" clId="{34DF7D6B-EB0F-4B53-B080-BB8D6F5C3D93}" dt="2024-05-10T16:09:37.686" v="687" actId="1076"/>
          <ac:spMkLst>
            <pc:docMk/>
            <pc:sldMk cId="2583446209" sldId="356"/>
            <ac:spMk id="47" creationId="{F41F5B42-28D8-6E63-DD14-63675CCE7835}"/>
          </ac:spMkLst>
        </pc:spChg>
        <pc:spChg chg="mod">
          <ac:chgData name="Veniero Facchetti" userId="f2c6c99af91c4974" providerId="LiveId" clId="{34DF7D6B-EB0F-4B53-B080-BB8D6F5C3D93}" dt="2024-05-10T16:09:16.685" v="680"/>
          <ac:spMkLst>
            <pc:docMk/>
            <pc:sldMk cId="2583446209" sldId="356"/>
            <ac:spMk id="52" creationId="{594C9EC7-E101-DF7B-91E7-1C6A426816C5}"/>
          </ac:spMkLst>
        </pc:spChg>
        <pc:spChg chg="mod">
          <ac:chgData name="Veniero Facchetti" userId="f2c6c99af91c4974" providerId="LiveId" clId="{34DF7D6B-EB0F-4B53-B080-BB8D6F5C3D93}" dt="2024-05-10T16:09:16.685" v="680"/>
          <ac:spMkLst>
            <pc:docMk/>
            <pc:sldMk cId="2583446209" sldId="356"/>
            <ac:spMk id="53" creationId="{4BF7A270-0392-9B7B-1AC7-9037ECDCA5E8}"/>
          </ac:spMkLst>
        </pc:spChg>
        <pc:spChg chg="add mod">
          <ac:chgData name="Veniero Facchetti" userId="f2c6c99af91c4974" providerId="LiveId" clId="{34DF7D6B-EB0F-4B53-B080-BB8D6F5C3D93}" dt="2024-05-10T16:09:48.587" v="708" actId="1076"/>
          <ac:spMkLst>
            <pc:docMk/>
            <pc:sldMk cId="2583446209" sldId="356"/>
            <ac:spMk id="54" creationId="{298316D5-71BA-46D5-7D0F-FED5AF7DBD05}"/>
          </ac:spMkLst>
        </pc:spChg>
        <pc:grpChg chg="add mod">
          <ac:chgData name="Veniero Facchetti" userId="f2c6c99af91c4974" providerId="LiveId" clId="{34DF7D6B-EB0F-4B53-B080-BB8D6F5C3D93}" dt="2024-05-10T16:09:37.686" v="687" actId="1076"/>
          <ac:grpSpMkLst>
            <pc:docMk/>
            <pc:sldMk cId="2583446209" sldId="356"/>
            <ac:grpSpMk id="39" creationId="{FDDEC0D3-0018-5D8A-12F5-C03C7B842B13}"/>
          </ac:grpSpMkLst>
        </pc:grpChg>
        <pc:grpChg chg="add mod">
          <ac:chgData name="Veniero Facchetti" userId="f2c6c99af91c4974" providerId="LiveId" clId="{34DF7D6B-EB0F-4B53-B080-BB8D6F5C3D93}" dt="2024-05-10T16:09:16.685" v="680"/>
          <ac:grpSpMkLst>
            <pc:docMk/>
            <pc:sldMk cId="2583446209" sldId="356"/>
            <ac:grpSpMk id="51" creationId="{FAB23EDC-E2C0-16F8-E819-7B0663EBFA46}"/>
          </ac:grpSpMkLst>
        </pc:grpChg>
        <pc:picChg chg="add mod">
          <ac:chgData name="Veniero Facchetti" userId="f2c6c99af91c4974" providerId="LiveId" clId="{34DF7D6B-EB0F-4B53-B080-BB8D6F5C3D93}" dt="2024-05-10T16:09:37.686" v="687" actId="1076"/>
          <ac:picMkLst>
            <pc:docMk/>
            <pc:sldMk cId="2583446209" sldId="356"/>
            <ac:picMk id="8" creationId="{E509619D-90F8-F672-F46A-50D182AE8848}"/>
          </ac:picMkLst>
        </pc:picChg>
        <pc:picChg chg="add mod">
          <ac:chgData name="Veniero Facchetti" userId="f2c6c99af91c4974" providerId="LiveId" clId="{34DF7D6B-EB0F-4B53-B080-BB8D6F5C3D93}" dt="2024-05-10T16:09:37.686" v="687" actId="1076"/>
          <ac:picMkLst>
            <pc:docMk/>
            <pc:sldMk cId="2583446209" sldId="356"/>
            <ac:picMk id="11" creationId="{2879582A-7935-2A30-8CC2-3F29100AF0DA}"/>
          </ac:picMkLst>
        </pc:picChg>
        <pc:picChg chg="add mod">
          <ac:chgData name="Veniero Facchetti" userId="f2c6c99af91c4974" providerId="LiveId" clId="{34DF7D6B-EB0F-4B53-B080-BB8D6F5C3D93}" dt="2024-05-10T16:09:37.686" v="687" actId="1076"/>
          <ac:picMkLst>
            <pc:docMk/>
            <pc:sldMk cId="2583446209" sldId="356"/>
            <ac:picMk id="12" creationId="{AF91B40D-AA72-4E81-9E52-F15790C98C1C}"/>
          </ac:picMkLst>
        </pc:picChg>
        <pc:picChg chg="add mod">
          <ac:chgData name="Veniero Facchetti" userId="f2c6c99af91c4974" providerId="LiveId" clId="{34DF7D6B-EB0F-4B53-B080-BB8D6F5C3D93}" dt="2024-05-10T16:09:37.686" v="687" actId="1076"/>
          <ac:picMkLst>
            <pc:docMk/>
            <pc:sldMk cId="2583446209" sldId="356"/>
            <ac:picMk id="13" creationId="{56F6176E-2DBC-14C6-0708-3D8AC5F6DE70}"/>
          </ac:picMkLst>
        </pc:picChg>
        <pc:picChg chg="add mod">
          <ac:chgData name="Veniero Facchetti" userId="f2c6c99af91c4974" providerId="LiveId" clId="{34DF7D6B-EB0F-4B53-B080-BB8D6F5C3D93}" dt="2024-05-10T16:09:37.686" v="687" actId="1076"/>
          <ac:picMkLst>
            <pc:docMk/>
            <pc:sldMk cId="2583446209" sldId="356"/>
            <ac:picMk id="14" creationId="{0C9ED1B1-FA31-1244-43AC-69527C24D5B1}"/>
          </ac:picMkLst>
        </pc:picChg>
        <pc:picChg chg="add mod">
          <ac:chgData name="Veniero Facchetti" userId="f2c6c99af91c4974" providerId="LiveId" clId="{34DF7D6B-EB0F-4B53-B080-BB8D6F5C3D93}" dt="2024-05-10T16:09:37.686" v="687" actId="1076"/>
          <ac:picMkLst>
            <pc:docMk/>
            <pc:sldMk cId="2583446209" sldId="356"/>
            <ac:picMk id="19" creationId="{865E40F7-F8DD-6529-C8C8-3D94E42E4EC4}"/>
          </ac:picMkLst>
        </pc:picChg>
        <pc:picChg chg="add mod">
          <ac:chgData name="Veniero Facchetti" userId="f2c6c99af91c4974" providerId="LiveId" clId="{34DF7D6B-EB0F-4B53-B080-BB8D6F5C3D93}" dt="2024-05-10T16:09:37.686" v="687" actId="1076"/>
          <ac:picMkLst>
            <pc:docMk/>
            <pc:sldMk cId="2583446209" sldId="356"/>
            <ac:picMk id="20" creationId="{DFE05ED8-9B82-C3D7-BD3F-AAF1DF54458E}"/>
          </ac:picMkLst>
        </pc:picChg>
        <pc:picChg chg="add mod">
          <ac:chgData name="Veniero Facchetti" userId="f2c6c99af91c4974" providerId="LiveId" clId="{34DF7D6B-EB0F-4B53-B080-BB8D6F5C3D93}" dt="2024-05-10T16:09:37.686" v="687" actId="1076"/>
          <ac:picMkLst>
            <pc:docMk/>
            <pc:sldMk cId="2583446209" sldId="356"/>
            <ac:picMk id="23" creationId="{CABE8C35-DB95-F7EA-E515-91DFDF4A4F81}"/>
          </ac:picMkLst>
        </pc:picChg>
        <pc:picChg chg="add mod">
          <ac:chgData name="Veniero Facchetti" userId="f2c6c99af91c4974" providerId="LiveId" clId="{34DF7D6B-EB0F-4B53-B080-BB8D6F5C3D93}" dt="2024-05-10T16:09:37.686" v="687" actId="1076"/>
          <ac:picMkLst>
            <pc:docMk/>
            <pc:sldMk cId="2583446209" sldId="356"/>
            <ac:picMk id="24" creationId="{7C2A9F4D-DFFC-8CC4-C814-B46B8089077F}"/>
          </ac:picMkLst>
        </pc:picChg>
        <pc:picChg chg="add mod">
          <ac:chgData name="Veniero Facchetti" userId="f2c6c99af91c4974" providerId="LiveId" clId="{34DF7D6B-EB0F-4B53-B080-BB8D6F5C3D93}" dt="2024-05-10T16:09:37.686" v="687" actId="1076"/>
          <ac:picMkLst>
            <pc:docMk/>
            <pc:sldMk cId="2583446209" sldId="356"/>
            <ac:picMk id="31" creationId="{9C8743AC-6E8A-5B9E-6F4D-BCB9329BDEEB}"/>
          </ac:picMkLst>
        </pc:picChg>
        <pc:picChg chg="add mod">
          <ac:chgData name="Veniero Facchetti" userId="f2c6c99af91c4974" providerId="LiveId" clId="{34DF7D6B-EB0F-4B53-B080-BB8D6F5C3D93}" dt="2024-05-10T16:09:37.686" v="687" actId="1076"/>
          <ac:picMkLst>
            <pc:docMk/>
            <pc:sldMk cId="2583446209" sldId="356"/>
            <ac:picMk id="32" creationId="{BD3CF295-B57E-960A-6485-17FAA3397676}"/>
          </ac:picMkLst>
        </pc:picChg>
        <pc:picChg chg="add mod">
          <ac:chgData name="Veniero Facchetti" userId="f2c6c99af91c4974" providerId="LiveId" clId="{34DF7D6B-EB0F-4B53-B080-BB8D6F5C3D93}" dt="2024-05-10T16:09:37.686" v="687" actId="1076"/>
          <ac:picMkLst>
            <pc:docMk/>
            <pc:sldMk cId="2583446209" sldId="356"/>
            <ac:picMk id="38" creationId="{A66A4A54-A3CF-350F-C0E6-6CDCA57994E1}"/>
          </ac:picMkLst>
        </pc:picChg>
        <pc:picChg chg="mod">
          <ac:chgData name="Veniero Facchetti" userId="f2c6c99af91c4974" providerId="LiveId" clId="{34DF7D6B-EB0F-4B53-B080-BB8D6F5C3D93}" dt="2024-05-10T16:09:37.686" v="687" actId="1076"/>
          <ac:picMkLst>
            <pc:docMk/>
            <pc:sldMk cId="2583446209" sldId="356"/>
            <ac:picMk id="40" creationId="{9CF4819D-49D8-1802-CF85-9321B07F7B5B}"/>
          </ac:picMkLst>
        </pc:picChg>
        <pc:picChg chg="mod">
          <ac:chgData name="Veniero Facchetti" userId="f2c6c99af91c4974" providerId="LiveId" clId="{34DF7D6B-EB0F-4B53-B080-BB8D6F5C3D93}" dt="2024-05-10T16:09:37.686" v="687" actId="1076"/>
          <ac:picMkLst>
            <pc:docMk/>
            <pc:sldMk cId="2583446209" sldId="356"/>
            <ac:picMk id="41" creationId="{102773C6-D560-3DC8-1966-D3ECAB6806BE}"/>
          </ac:picMkLst>
        </pc:picChg>
        <pc:picChg chg="add mod">
          <ac:chgData name="Veniero Facchetti" userId="f2c6c99af91c4974" providerId="LiveId" clId="{34DF7D6B-EB0F-4B53-B080-BB8D6F5C3D93}" dt="2024-05-10T16:09:37.686" v="687" actId="1076"/>
          <ac:picMkLst>
            <pc:docMk/>
            <pc:sldMk cId="2583446209" sldId="356"/>
            <ac:picMk id="48" creationId="{6645303B-2360-A985-B192-CD51B8B310F7}"/>
          </ac:picMkLst>
        </pc:picChg>
        <pc:picChg chg="add mod">
          <ac:chgData name="Veniero Facchetti" userId="f2c6c99af91c4974" providerId="LiveId" clId="{34DF7D6B-EB0F-4B53-B080-BB8D6F5C3D93}" dt="2024-05-10T16:09:37.686" v="687" actId="1076"/>
          <ac:picMkLst>
            <pc:docMk/>
            <pc:sldMk cId="2583446209" sldId="356"/>
            <ac:picMk id="49" creationId="{A8AF2412-83DB-8F6D-E9EB-AD6679D4D196}"/>
          </ac:picMkLst>
        </pc:picChg>
        <pc:picChg chg="add mod">
          <ac:chgData name="Veniero Facchetti" userId="f2c6c99af91c4974" providerId="LiveId" clId="{34DF7D6B-EB0F-4B53-B080-BB8D6F5C3D93}" dt="2024-05-10T16:09:43.758" v="707" actId="1036"/>
          <ac:picMkLst>
            <pc:docMk/>
            <pc:sldMk cId="2583446209" sldId="356"/>
            <ac:picMk id="50" creationId="{DA0943BF-CF36-8AB0-E7C4-23056BEAFC2A}"/>
          </ac:picMkLst>
        </pc:picChg>
        <pc:cxnChg chg="add mod">
          <ac:chgData name="Veniero Facchetti" userId="f2c6c99af91c4974" providerId="LiveId" clId="{34DF7D6B-EB0F-4B53-B080-BB8D6F5C3D93}" dt="2024-05-10T16:09:37.686" v="687" actId="1076"/>
          <ac:cxnSpMkLst>
            <pc:docMk/>
            <pc:sldMk cId="2583446209" sldId="356"/>
            <ac:cxnSpMk id="36" creationId="{0D366921-B23B-02ED-FDA7-669FA97AF558}"/>
          </ac:cxnSpMkLst>
        </pc:cxnChg>
      </pc:sldChg>
      <pc:sldChg chg="addSp modSp new mod">
        <pc:chgData name="Veniero Facchetti" userId="f2c6c99af91c4974" providerId="LiveId" clId="{34DF7D6B-EB0F-4B53-B080-BB8D6F5C3D93}" dt="2024-05-10T16:11:14.844" v="724" actId="14100"/>
        <pc:sldMkLst>
          <pc:docMk/>
          <pc:sldMk cId="2568016385" sldId="357"/>
        </pc:sldMkLst>
        <pc:spChg chg="mod">
          <ac:chgData name="Veniero Facchetti" userId="f2c6c99af91c4974" providerId="LiveId" clId="{34DF7D6B-EB0F-4B53-B080-BB8D6F5C3D93}" dt="2024-05-10T16:10:13.783" v="711"/>
          <ac:spMkLst>
            <pc:docMk/>
            <pc:sldMk cId="2568016385" sldId="357"/>
            <ac:spMk id="3" creationId="{879B4C3E-083D-3CB7-AE21-D300F1D0F50D}"/>
          </ac:spMkLst>
        </pc:spChg>
        <pc:spChg chg="mod">
          <ac:chgData name="Veniero Facchetti" userId="f2c6c99af91c4974" providerId="LiveId" clId="{34DF7D6B-EB0F-4B53-B080-BB8D6F5C3D93}" dt="2024-05-10T16:10:13.783" v="711"/>
          <ac:spMkLst>
            <pc:docMk/>
            <pc:sldMk cId="2568016385" sldId="357"/>
            <ac:spMk id="4" creationId="{F033D4E2-9FCD-286C-1A48-89FAC672432A}"/>
          </ac:spMkLst>
        </pc:spChg>
        <pc:spChg chg="mod">
          <ac:chgData name="Veniero Facchetti" userId="f2c6c99af91c4974" providerId="LiveId" clId="{34DF7D6B-EB0F-4B53-B080-BB8D6F5C3D93}" dt="2024-05-10T16:10:13.783" v="711"/>
          <ac:spMkLst>
            <pc:docMk/>
            <pc:sldMk cId="2568016385" sldId="357"/>
            <ac:spMk id="5" creationId="{B39C1BCE-7A2C-3807-6734-4D9A613ABD9D}"/>
          </ac:spMkLst>
        </pc:spChg>
        <pc:spChg chg="mod">
          <ac:chgData name="Veniero Facchetti" userId="f2c6c99af91c4974" providerId="LiveId" clId="{34DF7D6B-EB0F-4B53-B080-BB8D6F5C3D93}" dt="2024-05-10T16:10:13.783" v="711"/>
          <ac:spMkLst>
            <pc:docMk/>
            <pc:sldMk cId="2568016385" sldId="357"/>
            <ac:spMk id="6" creationId="{34ACC066-8133-406F-613E-EEA9FAE75F8C}"/>
          </ac:spMkLst>
        </pc:spChg>
        <pc:spChg chg="mod">
          <ac:chgData name="Veniero Facchetti" userId="f2c6c99af91c4974" providerId="LiveId" clId="{34DF7D6B-EB0F-4B53-B080-BB8D6F5C3D93}" dt="2024-05-10T16:10:13.783" v="711"/>
          <ac:spMkLst>
            <pc:docMk/>
            <pc:sldMk cId="2568016385" sldId="357"/>
            <ac:spMk id="7" creationId="{A8FA2FC4-867F-009C-76B9-6E0529C9AAA6}"/>
          </ac:spMkLst>
        </pc:spChg>
        <pc:spChg chg="mod">
          <ac:chgData name="Veniero Facchetti" userId="f2c6c99af91c4974" providerId="LiveId" clId="{34DF7D6B-EB0F-4B53-B080-BB8D6F5C3D93}" dt="2024-05-10T16:10:13.783" v="711"/>
          <ac:spMkLst>
            <pc:docMk/>
            <pc:sldMk cId="2568016385" sldId="357"/>
            <ac:spMk id="8" creationId="{8109050C-8619-D933-17E9-FF045EAEA604}"/>
          </ac:spMkLst>
        </pc:spChg>
        <pc:spChg chg="mod">
          <ac:chgData name="Veniero Facchetti" userId="f2c6c99af91c4974" providerId="LiveId" clId="{34DF7D6B-EB0F-4B53-B080-BB8D6F5C3D93}" dt="2024-05-10T16:10:13.783" v="711"/>
          <ac:spMkLst>
            <pc:docMk/>
            <pc:sldMk cId="2568016385" sldId="357"/>
            <ac:spMk id="9" creationId="{F6206A49-DBA4-DC24-B31D-20311D758A14}"/>
          </ac:spMkLst>
        </pc:spChg>
        <pc:spChg chg="mod">
          <ac:chgData name="Veniero Facchetti" userId="f2c6c99af91c4974" providerId="LiveId" clId="{34DF7D6B-EB0F-4B53-B080-BB8D6F5C3D93}" dt="2024-05-10T16:10:13.783" v="711"/>
          <ac:spMkLst>
            <pc:docMk/>
            <pc:sldMk cId="2568016385" sldId="357"/>
            <ac:spMk id="10" creationId="{2CBA90F9-8D64-EDBC-D320-895189EF580E}"/>
          </ac:spMkLst>
        </pc:spChg>
        <pc:spChg chg="mod">
          <ac:chgData name="Veniero Facchetti" userId="f2c6c99af91c4974" providerId="LiveId" clId="{34DF7D6B-EB0F-4B53-B080-BB8D6F5C3D93}" dt="2024-05-10T16:10:13.783" v="711"/>
          <ac:spMkLst>
            <pc:docMk/>
            <pc:sldMk cId="2568016385" sldId="357"/>
            <ac:spMk id="11" creationId="{3AFBC073-3629-89DE-57C8-EF9BF19B64DC}"/>
          </ac:spMkLst>
        </pc:spChg>
        <pc:spChg chg="mod">
          <ac:chgData name="Veniero Facchetti" userId="f2c6c99af91c4974" providerId="LiveId" clId="{34DF7D6B-EB0F-4B53-B080-BB8D6F5C3D93}" dt="2024-05-10T16:10:13.783" v="711"/>
          <ac:spMkLst>
            <pc:docMk/>
            <pc:sldMk cId="2568016385" sldId="357"/>
            <ac:spMk id="12" creationId="{38AEC3A5-404C-6A6E-9A2F-5EEF4EA45BBD}"/>
          </ac:spMkLst>
        </pc:spChg>
        <pc:spChg chg="mod">
          <ac:chgData name="Veniero Facchetti" userId="f2c6c99af91c4974" providerId="LiveId" clId="{34DF7D6B-EB0F-4B53-B080-BB8D6F5C3D93}" dt="2024-05-10T16:10:13.783" v="711"/>
          <ac:spMkLst>
            <pc:docMk/>
            <pc:sldMk cId="2568016385" sldId="357"/>
            <ac:spMk id="13" creationId="{E0E3F679-FA50-7325-7566-706BAF7D4BB8}"/>
          </ac:spMkLst>
        </pc:spChg>
        <pc:spChg chg="mod">
          <ac:chgData name="Veniero Facchetti" userId="f2c6c99af91c4974" providerId="LiveId" clId="{34DF7D6B-EB0F-4B53-B080-BB8D6F5C3D93}" dt="2024-05-10T16:10:13.783" v="711"/>
          <ac:spMkLst>
            <pc:docMk/>
            <pc:sldMk cId="2568016385" sldId="357"/>
            <ac:spMk id="14" creationId="{A0671814-09AE-59FA-E2F2-C12C22815FCD}"/>
          </ac:spMkLst>
        </pc:spChg>
        <pc:spChg chg="mod">
          <ac:chgData name="Veniero Facchetti" userId="f2c6c99af91c4974" providerId="LiveId" clId="{34DF7D6B-EB0F-4B53-B080-BB8D6F5C3D93}" dt="2024-05-10T16:10:13.783" v="711"/>
          <ac:spMkLst>
            <pc:docMk/>
            <pc:sldMk cId="2568016385" sldId="357"/>
            <ac:spMk id="15" creationId="{42EF902A-AB06-A679-9438-C6E350044CE3}"/>
          </ac:spMkLst>
        </pc:spChg>
        <pc:spChg chg="mod">
          <ac:chgData name="Veniero Facchetti" userId="f2c6c99af91c4974" providerId="LiveId" clId="{34DF7D6B-EB0F-4B53-B080-BB8D6F5C3D93}" dt="2024-05-10T16:10:13.783" v="711"/>
          <ac:spMkLst>
            <pc:docMk/>
            <pc:sldMk cId="2568016385" sldId="357"/>
            <ac:spMk id="16" creationId="{6FBF35FF-5ABF-1B1C-4BF9-B312D12D62D0}"/>
          </ac:spMkLst>
        </pc:spChg>
        <pc:spChg chg="mod">
          <ac:chgData name="Veniero Facchetti" userId="f2c6c99af91c4974" providerId="LiveId" clId="{34DF7D6B-EB0F-4B53-B080-BB8D6F5C3D93}" dt="2024-05-10T16:10:13.783" v="711"/>
          <ac:spMkLst>
            <pc:docMk/>
            <pc:sldMk cId="2568016385" sldId="357"/>
            <ac:spMk id="17" creationId="{AD0E4992-8E37-A9A2-03E5-899D26B4EFBF}"/>
          </ac:spMkLst>
        </pc:spChg>
        <pc:spChg chg="mod">
          <ac:chgData name="Veniero Facchetti" userId="f2c6c99af91c4974" providerId="LiveId" clId="{34DF7D6B-EB0F-4B53-B080-BB8D6F5C3D93}" dt="2024-05-10T16:10:13.783" v="711"/>
          <ac:spMkLst>
            <pc:docMk/>
            <pc:sldMk cId="2568016385" sldId="357"/>
            <ac:spMk id="18" creationId="{A82E6837-0C67-ABCE-6E4A-AAFFE6CD4B2F}"/>
          </ac:spMkLst>
        </pc:spChg>
        <pc:spChg chg="mod">
          <ac:chgData name="Veniero Facchetti" userId="f2c6c99af91c4974" providerId="LiveId" clId="{34DF7D6B-EB0F-4B53-B080-BB8D6F5C3D93}" dt="2024-05-10T16:10:13.783" v="711"/>
          <ac:spMkLst>
            <pc:docMk/>
            <pc:sldMk cId="2568016385" sldId="357"/>
            <ac:spMk id="19" creationId="{30BE96D8-14F0-9D1B-01CF-F0CE47D2E220}"/>
          </ac:spMkLst>
        </pc:spChg>
        <pc:spChg chg="mod">
          <ac:chgData name="Veniero Facchetti" userId="f2c6c99af91c4974" providerId="LiveId" clId="{34DF7D6B-EB0F-4B53-B080-BB8D6F5C3D93}" dt="2024-05-10T16:10:13.783" v="711"/>
          <ac:spMkLst>
            <pc:docMk/>
            <pc:sldMk cId="2568016385" sldId="357"/>
            <ac:spMk id="20" creationId="{6DC5B16A-1238-B37B-0F57-397BD7E9F549}"/>
          </ac:spMkLst>
        </pc:spChg>
        <pc:spChg chg="mod">
          <ac:chgData name="Veniero Facchetti" userId="f2c6c99af91c4974" providerId="LiveId" clId="{34DF7D6B-EB0F-4B53-B080-BB8D6F5C3D93}" dt="2024-05-10T16:10:13.783" v="711"/>
          <ac:spMkLst>
            <pc:docMk/>
            <pc:sldMk cId="2568016385" sldId="357"/>
            <ac:spMk id="21" creationId="{736168D1-6491-9568-8023-6477087C2A8B}"/>
          </ac:spMkLst>
        </pc:spChg>
        <pc:spChg chg="mod">
          <ac:chgData name="Veniero Facchetti" userId="f2c6c99af91c4974" providerId="LiveId" clId="{34DF7D6B-EB0F-4B53-B080-BB8D6F5C3D93}" dt="2024-05-10T16:10:13.783" v="711"/>
          <ac:spMkLst>
            <pc:docMk/>
            <pc:sldMk cId="2568016385" sldId="357"/>
            <ac:spMk id="22" creationId="{AFFCDABB-75C1-2AA1-DA39-09A6322D6908}"/>
          </ac:spMkLst>
        </pc:spChg>
        <pc:spChg chg="mod">
          <ac:chgData name="Veniero Facchetti" userId="f2c6c99af91c4974" providerId="LiveId" clId="{34DF7D6B-EB0F-4B53-B080-BB8D6F5C3D93}" dt="2024-05-10T16:10:13.783" v="711"/>
          <ac:spMkLst>
            <pc:docMk/>
            <pc:sldMk cId="2568016385" sldId="357"/>
            <ac:spMk id="23" creationId="{B4CAD5F6-C8A1-80A8-F668-079691472EE5}"/>
          </ac:spMkLst>
        </pc:spChg>
        <pc:spChg chg="mod">
          <ac:chgData name="Veniero Facchetti" userId="f2c6c99af91c4974" providerId="LiveId" clId="{34DF7D6B-EB0F-4B53-B080-BB8D6F5C3D93}" dt="2024-05-10T16:10:13.783" v="711"/>
          <ac:spMkLst>
            <pc:docMk/>
            <pc:sldMk cId="2568016385" sldId="357"/>
            <ac:spMk id="24" creationId="{A7126380-1242-046C-95F1-9EB3C63343DD}"/>
          </ac:spMkLst>
        </pc:spChg>
        <pc:spChg chg="mod">
          <ac:chgData name="Veniero Facchetti" userId="f2c6c99af91c4974" providerId="LiveId" clId="{34DF7D6B-EB0F-4B53-B080-BB8D6F5C3D93}" dt="2024-05-10T16:10:13.783" v="711"/>
          <ac:spMkLst>
            <pc:docMk/>
            <pc:sldMk cId="2568016385" sldId="357"/>
            <ac:spMk id="25" creationId="{DE8CC0C2-77DB-C0F3-4E76-F57F33B27ABA}"/>
          </ac:spMkLst>
        </pc:spChg>
        <pc:spChg chg="mod">
          <ac:chgData name="Veniero Facchetti" userId="f2c6c99af91c4974" providerId="LiveId" clId="{34DF7D6B-EB0F-4B53-B080-BB8D6F5C3D93}" dt="2024-05-10T16:10:13.783" v="711"/>
          <ac:spMkLst>
            <pc:docMk/>
            <pc:sldMk cId="2568016385" sldId="357"/>
            <ac:spMk id="26" creationId="{D3ECD117-7FAE-35C1-427B-38A18566EDCF}"/>
          </ac:spMkLst>
        </pc:spChg>
        <pc:spChg chg="mod">
          <ac:chgData name="Veniero Facchetti" userId="f2c6c99af91c4974" providerId="LiveId" clId="{34DF7D6B-EB0F-4B53-B080-BB8D6F5C3D93}" dt="2024-05-10T16:10:13.783" v="711"/>
          <ac:spMkLst>
            <pc:docMk/>
            <pc:sldMk cId="2568016385" sldId="357"/>
            <ac:spMk id="27" creationId="{E7A14B78-BC2B-A177-31C0-33B19FE02575}"/>
          </ac:spMkLst>
        </pc:spChg>
        <pc:spChg chg="mod">
          <ac:chgData name="Veniero Facchetti" userId="f2c6c99af91c4974" providerId="LiveId" clId="{34DF7D6B-EB0F-4B53-B080-BB8D6F5C3D93}" dt="2024-05-10T16:10:13.783" v="711"/>
          <ac:spMkLst>
            <pc:docMk/>
            <pc:sldMk cId="2568016385" sldId="357"/>
            <ac:spMk id="28" creationId="{CBE87C25-6802-DAC9-3CC9-E20BE2F3C0CE}"/>
          </ac:spMkLst>
        </pc:spChg>
        <pc:spChg chg="mod">
          <ac:chgData name="Veniero Facchetti" userId="f2c6c99af91c4974" providerId="LiveId" clId="{34DF7D6B-EB0F-4B53-B080-BB8D6F5C3D93}" dt="2024-05-10T16:10:13.783" v="711"/>
          <ac:spMkLst>
            <pc:docMk/>
            <pc:sldMk cId="2568016385" sldId="357"/>
            <ac:spMk id="29" creationId="{E5868CCE-5FD8-4D5F-5662-404FBCAD2324}"/>
          </ac:spMkLst>
        </pc:spChg>
        <pc:spChg chg="mod">
          <ac:chgData name="Veniero Facchetti" userId="f2c6c99af91c4974" providerId="LiveId" clId="{34DF7D6B-EB0F-4B53-B080-BB8D6F5C3D93}" dt="2024-05-10T16:10:13.783" v="711"/>
          <ac:spMkLst>
            <pc:docMk/>
            <pc:sldMk cId="2568016385" sldId="357"/>
            <ac:spMk id="30" creationId="{DFFF18F0-9705-6809-715E-BA309D4E0EF2}"/>
          </ac:spMkLst>
        </pc:spChg>
        <pc:spChg chg="mod">
          <ac:chgData name="Veniero Facchetti" userId="f2c6c99af91c4974" providerId="LiveId" clId="{34DF7D6B-EB0F-4B53-B080-BB8D6F5C3D93}" dt="2024-05-10T16:10:13.783" v="711"/>
          <ac:spMkLst>
            <pc:docMk/>
            <pc:sldMk cId="2568016385" sldId="357"/>
            <ac:spMk id="31" creationId="{A15C7284-F51E-1FE0-34B8-4E318D29C475}"/>
          </ac:spMkLst>
        </pc:spChg>
        <pc:spChg chg="mod">
          <ac:chgData name="Veniero Facchetti" userId="f2c6c99af91c4974" providerId="LiveId" clId="{34DF7D6B-EB0F-4B53-B080-BB8D6F5C3D93}" dt="2024-05-10T16:10:13.783" v="711"/>
          <ac:spMkLst>
            <pc:docMk/>
            <pc:sldMk cId="2568016385" sldId="357"/>
            <ac:spMk id="32" creationId="{FB5C8FD9-893F-3C9A-3DE3-B09C31C1FB44}"/>
          </ac:spMkLst>
        </pc:spChg>
        <pc:spChg chg="mod">
          <ac:chgData name="Veniero Facchetti" userId="f2c6c99af91c4974" providerId="LiveId" clId="{34DF7D6B-EB0F-4B53-B080-BB8D6F5C3D93}" dt="2024-05-10T16:10:13.783" v="711"/>
          <ac:spMkLst>
            <pc:docMk/>
            <pc:sldMk cId="2568016385" sldId="357"/>
            <ac:spMk id="33" creationId="{3FAEA6F9-1465-130A-81A7-F07ACBDE496D}"/>
          </ac:spMkLst>
        </pc:spChg>
        <pc:spChg chg="mod">
          <ac:chgData name="Veniero Facchetti" userId="f2c6c99af91c4974" providerId="LiveId" clId="{34DF7D6B-EB0F-4B53-B080-BB8D6F5C3D93}" dt="2024-05-10T16:10:13.783" v="711"/>
          <ac:spMkLst>
            <pc:docMk/>
            <pc:sldMk cId="2568016385" sldId="357"/>
            <ac:spMk id="34" creationId="{1E8B392F-5F5C-0ADB-19CC-D03C855A09DB}"/>
          </ac:spMkLst>
        </pc:spChg>
        <pc:spChg chg="mod">
          <ac:chgData name="Veniero Facchetti" userId="f2c6c99af91c4974" providerId="LiveId" clId="{34DF7D6B-EB0F-4B53-B080-BB8D6F5C3D93}" dt="2024-05-10T16:10:13.783" v="711"/>
          <ac:spMkLst>
            <pc:docMk/>
            <pc:sldMk cId="2568016385" sldId="357"/>
            <ac:spMk id="35" creationId="{F87AD31E-4071-36E6-6F2D-4BD9D14D3C83}"/>
          </ac:spMkLst>
        </pc:spChg>
        <pc:spChg chg="mod">
          <ac:chgData name="Veniero Facchetti" userId="f2c6c99af91c4974" providerId="LiveId" clId="{34DF7D6B-EB0F-4B53-B080-BB8D6F5C3D93}" dt="2024-05-10T16:10:13.783" v="711"/>
          <ac:spMkLst>
            <pc:docMk/>
            <pc:sldMk cId="2568016385" sldId="357"/>
            <ac:spMk id="36" creationId="{210E2E45-3D68-AA62-1019-E574F78E2421}"/>
          </ac:spMkLst>
        </pc:spChg>
        <pc:spChg chg="mod">
          <ac:chgData name="Veniero Facchetti" userId="f2c6c99af91c4974" providerId="LiveId" clId="{34DF7D6B-EB0F-4B53-B080-BB8D6F5C3D93}" dt="2024-05-10T16:10:13.783" v="711"/>
          <ac:spMkLst>
            <pc:docMk/>
            <pc:sldMk cId="2568016385" sldId="357"/>
            <ac:spMk id="37" creationId="{77679D48-1203-BAF6-930D-87E46B2AC721}"/>
          </ac:spMkLst>
        </pc:spChg>
        <pc:spChg chg="mod">
          <ac:chgData name="Veniero Facchetti" userId="f2c6c99af91c4974" providerId="LiveId" clId="{34DF7D6B-EB0F-4B53-B080-BB8D6F5C3D93}" dt="2024-05-10T16:10:13.783" v="711"/>
          <ac:spMkLst>
            <pc:docMk/>
            <pc:sldMk cId="2568016385" sldId="357"/>
            <ac:spMk id="38" creationId="{DA8E1D17-77E6-11D5-4905-E1147D37F233}"/>
          </ac:spMkLst>
        </pc:spChg>
        <pc:spChg chg="mod">
          <ac:chgData name="Veniero Facchetti" userId="f2c6c99af91c4974" providerId="LiveId" clId="{34DF7D6B-EB0F-4B53-B080-BB8D6F5C3D93}" dt="2024-05-10T16:10:13.783" v="711"/>
          <ac:spMkLst>
            <pc:docMk/>
            <pc:sldMk cId="2568016385" sldId="357"/>
            <ac:spMk id="39" creationId="{6099DF73-6A49-27D9-8E43-D3ADC14C3A51}"/>
          </ac:spMkLst>
        </pc:spChg>
        <pc:spChg chg="mod">
          <ac:chgData name="Veniero Facchetti" userId="f2c6c99af91c4974" providerId="LiveId" clId="{34DF7D6B-EB0F-4B53-B080-BB8D6F5C3D93}" dt="2024-05-10T16:10:13.783" v="711"/>
          <ac:spMkLst>
            <pc:docMk/>
            <pc:sldMk cId="2568016385" sldId="357"/>
            <ac:spMk id="40" creationId="{9124CBE4-BE6F-DAC6-6CF5-33D92BBDF314}"/>
          </ac:spMkLst>
        </pc:spChg>
        <pc:spChg chg="mod">
          <ac:chgData name="Veniero Facchetti" userId="f2c6c99af91c4974" providerId="LiveId" clId="{34DF7D6B-EB0F-4B53-B080-BB8D6F5C3D93}" dt="2024-05-10T16:10:13.783" v="711"/>
          <ac:spMkLst>
            <pc:docMk/>
            <pc:sldMk cId="2568016385" sldId="357"/>
            <ac:spMk id="41" creationId="{C00442EA-B56C-4EE3-D22D-B46C535377AB}"/>
          </ac:spMkLst>
        </pc:spChg>
        <pc:spChg chg="mod">
          <ac:chgData name="Veniero Facchetti" userId="f2c6c99af91c4974" providerId="LiveId" clId="{34DF7D6B-EB0F-4B53-B080-BB8D6F5C3D93}" dt="2024-05-10T16:10:13.783" v="711"/>
          <ac:spMkLst>
            <pc:docMk/>
            <pc:sldMk cId="2568016385" sldId="357"/>
            <ac:spMk id="42" creationId="{9A04D266-76E0-5BFD-24DC-929610661FB3}"/>
          </ac:spMkLst>
        </pc:spChg>
        <pc:spChg chg="mod">
          <ac:chgData name="Veniero Facchetti" userId="f2c6c99af91c4974" providerId="LiveId" clId="{34DF7D6B-EB0F-4B53-B080-BB8D6F5C3D93}" dt="2024-05-10T16:10:13.783" v="711"/>
          <ac:spMkLst>
            <pc:docMk/>
            <pc:sldMk cId="2568016385" sldId="357"/>
            <ac:spMk id="43" creationId="{27FECDBB-3F67-20C0-A63F-932E147D546F}"/>
          </ac:spMkLst>
        </pc:spChg>
        <pc:spChg chg="mod">
          <ac:chgData name="Veniero Facchetti" userId="f2c6c99af91c4974" providerId="LiveId" clId="{34DF7D6B-EB0F-4B53-B080-BB8D6F5C3D93}" dt="2024-05-10T16:10:13.783" v="711"/>
          <ac:spMkLst>
            <pc:docMk/>
            <pc:sldMk cId="2568016385" sldId="357"/>
            <ac:spMk id="44" creationId="{578E5F2C-C8AA-3A21-D38C-F8CFF4D2A544}"/>
          </ac:spMkLst>
        </pc:spChg>
        <pc:spChg chg="mod">
          <ac:chgData name="Veniero Facchetti" userId="f2c6c99af91c4974" providerId="LiveId" clId="{34DF7D6B-EB0F-4B53-B080-BB8D6F5C3D93}" dt="2024-05-10T16:10:13.783" v="711"/>
          <ac:spMkLst>
            <pc:docMk/>
            <pc:sldMk cId="2568016385" sldId="357"/>
            <ac:spMk id="45" creationId="{79F6199F-30C9-338C-68AC-2B4137EEBC40}"/>
          </ac:spMkLst>
        </pc:spChg>
        <pc:spChg chg="mod">
          <ac:chgData name="Veniero Facchetti" userId="f2c6c99af91c4974" providerId="LiveId" clId="{34DF7D6B-EB0F-4B53-B080-BB8D6F5C3D93}" dt="2024-05-10T16:10:13.783" v="711"/>
          <ac:spMkLst>
            <pc:docMk/>
            <pc:sldMk cId="2568016385" sldId="357"/>
            <ac:spMk id="46" creationId="{54AD28AA-3FDA-8818-FEE1-A88ED94FE97F}"/>
          </ac:spMkLst>
        </pc:spChg>
        <pc:spChg chg="mod">
          <ac:chgData name="Veniero Facchetti" userId="f2c6c99af91c4974" providerId="LiveId" clId="{34DF7D6B-EB0F-4B53-B080-BB8D6F5C3D93}" dt="2024-05-10T16:10:13.783" v="711"/>
          <ac:spMkLst>
            <pc:docMk/>
            <pc:sldMk cId="2568016385" sldId="357"/>
            <ac:spMk id="47" creationId="{0CFAD4D8-EBAB-0E47-DE58-161111395A03}"/>
          </ac:spMkLst>
        </pc:spChg>
        <pc:spChg chg="mod">
          <ac:chgData name="Veniero Facchetti" userId="f2c6c99af91c4974" providerId="LiveId" clId="{34DF7D6B-EB0F-4B53-B080-BB8D6F5C3D93}" dt="2024-05-10T16:10:13.783" v="711"/>
          <ac:spMkLst>
            <pc:docMk/>
            <pc:sldMk cId="2568016385" sldId="357"/>
            <ac:spMk id="48" creationId="{88D52259-E587-0A77-A851-BFEE203E5818}"/>
          </ac:spMkLst>
        </pc:spChg>
        <pc:spChg chg="mod">
          <ac:chgData name="Veniero Facchetti" userId="f2c6c99af91c4974" providerId="LiveId" clId="{34DF7D6B-EB0F-4B53-B080-BB8D6F5C3D93}" dt="2024-05-10T16:10:13.783" v="711"/>
          <ac:spMkLst>
            <pc:docMk/>
            <pc:sldMk cId="2568016385" sldId="357"/>
            <ac:spMk id="49" creationId="{B11810EC-9FB6-C18F-9D9E-EB5C18E30E80}"/>
          </ac:spMkLst>
        </pc:spChg>
        <pc:spChg chg="mod">
          <ac:chgData name="Veniero Facchetti" userId="f2c6c99af91c4974" providerId="LiveId" clId="{34DF7D6B-EB0F-4B53-B080-BB8D6F5C3D93}" dt="2024-05-10T16:10:13.783" v="711"/>
          <ac:spMkLst>
            <pc:docMk/>
            <pc:sldMk cId="2568016385" sldId="357"/>
            <ac:spMk id="50" creationId="{CAC4962B-31E2-B2DC-AF7B-E190B06FA022}"/>
          </ac:spMkLst>
        </pc:spChg>
        <pc:spChg chg="mod">
          <ac:chgData name="Veniero Facchetti" userId="f2c6c99af91c4974" providerId="LiveId" clId="{34DF7D6B-EB0F-4B53-B080-BB8D6F5C3D93}" dt="2024-05-10T16:10:13.783" v="711"/>
          <ac:spMkLst>
            <pc:docMk/>
            <pc:sldMk cId="2568016385" sldId="357"/>
            <ac:spMk id="51" creationId="{69672DB1-C79E-57AB-6CD4-6FB6D22BB748}"/>
          </ac:spMkLst>
        </pc:spChg>
        <pc:spChg chg="mod">
          <ac:chgData name="Veniero Facchetti" userId="f2c6c99af91c4974" providerId="LiveId" clId="{34DF7D6B-EB0F-4B53-B080-BB8D6F5C3D93}" dt="2024-05-10T16:10:13.783" v="711"/>
          <ac:spMkLst>
            <pc:docMk/>
            <pc:sldMk cId="2568016385" sldId="357"/>
            <ac:spMk id="52" creationId="{8F6360A6-A2A2-4662-9ECD-5716E474CE1C}"/>
          </ac:spMkLst>
        </pc:spChg>
        <pc:spChg chg="mod">
          <ac:chgData name="Veniero Facchetti" userId="f2c6c99af91c4974" providerId="LiveId" clId="{34DF7D6B-EB0F-4B53-B080-BB8D6F5C3D93}" dt="2024-05-10T16:10:13.783" v="711"/>
          <ac:spMkLst>
            <pc:docMk/>
            <pc:sldMk cId="2568016385" sldId="357"/>
            <ac:spMk id="53" creationId="{614CA056-218D-511D-C9B1-1D397F5FDA01}"/>
          </ac:spMkLst>
        </pc:spChg>
        <pc:spChg chg="mod">
          <ac:chgData name="Veniero Facchetti" userId="f2c6c99af91c4974" providerId="LiveId" clId="{34DF7D6B-EB0F-4B53-B080-BB8D6F5C3D93}" dt="2024-05-10T16:10:13.783" v="711"/>
          <ac:spMkLst>
            <pc:docMk/>
            <pc:sldMk cId="2568016385" sldId="357"/>
            <ac:spMk id="54" creationId="{AE77A3E7-6234-CEBF-8268-5E28B996F76E}"/>
          </ac:spMkLst>
        </pc:spChg>
        <pc:spChg chg="mod">
          <ac:chgData name="Veniero Facchetti" userId="f2c6c99af91c4974" providerId="LiveId" clId="{34DF7D6B-EB0F-4B53-B080-BB8D6F5C3D93}" dt="2024-05-10T16:10:13.783" v="711"/>
          <ac:spMkLst>
            <pc:docMk/>
            <pc:sldMk cId="2568016385" sldId="357"/>
            <ac:spMk id="55" creationId="{1A934FFD-422E-B3AE-4590-4E34B6E070E7}"/>
          </ac:spMkLst>
        </pc:spChg>
        <pc:spChg chg="mod">
          <ac:chgData name="Veniero Facchetti" userId="f2c6c99af91c4974" providerId="LiveId" clId="{34DF7D6B-EB0F-4B53-B080-BB8D6F5C3D93}" dt="2024-05-10T16:10:13.783" v="711"/>
          <ac:spMkLst>
            <pc:docMk/>
            <pc:sldMk cId="2568016385" sldId="357"/>
            <ac:spMk id="56" creationId="{984E9A2A-43FB-2DE4-3897-7C82FEB41EB3}"/>
          </ac:spMkLst>
        </pc:spChg>
        <pc:spChg chg="mod">
          <ac:chgData name="Veniero Facchetti" userId="f2c6c99af91c4974" providerId="LiveId" clId="{34DF7D6B-EB0F-4B53-B080-BB8D6F5C3D93}" dt="2024-05-10T16:10:13.783" v="711"/>
          <ac:spMkLst>
            <pc:docMk/>
            <pc:sldMk cId="2568016385" sldId="357"/>
            <ac:spMk id="57" creationId="{FA9DC790-01D3-56C5-73AA-DC6E11367B00}"/>
          </ac:spMkLst>
        </pc:spChg>
        <pc:spChg chg="mod">
          <ac:chgData name="Veniero Facchetti" userId="f2c6c99af91c4974" providerId="LiveId" clId="{34DF7D6B-EB0F-4B53-B080-BB8D6F5C3D93}" dt="2024-05-10T16:10:13.783" v="711"/>
          <ac:spMkLst>
            <pc:docMk/>
            <pc:sldMk cId="2568016385" sldId="357"/>
            <ac:spMk id="58" creationId="{00C77B15-2E93-AC85-AC9E-D83731B586B8}"/>
          </ac:spMkLst>
        </pc:spChg>
        <pc:spChg chg="mod">
          <ac:chgData name="Veniero Facchetti" userId="f2c6c99af91c4974" providerId="LiveId" clId="{34DF7D6B-EB0F-4B53-B080-BB8D6F5C3D93}" dt="2024-05-10T16:10:13.783" v="711"/>
          <ac:spMkLst>
            <pc:docMk/>
            <pc:sldMk cId="2568016385" sldId="357"/>
            <ac:spMk id="59" creationId="{807A2C1B-1C37-ABD8-308A-69819384AF1F}"/>
          </ac:spMkLst>
        </pc:spChg>
        <pc:spChg chg="mod">
          <ac:chgData name="Veniero Facchetti" userId="f2c6c99af91c4974" providerId="LiveId" clId="{34DF7D6B-EB0F-4B53-B080-BB8D6F5C3D93}" dt="2024-05-10T16:10:13.783" v="711"/>
          <ac:spMkLst>
            <pc:docMk/>
            <pc:sldMk cId="2568016385" sldId="357"/>
            <ac:spMk id="60" creationId="{7865570F-A8A1-B5E3-5CB9-758D2039D68C}"/>
          </ac:spMkLst>
        </pc:spChg>
        <pc:spChg chg="mod">
          <ac:chgData name="Veniero Facchetti" userId="f2c6c99af91c4974" providerId="LiveId" clId="{34DF7D6B-EB0F-4B53-B080-BB8D6F5C3D93}" dt="2024-05-10T16:10:13.783" v="711"/>
          <ac:spMkLst>
            <pc:docMk/>
            <pc:sldMk cId="2568016385" sldId="357"/>
            <ac:spMk id="61" creationId="{9D23CA43-7795-F389-5ADF-C0B88F2F2E10}"/>
          </ac:spMkLst>
        </pc:spChg>
        <pc:spChg chg="mod">
          <ac:chgData name="Veniero Facchetti" userId="f2c6c99af91c4974" providerId="LiveId" clId="{34DF7D6B-EB0F-4B53-B080-BB8D6F5C3D93}" dt="2024-05-10T16:10:13.783" v="711"/>
          <ac:spMkLst>
            <pc:docMk/>
            <pc:sldMk cId="2568016385" sldId="357"/>
            <ac:spMk id="62" creationId="{7BAF9DE1-AC79-258B-7FB9-FCD945029B46}"/>
          </ac:spMkLst>
        </pc:spChg>
        <pc:spChg chg="mod">
          <ac:chgData name="Veniero Facchetti" userId="f2c6c99af91c4974" providerId="LiveId" clId="{34DF7D6B-EB0F-4B53-B080-BB8D6F5C3D93}" dt="2024-05-10T16:10:13.783" v="711"/>
          <ac:spMkLst>
            <pc:docMk/>
            <pc:sldMk cId="2568016385" sldId="357"/>
            <ac:spMk id="63" creationId="{2A489DBE-D663-131D-E3E7-A83531504115}"/>
          </ac:spMkLst>
        </pc:spChg>
        <pc:spChg chg="mod">
          <ac:chgData name="Veniero Facchetti" userId="f2c6c99af91c4974" providerId="LiveId" clId="{34DF7D6B-EB0F-4B53-B080-BB8D6F5C3D93}" dt="2024-05-10T16:10:13.783" v="711"/>
          <ac:spMkLst>
            <pc:docMk/>
            <pc:sldMk cId="2568016385" sldId="357"/>
            <ac:spMk id="64" creationId="{DF618E44-3510-8F47-858C-41F8C38908B9}"/>
          </ac:spMkLst>
        </pc:spChg>
        <pc:spChg chg="mod">
          <ac:chgData name="Veniero Facchetti" userId="f2c6c99af91c4974" providerId="LiveId" clId="{34DF7D6B-EB0F-4B53-B080-BB8D6F5C3D93}" dt="2024-05-10T16:10:13.783" v="711"/>
          <ac:spMkLst>
            <pc:docMk/>
            <pc:sldMk cId="2568016385" sldId="357"/>
            <ac:spMk id="65" creationId="{A8253597-259A-57E9-F534-89990204AE2C}"/>
          </ac:spMkLst>
        </pc:spChg>
        <pc:spChg chg="mod">
          <ac:chgData name="Veniero Facchetti" userId="f2c6c99af91c4974" providerId="LiveId" clId="{34DF7D6B-EB0F-4B53-B080-BB8D6F5C3D93}" dt="2024-05-10T16:10:13.783" v="711"/>
          <ac:spMkLst>
            <pc:docMk/>
            <pc:sldMk cId="2568016385" sldId="357"/>
            <ac:spMk id="66" creationId="{71CFD0B1-02FF-7F49-03FD-DA5DCDF7AFA0}"/>
          </ac:spMkLst>
        </pc:spChg>
        <pc:spChg chg="mod">
          <ac:chgData name="Veniero Facchetti" userId="f2c6c99af91c4974" providerId="LiveId" clId="{34DF7D6B-EB0F-4B53-B080-BB8D6F5C3D93}" dt="2024-05-10T16:10:13.783" v="711"/>
          <ac:spMkLst>
            <pc:docMk/>
            <pc:sldMk cId="2568016385" sldId="357"/>
            <ac:spMk id="67" creationId="{2B7FB82C-EC5D-5A7D-68C8-F401F54ED4E1}"/>
          </ac:spMkLst>
        </pc:spChg>
        <pc:spChg chg="mod">
          <ac:chgData name="Veniero Facchetti" userId="f2c6c99af91c4974" providerId="LiveId" clId="{34DF7D6B-EB0F-4B53-B080-BB8D6F5C3D93}" dt="2024-05-10T16:10:13.783" v="711"/>
          <ac:spMkLst>
            <pc:docMk/>
            <pc:sldMk cId="2568016385" sldId="357"/>
            <ac:spMk id="68" creationId="{F9EE370B-BD1B-E552-383E-EABBD48C7515}"/>
          </ac:spMkLst>
        </pc:spChg>
        <pc:spChg chg="mod">
          <ac:chgData name="Veniero Facchetti" userId="f2c6c99af91c4974" providerId="LiveId" clId="{34DF7D6B-EB0F-4B53-B080-BB8D6F5C3D93}" dt="2024-05-10T16:10:13.783" v="711"/>
          <ac:spMkLst>
            <pc:docMk/>
            <pc:sldMk cId="2568016385" sldId="357"/>
            <ac:spMk id="69" creationId="{9EABC20C-BBC8-7495-7388-072D9F758A30}"/>
          </ac:spMkLst>
        </pc:spChg>
        <pc:spChg chg="mod">
          <ac:chgData name="Veniero Facchetti" userId="f2c6c99af91c4974" providerId="LiveId" clId="{34DF7D6B-EB0F-4B53-B080-BB8D6F5C3D93}" dt="2024-05-10T16:10:13.783" v="711"/>
          <ac:spMkLst>
            <pc:docMk/>
            <pc:sldMk cId="2568016385" sldId="357"/>
            <ac:spMk id="70" creationId="{D67C294D-DFE7-6ADD-B45A-53F5F80E4905}"/>
          </ac:spMkLst>
        </pc:spChg>
        <pc:spChg chg="mod">
          <ac:chgData name="Veniero Facchetti" userId="f2c6c99af91c4974" providerId="LiveId" clId="{34DF7D6B-EB0F-4B53-B080-BB8D6F5C3D93}" dt="2024-05-10T16:10:13.783" v="711"/>
          <ac:spMkLst>
            <pc:docMk/>
            <pc:sldMk cId="2568016385" sldId="357"/>
            <ac:spMk id="71" creationId="{23EAC781-3A1B-7B29-A330-F5988CC1DD8D}"/>
          </ac:spMkLst>
        </pc:spChg>
        <pc:spChg chg="mod">
          <ac:chgData name="Veniero Facchetti" userId="f2c6c99af91c4974" providerId="LiveId" clId="{34DF7D6B-EB0F-4B53-B080-BB8D6F5C3D93}" dt="2024-05-10T16:10:13.783" v="711"/>
          <ac:spMkLst>
            <pc:docMk/>
            <pc:sldMk cId="2568016385" sldId="357"/>
            <ac:spMk id="72" creationId="{20895889-4D36-4F36-4D4B-A5337FF76B44}"/>
          </ac:spMkLst>
        </pc:spChg>
        <pc:spChg chg="mod">
          <ac:chgData name="Veniero Facchetti" userId="f2c6c99af91c4974" providerId="LiveId" clId="{34DF7D6B-EB0F-4B53-B080-BB8D6F5C3D93}" dt="2024-05-10T16:10:13.783" v="711"/>
          <ac:spMkLst>
            <pc:docMk/>
            <pc:sldMk cId="2568016385" sldId="357"/>
            <ac:spMk id="73" creationId="{DB1AA7D2-09D6-2863-1783-81535C8701BE}"/>
          </ac:spMkLst>
        </pc:spChg>
        <pc:spChg chg="mod">
          <ac:chgData name="Veniero Facchetti" userId="f2c6c99af91c4974" providerId="LiveId" clId="{34DF7D6B-EB0F-4B53-B080-BB8D6F5C3D93}" dt="2024-05-10T16:10:13.783" v="711"/>
          <ac:spMkLst>
            <pc:docMk/>
            <pc:sldMk cId="2568016385" sldId="357"/>
            <ac:spMk id="74" creationId="{F9D79A32-EF14-9868-70F8-3E74AF356167}"/>
          </ac:spMkLst>
        </pc:spChg>
        <pc:spChg chg="mod">
          <ac:chgData name="Veniero Facchetti" userId="f2c6c99af91c4974" providerId="LiveId" clId="{34DF7D6B-EB0F-4B53-B080-BB8D6F5C3D93}" dt="2024-05-10T16:10:13.783" v="711"/>
          <ac:spMkLst>
            <pc:docMk/>
            <pc:sldMk cId="2568016385" sldId="357"/>
            <ac:spMk id="75" creationId="{99CBACB7-970D-60A0-CDF7-775221AC1A01}"/>
          </ac:spMkLst>
        </pc:spChg>
        <pc:spChg chg="mod">
          <ac:chgData name="Veniero Facchetti" userId="f2c6c99af91c4974" providerId="LiveId" clId="{34DF7D6B-EB0F-4B53-B080-BB8D6F5C3D93}" dt="2024-05-10T16:10:13.783" v="711"/>
          <ac:spMkLst>
            <pc:docMk/>
            <pc:sldMk cId="2568016385" sldId="357"/>
            <ac:spMk id="76" creationId="{5BCB85FC-C3FA-9558-8F6C-B0E785EFE004}"/>
          </ac:spMkLst>
        </pc:spChg>
        <pc:spChg chg="mod">
          <ac:chgData name="Veniero Facchetti" userId="f2c6c99af91c4974" providerId="LiveId" clId="{34DF7D6B-EB0F-4B53-B080-BB8D6F5C3D93}" dt="2024-05-10T16:10:13.783" v="711"/>
          <ac:spMkLst>
            <pc:docMk/>
            <pc:sldMk cId="2568016385" sldId="357"/>
            <ac:spMk id="77" creationId="{C1AD37E8-39F9-F1B9-B6BC-41BEFE64E1EC}"/>
          </ac:spMkLst>
        </pc:spChg>
        <pc:spChg chg="mod">
          <ac:chgData name="Veniero Facchetti" userId="f2c6c99af91c4974" providerId="LiveId" clId="{34DF7D6B-EB0F-4B53-B080-BB8D6F5C3D93}" dt="2024-05-10T16:10:13.783" v="711"/>
          <ac:spMkLst>
            <pc:docMk/>
            <pc:sldMk cId="2568016385" sldId="357"/>
            <ac:spMk id="78" creationId="{502E50C8-0F79-5883-B1B9-BF4EC888E512}"/>
          </ac:spMkLst>
        </pc:spChg>
        <pc:spChg chg="mod">
          <ac:chgData name="Veniero Facchetti" userId="f2c6c99af91c4974" providerId="LiveId" clId="{34DF7D6B-EB0F-4B53-B080-BB8D6F5C3D93}" dt="2024-05-10T16:10:13.783" v="711"/>
          <ac:spMkLst>
            <pc:docMk/>
            <pc:sldMk cId="2568016385" sldId="357"/>
            <ac:spMk id="79" creationId="{F697ECB3-D042-4A6C-8A1C-4F11003B0F57}"/>
          </ac:spMkLst>
        </pc:spChg>
        <pc:spChg chg="mod">
          <ac:chgData name="Veniero Facchetti" userId="f2c6c99af91c4974" providerId="LiveId" clId="{34DF7D6B-EB0F-4B53-B080-BB8D6F5C3D93}" dt="2024-05-10T16:10:13.783" v="711"/>
          <ac:spMkLst>
            <pc:docMk/>
            <pc:sldMk cId="2568016385" sldId="357"/>
            <ac:spMk id="80" creationId="{1D2AFE00-EAE2-DC11-5E9F-231E5B899771}"/>
          </ac:spMkLst>
        </pc:spChg>
        <pc:spChg chg="mod">
          <ac:chgData name="Veniero Facchetti" userId="f2c6c99af91c4974" providerId="LiveId" clId="{34DF7D6B-EB0F-4B53-B080-BB8D6F5C3D93}" dt="2024-05-10T16:10:13.783" v="711"/>
          <ac:spMkLst>
            <pc:docMk/>
            <pc:sldMk cId="2568016385" sldId="357"/>
            <ac:spMk id="81" creationId="{BA51C666-EDAA-658C-6D81-BDC9AA6AFA80}"/>
          </ac:spMkLst>
        </pc:spChg>
        <pc:spChg chg="mod">
          <ac:chgData name="Veniero Facchetti" userId="f2c6c99af91c4974" providerId="LiveId" clId="{34DF7D6B-EB0F-4B53-B080-BB8D6F5C3D93}" dt="2024-05-10T16:10:13.783" v="711"/>
          <ac:spMkLst>
            <pc:docMk/>
            <pc:sldMk cId="2568016385" sldId="357"/>
            <ac:spMk id="82" creationId="{03395BD7-4F13-0C7C-EB75-4F68F86EB466}"/>
          </ac:spMkLst>
        </pc:spChg>
        <pc:spChg chg="mod">
          <ac:chgData name="Veniero Facchetti" userId="f2c6c99af91c4974" providerId="LiveId" clId="{34DF7D6B-EB0F-4B53-B080-BB8D6F5C3D93}" dt="2024-05-10T16:10:13.783" v="711"/>
          <ac:spMkLst>
            <pc:docMk/>
            <pc:sldMk cId="2568016385" sldId="357"/>
            <ac:spMk id="83" creationId="{222CC3DD-CFFA-CA7A-A44A-AAB768F2CF8B}"/>
          </ac:spMkLst>
        </pc:spChg>
        <pc:spChg chg="mod">
          <ac:chgData name="Veniero Facchetti" userId="f2c6c99af91c4974" providerId="LiveId" clId="{34DF7D6B-EB0F-4B53-B080-BB8D6F5C3D93}" dt="2024-05-10T16:10:13.783" v="711"/>
          <ac:spMkLst>
            <pc:docMk/>
            <pc:sldMk cId="2568016385" sldId="357"/>
            <ac:spMk id="84" creationId="{4912BEAC-8C26-E2DE-287D-AF621BD7D64C}"/>
          </ac:spMkLst>
        </pc:spChg>
        <pc:spChg chg="mod">
          <ac:chgData name="Veniero Facchetti" userId="f2c6c99af91c4974" providerId="LiveId" clId="{34DF7D6B-EB0F-4B53-B080-BB8D6F5C3D93}" dt="2024-05-10T16:10:13.783" v="711"/>
          <ac:spMkLst>
            <pc:docMk/>
            <pc:sldMk cId="2568016385" sldId="357"/>
            <ac:spMk id="85" creationId="{023C35C9-96A3-44D6-8AF5-DF443908C1BA}"/>
          </ac:spMkLst>
        </pc:spChg>
        <pc:spChg chg="mod">
          <ac:chgData name="Veniero Facchetti" userId="f2c6c99af91c4974" providerId="LiveId" clId="{34DF7D6B-EB0F-4B53-B080-BB8D6F5C3D93}" dt="2024-05-10T16:10:13.783" v="711"/>
          <ac:spMkLst>
            <pc:docMk/>
            <pc:sldMk cId="2568016385" sldId="357"/>
            <ac:spMk id="86" creationId="{DD743F47-180B-EA96-2C98-E83244012F0B}"/>
          </ac:spMkLst>
        </pc:spChg>
        <pc:spChg chg="mod">
          <ac:chgData name="Veniero Facchetti" userId="f2c6c99af91c4974" providerId="LiveId" clId="{34DF7D6B-EB0F-4B53-B080-BB8D6F5C3D93}" dt="2024-05-10T16:10:13.783" v="711"/>
          <ac:spMkLst>
            <pc:docMk/>
            <pc:sldMk cId="2568016385" sldId="357"/>
            <ac:spMk id="87" creationId="{38667ECE-AD7F-B3BE-A7D8-EFD335325B1D}"/>
          </ac:spMkLst>
        </pc:spChg>
        <pc:spChg chg="mod">
          <ac:chgData name="Veniero Facchetti" userId="f2c6c99af91c4974" providerId="LiveId" clId="{34DF7D6B-EB0F-4B53-B080-BB8D6F5C3D93}" dt="2024-05-10T16:10:13.783" v="711"/>
          <ac:spMkLst>
            <pc:docMk/>
            <pc:sldMk cId="2568016385" sldId="357"/>
            <ac:spMk id="88" creationId="{8F4F2089-B14E-9041-19C1-E5D8DC87C2B1}"/>
          </ac:spMkLst>
        </pc:spChg>
        <pc:spChg chg="mod">
          <ac:chgData name="Veniero Facchetti" userId="f2c6c99af91c4974" providerId="LiveId" clId="{34DF7D6B-EB0F-4B53-B080-BB8D6F5C3D93}" dt="2024-05-10T16:10:13.783" v="711"/>
          <ac:spMkLst>
            <pc:docMk/>
            <pc:sldMk cId="2568016385" sldId="357"/>
            <ac:spMk id="89" creationId="{1F4FEB69-7D02-2AC3-4892-C928DFC9D9EA}"/>
          </ac:spMkLst>
        </pc:spChg>
        <pc:spChg chg="mod">
          <ac:chgData name="Veniero Facchetti" userId="f2c6c99af91c4974" providerId="LiveId" clId="{34DF7D6B-EB0F-4B53-B080-BB8D6F5C3D93}" dt="2024-05-10T16:10:13.783" v="711"/>
          <ac:spMkLst>
            <pc:docMk/>
            <pc:sldMk cId="2568016385" sldId="357"/>
            <ac:spMk id="90" creationId="{CC10C2AF-5C68-470D-0440-136568BE86F6}"/>
          </ac:spMkLst>
        </pc:spChg>
        <pc:spChg chg="mod">
          <ac:chgData name="Veniero Facchetti" userId="f2c6c99af91c4974" providerId="LiveId" clId="{34DF7D6B-EB0F-4B53-B080-BB8D6F5C3D93}" dt="2024-05-10T16:10:13.783" v="711"/>
          <ac:spMkLst>
            <pc:docMk/>
            <pc:sldMk cId="2568016385" sldId="357"/>
            <ac:spMk id="91" creationId="{378FDF58-6A90-1684-7BD2-633D5994B81F}"/>
          </ac:spMkLst>
        </pc:spChg>
        <pc:spChg chg="mod">
          <ac:chgData name="Veniero Facchetti" userId="f2c6c99af91c4974" providerId="LiveId" clId="{34DF7D6B-EB0F-4B53-B080-BB8D6F5C3D93}" dt="2024-05-10T16:10:13.783" v="711"/>
          <ac:spMkLst>
            <pc:docMk/>
            <pc:sldMk cId="2568016385" sldId="357"/>
            <ac:spMk id="92" creationId="{C94864F0-A6C6-1DE0-389A-DCE36C4A6A29}"/>
          </ac:spMkLst>
        </pc:spChg>
        <pc:spChg chg="mod">
          <ac:chgData name="Veniero Facchetti" userId="f2c6c99af91c4974" providerId="LiveId" clId="{34DF7D6B-EB0F-4B53-B080-BB8D6F5C3D93}" dt="2024-05-10T16:10:13.783" v="711"/>
          <ac:spMkLst>
            <pc:docMk/>
            <pc:sldMk cId="2568016385" sldId="357"/>
            <ac:spMk id="93" creationId="{E737D62E-8893-3E39-A533-59C2481058F7}"/>
          </ac:spMkLst>
        </pc:spChg>
        <pc:spChg chg="mod">
          <ac:chgData name="Veniero Facchetti" userId="f2c6c99af91c4974" providerId="LiveId" clId="{34DF7D6B-EB0F-4B53-B080-BB8D6F5C3D93}" dt="2024-05-10T16:10:13.783" v="711"/>
          <ac:spMkLst>
            <pc:docMk/>
            <pc:sldMk cId="2568016385" sldId="357"/>
            <ac:spMk id="94" creationId="{62FD644D-519D-0C34-85B5-7BB7DCA96790}"/>
          </ac:spMkLst>
        </pc:spChg>
        <pc:spChg chg="mod">
          <ac:chgData name="Veniero Facchetti" userId="f2c6c99af91c4974" providerId="LiveId" clId="{34DF7D6B-EB0F-4B53-B080-BB8D6F5C3D93}" dt="2024-05-10T16:10:13.783" v="711"/>
          <ac:spMkLst>
            <pc:docMk/>
            <pc:sldMk cId="2568016385" sldId="357"/>
            <ac:spMk id="95" creationId="{147C878C-89B3-D76B-F4C4-A75D8EE4C835}"/>
          </ac:spMkLst>
        </pc:spChg>
        <pc:spChg chg="mod">
          <ac:chgData name="Veniero Facchetti" userId="f2c6c99af91c4974" providerId="LiveId" clId="{34DF7D6B-EB0F-4B53-B080-BB8D6F5C3D93}" dt="2024-05-10T16:10:13.783" v="711"/>
          <ac:spMkLst>
            <pc:docMk/>
            <pc:sldMk cId="2568016385" sldId="357"/>
            <ac:spMk id="96" creationId="{22842255-61AB-1421-F8B3-C40D402C9AB1}"/>
          </ac:spMkLst>
        </pc:spChg>
        <pc:spChg chg="mod">
          <ac:chgData name="Veniero Facchetti" userId="f2c6c99af91c4974" providerId="LiveId" clId="{34DF7D6B-EB0F-4B53-B080-BB8D6F5C3D93}" dt="2024-05-10T16:10:13.783" v="711"/>
          <ac:spMkLst>
            <pc:docMk/>
            <pc:sldMk cId="2568016385" sldId="357"/>
            <ac:spMk id="97" creationId="{F5A2A670-0410-C839-8F2B-C4525C6FC664}"/>
          </ac:spMkLst>
        </pc:spChg>
        <pc:spChg chg="mod">
          <ac:chgData name="Veniero Facchetti" userId="f2c6c99af91c4974" providerId="LiveId" clId="{34DF7D6B-EB0F-4B53-B080-BB8D6F5C3D93}" dt="2024-05-10T16:10:13.783" v="711"/>
          <ac:spMkLst>
            <pc:docMk/>
            <pc:sldMk cId="2568016385" sldId="357"/>
            <ac:spMk id="98" creationId="{3FB38038-6705-6625-F184-BF7233BF60AD}"/>
          </ac:spMkLst>
        </pc:spChg>
        <pc:spChg chg="mod">
          <ac:chgData name="Veniero Facchetti" userId="f2c6c99af91c4974" providerId="LiveId" clId="{34DF7D6B-EB0F-4B53-B080-BB8D6F5C3D93}" dt="2024-05-10T16:10:13.783" v="711"/>
          <ac:spMkLst>
            <pc:docMk/>
            <pc:sldMk cId="2568016385" sldId="357"/>
            <ac:spMk id="99" creationId="{E6A620EC-F4C9-CCA7-EE1E-51FF19FCCBDE}"/>
          </ac:spMkLst>
        </pc:spChg>
        <pc:spChg chg="mod">
          <ac:chgData name="Veniero Facchetti" userId="f2c6c99af91c4974" providerId="LiveId" clId="{34DF7D6B-EB0F-4B53-B080-BB8D6F5C3D93}" dt="2024-05-10T16:10:13.783" v="711"/>
          <ac:spMkLst>
            <pc:docMk/>
            <pc:sldMk cId="2568016385" sldId="357"/>
            <ac:spMk id="100" creationId="{B487AF32-F170-2339-E322-8A5D16956FE3}"/>
          </ac:spMkLst>
        </pc:spChg>
        <pc:spChg chg="mod">
          <ac:chgData name="Veniero Facchetti" userId="f2c6c99af91c4974" providerId="LiveId" clId="{34DF7D6B-EB0F-4B53-B080-BB8D6F5C3D93}" dt="2024-05-10T16:10:13.783" v="711"/>
          <ac:spMkLst>
            <pc:docMk/>
            <pc:sldMk cId="2568016385" sldId="357"/>
            <ac:spMk id="101" creationId="{700FFD6D-7CFD-3B61-D3F1-BEA05E6081CB}"/>
          </ac:spMkLst>
        </pc:spChg>
        <pc:spChg chg="mod">
          <ac:chgData name="Veniero Facchetti" userId="f2c6c99af91c4974" providerId="LiveId" clId="{34DF7D6B-EB0F-4B53-B080-BB8D6F5C3D93}" dt="2024-05-10T16:10:13.783" v="711"/>
          <ac:spMkLst>
            <pc:docMk/>
            <pc:sldMk cId="2568016385" sldId="357"/>
            <ac:spMk id="102" creationId="{A77671B0-72EA-96C6-9892-F5E65F9CD4B4}"/>
          </ac:spMkLst>
        </pc:spChg>
        <pc:spChg chg="mod">
          <ac:chgData name="Veniero Facchetti" userId="f2c6c99af91c4974" providerId="LiveId" clId="{34DF7D6B-EB0F-4B53-B080-BB8D6F5C3D93}" dt="2024-05-10T16:10:13.783" v="711"/>
          <ac:spMkLst>
            <pc:docMk/>
            <pc:sldMk cId="2568016385" sldId="357"/>
            <ac:spMk id="103" creationId="{12850D4A-50AA-4BDB-CFD3-3BF7642D1D9F}"/>
          </ac:spMkLst>
        </pc:spChg>
        <pc:spChg chg="mod">
          <ac:chgData name="Veniero Facchetti" userId="f2c6c99af91c4974" providerId="LiveId" clId="{34DF7D6B-EB0F-4B53-B080-BB8D6F5C3D93}" dt="2024-05-10T16:10:13.783" v="711"/>
          <ac:spMkLst>
            <pc:docMk/>
            <pc:sldMk cId="2568016385" sldId="357"/>
            <ac:spMk id="104" creationId="{E3CA18D1-72DB-75AA-029E-35F7DC6C33AC}"/>
          </ac:spMkLst>
        </pc:spChg>
        <pc:spChg chg="mod">
          <ac:chgData name="Veniero Facchetti" userId="f2c6c99af91c4974" providerId="LiveId" clId="{34DF7D6B-EB0F-4B53-B080-BB8D6F5C3D93}" dt="2024-05-10T16:10:13.783" v="711"/>
          <ac:spMkLst>
            <pc:docMk/>
            <pc:sldMk cId="2568016385" sldId="357"/>
            <ac:spMk id="105" creationId="{CFFDC14A-9410-B8AB-5897-389BFDA88997}"/>
          </ac:spMkLst>
        </pc:spChg>
        <pc:spChg chg="mod">
          <ac:chgData name="Veniero Facchetti" userId="f2c6c99af91c4974" providerId="LiveId" clId="{34DF7D6B-EB0F-4B53-B080-BB8D6F5C3D93}" dt="2024-05-10T16:10:13.783" v="711"/>
          <ac:spMkLst>
            <pc:docMk/>
            <pc:sldMk cId="2568016385" sldId="357"/>
            <ac:spMk id="106" creationId="{0B9C6543-CFEA-67A8-42F0-BC1BA16F9A14}"/>
          </ac:spMkLst>
        </pc:spChg>
        <pc:spChg chg="mod">
          <ac:chgData name="Veniero Facchetti" userId="f2c6c99af91c4974" providerId="LiveId" clId="{34DF7D6B-EB0F-4B53-B080-BB8D6F5C3D93}" dt="2024-05-10T16:10:13.783" v="711"/>
          <ac:spMkLst>
            <pc:docMk/>
            <pc:sldMk cId="2568016385" sldId="357"/>
            <ac:spMk id="107" creationId="{9D1B70BD-865B-A7AC-4DFC-986664E22013}"/>
          </ac:spMkLst>
        </pc:spChg>
        <pc:spChg chg="mod">
          <ac:chgData name="Veniero Facchetti" userId="f2c6c99af91c4974" providerId="LiveId" clId="{34DF7D6B-EB0F-4B53-B080-BB8D6F5C3D93}" dt="2024-05-10T16:10:13.783" v="711"/>
          <ac:spMkLst>
            <pc:docMk/>
            <pc:sldMk cId="2568016385" sldId="357"/>
            <ac:spMk id="108" creationId="{052ADAA9-226F-94DF-EC95-99099FEF491F}"/>
          </ac:spMkLst>
        </pc:spChg>
        <pc:spChg chg="mod">
          <ac:chgData name="Veniero Facchetti" userId="f2c6c99af91c4974" providerId="LiveId" clId="{34DF7D6B-EB0F-4B53-B080-BB8D6F5C3D93}" dt="2024-05-10T16:10:13.783" v="711"/>
          <ac:spMkLst>
            <pc:docMk/>
            <pc:sldMk cId="2568016385" sldId="357"/>
            <ac:spMk id="109" creationId="{997FA901-F08F-A25F-C6D4-37902648B4C3}"/>
          </ac:spMkLst>
        </pc:spChg>
        <pc:spChg chg="mod">
          <ac:chgData name="Veniero Facchetti" userId="f2c6c99af91c4974" providerId="LiveId" clId="{34DF7D6B-EB0F-4B53-B080-BB8D6F5C3D93}" dt="2024-05-10T16:10:13.783" v="711"/>
          <ac:spMkLst>
            <pc:docMk/>
            <pc:sldMk cId="2568016385" sldId="357"/>
            <ac:spMk id="110" creationId="{16B2961C-D363-F3CB-5C9E-89515530C49D}"/>
          </ac:spMkLst>
        </pc:spChg>
        <pc:spChg chg="mod">
          <ac:chgData name="Veniero Facchetti" userId="f2c6c99af91c4974" providerId="LiveId" clId="{34DF7D6B-EB0F-4B53-B080-BB8D6F5C3D93}" dt="2024-05-10T16:10:13.783" v="711"/>
          <ac:spMkLst>
            <pc:docMk/>
            <pc:sldMk cId="2568016385" sldId="357"/>
            <ac:spMk id="111" creationId="{F5E6F488-49C7-D931-E155-234A9A968232}"/>
          </ac:spMkLst>
        </pc:spChg>
        <pc:spChg chg="mod">
          <ac:chgData name="Veniero Facchetti" userId="f2c6c99af91c4974" providerId="LiveId" clId="{34DF7D6B-EB0F-4B53-B080-BB8D6F5C3D93}" dt="2024-05-10T16:10:13.783" v="711"/>
          <ac:spMkLst>
            <pc:docMk/>
            <pc:sldMk cId="2568016385" sldId="357"/>
            <ac:spMk id="112" creationId="{288B4F21-CE93-B29B-04C0-6C77D47B1F6E}"/>
          </ac:spMkLst>
        </pc:spChg>
        <pc:spChg chg="mod">
          <ac:chgData name="Veniero Facchetti" userId="f2c6c99af91c4974" providerId="LiveId" clId="{34DF7D6B-EB0F-4B53-B080-BB8D6F5C3D93}" dt="2024-05-10T16:10:13.783" v="711"/>
          <ac:spMkLst>
            <pc:docMk/>
            <pc:sldMk cId="2568016385" sldId="357"/>
            <ac:spMk id="113" creationId="{7D9B2BA7-0C1C-C72F-0302-C20D3512E192}"/>
          </ac:spMkLst>
        </pc:spChg>
        <pc:spChg chg="mod">
          <ac:chgData name="Veniero Facchetti" userId="f2c6c99af91c4974" providerId="LiveId" clId="{34DF7D6B-EB0F-4B53-B080-BB8D6F5C3D93}" dt="2024-05-10T16:10:13.783" v="711"/>
          <ac:spMkLst>
            <pc:docMk/>
            <pc:sldMk cId="2568016385" sldId="357"/>
            <ac:spMk id="114" creationId="{DB13AC87-8597-B7CA-C0EB-81696267E969}"/>
          </ac:spMkLst>
        </pc:spChg>
        <pc:spChg chg="mod">
          <ac:chgData name="Veniero Facchetti" userId="f2c6c99af91c4974" providerId="LiveId" clId="{34DF7D6B-EB0F-4B53-B080-BB8D6F5C3D93}" dt="2024-05-10T16:10:13.783" v="711"/>
          <ac:spMkLst>
            <pc:docMk/>
            <pc:sldMk cId="2568016385" sldId="357"/>
            <ac:spMk id="115" creationId="{D8662EB2-EDC4-E4F3-8C6E-36942FD034F6}"/>
          </ac:spMkLst>
        </pc:spChg>
        <pc:spChg chg="mod">
          <ac:chgData name="Veniero Facchetti" userId="f2c6c99af91c4974" providerId="LiveId" clId="{34DF7D6B-EB0F-4B53-B080-BB8D6F5C3D93}" dt="2024-05-10T16:10:13.783" v="711"/>
          <ac:spMkLst>
            <pc:docMk/>
            <pc:sldMk cId="2568016385" sldId="357"/>
            <ac:spMk id="116" creationId="{4E6EEC3E-A013-EFEE-75BF-7B5D356073E4}"/>
          </ac:spMkLst>
        </pc:spChg>
        <pc:spChg chg="mod">
          <ac:chgData name="Veniero Facchetti" userId="f2c6c99af91c4974" providerId="LiveId" clId="{34DF7D6B-EB0F-4B53-B080-BB8D6F5C3D93}" dt="2024-05-10T16:10:13.783" v="711"/>
          <ac:spMkLst>
            <pc:docMk/>
            <pc:sldMk cId="2568016385" sldId="357"/>
            <ac:spMk id="117" creationId="{F1DAA03E-D5F9-42AE-E269-8D1D8E1249BF}"/>
          </ac:spMkLst>
        </pc:spChg>
        <pc:spChg chg="mod">
          <ac:chgData name="Veniero Facchetti" userId="f2c6c99af91c4974" providerId="LiveId" clId="{34DF7D6B-EB0F-4B53-B080-BB8D6F5C3D93}" dt="2024-05-10T16:10:13.783" v="711"/>
          <ac:spMkLst>
            <pc:docMk/>
            <pc:sldMk cId="2568016385" sldId="357"/>
            <ac:spMk id="118" creationId="{C2EE9400-9DF5-AC54-1A94-E29F0BE03590}"/>
          </ac:spMkLst>
        </pc:spChg>
        <pc:spChg chg="mod">
          <ac:chgData name="Veniero Facchetti" userId="f2c6c99af91c4974" providerId="LiveId" clId="{34DF7D6B-EB0F-4B53-B080-BB8D6F5C3D93}" dt="2024-05-10T16:10:13.783" v="711"/>
          <ac:spMkLst>
            <pc:docMk/>
            <pc:sldMk cId="2568016385" sldId="357"/>
            <ac:spMk id="119" creationId="{4B2E6506-F29F-DE26-1748-DE631513968B}"/>
          </ac:spMkLst>
        </pc:spChg>
        <pc:spChg chg="mod">
          <ac:chgData name="Veniero Facchetti" userId="f2c6c99af91c4974" providerId="LiveId" clId="{34DF7D6B-EB0F-4B53-B080-BB8D6F5C3D93}" dt="2024-05-10T16:10:13.783" v="711"/>
          <ac:spMkLst>
            <pc:docMk/>
            <pc:sldMk cId="2568016385" sldId="357"/>
            <ac:spMk id="120" creationId="{93040DF3-DA2A-BDD3-43F1-85BE5386A97F}"/>
          </ac:spMkLst>
        </pc:spChg>
        <pc:spChg chg="mod">
          <ac:chgData name="Veniero Facchetti" userId="f2c6c99af91c4974" providerId="LiveId" clId="{34DF7D6B-EB0F-4B53-B080-BB8D6F5C3D93}" dt="2024-05-10T16:10:13.783" v="711"/>
          <ac:spMkLst>
            <pc:docMk/>
            <pc:sldMk cId="2568016385" sldId="357"/>
            <ac:spMk id="121" creationId="{74F62646-6629-7AA9-467E-08A65E72B771}"/>
          </ac:spMkLst>
        </pc:spChg>
        <pc:spChg chg="mod">
          <ac:chgData name="Veniero Facchetti" userId="f2c6c99af91c4974" providerId="LiveId" clId="{34DF7D6B-EB0F-4B53-B080-BB8D6F5C3D93}" dt="2024-05-10T16:10:13.783" v="711"/>
          <ac:spMkLst>
            <pc:docMk/>
            <pc:sldMk cId="2568016385" sldId="357"/>
            <ac:spMk id="122" creationId="{5E2225BC-2581-AD74-DB43-B698B5252104}"/>
          </ac:spMkLst>
        </pc:spChg>
        <pc:spChg chg="mod">
          <ac:chgData name="Veniero Facchetti" userId="f2c6c99af91c4974" providerId="LiveId" clId="{34DF7D6B-EB0F-4B53-B080-BB8D6F5C3D93}" dt="2024-05-10T16:10:13.783" v="711"/>
          <ac:spMkLst>
            <pc:docMk/>
            <pc:sldMk cId="2568016385" sldId="357"/>
            <ac:spMk id="123" creationId="{3000D435-8A72-2B05-DA0B-0013D21AB87E}"/>
          </ac:spMkLst>
        </pc:spChg>
        <pc:spChg chg="mod">
          <ac:chgData name="Veniero Facchetti" userId="f2c6c99af91c4974" providerId="LiveId" clId="{34DF7D6B-EB0F-4B53-B080-BB8D6F5C3D93}" dt="2024-05-10T16:10:13.783" v="711"/>
          <ac:spMkLst>
            <pc:docMk/>
            <pc:sldMk cId="2568016385" sldId="357"/>
            <ac:spMk id="124" creationId="{FE6A98FB-EC24-4DF6-AC40-784EDEA7DCE1}"/>
          </ac:spMkLst>
        </pc:spChg>
        <pc:spChg chg="mod">
          <ac:chgData name="Veniero Facchetti" userId="f2c6c99af91c4974" providerId="LiveId" clId="{34DF7D6B-EB0F-4B53-B080-BB8D6F5C3D93}" dt="2024-05-10T16:10:13.783" v="711"/>
          <ac:spMkLst>
            <pc:docMk/>
            <pc:sldMk cId="2568016385" sldId="357"/>
            <ac:spMk id="125" creationId="{ABB93E9D-5049-7B07-D241-D665DDE29D40}"/>
          </ac:spMkLst>
        </pc:spChg>
        <pc:spChg chg="mod">
          <ac:chgData name="Veniero Facchetti" userId="f2c6c99af91c4974" providerId="LiveId" clId="{34DF7D6B-EB0F-4B53-B080-BB8D6F5C3D93}" dt="2024-05-10T16:10:13.783" v="711"/>
          <ac:spMkLst>
            <pc:docMk/>
            <pc:sldMk cId="2568016385" sldId="357"/>
            <ac:spMk id="126" creationId="{E8BBEC36-0047-F24D-8944-1285FBF5AAA1}"/>
          </ac:spMkLst>
        </pc:spChg>
        <pc:spChg chg="mod">
          <ac:chgData name="Veniero Facchetti" userId="f2c6c99af91c4974" providerId="LiveId" clId="{34DF7D6B-EB0F-4B53-B080-BB8D6F5C3D93}" dt="2024-05-10T16:10:13.783" v="711"/>
          <ac:spMkLst>
            <pc:docMk/>
            <pc:sldMk cId="2568016385" sldId="357"/>
            <ac:spMk id="127" creationId="{E2FE7443-7360-6BAD-5BD9-DBB4933D8838}"/>
          </ac:spMkLst>
        </pc:spChg>
        <pc:spChg chg="mod">
          <ac:chgData name="Veniero Facchetti" userId="f2c6c99af91c4974" providerId="LiveId" clId="{34DF7D6B-EB0F-4B53-B080-BB8D6F5C3D93}" dt="2024-05-10T16:10:13.783" v="711"/>
          <ac:spMkLst>
            <pc:docMk/>
            <pc:sldMk cId="2568016385" sldId="357"/>
            <ac:spMk id="128" creationId="{0A79495C-99BA-E3C0-6D15-E7A621E242F3}"/>
          </ac:spMkLst>
        </pc:spChg>
        <pc:spChg chg="mod">
          <ac:chgData name="Veniero Facchetti" userId="f2c6c99af91c4974" providerId="LiveId" clId="{34DF7D6B-EB0F-4B53-B080-BB8D6F5C3D93}" dt="2024-05-10T16:10:13.783" v="711"/>
          <ac:spMkLst>
            <pc:docMk/>
            <pc:sldMk cId="2568016385" sldId="357"/>
            <ac:spMk id="129" creationId="{8CFB645C-881D-C261-70C8-0CFF34444579}"/>
          </ac:spMkLst>
        </pc:spChg>
        <pc:spChg chg="mod">
          <ac:chgData name="Veniero Facchetti" userId="f2c6c99af91c4974" providerId="LiveId" clId="{34DF7D6B-EB0F-4B53-B080-BB8D6F5C3D93}" dt="2024-05-10T16:10:13.783" v="711"/>
          <ac:spMkLst>
            <pc:docMk/>
            <pc:sldMk cId="2568016385" sldId="357"/>
            <ac:spMk id="130" creationId="{A999CEFB-C3AC-757F-DC34-0702C015C7E8}"/>
          </ac:spMkLst>
        </pc:spChg>
        <pc:spChg chg="mod">
          <ac:chgData name="Veniero Facchetti" userId="f2c6c99af91c4974" providerId="LiveId" clId="{34DF7D6B-EB0F-4B53-B080-BB8D6F5C3D93}" dt="2024-05-10T16:10:13.783" v="711"/>
          <ac:spMkLst>
            <pc:docMk/>
            <pc:sldMk cId="2568016385" sldId="357"/>
            <ac:spMk id="131" creationId="{FB561783-6694-4F53-BB57-D7D55564F300}"/>
          </ac:spMkLst>
        </pc:spChg>
        <pc:spChg chg="mod">
          <ac:chgData name="Veniero Facchetti" userId="f2c6c99af91c4974" providerId="LiveId" clId="{34DF7D6B-EB0F-4B53-B080-BB8D6F5C3D93}" dt="2024-05-10T16:10:13.783" v="711"/>
          <ac:spMkLst>
            <pc:docMk/>
            <pc:sldMk cId="2568016385" sldId="357"/>
            <ac:spMk id="132" creationId="{AEB705AC-798B-BA06-F3C5-745975622A30}"/>
          </ac:spMkLst>
        </pc:spChg>
        <pc:spChg chg="mod">
          <ac:chgData name="Veniero Facchetti" userId="f2c6c99af91c4974" providerId="LiveId" clId="{34DF7D6B-EB0F-4B53-B080-BB8D6F5C3D93}" dt="2024-05-10T16:10:13.783" v="711"/>
          <ac:spMkLst>
            <pc:docMk/>
            <pc:sldMk cId="2568016385" sldId="357"/>
            <ac:spMk id="133" creationId="{8A5FE2B1-5D44-54BF-E66B-E00318B55492}"/>
          </ac:spMkLst>
        </pc:spChg>
        <pc:spChg chg="mod">
          <ac:chgData name="Veniero Facchetti" userId="f2c6c99af91c4974" providerId="LiveId" clId="{34DF7D6B-EB0F-4B53-B080-BB8D6F5C3D93}" dt="2024-05-10T16:10:13.783" v="711"/>
          <ac:spMkLst>
            <pc:docMk/>
            <pc:sldMk cId="2568016385" sldId="357"/>
            <ac:spMk id="134" creationId="{7065A64C-5B92-410C-7C36-2F05630103B2}"/>
          </ac:spMkLst>
        </pc:spChg>
        <pc:spChg chg="mod">
          <ac:chgData name="Veniero Facchetti" userId="f2c6c99af91c4974" providerId="LiveId" clId="{34DF7D6B-EB0F-4B53-B080-BB8D6F5C3D93}" dt="2024-05-10T16:10:13.783" v="711"/>
          <ac:spMkLst>
            <pc:docMk/>
            <pc:sldMk cId="2568016385" sldId="357"/>
            <ac:spMk id="135" creationId="{FE9AB01D-79B1-F8C5-A872-E824E3BDE6B6}"/>
          </ac:spMkLst>
        </pc:spChg>
        <pc:spChg chg="mod">
          <ac:chgData name="Veniero Facchetti" userId="f2c6c99af91c4974" providerId="LiveId" clId="{34DF7D6B-EB0F-4B53-B080-BB8D6F5C3D93}" dt="2024-05-10T16:10:13.783" v="711"/>
          <ac:spMkLst>
            <pc:docMk/>
            <pc:sldMk cId="2568016385" sldId="357"/>
            <ac:spMk id="136" creationId="{72B32210-AF07-DD71-CC38-CF46F575EA03}"/>
          </ac:spMkLst>
        </pc:spChg>
        <pc:spChg chg="mod">
          <ac:chgData name="Veniero Facchetti" userId="f2c6c99af91c4974" providerId="LiveId" clId="{34DF7D6B-EB0F-4B53-B080-BB8D6F5C3D93}" dt="2024-05-10T16:10:13.783" v="711"/>
          <ac:spMkLst>
            <pc:docMk/>
            <pc:sldMk cId="2568016385" sldId="357"/>
            <ac:spMk id="137" creationId="{F7E16750-3B07-2A3B-C7F3-0B06C467BD0C}"/>
          </ac:spMkLst>
        </pc:spChg>
        <pc:spChg chg="mod">
          <ac:chgData name="Veniero Facchetti" userId="f2c6c99af91c4974" providerId="LiveId" clId="{34DF7D6B-EB0F-4B53-B080-BB8D6F5C3D93}" dt="2024-05-10T16:10:13.783" v="711"/>
          <ac:spMkLst>
            <pc:docMk/>
            <pc:sldMk cId="2568016385" sldId="357"/>
            <ac:spMk id="138" creationId="{4A7C12F9-9B2A-CDE8-7D7A-E67DA9495FF3}"/>
          </ac:spMkLst>
        </pc:spChg>
        <pc:spChg chg="mod">
          <ac:chgData name="Veniero Facchetti" userId="f2c6c99af91c4974" providerId="LiveId" clId="{34DF7D6B-EB0F-4B53-B080-BB8D6F5C3D93}" dt="2024-05-10T16:10:13.783" v="711"/>
          <ac:spMkLst>
            <pc:docMk/>
            <pc:sldMk cId="2568016385" sldId="357"/>
            <ac:spMk id="139" creationId="{A7E432FF-235A-F0B9-BE5F-99B5B53884A9}"/>
          </ac:spMkLst>
        </pc:spChg>
        <pc:spChg chg="mod">
          <ac:chgData name="Veniero Facchetti" userId="f2c6c99af91c4974" providerId="LiveId" clId="{34DF7D6B-EB0F-4B53-B080-BB8D6F5C3D93}" dt="2024-05-10T16:10:13.783" v="711"/>
          <ac:spMkLst>
            <pc:docMk/>
            <pc:sldMk cId="2568016385" sldId="357"/>
            <ac:spMk id="140" creationId="{12D49E3B-9156-58FD-8F24-52E03C9D66BE}"/>
          </ac:spMkLst>
        </pc:spChg>
        <pc:spChg chg="mod">
          <ac:chgData name="Veniero Facchetti" userId="f2c6c99af91c4974" providerId="LiveId" clId="{34DF7D6B-EB0F-4B53-B080-BB8D6F5C3D93}" dt="2024-05-10T16:10:13.783" v="711"/>
          <ac:spMkLst>
            <pc:docMk/>
            <pc:sldMk cId="2568016385" sldId="357"/>
            <ac:spMk id="141" creationId="{5CE1DB84-8F6D-0DC4-6120-D67089AA8D96}"/>
          </ac:spMkLst>
        </pc:spChg>
        <pc:spChg chg="mod">
          <ac:chgData name="Veniero Facchetti" userId="f2c6c99af91c4974" providerId="LiveId" clId="{34DF7D6B-EB0F-4B53-B080-BB8D6F5C3D93}" dt="2024-05-10T16:10:13.783" v="711"/>
          <ac:spMkLst>
            <pc:docMk/>
            <pc:sldMk cId="2568016385" sldId="357"/>
            <ac:spMk id="142" creationId="{04AC647E-E71D-4FB5-914C-F70E0D5A7852}"/>
          </ac:spMkLst>
        </pc:spChg>
        <pc:spChg chg="mod">
          <ac:chgData name="Veniero Facchetti" userId="f2c6c99af91c4974" providerId="LiveId" clId="{34DF7D6B-EB0F-4B53-B080-BB8D6F5C3D93}" dt="2024-05-10T16:10:13.783" v="711"/>
          <ac:spMkLst>
            <pc:docMk/>
            <pc:sldMk cId="2568016385" sldId="357"/>
            <ac:spMk id="143" creationId="{C302F91F-410C-F3EF-A618-E2FCA5ECA9C0}"/>
          </ac:spMkLst>
        </pc:spChg>
        <pc:spChg chg="mod">
          <ac:chgData name="Veniero Facchetti" userId="f2c6c99af91c4974" providerId="LiveId" clId="{34DF7D6B-EB0F-4B53-B080-BB8D6F5C3D93}" dt="2024-05-10T16:10:13.783" v="711"/>
          <ac:spMkLst>
            <pc:docMk/>
            <pc:sldMk cId="2568016385" sldId="357"/>
            <ac:spMk id="144" creationId="{A584BFCD-602F-AB22-16F4-1B83646DDF3B}"/>
          </ac:spMkLst>
        </pc:spChg>
        <pc:spChg chg="mod">
          <ac:chgData name="Veniero Facchetti" userId="f2c6c99af91c4974" providerId="LiveId" clId="{34DF7D6B-EB0F-4B53-B080-BB8D6F5C3D93}" dt="2024-05-10T16:10:13.783" v="711"/>
          <ac:spMkLst>
            <pc:docMk/>
            <pc:sldMk cId="2568016385" sldId="357"/>
            <ac:spMk id="145" creationId="{06B49298-EFA5-2951-ED23-661211824E9F}"/>
          </ac:spMkLst>
        </pc:spChg>
        <pc:spChg chg="mod">
          <ac:chgData name="Veniero Facchetti" userId="f2c6c99af91c4974" providerId="LiveId" clId="{34DF7D6B-EB0F-4B53-B080-BB8D6F5C3D93}" dt="2024-05-10T16:10:13.783" v="711"/>
          <ac:spMkLst>
            <pc:docMk/>
            <pc:sldMk cId="2568016385" sldId="357"/>
            <ac:spMk id="146" creationId="{96F87173-5687-7760-2B1B-AE86F731BB78}"/>
          </ac:spMkLst>
        </pc:spChg>
        <pc:spChg chg="mod">
          <ac:chgData name="Veniero Facchetti" userId="f2c6c99af91c4974" providerId="LiveId" clId="{34DF7D6B-EB0F-4B53-B080-BB8D6F5C3D93}" dt="2024-05-10T16:10:13.783" v="711"/>
          <ac:spMkLst>
            <pc:docMk/>
            <pc:sldMk cId="2568016385" sldId="357"/>
            <ac:spMk id="147" creationId="{64B90F5C-1AFB-D579-0689-4AC3295E0E82}"/>
          </ac:spMkLst>
        </pc:spChg>
        <pc:spChg chg="mod">
          <ac:chgData name="Veniero Facchetti" userId="f2c6c99af91c4974" providerId="LiveId" clId="{34DF7D6B-EB0F-4B53-B080-BB8D6F5C3D93}" dt="2024-05-10T16:10:13.783" v="711"/>
          <ac:spMkLst>
            <pc:docMk/>
            <pc:sldMk cId="2568016385" sldId="357"/>
            <ac:spMk id="148" creationId="{3777140E-C74E-BB28-371D-83F34DAD1757}"/>
          </ac:spMkLst>
        </pc:spChg>
        <pc:spChg chg="mod">
          <ac:chgData name="Veniero Facchetti" userId="f2c6c99af91c4974" providerId="LiveId" clId="{34DF7D6B-EB0F-4B53-B080-BB8D6F5C3D93}" dt="2024-05-10T16:10:13.783" v="711"/>
          <ac:spMkLst>
            <pc:docMk/>
            <pc:sldMk cId="2568016385" sldId="357"/>
            <ac:spMk id="149" creationId="{4169852E-613F-9789-B8A2-FC71B77506BE}"/>
          </ac:spMkLst>
        </pc:spChg>
        <pc:spChg chg="mod">
          <ac:chgData name="Veniero Facchetti" userId="f2c6c99af91c4974" providerId="LiveId" clId="{34DF7D6B-EB0F-4B53-B080-BB8D6F5C3D93}" dt="2024-05-10T16:10:13.783" v="711"/>
          <ac:spMkLst>
            <pc:docMk/>
            <pc:sldMk cId="2568016385" sldId="357"/>
            <ac:spMk id="150" creationId="{B7E7E83D-57D7-2C91-35B4-A6EFBC93CD6F}"/>
          </ac:spMkLst>
        </pc:spChg>
        <pc:spChg chg="mod">
          <ac:chgData name="Veniero Facchetti" userId="f2c6c99af91c4974" providerId="LiveId" clId="{34DF7D6B-EB0F-4B53-B080-BB8D6F5C3D93}" dt="2024-05-10T16:10:13.783" v="711"/>
          <ac:spMkLst>
            <pc:docMk/>
            <pc:sldMk cId="2568016385" sldId="357"/>
            <ac:spMk id="151" creationId="{D924F44B-2C53-EA13-9888-C638D7542369}"/>
          </ac:spMkLst>
        </pc:spChg>
        <pc:spChg chg="mod">
          <ac:chgData name="Veniero Facchetti" userId="f2c6c99af91c4974" providerId="LiveId" clId="{34DF7D6B-EB0F-4B53-B080-BB8D6F5C3D93}" dt="2024-05-10T16:10:13.783" v="711"/>
          <ac:spMkLst>
            <pc:docMk/>
            <pc:sldMk cId="2568016385" sldId="357"/>
            <ac:spMk id="152" creationId="{EB755381-7B5E-5CE6-AA54-E917264CBACE}"/>
          </ac:spMkLst>
        </pc:spChg>
        <pc:spChg chg="mod">
          <ac:chgData name="Veniero Facchetti" userId="f2c6c99af91c4974" providerId="LiveId" clId="{34DF7D6B-EB0F-4B53-B080-BB8D6F5C3D93}" dt="2024-05-10T16:10:13.783" v="711"/>
          <ac:spMkLst>
            <pc:docMk/>
            <pc:sldMk cId="2568016385" sldId="357"/>
            <ac:spMk id="153" creationId="{0ED526CF-30A0-AB14-334D-C4CA30422797}"/>
          </ac:spMkLst>
        </pc:spChg>
        <pc:spChg chg="mod">
          <ac:chgData name="Veniero Facchetti" userId="f2c6c99af91c4974" providerId="LiveId" clId="{34DF7D6B-EB0F-4B53-B080-BB8D6F5C3D93}" dt="2024-05-10T16:10:13.783" v="711"/>
          <ac:spMkLst>
            <pc:docMk/>
            <pc:sldMk cId="2568016385" sldId="357"/>
            <ac:spMk id="154" creationId="{7D40F804-0C67-E664-DCC3-053DEC8FE328}"/>
          </ac:spMkLst>
        </pc:spChg>
        <pc:spChg chg="mod">
          <ac:chgData name="Veniero Facchetti" userId="f2c6c99af91c4974" providerId="LiveId" clId="{34DF7D6B-EB0F-4B53-B080-BB8D6F5C3D93}" dt="2024-05-10T16:10:13.783" v="711"/>
          <ac:spMkLst>
            <pc:docMk/>
            <pc:sldMk cId="2568016385" sldId="357"/>
            <ac:spMk id="155" creationId="{0624CF10-FB20-504E-90D0-DBDBFF9A205A}"/>
          </ac:spMkLst>
        </pc:spChg>
        <pc:spChg chg="mod">
          <ac:chgData name="Veniero Facchetti" userId="f2c6c99af91c4974" providerId="LiveId" clId="{34DF7D6B-EB0F-4B53-B080-BB8D6F5C3D93}" dt="2024-05-10T16:10:13.783" v="711"/>
          <ac:spMkLst>
            <pc:docMk/>
            <pc:sldMk cId="2568016385" sldId="357"/>
            <ac:spMk id="156" creationId="{F786646D-4F2A-9233-B51B-D30B89FBFB28}"/>
          </ac:spMkLst>
        </pc:spChg>
        <pc:spChg chg="mod">
          <ac:chgData name="Veniero Facchetti" userId="f2c6c99af91c4974" providerId="LiveId" clId="{34DF7D6B-EB0F-4B53-B080-BB8D6F5C3D93}" dt="2024-05-10T16:10:13.783" v="711"/>
          <ac:spMkLst>
            <pc:docMk/>
            <pc:sldMk cId="2568016385" sldId="357"/>
            <ac:spMk id="157" creationId="{64823962-C950-9D27-01A0-CBB3C926406F}"/>
          </ac:spMkLst>
        </pc:spChg>
        <pc:spChg chg="mod">
          <ac:chgData name="Veniero Facchetti" userId="f2c6c99af91c4974" providerId="LiveId" clId="{34DF7D6B-EB0F-4B53-B080-BB8D6F5C3D93}" dt="2024-05-10T16:10:13.783" v="711"/>
          <ac:spMkLst>
            <pc:docMk/>
            <pc:sldMk cId="2568016385" sldId="357"/>
            <ac:spMk id="158" creationId="{58846684-1209-9C72-F77D-025A86E42E87}"/>
          </ac:spMkLst>
        </pc:spChg>
        <pc:spChg chg="mod">
          <ac:chgData name="Veniero Facchetti" userId="f2c6c99af91c4974" providerId="LiveId" clId="{34DF7D6B-EB0F-4B53-B080-BB8D6F5C3D93}" dt="2024-05-10T16:10:13.783" v="711"/>
          <ac:spMkLst>
            <pc:docMk/>
            <pc:sldMk cId="2568016385" sldId="357"/>
            <ac:spMk id="159" creationId="{F6F38161-D900-2E21-DED9-35CBF3DDD632}"/>
          </ac:spMkLst>
        </pc:spChg>
        <pc:spChg chg="mod">
          <ac:chgData name="Veniero Facchetti" userId="f2c6c99af91c4974" providerId="LiveId" clId="{34DF7D6B-EB0F-4B53-B080-BB8D6F5C3D93}" dt="2024-05-10T16:10:13.783" v="711"/>
          <ac:spMkLst>
            <pc:docMk/>
            <pc:sldMk cId="2568016385" sldId="357"/>
            <ac:spMk id="160" creationId="{9F2FAB6C-D505-B385-8396-701163251FCD}"/>
          </ac:spMkLst>
        </pc:spChg>
        <pc:spChg chg="mod">
          <ac:chgData name="Veniero Facchetti" userId="f2c6c99af91c4974" providerId="LiveId" clId="{34DF7D6B-EB0F-4B53-B080-BB8D6F5C3D93}" dt="2024-05-10T16:10:13.783" v="711"/>
          <ac:spMkLst>
            <pc:docMk/>
            <pc:sldMk cId="2568016385" sldId="357"/>
            <ac:spMk id="161" creationId="{DD3C76F5-5864-3793-EB3F-2829434818C1}"/>
          </ac:spMkLst>
        </pc:spChg>
        <pc:spChg chg="mod">
          <ac:chgData name="Veniero Facchetti" userId="f2c6c99af91c4974" providerId="LiveId" clId="{34DF7D6B-EB0F-4B53-B080-BB8D6F5C3D93}" dt="2024-05-10T16:10:13.783" v="711"/>
          <ac:spMkLst>
            <pc:docMk/>
            <pc:sldMk cId="2568016385" sldId="357"/>
            <ac:spMk id="162" creationId="{83D2C591-F730-2AFD-EDB6-FA23AE373624}"/>
          </ac:spMkLst>
        </pc:spChg>
        <pc:spChg chg="mod">
          <ac:chgData name="Veniero Facchetti" userId="f2c6c99af91c4974" providerId="LiveId" clId="{34DF7D6B-EB0F-4B53-B080-BB8D6F5C3D93}" dt="2024-05-10T16:10:13.783" v="711"/>
          <ac:spMkLst>
            <pc:docMk/>
            <pc:sldMk cId="2568016385" sldId="357"/>
            <ac:spMk id="163" creationId="{4E11370F-2D6B-7115-F867-114637C69586}"/>
          </ac:spMkLst>
        </pc:spChg>
        <pc:spChg chg="mod">
          <ac:chgData name="Veniero Facchetti" userId="f2c6c99af91c4974" providerId="LiveId" clId="{34DF7D6B-EB0F-4B53-B080-BB8D6F5C3D93}" dt="2024-05-10T16:10:13.783" v="711"/>
          <ac:spMkLst>
            <pc:docMk/>
            <pc:sldMk cId="2568016385" sldId="357"/>
            <ac:spMk id="164" creationId="{B8F2790F-EC49-8B62-36A7-5F77E785E636}"/>
          </ac:spMkLst>
        </pc:spChg>
        <pc:spChg chg="mod">
          <ac:chgData name="Veniero Facchetti" userId="f2c6c99af91c4974" providerId="LiveId" clId="{34DF7D6B-EB0F-4B53-B080-BB8D6F5C3D93}" dt="2024-05-10T16:10:13.783" v="711"/>
          <ac:spMkLst>
            <pc:docMk/>
            <pc:sldMk cId="2568016385" sldId="357"/>
            <ac:spMk id="165" creationId="{77B82B0D-2C34-31E5-4F46-8E274B30AD98}"/>
          </ac:spMkLst>
        </pc:spChg>
        <pc:spChg chg="mod">
          <ac:chgData name="Veniero Facchetti" userId="f2c6c99af91c4974" providerId="LiveId" clId="{34DF7D6B-EB0F-4B53-B080-BB8D6F5C3D93}" dt="2024-05-10T16:10:13.783" v="711"/>
          <ac:spMkLst>
            <pc:docMk/>
            <pc:sldMk cId="2568016385" sldId="357"/>
            <ac:spMk id="166" creationId="{A6124997-4D4F-5CCB-DF81-D23C1D82AED5}"/>
          </ac:spMkLst>
        </pc:spChg>
        <pc:spChg chg="mod">
          <ac:chgData name="Veniero Facchetti" userId="f2c6c99af91c4974" providerId="LiveId" clId="{34DF7D6B-EB0F-4B53-B080-BB8D6F5C3D93}" dt="2024-05-10T16:10:13.783" v="711"/>
          <ac:spMkLst>
            <pc:docMk/>
            <pc:sldMk cId="2568016385" sldId="357"/>
            <ac:spMk id="167" creationId="{564AF59B-E808-246A-764D-5A7461C249C3}"/>
          </ac:spMkLst>
        </pc:spChg>
        <pc:spChg chg="mod">
          <ac:chgData name="Veniero Facchetti" userId="f2c6c99af91c4974" providerId="LiveId" clId="{34DF7D6B-EB0F-4B53-B080-BB8D6F5C3D93}" dt="2024-05-10T16:10:13.783" v="711"/>
          <ac:spMkLst>
            <pc:docMk/>
            <pc:sldMk cId="2568016385" sldId="357"/>
            <ac:spMk id="168" creationId="{6E5060E6-1B0F-4A8E-F23C-5778E2059B81}"/>
          </ac:spMkLst>
        </pc:spChg>
        <pc:spChg chg="mod">
          <ac:chgData name="Veniero Facchetti" userId="f2c6c99af91c4974" providerId="LiveId" clId="{34DF7D6B-EB0F-4B53-B080-BB8D6F5C3D93}" dt="2024-05-10T16:10:13.783" v="711"/>
          <ac:spMkLst>
            <pc:docMk/>
            <pc:sldMk cId="2568016385" sldId="357"/>
            <ac:spMk id="169" creationId="{49B732E4-ACCF-AEC5-0A2B-59E6D9881CBD}"/>
          </ac:spMkLst>
        </pc:spChg>
        <pc:spChg chg="mod">
          <ac:chgData name="Veniero Facchetti" userId="f2c6c99af91c4974" providerId="LiveId" clId="{34DF7D6B-EB0F-4B53-B080-BB8D6F5C3D93}" dt="2024-05-10T16:10:13.783" v="711"/>
          <ac:spMkLst>
            <pc:docMk/>
            <pc:sldMk cId="2568016385" sldId="357"/>
            <ac:spMk id="170" creationId="{0DFA7B23-FB20-15EE-CCCA-B68AD93FEA2B}"/>
          </ac:spMkLst>
        </pc:spChg>
        <pc:spChg chg="mod">
          <ac:chgData name="Veniero Facchetti" userId="f2c6c99af91c4974" providerId="LiveId" clId="{34DF7D6B-EB0F-4B53-B080-BB8D6F5C3D93}" dt="2024-05-10T16:10:13.783" v="711"/>
          <ac:spMkLst>
            <pc:docMk/>
            <pc:sldMk cId="2568016385" sldId="357"/>
            <ac:spMk id="171" creationId="{A5FAE6A8-D95E-BFB3-59DA-C2E40E22B802}"/>
          </ac:spMkLst>
        </pc:spChg>
        <pc:spChg chg="mod">
          <ac:chgData name="Veniero Facchetti" userId="f2c6c99af91c4974" providerId="LiveId" clId="{34DF7D6B-EB0F-4B53-B080-BB8D6F5C3D93}" dt="2024-05-10T16:10:13.783" v="711"/>
          <ac:spMkLst>
            <pc:docMk/>
            <pc:sldMk cId="2568016385" sldId="357"/>
            <ac:spMk id="172" creationId="{4D70C460-5CDA-5562-925F-EBFA8F990778}"/>
          </ac:spMkLst>
        </pc:spChg>
        <pc:spChg chg="mod">
          <ac:chgData name="Veniero Facchetti" userId="f2c6c99af91c4974" providerId="LiveId" clId="{34DF7D6B-EB0F-4B53-B080-BB8D6F5C3D93}" dt="2024-05-10T16:10:13.783" v="711"/>
          <ac:spMkLst>
            <pc:docMk/>
            <pc:sldMk cId="2568016385" sldId="357"/>
            <ac:spMk id="173" creationId="{E351C104-2C47-9D90-EDFC-661C4F571E69}"/>
          </ac:spMkLst>
        </pc:spChg>
        <pc:spChg chg="mod">
          <ac:chgData name="Veniero Facchetti" userId="f2c6c99af91c4974" providerId="LiveId" clId="{34DF7D6B-EB0F-4B53-B080-BB8D6F5C3D93}" dt="2024-05-10T16:10:13.783" v="711"/>
          <ac:spMkLst>
            <pc:docMk/>
            <pc:sldMk cId="2568016385" sldId="357"/>
            <ac:spMk id="174" creationId="{687A8DF2-2EB9-E774-F297-140BCA5FB0A0}"/>
          </ac:spMkLst>
        </pc:spChg>
        <pc:spChg chg="mod">
          <ac:chgData name="Veniero Facchetti" userId="f2c6c99af91c4974" providerId="LiveId" clId="{34DF7D6B-EB0F-4B53-B080-BB8D6F5C3D93}" dt="2024-05-10T16:10:13.783" v="711"/>
          <ac:spMkLst>
            <pc:docMk/>
            <pc:sldMk cId="2568016385" sldId="357"/>
            <ac:spMk id="175" creationId="{B5508858-1A61-A837-256B-8E0842C94BA3}"/>
          </ac:spMkLst>
        </pc:spChg>
        <pc:spChg chg="mod">
          <ac:chgData name="Veniero Facchetti" userId="f2c6c99af91c4974" providerId="LiveId" clId="{34DF7D6B-EB0F-4B53-B080-BB8D6F5C3D93}" dt="2024-05-10T16:10:13.783" v="711"/>
          <ac:spMkLst>
            <pc:docMk/>
            <pc:sldMk cId="2568016385" sldId="357"/>
            <ac:spMk id="176" creationId="{528C41C0-D67E-717C-DE8B-70C85E093CAE}"/>
          </ac:spMkLst>
        </pc:spChg>
        <pc:spChg chg="mod">
          <ac:chgData name="Veniero Facchetti" userId="f2c6c99af91c4974" providerId="LiveId" clId="{34DF7D6B-EB0F-4B53-B080-BB8D6F5C3D93}" dt="2024-05-10T16:10:13.783" v="711"/>
          <ac:spMkLst>
            <pc:docMk/>
            <pc:sldMk cId="2568016385" sldId="357"/>
            <ac:spMk id="177" creationId="{05BFFC34-EA95-4279-4978-B898EFD91CC8}"/>
          </ac:spMkLst>
        </pc:spChg>
        <pc:spChg chg="mod">
          <ac:chgData name="Veniero Facchetti" userId="f2c6c99af91c4974" providerId="LiveId" clId="{34DF7D6B-EB0F-4B53-B080-BB8D6F5C3D93}" dt="2024-05-10T16:10:13.783" v="711"/>
          <ac:spMkLst>
            <pc:docMk/>
            <pc:sldMk cId="2568016385" sldId="357"/>
            <ac:spMk id="179" creationId="{B5D73C5D-3AE5-A1EE-2780-A905ED246136}"/>
          </ac:spMkLst>
        </pc:spChg>
        <pc:spChg chg="add mod">
          <ac:chgData name="Veniero Facchetti" userId="f2c6c99af91c4974" providerId="LiveId" clId="{34DF7D6B-EB0F-4B53-B080-BB8D6F5C3D93}" dt="2024-05-10T16:11:00.275" v="721" actId="1076"/>
          <ac:spMkLst>
            <pc:docMk/>
            <pc:sldMk cId="2568016385" sldId="357"/>
            <ac:spMk id="182" creationId="{ABE9BB19-EB31-3BFE-4DD7-AF15505F71C6}"/>
          </ac:spMkLst>
        </pc:spChg>
        <pc:spChg chg="add mod">
          <ac:chgData name="Veniero Facchetti" userId="f2c6c99af91c4974" providerId="LiveId" clId="{34DF7D6B-EB0F-4B53-B080-BB8D6F5C3D93}" dt="2024-05-10T16:11:00.275" v="721" actId="1076"/>
          <ac:spMkLst>
            <pc:docMk/>
            <pc:sldMk cId="2568016385" sldId="357"/>
            <ac:spMk id="183" creationId="{0D944BA0-C448-FC6E-E47F-599951D05A6F}"/>
          </ac:spMkLst>
        </pc:spChg>
        <pc:spChg chg="add mod">
          <ac:chgData name="Veniero Facchetti" userId="f2c6c99af91c4974" providerId="LiveId" clId="{34DF7D6B-EB0F-4B53-B080-BB8D6F5C3D93}" dt="2024-05-10T16:11:00.275" v="721" actId="1076"/>
          <ac:spMkLst>
            <pc:docMk/>
            <pc:sldMk cId="2568016385" sldId="357"/>
            <ac:spMk id="185" creationId="{03CDBFBA-644F-73F5-2A3B-013188F42A13}"/>
          </ac:spMkLst>
        </pc:spChg>
        <pc:spChg chg="add mod">
          <ac:chgData name="Veniero Facchetti" userId="f2c6c99af91c4974" providerId="LiveId" clId="{34DF7D6B-EB0F-4B53-B080-BB8D6F5C3D93}" dt="2024-05-10T16:11:00.275" v="721" actId="1076"/>
          <ac:spMkLst>
            <pc:docMk/>
            <pc:sldMk cId="2568016385" sldId="357"/>
            <ac:spMk id="187" creationId="{90637675-C56F-4930-2FC5-AD03EA973CD9}"/>
          </ac:spMkLst>
        </pc:spChg>
        <pc:spChg chg="add mod">
          <ac:chgData name="Veniero Facchetti" userId="f2c6c99af91c4974" providerId="LiveId" clId="{34DF7D6B-EB0F-4B53-B080-BB8D6F5C3D93}" dt="2024-05-10T16:11:00.275" v="721" actId="1076"/>
          <ac:spMkLst>
            <pc:docMk/>
            <pc:sldMk cId="2568016385" sldId="357"/>
            <ac:spMk id="188" creationId="{B84F8D6E-9F50-1D20-4915-8F6F5AFEAD8C}"/>
          </ac:spMkLst>
        </pc:spChg>
        <pc:spChg chg="add mod">
          <ac:chgData name="Veniero Facchetti" userId="f2c6c99af91c4974" providerId="LiveId" clId="{34DF7D6B-EB0F-4B53-B080-BB8D6F5C3D93}" dt="2024-05-10T16:11:00.275" v="721" actId="1076"/>
          <ac:spMkLst>
            <pc:docMk/>
            <pc:sldMk cId="2568016385" sldId="357"/>
            <ac:spMk id="189" creationId="{F9A78253-B7C5-DDAA-D516-9BD2CD84C938}"/>
          </ac:spMkLst>
        </pc:spChg>
        <pc:spChg chg="add mod">
          <ac:chgData name="Veniero Facchetti" userId="f2c6c99af91c4974" providerId="LiveId" clId="{34DF7D6B-EB0F-4B53-B080-BB8D6F5C3D93}" dt="2024-05-10T16:11:00.275" v="721" actId="1076"/>
          <ac:spMkLst>
            <pc:docMk/>
            <pc:sldMk cId="2568016385" sldId="357"/>
            <ac:spMk id="192" creationId="{D66759CC-1FFC-8B38-ED87-62ED5C483E0B}"/>
          </ac:spMkLst>
        </pc:spChg>
        <pc:spChg chg="add mod">
          <ac:chgData name="Veniero Facchetti" userId="f2c6c99af91c4974" providerId="LiveId" clId="{34DF7D6B-EB0F-4B53-B080-BB8D6F5C3D93}" dt="2024-05-10T16:11:00.275" v="721" actId="1076"/>
          <ac:spMkLst>
            <pc:docMk/>
            <pc:sldMk cId="2568016385" sldId="357"/>
            <ac:spMk id="193" creationId="{62531456-AD19-5516-32FE-1836CCC6E924}"/>
          </ac:spMkLst>
        </pc:spChg>
        <pc:spChg chg="add mod">
          <ac:chgData name="Veniero Facchetti" userId="f2c6c99af91c4974" providerId="LiveId" clId="{34DF7D6B-EB0F-4B53-B080-BB8D6F5C3D93}" dt="2024-05-10T16:11:00.275" v="721" actId="1076"/>
          <ac:spMkLst>
            <pc:docMk/>
            <pc:sldMk cId="2568016385" sldId="357"/>
            <ac:spMk id="195" creationId="{55869DCA-7F2E-3BF6-AB18-0D1BA98F3C19}"/>
          </ac:spMkLst>
        </pc:spChg>
        <pc:spChg chg="add mod">
          <ac:chgData name="Veniero Facchetti" userId="f2c6c99af91c4974" providerId="LiveId" clId="{34DF7D6B-EB0F-4B53-B080-BB8D6F5C3D93}" dt="2024-05-10T16:11:00.275" v="721" actId="1076"/>
          <ac:spMkLst>
            <pc:docMk/>
            <pc:sldMk cId="2568016385" sldId="357"/>
            <ac:spMk id="197" creationId="{6C89A18B-87A1-091E-866E-169AF6900B0B}"/>
          </ac:spMkLst>
        </pc:spChg>
        <pc:spChg chg="add mod">
          <ac:chgData name="Veniero Facchetti" userId="f2c6c99af91c4974" providerId="LiveId" clId="{34DF7D6B-EB0F-4B53-B080-BB8D6F5C3D93}" dt="2024-05-10T16:11:00.275" v="721" actId="1076"/>
          <ac:spMkLst>
            <pc:docMk/>
            <pc:sldMk cId="2568016385" sldId="357"/>
            <ac:spMk id="198" creationId="{F5A4BBC0-176C-C365-6071-1C2B82FCA771}"/>
          </ac:spMkLst>
        </pc:spChg>
        <pc:spChg chg="add mod">
          <ac:chgData name="Veniero Facchetti" userId="f2c6c99af91c4974" providerId="LiveId" clId="{34DF7D6B-EB0F-4B53-B080-BB8D6F5C3D93}" dt="2024-05-10T16:11:00.275" v="721" actId="1076"/>
          <ac:spMkLst>
            <pc:docMk/>
            <pc:sldMk cId="2568016385" sldId="357"/>
            <ac:spMk id="199" creationId="{38396BB5-5EF2-2430-02E3-2EFCA2B575CF}"/>
          </ac:spMkLst>
        </pc:spChg>
        <pc:spChg chg="add mod">
          <ac:chgData name="Veniero Facchetti" userId="f2c6c99af91c4974" providerId="LiveId" clId="{34DF7D6B-EB0F-4B53-B080-BB8D6F5C3D93}" dt="2024-05-10T16:11:00.275" v="721" actId="1076"/>
          <ac:spMkLst>
            <pc:docMk/>
            <pc:sldMk cId="2568016385" sldId="357"/>
            <ac:spMk id="202" creationId="{9002647A-01CA-F75C-411F-85129DB3DC16}"/>
          </ac:spMkLst>
        </pc:spChg>
        <pc:spChg chg="add mod">
          <ac:chgData name="Veniero Facchetti" userId="f2c6c99af91c4974" providerId="LiveId" clId="{34DF7D6B-EB0F-4B53-B080-BB8D6F5C3D93}" dt="2024-05-10T16:11:00.275" v="721" actId="1076"/>
          <ac:spMkLst>
            <pc:docMk/>
            <pc:sldMk cId="2568016385" sldId="357"/>
            <ac:spMk id="203" creationId="{06F39196-9693-0DCF-CF71-802FD87321AA}"/>
          </ac:spMkLst>
        </pc:spChg>
        <pc:spChg chg="add mod">
          <ac:chgData name="Veniero Facchetti" userId="f2c6c99af91c4974" providerId="LiveId" clId="{34DF7D6B-EB0F-4B53-B080-BB8D6F5C3D93}" dt="2024-05-10T16:11:00.275" v="721" actId="1076"/>
          <ac:spMkLst>
            <pc:docMk/>
            <pc:sldMk cId="2568016385" sldId="357"/>
            <ac:spMk id="206" creationId="{F94A1B29-30B6-29C3-21C4-B913DE56AC1F}"/>
          </ac:spMkLst>
        </pc:spChg>
        <pc:spChg chg="add mod">
          <ac:chgData name="Veniero Facchetti" userId="f2c6c99af91c4974" providerId="LiveId" clId="{34DF7D6B-EB0F-4B53-B080-BB8D6F5C3D93}" dt="2024-05-10T16:11:00.275" v="721" actId="1076"/>
          <ac:spMkLst>
            <pc:docMk/>
            <pc:sldMk cId="2568016385" sldId="357"/>
            <ac:spMk id="207" creationId="{7534D845-F93D-1E88-4C67-08B6C0A45EB5}"/>
          </ac:spMkLst>
        </pc:spChg>
        <pc:spChg chg="add mod">
          <ac:chgData name="Veniero Facchetti" userId="f2c6c99af91c4974" providerId="LiveId" clId="{34DF7D6B-EB0F-4B53-B080-BB8D6F5C3D93}" dt="2024-05-10T16:11:00.275" v="721" actId="1076"/>
          <ac:spMkLst>
            <pc:docMk/>
            <pc:sldMk cId="2568016385" sldId="357"/>
            <ac:spMk id="208" creationId="{91958DB0-D44B-8F8E-8EE7-898F9703F83E}"/>
          </ac:spMkLst>
        </pc:spChg>
        <pc:spChg chg="add mod">
          <ac:chgData name="Veniero Facchetti" userId="f2c6c99af91c4974" providerId="LiveId" clId="{34DF7D6B-EB0F-4B53-B080-BB8D6F5C3D93}" dt="2024-05-10T16:11:00.275" v="721" actId="1076"/>
          <ac:spMkLst>
            <pc:docMk/>
            <pc:sldMk cId="2568016385" sldId="357"/>
            <ac:spMk id="209" creationId="{9D939EDC-945A-3DE4-A4AD-8BE16A7F4229}"/>
          </ac:spMkLst>
        </pc:spChg>
        <pc:spChg chg="add mod">
          <ac:chgData name="Veniero Facchetti" userId="f2c6c99af91c4974" providerId="LiveId" clId="{34DF7D6B-EB0F-4B53-B080-BB8D6F5C3D93}" dt="2024-05-10T16:11:00.275" v="721" actId="1076"/>
          <ac:spMkLst>
            <pc:docMk/>
            <pc:sldMk cId="2568016385" sldId="357"/>
            <ac:spMk id="212" creationId="{791EECDE-09EA-D1E5-24BB-5788176C3AC0}"/>
          </ac:spMkLst>
        </pc:spChg>
        <pc:spChg chg="add mod">
          <ac:chgData name="Veniero Facchetti" userId="f2c6c99af91c4974" providerId="LiveId" clId="{34DF7D6B-EB0F-4B53-B080-BB8D6F5C3D93}" dt="2024-05-10T16:11:00.275" v="721" actId="1076"/>
          <ac:spMkLst>
            <pc:docMk/>
            <pc:sldMk cId="2568016385" sldId="357"/>
            <ac:spMk id="213" creationId="{24E4D08E-35E4-EC21-4B42-4AEC55AAF325}"/>
          </ac:spMkLst>
        </pc:spChg>
        <pc:spChg chg="add mod">
          <ac:chgData name="Veniero Facchetti" userId="f2c6c99af91c4974" providerId="LiveId" clId="{34DF7D6B-EB0F-4B53-B080-BB8D6F5C3D93}" dt="2024-05-10T16:11:00.275" v="721" actId="1076"/>
          <ac:spMkLst>
            <pc:docMk/>
            <pc:sldMk cId="2568016385" sldId="357"/>
            <ac:spMk id="215" creationId="{FBB5CC83-5F00-9A8E-C132-8FAB3435560E}"/>
          </ac:spMkLst>
        </pc:spChg>
        <pc:spChg chg="add mod">
          <ac:chgData name="Veniero Facchetti" userId="f2c6c99af91c4974" providerId="LiveId" clId="{34DF7D6B-EB0F-4B53-B080-BB8D6F5C3D93}" dt="2024-05-10T16:11:00.275" v="721" actId="1076"/>
          <ac:spMkLst>
            <pc:docMk/>
            <pc:sldMk cId="2568016385" sldId="357"/>
            <ac:spMk id="216" creationId="{800F75DF-F6D8-2C9A-288B-AB72A0A44579}"/>
          </ac:spMkLst>
        </pc:spChg>
        <pc:spChg chg="add mod">
          <ac:chgData name="Veniero Facchetti" userId="f2c6c99af91c4974" providerId="LiveId" clId="{34DF7D6B-EB0F-4B53-B080-BB8D6F5C3D93}" dt="2024-05-10T16:11:00.275" v="721" actId="1076"/>
          <ac:spMkLst>
            <pc:docMk/>
            <pc:sldMk cId="2568016385" sldId="357"/>
            <ac:spMk id="217" creationId="{D9DE9095-46AF-A67C-D27D-50A356ABE033}"/>
          </ac:spMkLst>
        </pc:spChg>
        <pc:spChg chg="add mod">
          <ac:chgData name="Veniero Facchetti" userId="f2c6c99af91c4974" providerId="LiveId" clId="{34DF7D6B-EB0F-4B53-B080-BB8D6F5C3D93}" dt="2024-05-10T16:11:00.275" v="721" actId="1076"/>
          <ac:spMkLst>
            <pc:docMk/>
            <pc:sldMk cId="2568016385" sldId="357"/>
            <ac:spMk id="218" creationId="{2EB4B1F3-C37D-85F8-5682-71C9078001A5}"/>
          </ac:spMkLst>
        </pc:spChg>
        <pc:spChg chg="add mod">
          <ac:chgData name="Veniero Facchetti" userId="f2c6c99af91c4974" providerId="LiveId" clId="{34DF7D6B-EB0F-4B53-B080-BB8D6F5C3D93}" dt="2024-05-10T16:11:00.275" v="721" actId="1076"/>
          <ac:spMkLst>
            <pc:docMk/>
            <pc:sldMk cId="2568016385" sldId="357"/>
            <ac:spMk id="221" creationId="{FD2D0E24-7E5F-3A08-F0DA-695CFF93CF01}"/>
          </ac:spMkLst>
        </pc:spChg>
        <pc:spChg chg="add mod">
          <ac:chgData name="Veniero Facchetti" userId="f2c6c99af91c4974" providerId="LiveId" clId="{34DF7D6B-EB0F-4B53-B080-BB8D6F5C3D93}" dt="2024-05-10T16:11:00.275" v="721" actId="1076"/>
          <ac:spMkLst>
            <pc:docMk/>
            <pc:sldMk cId="2568016385" sldId="357"/>
            <ac:spMk id="222" creationId="{83368701-C7F2-E694-F7A4-88181B08C64C}"/>
          </ac:spMkLst>
        </pc:spChg>
        <pc:spChg chg="add mod">
          <ac:chgData name="Veniero Facchetti" userId="f2c6c99af91c4974" providerId="LiveId" clId="{34DF7D6B-EB0F-4B53-B080-BB8D6F5C3D93}" dt="2024-05-10T16:11:00.275" v="721" actId="1076"/>
          <ac:spMkLst>
            <pc:docMk/>
            <pc:sldMk cId="2568016385" sldId="357"/>
            <ac:spMk id="224" creationId="{CAC69BE2-E3E3-30D0-DC86-C8F231BB7AC9}"/>
          </ac:spMkLst>
        </pc:spChg>
        <pc:spChg chg="add mod">
          <ac:chgData name="Veniero Facchetti" userId="f2c6c99af91c4974" providerId="LiveId" clId="{34DF7D6B-EB0F-4B53-B080-BB8D6F5C3D93}" dt="2024-05-10T16:11:00.275" v="721" actId="1076"/>
          <ac:spMkLst>
            <pc:docMk/>
            <pc:sldMk cId="2568016385" sldId="357"/>
            <ac:spMk id="226" creationId="{5D788D94-A210-C4FA-97C1-BD42F710CF79}"/>
          </ac:spMkLst>
        </pc:spChg>
        <pc:spChg chg="add mod">
          <ac:chgData name="Veniero Facchetti" userId="f2c6c99af91c4974" providerId="LiveId" clId="{34DF7D6B-EB0F-4B53-B080-BB8D6F5C3D93}" dt="2024-05-10T16:11:00.275" v="721" actId="1076"/>
          <ac:spMkLst>
            <pc:docMk/>
            <pc:sldMk cId="2568016385" sldId="357"/>
            <ac:spMk id="227" creationId="{8C8278C8-C423-BD55-A2EE-EB21B9B4FB54}"/>
          </ac:spMkLst>
        </pc:spChg>
        <pc:spChg chg="add mod">
          <ac:chgData name="Veniero Facchetti" userId="f2c6c99af91c4974" providerId="LiveId" clId="{34DF7D6B-EB0F-4B53-B080-BB8D6F5C3D93}" dt="2024-05-10T16:11:00.275" v="721" actId="1076"/>
          <ac:spMkLst>
            <pc:docMk/>
            <pc:sldMk cId="2568016385" sldId="357"/>
            <ac:spMk id="229" creationId="{0B8ADB3D-782B-848C-B7E0-4D3C15D239C5}"/>
          </ac:spMkLst>
        </pc:spChg>
        <pc:spChg chg="add mod">
          <ac:chgData name="Veniero Facchetti" userId="f2c6c99af91c4974" providerId="LiveId" clId="{34DF7D6B-EB0F-4B53-B080-BB8D6F5C3D93}" dt="2024-05-10T16:11:00.275" v="721" actId="1076"/>
          <ac:spMkLst>
            <pc:docMk/>
            <pc:sldMk cId="2568016385" sldId="357"/>
            <ac:spMk id="231" creationId="{F3564315-3C35-486C-4B36-2A8DB8B83690}"/>
          </ac:spMkLst>
        </pc:spChg>
        <pc:spChg chg="add mod">
          <ac:chgData name="Veniero Facchetti" userId="f2c6c99af91c4974" providerId="LiveId" clId="{34DF7D6B-EB0F-4B53-B080-BB8D6F5C3D93}" dt="2024-05-10T16:11:00.275" v="721" actId="1076"/>
          <ac:spMkLst>
            <pc:docMk/>
            <pc:sldMk cId="2568016385" sldId="357"/>
            <ac:spMk id="232" creationId="{1F398A76-B396-F8A9-8D20-77B4D452C788}"/>
          </ac:spMkLst>
        </pc:spChg>
        <pc:spChg chg="add mod">
          <ac:chgData name="Veniero Facchetti" userId="f2c6c99af91c4974" providerId="LiveId" clId="{34DF7D6B-EB0F-4B53-B080-BB8D6F5C3D93}" dt="2024-05-10T16:11:00.275" v="721" actId="1076"/>
          <ac:spMkLst>
            <pc:docMk/>
            <pc:sldMk cId="2568016385" sldId="357"/>
            <ac:spMk id="233" creationId="{AC15F9C8-F311-67A7-B8AD-872532FD8A47}"/>
          </ac:spMkLst>
        </pc:spChg>
        <pc:spChg chg="add mod">
          <ac:chgData name="Veniero Facchetti" userId="f2c6c99af91c4974" providerId="LiveId" clId="{34DF7D6B-EB0F-4B53-B080-BB8D6F5C3D93}" dt="2024-05-10T16:11:07.373" v="722" actId="1076"/>
          <ac:spMkLst>
            <pc:docMk/>
            <pc:sldMk cId="2568016385" sldId="357"/>
            <ac:spMk id="235" creationId="{EE1DFEDB-4160-4C3C-566D-B6FFD2A7B10C}"/>
          </ac:spMkLst>
        </pc:spChg>
        <pc:spChg chg="add mod">
          <ac:chgData name="Veniero Facchetti" userId="f2c6c99af91c4974" providerId="LiveId" clId="{34DF7D6B-EB0F-4B53-B080-BB8D6F5C3D93}" dt="2024-05-10T16:11:00.275" v="721" actId="1076"/>
          <ac:spMkLst>
            <pc:docMk/>
            <pc:sldMk cId="2568016385" sldId="357"/>
            <ac:spMk id="237" creationId="{A5ABD242-81A2-3EB2-E114-F09AFA40F00D}"/>
          </ac:spMkLst>
        </pc:spChg>
        <pc:spChg chg="add mod">
          <ac:chgData name="Veniero Facchetti" userId="f2c6c99af91c4974" providerId="LiveId" clId="{34DF7D6B-EB0F-4B53-B080-BB8D6F5C3D93}" dt="2024-05-10T16:11:00.275" v="721" actId="1076"/>
          <ac:spMkLst>
            <pc:docMk/>
            <pc:sldMk cId="2568016385" sldId="357"/>
            <ac:spMk id="238" creationId="{8CB73389-BF6E-51EA-97EE-4D292086215A}"/>
          </ac:spMkLst>
        </pc:spChg>
        <pc:spChg chg="add mod">
          <ac:chgData name="Veniero Facchetti" userId="f2c6c99af91c4974" providerId="LiveId" clId="{34DF7D6B-EB0F-4B53-B080-BB8D6F5C3D93}" dt="2024-05-10T16:11:00.275" v="721" actId="1076"/>
          <ac:spMkLst>
            <pc:docMk/>
            <pc:sldMk cId="2568016385" sldId="357"/>
            <ac:spMk id="240" creationId="{35CF3F94-A14D-8F60-B271-99939A492A54}"/>
          </ac:spMkLst>
        </pc:spChg>
        <pc:spChg chg="mod">
          <ac:chgData name="Veniero Facchetti" userId="f2c6c99af91c4974" providerId="LiveId" clId="{34DF7D6B-EB0F-4B53-B080-BB8D6F5C3D93}" dt="2024-05-10T16:10:13.783" v="711"/>
          <ac:spMkLst>
            <pc:docMk/>
            <pc:sldMk cId="2568016385" sldId="357"/>
            <ac:spMk id="242" creationId="{0F38D7DB-012A-EE32-7EBE-124A73ADB868}"/>
          </ac:spMkLst>
        </pc:spChg>
        <pc:spChg chg="mod">
          <ac:chgData name="Veniero Facchetti" userId="f2c6c99af91c4974" providerId="LiveId" clId="{34DF7D6B-EB0F-4B53-B080-BB8D6F5C3D93}" dt="2024-05-10T16:10:13.783" v="711"/>
          <ac:spMkLst>
            <pc:docMk/>
            <pc:sldMk cId="2568016385" sldId="357"/>
            <ac:spMk id="243" creationId="{3BCFD006-BA2D-59B4-1A1B-A25810FCEF03}"/>
          </ac:spMkLst>
        </pc:spChg>
        <pc:spChg chg="mod">
          <ac:chgData name="Veniero Facchetti" userId="f2c6c99af91c4974" providerId="LiveId" clId="{34DF7D6B-EB0F-4B53-B080-BB8D6F5C3D93}" dt="2024-05-10T16:10:13.783" v="711"/>
          <ac:spMkLst>
            <pc:docMk/>
            <pc:sldMk cId="2568016385" sldId="357"/>
            <ac:spMk id="245" creationId="{BF6E3119-0131-66D7-0DD8-77404EB55B2C}"/>
          </ac:spMkLst>
        </pc:spChg>
        <pc:spChg chg="mod">
          <ac:chgData name="Veniero Facchetti" userId="f2c6c99af91c4974" providerId="LiveId" clId="{34DF7D6B-EB0F-4B53-B080-BB8D6F5C3D93}" dt="2024-05-10T16:10:13.783" v="711"/>
          <ac:spMkLst>
            <pc:docMk/>
            <pc:sldMk cId="2568016385" sldId="357"/>
            <ac:spMk id="246" creationId="{69A5AB98-BC83-E945-C8D9-2F971ABCC5AB}"/>
          </ac:spMkLst>
        </pc:spChg>
        <pc:spChg chg="mod">
          <ac:chgData name="Veniero Facchetti" userId="f2c6c99af91c4974" providerId="LiveId" clId="{34DF7D6B-EB0F-4B53-B080-BB8D6F5C3D93}" dt="2024-05-10T16:10:13.783" v="711"/>
          <ac:spMkLst>
            <pc:docMk/>
            <pc:sldMk cId="2568016385" sldId="357"/>
            <ac:spMk id="248" creationId="{8B4A6593-BA98-DEF1-D733-C4D1D2A573CA}"/>
          </ac:spMkLst>
        </pc:spChg>
        <pc:spChg chg="mod">
          <ac:chgData name="Veniero Facchetti" userId="f2c6c99af91c4974" providerId="LiveId" clId="{34DF7D6B-EB0F-4B53-B080-BB8D6F5C3D93}" dt="2024-05-10T16:10:13.783" v="711"/>
          <ac:spMkLst>
            <pc:docMk/>
            <pc:sldMk cId="2568016385" sldId="357"/>
            <ac:spMk id="249" creationId="{C55A7FCA-BA13-F0DB-703E-7B97A8492E8E}"/>
          </ac:spMkLst>
        </pc:spChg>
        <pc:spChg chg="mod">
          <ac:chgData name="Veniero Facchetti" userId="f2c6c99af91c4974" providerId="LiveId" clId="{34DF7D6B-EB0F-4B53-B080-BB8D6F5C3D93}" dt="2024-05-10T16:10:13.783" v="711"/>
          <ac:spMkLst>
            <pc:docMk/>
            <pc:sldMk cId="2568016385" sldId="357"/>
            <ac:spMk id="251" creationId="{C7E616CA-D73A-C558-FBD8-B8AB016737CF}"/>
          </ac:spMkLst>
        </pc:spChg>
        <pc:spChg chg="mod">
          <ac:chgData name="Veniero Facchetti" userId="f2c6c99af91c4974" providerId="LiveId" clId="{34DF7D6B-EB0F-4B53-B080-BB8D6F5C3D93}" dt="2024-05-10T16:10:13.783" v="711"/>
          <ac:spMkLst>
            <pc:docMk/>
            <pc:sldMk cId="2568016385" sldId="357"/>
            <ac:spMk id="252" creationId="{C6C9EB8B-B7B4-FA85-1252-C059395613FB}"/>
          </ac:spMkLst>
        </pc:spChg>
        <pc:spChg chg="add mod">
          <ac:chgData name="Veniero Facchetti" userId="f2c6c99af91c4974" providerId="LiveId" clId="{34DF7D6B-EB0F-4B53-B080-BB8D6F5C3D93}" dt="2024-05-10T16:11:14.844" v="724" actId="14100"/>
          <ac:spMkLst>
            <pc:docMk/>
            <pc:sldMk cId="2568016385" sldId="357"/>
            <ac:spMk id="254" creationId="{FF39A7FB-29CA-6DEA-131F-C83B5934E4C6}"/>
          </ac:spMkLst>
        </pc:spChg>
        <pc:spChg chg="mod">
          <ac:chgData name="Veniero Facchetti" userId="f2c6c99af91c4974" providerId="LiveId" clId="{34DF7D6B-EB0F-4B53-B080-BB8D6F5C3D93}" dt="2024-05-10T16:10:13.783" v="711"/>
          <ac:spMkLst>
            <pc:docMk/>
            <pc:sldMk cId="2568016385" sldId="357"/>
            <ac:spMk id="256" creationId="{EAF7D43B-8BA5-C0D7-C222-FF796C9299D0}"/>
          </ac:spMkLst>
        </pc:spChg>
        <pc:spChg chg="mod">
          <ac:chgData name="Veniero Facchetti" userId="f2c6c99af91c4974" providerId="LiveId" clId="{34DF7D6B-EB0F-4B53-B080-BB8D6F5C3D93}" dt="2024-05-10T16:10:13.783" v="711"/>
          <ac:spMkLst>
            <pc:docMk/>
            <pc:sldMk cId="2568016385" sldId="357"/>
            <ac:spMk id="257" creationId="{8EEBBCD0-BB8A-CFFC-7DA7-07738D355475}"/>
          </ac:spMkLst>
        </pc:spChg>
        <pc:spChg chg="add mod">
          <ac:chgData name="Veniero Facchetti" userId="f2c6c99af91c4974" providerId="LiveId" clId="{34DF7D6B-EB0F-4B53-B080-BB8D6F5C3D93}" dt="2024-05-10T16:11:00.275" v="721" actId="1076"/>
          <ac:spMkLst>
            <pc:docMk/>
            <pc:sldMk cId="2568016385" sldId="357"/>
            <ac:spMk id="258" creationId="{9AC308D0-ECA5-0E7A-8834-B6746CBFCD6B}"/>
          </ac:spMkLst>
        </pc:spChg>
        <pc:grpChg chg="add mod">
          <ac:chgData name="Veniero Facchetti" userId="f2c6c99af91c4974" providerId="LiveId" clId="{34DF7D6B-EB0F-4B53-B080-BB8D6F5C3D93}" dt="2024-05-10T16:11:00.275" v="721" actId="1076"/>
          <ac:grpSpMkLst>
            <pc:docMk/>
            <pc:sldMk cId="2568016385" sldId="357"/>
            <ac:grpSpMk id="2" creationId="{7312B677-9D5F-C4E9-EFCE-8B8D6E7463FE}"/>
          </ac:grpSpMkLst>
        </pc:grpChg>
        <pc:grpChg chg="mod">
          <ac:chgData name="Veniero Facchetti" userId="f2c6c99af91c4974" providerId="LiveId" clId="{34DF7D6B-EB0F-4B53-B080-BB8D6F5C3D93}" dt="2024-05-10T16:10:13.783" v="711"/>
          <ac:grpSpMkLst>
            <pc:docMk/>
            <pc:sldMk cId="2568016385" sldId="357"/>
            <ac:grpSpMk id="178" creationId="{D6E64D23-9A2F-17E8-EB8B-96457C1EB6F5}"/>
          </ac:grpSpMkLst>
        </pc:grpChg>
        <pc:grpChg chg="add mod">
          <ac:chgData name="Veniero Facchetti" userId="f2c6c99af91c4974" providerId="LiveId" clId="{34DF7D6B-EB0F-4B53-B080-BB8D6F5C3D93}" dt="2024-05-10T16:11:07.373" v="722" actId="1076"/>
          <ac:grpSpMkLst>
            <pc:docMk/>
            <pc:sldMk cId="2568016385" sldId="357"/>
            <ac:grpSpMk id="241" creationId="{51060187-2AA4-987F-101C-0B801909327B}"/>
          </ac:grpSpMkLst>
        </pc:grpChg>
        <pc:grpChg chg="add mod">
          <ac:chgData name="Veniero Facchetti" userId="f2c6c99af91c4974" providerId="LiveId" clId="{34DF7D6B-EB0F-4B53-B080-BB8D6F5C3D93}" dt="2024-05-10T16:11:07.373" v="722" actId="1076"/>
          <ac:grpSpMkLst>
            <pc:docMk/>
            <pc:sldMk cId="2568016385" sldId="357"/>
            <ac:grpSpMk id="244" creationId="{5A4EC597-A5C8-90CC-B5E5-2647907A9361}"/>
          </ac:grpSpMkLst>
        </pc:grpChg>
        <pc:grpChg chg="add mod">
          <ac:chgData name="Veniero Facchetti" userId="f2c6c99af91c4974" providerId="LiveId" clId="{34DF7D6B-EB0F-4B53-B080-BB8D6F5C3D93}" dt="2024-05-10T16:11:07.373" v="722" actId="1076"/>
          <ac:grpSpMkLst>
            <pc:docMk/>
            <pc:sldMk cId="2568016385" sldId="357"/>
            <ac:grpSpMk id="247" creationId="{97285EEC-CEE4-1D62-B2F0-5A9E1DA0F6D2}"/>
          </ac:grpSpMkLst>
        </pc:grpChg>
        <pc:grpChg chg="add mod">
          <ac:chgData name="Veniero Facchetti" userId="f2c6c99af91c4974" providerId="LiveId" clId="{34DF7D6B-EB0F-4B53-B080-BB8D6F5C3D93}" dt="2024-05-10T16:11:07.373" v="722" actId="1076"/>
          <ac:grpSpMkLst>
            <pc:docMk/>
            <pc:sldMk cId="2568016385" sldId="357"/>
            <ac:grpSpMk id="250" creationId="{1F2E9FD4-0C39-2186-79FB-38D64C6ED776}"/>
          </ac:grpSpMkLst>
        </pc:grpChg>
        <pc:grpChg chg="add mod">
          <ac:chgData name="Veniero Facchetti" userId="f2c6c99af91c4974" providerId="LiveId" clId="{34DF7D6B-EB0F-4B53-B080-BB8D6F5C3D93}" dt="2024-05-10T16:10:13.783" v="711"/>
          <ac:grpSpMkLst>
            <pc:docMk/>
            <pc:sldMk cId="2568016385" sldId="357"/>
            <ac:grpSpMk id="255" creationId="{C9FFDA45-ED28-4050-55ED-A3C344FD6D79}"/>
          </ac:grpSpMkLst>
        </pc:grpChg>
        <pc:picChg chg="add mod">
          <ac:chgData name="Veniero Facchetti" userId="f2c6c99af91c4974" providerId="LiveId" clId="{34DF7D6B-EB0F-4B53-B080-BB8D6F5C3D93}" dt="2024-05-10T16:11:00.275" v="721" actId="1076"/>
          <ac:picMkLst>
            <pc:docMk/>
            <pc:sldMk cId="2568016385" sldId="357"/>
            <ac:picMk id="184" creationId="{7C5FDE7C-394B-EAC2-3C3E-FF9E98957C93}"/>
          </ac:picMkLst>
        </pc:picChg>
        <pc:picChg chg="add mod">
          <ac:chgData name="Veniero Facchetti" userId="f2c6c99af91c4974" providerId="LiveId" clId="{34DF7D6B-EB0F-4B53-B080-BB8D6F5C3D93}" dt="2024-05-10T16:11:00.275" v="721" actId="1076"/>
          <ac:picMkLst>
            <pc:docMk/>
            <pc:sldMk cId="2568016385" sldId="357"/>
            <ac:picMk id="190" creationId="{B7B35017-13FA-8CCF-4A86-A6FE72CD5BAC}"/>
          </ac:picMkLst>
        </pc:picChg>
        <pc:picChg chg="add mod">
          <ac:chgData name="Veniero Facchetti" userId="f2c6c99af91c4974" providerId="LiveId" clId="{34DF7D6B-EB0F-4B53-B080-BB8D6F5C3D93}" dt="2024-05-10T16:11:00.275" v="721" actId="1076"/>
          <ac:picMkLst>
            <pc:docMk/>
            <pc:sldMk cId="2568016385" sldId="357"/>
            <ac:picMk id="194" creationId="{0B0054E3-4BFA-B0B6-FD22-7BBDDF17DF0D}"/>
          </ac:picMkLst>
        </pc:picChg>
        <pc:picChg chg="add mod">
          <ac:chgData name="Veniero Facchetti" userId="f2c6c99af91c4974" providerId="LiveId" clId="{34DF7D6B-EB0F-4B53-B080-BB8D6F5C3D93}" dt="2024-05-10T16:11:00.275" v="721" actId="1076"/>
          <ac:picMkLst>
            <pc:docMk/>
            <pc:sldMk cId="2568016385" sldId="357"/>
            <ac:picMk id="201" creationId="{7BDD125B-A3F7-CD1E-87B3-049FA916A8E2}"/>
          </ac:picMkLst>
        </pc:picChg>
        <pc:picChg chg="add mod">
          <ac:chgData name="Veniero Facchetti" userId="f2c6c99af91c4974" providerId="LiveId" clId="{34DF7D6B-EB0F-4B53-B080-BB8D6F5C3D93}" dt="2024-05-10T16:11:00.275" v="721" actId="1076"/>
          <ac:picMkLst>
            <pc:docMk/>
            <pc:sldMk cId="2568016385" sldId="357"/>
            <ac:picMk id="205" creationId="{423C3425-06F9-CF52-81E0-1A6EBAD44C9D}"/>
          </ac:picMkLst>
        </pc:picChg>
        <pc:picChg chg="add mod">
          <ac:chgData name="Veniero Facchetti" userId="f2c6c99af91c4974" providerId="LiveId" clId="{34DF7D6B-EB0F-4B53-B080-BB8D6F5C3D93}" dt="2024-05-10T16:11:00.275" v="721" actId="1076"/>
          <ac:picMkLst>
            <pc:docMk/>
            <pc:sldMk cId="2568016385" sldId="357"/>
            <ac:picMk id="210" creationId="{A73CD6CF-4E7E-9DEB-B9D4-9181AA228FA1}"/>
          </ac:picMkLst>
        </pc:picChg>
        <pc:picChg chg="add mod">
          <ac:chgData name="Veniero Facchetti" userId="f2c6c99af91c4974" providerId="LiveId" clId="{34DF7D6B-EB0F-4B53-B080-BB8D6F5C3D93}" dt="2024-05-10T16:11:00.275" v="721" actId="1076"/>
          <ac:picMkLst>
            <pc:docMk/>
            <pc:sldMk cId="2568016385" sldId="357"/>
            <ac:picMk id="214" creationId="{86FB3FEC-2F94-34BF-BF42-BE223C666D58}"/>
          </ac:picMkLst>
        </pc:picChg>
        <pc:picChg chg="add mod">
          <ac:chgData name="Veniero Facchetti" userId="f2c6c99af91c4974" providerId="LiveId" clId="{34DF7D6B-EB0F-4B53-B080-BB8D6F5C3D93}" dt="2024-05-10T16:11:00.275" v="721" actId="1076"/>
          <ac:picMkLst>
            <pc:docMk/>
            <pc:sldMk cId="2568016385" sldId="357"/>
            <ac:picMk id="220" creationId="{382E422A-0D45-1E1E-BA1E-36E7E75145B4}"/>
          </ac:picMkLst>
        </pc:picChg>
        <pc:picChg chg="add mod">
          <ac:chgData name="Veniero Facchetti" userId="f2c6c99af91c4974" providerId="LiveId" clId="{34DF7D6B-EB0F-4B53-B080-BB8D6F5C3D93}" dt="2024-05-10T16:11:00.275" v="721" actId="1076"/>
          <ac:picMkLst>
            <pc:docMk/>
            <pc:sldMk cId="2568016385" sldId="357"/>
            <ac:picMk id="223" creationId="{77DAC1E0-7FF7-85AC-57F2-593D042CFC57}"/>
          </ac:picMkLst>
        </pc:picChg>
        <pc:picChg chg="add mod">
          <ac:chgData name="Veniero Facchetti" userId="f2c6c99af91c4974" providerId="LiveId" clId="{34DF7D6B-EB0F-4B53-B080-BB8D6F5C3D93}" dt="2024-05-10T16:11:00.275" v="721" actId="1076"/>
          <ac:picMkLst>
            <pc:docMk/>
            <pc:sldMk cId="2568016385" sldId="357"/>
            <ac:picMk id="228" creationId="{6CACDFD3-988E-02C7-029B-ACBAEAEC6AAB}"/>
          </ac:picMkLst>
        </pc:picChg>
        <pc:picChg chg="add mod">
          <ac:chgData name="Veniero Facchetti" userId="f2c6c99af91c4974" providerId="LiveId" clId="{34DF7D6B-EB0F-4B53-B080-BB8D6F5C3D93}" dt="2024-05-10T16:11:00.275" v="721" actId="1076"/>
          <ac:picMkLst>
            <pc:docMk/>
            <pc:sldMk cId="2568016385" sldId="357"/>
            <ac:picMk id="234" creationId="{991DB081-E18E-CE36-78AE-F57FB13F2BE5}"/>
          </ac:picMkLst>
        </pc:picChg>
        <pc:picChg chg="add mod">
          <ac:chgData name="Veniero Facchetti" userId="f2c6c99af91c4974" providerId="LiveId" clId="{34DF7D6B-EB0F-4B53-B080-BB8D6F5C3D93}" dt="2024-05-10T16:11:00.275" v="721" actId="1076"/>
          <ac:picMkLst>
            <pc:docMk/>
            <pc:sldMk cId="2568016385" sldId="357"/>
            <ac:picMk id="239" creationId="{D6835DDD-C36D-AE96-D64A-1CC5AD45D0C0}"/>
          </ac:picMkLst>
        </pc:picChg>
        <pc:cxnChg chg="mod">
          <ac:chgData name="Veniero Facchetti" userId="f2c6c99af91c4974" providerId="LiveId" clId="{34DF7D6B-EB0F-4B53-B080-BB8D6F5C3D93}" dt="2024-05-10T16:10:13.783" v="711"/>
          <ac:cxnSpMkLst>
            <pc:docMk/>
            <pc:sldMk cId="2568016385" sldId="357"/>
            <ac:cxnSpMk id="180" creationId="{BE1C836D-E3FA-4E76-4354-06F7E2A65B1F}"/>
          </ac:cxnSpMkLst>
        </pc:cxnChg>
        <pc:cxnChg chg="add mod">
          <ac:chgData name="Veniero Facchetti" userId="f2c6c99af91c4974" providerId="LiveId" clId="{34DF7D6B-EB0F-4B53-B080-BB8D6F5C3D93}" dt="2024-05-10T16:11:00.275" v="721" actId="1076"/>
          <ac:cxnSpMkLst>
            <pc:docMk/>
            <pc:sldMk cId="2568016385" sldId="357"/>
            <ac:cxnSpMk id="181" creationId="{6E27A7DE-905D-2BBE-7C77-6509B679D501}"/>
          </ac:cxnSpMkLst>
        </pc:cxnChg>
        <pc:cxnChg chg="add mod">
          <ac:chgData name="Veniero Facchetti" userId="f2c6c99af91c4974" providerId="LiveId" clId="{34DF7D6B-EB0F-4B53-B080-BB8D6F5C3D93}" dt="2024-05-10T16:11:00.275" v="721" actId="1076"/>
          <ac:cxnSpMkLst>
            <pc:docMk/>
            <pc:sldMk cId="2568016385" sldId="357"/>
            <ac:cxnSpMk id="186" creationId="{F6D61A7C-A678-6EAE-949C-04A00F39DDA6}"/>
          </ac:cxnSpMkLst>
        </pc:cxnChg>
        <pc:cxnChg chg="add mod">
          <ac:chgData name="Veniero Facchetti" userId="f2c6c99af91c4974" providerId="LiveId" clId="{34DF7D6B-EB0F-4B53-B080-BB8D6F5C3D93}" dt="2024-05-10T16:11:00.275" v="721" actId="1076"/>
          <ac:cxnSpMkLst>
            <pc:docMk/>
            <pc:sldMk cId="2568016385" sldId="357"/>
            <ac:cxnSpMk id="191" creationId="{E03A5F6B-07CA-DCCD-8211-5119C79F0415}"/>
          </ac:cxnSpMkLst>
        </pc:cxnChg>
        <pc:cxnChg chg="add mod">
          <ac:chgData name="Veniero Facchetti" userId="f2c6c99af91c4974" providerId="LiveId" clId="{34DF7D6B-EB0F-4B53-B080-BB8D6F5C3D93}" dt="2024-05-10T16:11:00.275" v="721" actId="1076"/>
          <ac:cxnSpMkLst>
            <pc:docMk/>
            <pc:sldMk cId="2568016385" sldId="357"/>
            <ac:cxnSpMk id="196" creationId="{E5F5A145-1A3B-ED6B-CB18-15E0E6D68AEC}"/>
          </ac:cxnSpMkLst>
        </pc:cxnChg>
        <pc:cxnChg chg="add mod">
          <ac:chgData name="Veniero Facchetti" userId="f2c6c99af91c4974" providerId="LiveId" clId="{34DF7D6B-EB0F-4B53-B080-BB8D6F5C3D93}" dt="2024-05-10T16:11:00.275" v="721" actId="1076"/>
          <ac:cxnSpMkLst>
            <pc:docMk/>
            <pc:sldMk cId="2568016385" sldId="357"/>
            <ac:cxnSpMk id="200" creationId="{7A88B870-4692-D548-398A-4C43B760A30F}"/>
          </ac:cxnSpMkLst>
        </pc:cxnChg>
        <pc:cxnChg chg="add mod">
          <ac:chgData name="Veniero Facchetti" userId="f2c6c99af91c4974" providerId="LiveId" clId="{34DF7D6B-EB0F-4B53-B080-BB8D6F5C3D93}" dt="2024-05-10T16:11:00.275" v="721" actId="1076"/>
          <ac:cxnSpMkLst>
            <pc:docMk/>
            <pc:sldMk cId="2568016385" sldId="357"/>
            <ac:cxnSpMk id="204" creationId="{DD93F20A-2D3E-9DD4-6BD2-2DC59959ABC1}"/>
          </ac:cxnSpMkLst>
        </pc:cxnChg>
        <pc:cxnChg chg="add mod">
          <ac:chgData name="Veniero Facchetti" userId="f2c6c99af91c4974" providerId="LiveId" clId="{34DF7D6B-EB0F-4B53-B080-BB8D6F5C3D93}" dt="2024-05-10T16:11:00.275" v="721" actId="1076"/>
          <ac:cxnSpMkLst>
            <pc:docMk/>
            <pc:sldMk cId="2568016385" sldId="357"/>
            <ac:cxnSpMk id="211" creationId="{DC99B6E8-D7DA-4EDA-F2BA-7492BCD48FCC}"/>
          </ac:cxnSpMkLst>
        </pc:cxnChg>
        <pc:cxnChg chg="add mod">
          <ac:chgData name="Veniero Facchetti" userId="f2c6c99af91c4974" providerId="LiveId" clId="{34DF7D6B-EB0F-4B53-B080-BB8D6F5C3D93}" dt="2024-05-10T16:11:00.275" v="721" actId="1076"/>
          <ac:cxnSpMkLst>
            <pc:docMk/>
            <pc:sldMk cId="2568016385" sldId="357"/>
            <ac:cxnSpMk id="219" creationId="{55F2B8DB-C3A0-C04F-DB80-414C64A8A364}"/>
          </ac:cxnSpMkLst>
        </pc:cxnChg>
        <pc:cxnChg chg="add mod">
          <ac:chgData name="Veniero Facchetti" userId="f2c6c99af91c4974" providerId="LiveId" clId="{34DF7D6B-EB0F-4B53-B080-BB8D6F5C3D93}" dt="2024-05-10T16:11:00.275" v="721" actId="1076"/>
          <ac:cxnSpMkLst>
            <pc:docMk/>
            <pc:sldMk cId="2568016385" sldId="357"/>
            <ac:cxnSpMk id="225" creationId="{21E778CB-9527-C9F5-ECA4-FECD47C6887B}"/>
          </ac:cxnSpMkLst>
        </pc:cxnChg>
        <pc:cxnChg chg="add mod">
          <ac:chgData name="Veniero Facchetti" userId="f2c6c99af91c4974" providerId="LiveId" clId="{34DF7D6B-EB0F-4B53-B080-BB8D6F5C3D93}" dt="2024-05-10T16:11:00.275" v="721" actId="1076"/>
          <ac:cxnSpMkLst>
            <pc:docMk/>
            <pc:sldMk cId="2568016385" sldId="357"/>
            <ac:cxnSpMk id="230" creationId="{1091C0C0-6C6B-F0EC-4FA8-50ED8DAEF6A8}"/>
          </ac:cxnSpMkLst>
        </pc:cxnChg>
        <pc:cxnChg chg="add mod">
          <ac:chgData name="Veniero Facchetti" userId="f2c6c99af91c4974" providerId="LiveId" clId="{34DF7D6B-EB0F-4B53-B080-BB8D6F5C3D93}" dt="2024-05-10T16:11:00.275" v="721" actId="1076"/>
          <ac:cxnSpMkLst>
            <pc:docMk/>
            <pc:sldMk cId="2568016385" sldId="357"/>
            <ac:cxnSpMk id="236" creationId="{9E0D1401-021A-5D4B-6D68-746262029738}"/>
          </ac:cxnSpMkLst>
        </pc:cxnChg>
        <pc:cxnChg chg="add mod">
          <ac:chgData name="Veniero Facchetti" userId="f2c6c99af91c4974" providerId="LiveId" clId="{34DF7D6B-EB0F-4B53-B080-BB8D6F5C3D93}" dt="2024-05-10T16:11:00.275" v="721" actId="1076"/>
          <ac:cxnSpMkLst>
            <pc:docMk/>
            <pc:sldMk cId="2568016385" sldId="357"/>
            <ac:cxnSpMk id="253" creationId="{9FFDE6B2-3F18-422D-A997-53A7A1A1DD54}"/>
          </ac:cxnSpMkLst>
        </pc:cxnChg>
      </pc:sldChg>
      <pc:sldChg chg="addSp delSp modSp new mod">
        <pc:chgData name="Veniero Facchetti" userId="f2c6c99af91c4974" providerId="LiveId" clId="{34DF7D6B-EB0F-4B53-B080-BB8D6F5C3D93}" dt="2024-05-10T16:13:12.717" v="740" actId="1076"/>
        <pc:sldMkLst>
          <pc:docMk/>
          <pc:sldMk cId="1901516551" sldId="358"/>
        </pc:sldMkLst>
        <pc:spChg chg="add mod">
          <ac:chgData name="Veniero Facchetti" userId="f2c6c99af91c4974" providerId="LiveId" clId="{34DF7D6B-EB0F-4B53-B080-BB8D6F5C3D93}" dt="2024-05-10T16:13:12.717" v="740" actId="1076"/>
          <ac:spMkLst>
            <pc:docMk/>
            <pc:sldMk cId="1901516551" sldId="358"/>
            <ac:spMk id="2" creationId="{DB8140CD-B412-9E1C-3478-60EBC59EC652}"/>
          </ac:spMkLst>
        </pc:spChg>
        <pc:spChg chg="add mod">
          <ac:chgData name="Veniero Facchetti" userId="f2c6c99af91c4974" providerId="LiveId" clId="{34DF7D6B-EB0F-4B53-B080-BB8D6F5C3D93}" dt="2024-05-10T16:12:58.439" v="737" actId="1076"/>
          <ac:spMkLst>
            <pc:docMk/>
            <pc:sldMk cId="1901516551" sldId="358"/>
            <ac:spMk id="3" creationId="{A98E43FE-6646-C468-774F-AA544013EB81}"/>
          </ac:spMkLst>
        </pc:spChg>
        <pc:spChg chg="mod">
          <ac:chgData name="Veniero Facchetti" userId="f2c6c99af91c4974" providerId="LiveId" clId="{34DF7D6B-EB0F-4B53-B080-BB8D6F5C3D93}" dt="2024-05-10T16:12:58.439" v="737" actId="1076"/>
          <ac:spMkLst>
            <pc:docMk/>
            <pc:sldMk cId="1901516551" sldId="358"/>
            <ac:spMk id="6" creationId="{4D61A490-45E6-5EA7-7235-C31BF4B24989}"/>
          </ac:spMkLst>
        </pc:spChg>
        <pc:spChg chg="mod">
          <ac:chgData name="Veniero Facchetti" userId="f2c6c99af91c4974" providerId="LiveId" clId="{34DF7D6B-EB0F-4B53-B080-BB8D6F5C3D93}" dt="2024-05-10T16:12:58.439" v="737" actId="1076"/>
          <ac:spMkLst>
            <pc:docMk/>
            <pc:sldMk cId="1901516551" sldId="358"/>
            <ac:spMk id="11" creationId="{1E640CCF-05C4-1EDE-E59C-E8D87F2C1340}"/>
          </ac:spMkLst>
        </pc:spChg>
        <pc:spChg chg="mod">
          <ac:chgData name="Veniero Facchetti" userId="f2c6c99af91c4974" providerId="LiveId" clId="{34DF7D6B-EB0F-4B53-B080-BB8D6F5C3D93}" dt="2024-05-10T16:12:58.439" v="737" actId="1076"/>
          <ac:spMkLst>
            <pc:docMk/>
            <pc:sldMk cId="1901516551" sldId="358"/>
            <ac:spMk id="12" creationId="{D06638E8-3811-CE91-68C8-322557125551}"/>
          </ac:spMkLst>
        </pc:spChg>
        <pc:spChg chg="mod">
          <ac:chgData name="Veniero Facchetti" userId="f2c6c99af91c4974" providerId="LiveId" clId="{34DF7D6B-EB0F-4B53-B080-BB8D6F5C3D93}" dt="2024-05-10T16:12:58.439" v="737" actId="1076"/>
          <ac:spMkLst>
            <pc:docMk/>
            <pc:sldMk cId="1901516551" sldId="358"/>
            <ac:spMk id="14" creationId="{B1742DD6-7721-E0E9-69AE-FF1F215C922B}"/>
          </ac:spMkLst>
        </pc:spChg>
        <pc:spChg chg="mod">
          <ac:chgData name="Veniero Facchetti" userId="f2c6c99af91c4974" providerId="LiveId" clId="{34DF7D6B-EB0F-4B53-B080-BB8D6F5C3D93}" dt="2024-05-10T16:12:58.439" v="737" actId="1076"/>
          <ac:spMkLst>
            <pc:docMk/>
            <pc:sldMk cId="1901516551" sldId="358"/>
            <ac:spMk id="15" creationId="{B1C29186-E0E6-5F77-A1AB-BBB200A8E661}"/>
          </ac:spMkLst>
        </pc:spChg>
        <pc:spChg chg="mod">
          <ac:chgData name="Veniero Facchetti" userId="f2c6c99af91c4974" providerId="LiveId" clId="{34DF7D6B-EB0F-4B53-B080-BB8D6F5C3D93}" dt="2024-05-10T16:12:58.439" v="737" actId="1076"/>
          <ac:spMkLst>
            <pc:docMk/>
            <pc:sldMk cId="1901516551" sldId="358"/>
            <ac:spMk id="16" creationId="{4821241D-F604-8592-D5D8-889A89ABCBAD}"/>
          </ac:spMkLst>
        </pc:spChg>
        <pc:spChg chg="mod">
          <ac:chgData name="Veniero Facchetti" userId="f2c6c99af91c4974" providerId="LiveId" clId="{34DF7D6B-EB0F-4B53-B080-BB8D6F5C3D93}" dt="2024-05-10T16:12:58.439" v="737" actId="1076"/>
          <ac:spMkLst>
            <pc:docMk/>
            <pc:sldMk cId="1901516551" sldId="358"/>
            <ac:spMk id="17" creationId="{820171F2-C6EA-F873-ECF4-ABDBE3DCB48F}"/>
          </ac:spMkLst>
        </pc:spChg>
        <pc:spChg chg="mod">
          <ac:chgData name="Veniero Facchetti" userId="f2c6c99af91c4974" providerId="LiveId" clId="{34DF7D6B-EB0F-4B53-B080-BB8D6F5C3D93}" dt="2024-05-10T16:12:58.439" v="737" actId="1076"/>
          <ac:spMkLst>
            <pc:docMk/>
            <pc:sldMk cId="1901516551" sldId="358"/>
            <ac:spMk id="18" creationId="{611B6F1E-A507-9B82-8F0D-1E004E4A873E}"/>
          </ac:spMkLst>
        </pc:spChg>
        <pc:spChg chg="mod">
          <ac:chgData name="Veniero Facchetti" userId="f2c6c99af91c4974" providerId="LiveId" clId="{34DF7D6B-EB0F-4B53-B080-BB8D6F5C3D93}" dt="2024-05-10T16:12:58.439" v="737" actId="1076"/>
          <ac:spMkLst>
            <pc:docMk/>
            <pc:sldMk cId="1901516551" sldId="358"/>
            <ac:spMk id="19" creationId="{720BEA5D-4B01-6756-A933-41E90F53A5DD}"/>
          </ac:spMkLst>
        </pc:spChg>
        <pc:spChg chg="mod">
          <ac:chgData name="Veniero Facchetti" userId="f2c6c99af91c4974" providerId="LiveId" clId="{34DF7D6B-EB0F-4B53-B080-BB8D6F5C3D93}" dt="2024-05-10T16:12:58.439" v="737" actId="1076"/>
          <ac:spMkLst>
            <pc:docMk/>
            <pc:sldMk cId="1901516551" sldId="358"/>
            <ac:spMk id="25" creationId="{03398B60-F100-4E5D-12A7-DE68F7D8E2BB}"/>
          </ac:spMkLst>
        </pc:spChg>
        <pc:spChg chg="mod">
          <ac:chgData name="Veniero Facchetti" userId="f2c6c99af91c4974" providerId="LiveId" clId="{34DF7D6B-EB0F-4B53-B080-BB8D6F5C3D93}" dt="2024-05-10T16:12:58.439" v="737" actId="1076"/>
          <ac:spMkLst>
            <pc:docMk/>
            <pc:sldMk cId="1901516551" sldId="358"/>
            <ac:spMk id="26" creationId="{543367E8-F3D6-02A0-1B9B-C0F5F58F79AC}"/>
          </ac:spMkLst>
        </pc:spChg>
        <pc:spChg chg="mod">
          <ac:chgData name="Veniero Facchetti" userId="f2c6c99af91c4974" providerId="LiveId" clId="{34DF7D6B-EB0F-4B53-B080-BB8D6F5C3D93}" dt="2024-05-10T16:12:58.439" v="737" actId="1076"/>
          <ac:spMkLst>
            <pc:docMk/>
            <pc:sldMk cId="1901516551" sldId="358"/>
            <ac:spMk id="27" creationId="{2681EB16-1133-0BEC-4735-1E33916AEF66}"/>
          </ac:spMkLst>
        </pc:spChg>
        <pc:spChg chg="mod">
          <ac:chgData name="Veniero Facchetti" userId="f2c6c99af91c4974" providerId="LiveId" clId="{34DF7D6B-EB0F-4B53-B080-BB8D6F5C3D93}" dt="2024-05-10T16:12:58.439" v="737" actId="1076"/>
          <ac:spMkLst>
            <pc:docMk/>
            <pc:sldMk cId="1901516551" sldId="358"/>
            <ac:spMk id="28" creationId="{8B654408-108E-7D7F-3E6B-A08B3436FCF4}"/>
          </ac:spMkLst>
        </pc:spChg>
        <pc:spChg chg="mod">
          <ac:chgData name="Veniero Facchetti" userId="f2c6c99af91c4974" providerId="LiveId" clId="{34DF7D6B-EB0F-4B53-B080-BB8D6F5C3D93}" dt="2024-05-10T16:12:58.439" v="737" actId="1076"/>
          <ac:spMkLst>
            <pc:docMk/>
            <pc:sldMk cId="1901516551" sldId="358"/>
            <ac:spMk id="29" creationId="{569F30C7-00C0-5FAC-6677-2079E4D34272}"/>
          </ac:spMkLst>
        </pc:spChg>
        <pc:spChg chg="mod">
          <ac:chgData name="Veniero Facchetti" userId="f2c6c99af91c4974" providerId="LiveId" clId="{34DF7D6B-EB0F-4B53-B080-BB8D6F5C3D93}" dt="2024-05-10T16:12:58.439" v="737" actId="1076"/>
          <ac:spMkLst>
            <pc:docMk/>
            <pc:sldMk cId="1901516551" sldId="358"/>
            <ac:spMk id="39" creationId="{516DDCBC-6941-4D33-99F0-552DF918C1D0}"/>
          </ac:spMkLst>
        </pc:spChg>
        <pc:spChg chg="mod">
          <ac:chgData name="Veniero Facchetti" userId="f2c6c99af91c4974" providerId="LiveId" clId="{34DF7D6B-EB0F-4B53-B080-BB8D6F5C3D93}" dt="2024-05-10T16:12:58.439" v="737" actId="1076"/>
          <ac:spMkLst>
            <pc:docMk/>
            <pc:sldMk cId="1901516551" sldId="358"/>
            <ac:spMk id="43" creationId="{2C16E8A0-AB9E-5CC4-EC2E-224FDA043C78}"/>
          </ac:spMkLst>
        </pc:spChg>
        <pc:spChg chg="mod">
          <ac:chgData name="Veniero Facchetti" userId="f2c6c99af91c4974" providerId="LiveId" clId="{34DF7D6B-EB0F-4B53-B080-BB8D6F5C3D93}" dt="2024-05-10T16:12:58.439" v="737" actId="1076"/>
          <ac:spMkLst>
            <pc:docMk/>
            <pc:sldMk cId="1901516551" sldId="358"/>
            <ac:spMk id="47" creationId="{26BE8897-FC97-E962-A6AE-B5DA6E7EABF2}"/>
          </ac:spMkLst>
        </pc:spChg>
        <pc:spChg chg="mod">
          <ac:chgData name="Veniero Facchetti" userId="f2c6c99af91c4974" providerId="LiveId" clId="{34DF7D6B-EB0F-4B53-B080-BB8D6F5C3D93}" dt="2024-05-10T16:12:58.439" v="737" actId="1076"/>
          <ac:spMkLst>
            <pc:docMk/>
            <pc:sldMk cId="1901516551" sldId="358"/>
            <ac:spMk id="51" creationId="{AE1F2243-BE04-DBD6-57B1-95B683610855}"/>
          </ac:spMkLst>
        </pc:spChg>
        <pc:spChg chg="mod">
          <ac:chgData name="Veniero Facchetti" userId="f2c6c99af91c4974" providerId="LiveId" clId="{34DF7D6B-EB0F-4B53-B080-BB8D6F5C3D93}" dt="2024-05-10T16:12:58.439" v="737" actId="1076"/>
          <ac:spMkLst>
            <pc:docMk/>
            <pc:sldMk cId="1901516551" sldId="358"/>
            <ac:spMk id="55" creationId="{49CFA9CF-4F8B-4229-0F67-7C9190E7D4EE}"/>
          </ac:spMkLst>
        </pc:spChg>
        <pc:spChg chg="add mod">
          <ac:chgData name="Veniero Facchetti" userId="f2c6c99af91c4974" providerId="LiveId" clId="{34DF7D6B-EB0F-4B53-B080-BB8D6F5C3D93}" dt="2024-05-10T16:13:04.372" v="739" actId="14100"/>
          <ac:spMkLst>
            <pc:docMk/>
            <pc:sldMk cId="1901516551" sldId="358"/>
            <ac:spMk id="65" creationId="{21AEF41C-39E8-D9FE-BA32-6AE213A50F09}"/>
          </ac:spMkLst>
        </pc:spChg>
        <pc:spChg chg="mod">
          <ac:chgData name="Veniero Facchetti" userId="f2c6c99af91c4974" providerId="LiveId" clId="{34DF7D6B-EB0F-4B53-B080-BB8D6F5C3D93}" dt="2024-05-10T16:11:31.449" v="726"/>
          <ac:spMkLst>
            <pc:docMk/>
            <pc:sldMk cId="1901516551" sldId="358"/>
            <ac:spMk id="69" creationId="{FC43880C-F522-2E6B-E8FB-2E0A235E3829}"/>
          </ac:spMkLst>
        </pc:spChg>
        <pc:spChg chg="mod">
          <ac:chgData name="Veniero Facchetti" userId="f2c6c99af91c4974" providerId="LiveId" clId="{34DF7D6B-EB0F-4B53-B080-BB8D6F5C3D93}" dt="2024-05-10T16:11:31.449" v="726"/>
          <ac:spMkLst>
            <pc:docMk/>
            <pc:sldMk cId="1901516551" sldId="358"/>
            <ac:spMk id="70" creationId="{B7815BDF-317D-78A0-B8C4-06753BC55C3B}"/>
          </ac:spMkLst>
        </pc:spChg>
        <pc:spChg chg="add mod">
          <ac:chgData name="Veniero Facchetti" userId="f2c6c99af91c4974" providerId="LiveId" clId="{34DF7D6B-EB0F-4B53-B080-BB8D6F5C3D93}" dt="2024-05-10T16:12:58.439" v="737" actId="1076"/>
          <ac:spMkLst>
            <pc:docMk/>
            <pc:sldMk cId="1901516551" sldId="358"/>
            <ac:spMk id="72" creationId="{5EB3DF4B-CECB-C14C-DA57-BDEBAE6233B1}"/>
          </ac:spMkLst>
        </pc:spChg>
        <pc:spChg chg="add mod">
          <ac:chgData name="Veniero Facchetti" userId="f2c6c99af91c4974" providerId="LiveId" clId="{34DF7D6B-EB0F-4B53-B080-BB8D6F5C3D93}" dt="2024-05-10T16:12:58.439" v="737" actId="1076"/>
          <ac:spMkLst>
            <pc:docMk/>
            <pc:sldMk cId="1901516551" sldId="358"/>
            <ac:spMk id="73" creationId="{CA20E793-66BD-3A4F-8191-5AE0930A94C6}"/>
          </ac:spMkLst>
        </pc:spChg>
        <pc:spChg chg="add mod">
          <ac:chgData name="Veniero Facchetti" userId="f2c6c99af91c4974" providerId="LiveId" clId="{34DF7D6B-EB0F-4B53-B080-BB8D6F5C3D93}" dt="2024-05-10T16:12:58.439" v="737" actId="1076"/>
          <ac:spMkLst>
            <pc:docMk/>
            <pc:sldMk cId="1901516551" sldId="358"/>
            <ac:spMk id="74" creationId="{E3042014-2B04-B585-5E66-78AF80F4C184}"/>
          </ac:spMkLst>
        </pc:spChg>
        <pc:spChg chg="add mod">
          <ac:chgData name="Veniero Facchetti" userId="f2c6c99af91c4974" providerId="LiveId" clId="{34DF7D6B-EB0F-4B53-B080-BB8D6F5C3D93}" dt="2024-05-10T16:12:58.439" v="737" actId="1076"/>
          <ac:spMkLst>
            <pc:docMk/>
            <pc:sldMk cId="1901516551" sldId="358"/>
            <ac:spMk id="75" creationId="{F756D171-AA88-BDF3-C135-F213B4C03324}"/>
          </ac:spMkLst>
        </pc:spChg>
        <pc:spChg chg="add mod">
          <ac:chgData name="Veniero Facchetti" userId="f2c6c99af91c4974" providerId="LiveId" clId="{34DF7D6B-EB0F-4B53-B080-BB8D6F5C3D93}" dt="2024-05-10T16:12:58.439" v="737" actId="1076"/>
          <ac:spMkLst>
            <pc:docMk/>
            <pc:sldMk cId="1901516551" sldId="358"/>
            <ac:spMk id="76" creationId="{18C39F91-11BE-AC38-D06B-CB873759147F}"/>
          </ac:spMkLst>
        </pc:spChg>
        <pc:spChg chg="add mod">
          <ac:chgData name="Veniero Facchetti" userId="f2c6c99af91c4974" providerId="LiveId" clId="{34DF7D6B-EB0F-4B53-B080-BB8D6F5C3D93}" dt="2024-05-10T16:12:58.439" v="737" actId="1076"/>
          <ac:spMkLst>
            <pc:docMk/>
            <pc:sldMk cId="1901516551" sldId="358"/>
            <ac:spMk id="77" creationId="{1F8B8E81-6593-6865-1361-293A7C2448A2}"/>
          </ac:spMkLst>
        </pc:spChg>
        <pc:spChg chg="add mod">
          <ac:chgData name="Veniero Facchetti" userId="f2c6c99af91c4974" providerId="LiveId" clId="{34DF7D6B-EB0F-4B53-B080-BB8D6F5C3D93}" dt="2024-05-10T16:13:12.717" v="740" actId="1076"/>
          <ac:spMkLst>
            <pc:docMk/>
            <pc:sldMk cId="1901516551" sldId="358"/>
            <ac:spMk id="78" creationId="{1AF27AED-BB1D-9A5F-9039-88335BFB6202}"/>
          </ac:spMkLst>
        </pc:spChg>
        <pc:spChg chg="add mod">
          <ac:chgData name="Veniero Facchetti" userId="f2c6c99af91c4974" providerId="LiveId" clId="{34DF7D6B-EB0F-4B53-B080-BB8D6F5C3D93}" dt="2024-05-10T16:12:58.439" v="737" actId="1076"/>
          <ac:spMkLst>
            <pc:docMk/>
            <pc:sldMk cId="1901516551" sldId="358"/>
            <ac:spMk id="79" creationId="{D4F9548F-203F-2CC4-7713-F750F56D87E2}"/>
          </ac:spMkLst>
        </pc:spChg>
        <pc:grpChg chg="add mod">
          <ac:chgData name="Veniero Facchetti" userId="f2c6c99af91c4974" providerId="LiveId" clId="{34DF7D6B-EB0F-4B53-B080-BB8D6F5C3D93}" dt="2024-05-10T16:12:58.439" v="737" actId="1076"/>
          <ac:grpSpMkLst>
            <pc:docMk/>
            <pc:sldMk cId="1901516551" sldId="358"/>
            <ac:grpSpMk id="4" creationId="{A5BF5A99-D1AF-6226-902E-1EABB55EA46F}"/>
          </ac:grpSpMkLst>
        </pc:grpChg>
        <pc:grpChg chg="mod">
          <ac:chgData name="Veniero Facchetti" userId="f2c6c99af91c4974" providerId="LiveId" clId="{34DF7D6B-EB0F-4B53-B080-BB8D6F5C3D93}" dt="2024-05-10T16:12:58.439" v="737" actId="1076"/>
          <ac:grpSpMkLst>
            <pc:docMk/>
            <pc:sldMk cId="1901516551" sldId="358"/>
            <ac:grpSpMk id="5" creationId="{55371E8B-8C32-95E6-9AB1-07ED5C85C9AA}"/>
          </ac:grpSpMkLst>
        </pc:grpChg>
        <pc:grpChg chg="add mod">
          <ac:chgData name="Veniero Facchetti" userId="f2c6c99af91c4974" providerId="LiveId" clId="{34DF7D6B-EB0F-4B53-B080-BB8D6F5C3D93}" dt="2024-05-10T16:12:58.439" v="737" actId="1076"/>
          <ac:grpSpMkLst>
            <pc:docMk/>
            <pc:sldMk cId="1901516551" sldId="358"/>
            <ac:grpSpMk id="10" creationId="{FAE5DA86-FC63-BB80-573D-1C5A53E74F4C}"/>
          </ac:grpSpMkLst>
        </pc:grpChg>
        <pc:grpChg chg="add mod">
          <ac:chgData name="Veniero Facchetti" userId="f2c6c99af91c4974" providerId="LiveId" clId="{34DF7D6B-EB0F-4B53-B080-BB8D6F5C3D93}" dt="2024-05-10T16:12:58.439" v="737" actId="1076"/>
          <ac:grpSpMkLst>
            <pc:docMk/>
            <pc:sldMk cId="1901516551" sldId="358"/>
            <ac:grpSpMk id="13" creationId="{4D0D3FA4-A360-3B46-D9EA-E75F78E0D874}"/>
          </ac:grpSpMkLst>
        </pc:grpChg>
        <pc:grpChg chg="add mod">
          <ac:chgData name="Veniero Facchetti" userId="f2c6c99af91c4974" providerId="LiveId" clId="{34DF7D6B-EB0F-4B53-B080-BB8D6F5C3D93}" dt="2024-05-10T16:12:58.439" v="737" actId="1076"/>
          <ac:grpSpMkLst>
            <pc:docMk/>
            <pc:sldMk cId="1901516551" sldId="358"/>
            <ac:grpSpMk id="20" creationId="{379C9601-CC8B-6229-C608-7B8B1AB2CF60}"/>
          </ac:grpSpMkLst>
        </pc:grpChg>
        <pc:grpChg chg="mod">
          <ac:chgData name="Veniero Facchetti" userId="f2c6c99af91c4974" providerId="LiveId" clId="{34DF7D6B-EB0F-4B53-B080-BB8D6F5C3D93}" dt="2024-05-10T16:12:58.439" v="737" actId="1076"/>
          <ac:grpSpMkLst>
            <pc:docMk/>
            <pc:sldMk cId="1901516551" sldId="358"/>
            <ac:grpSpMk id="23" creationId="{BF0A27B0-0C39-B7A6-C168-FAF70D86DB93}"/>
          </ac:grpSpMkLst>
        </pc:grpChg>
        <pc:grpChg chg="mod">
          <ac:chgData name="Veniero Facchetti" userId="f2c6c99af91c4974" providerId="LiveId" clId="{34DF7D6B-EB0F-4B53-B080-BB8D6F5C3D93}" dt="2024-05-10T16:12:58.439" v="737" actId="1076"/>
          <ac:grpSpMkLst>
            <pc:docMk/>
            <pc:sldMk cId="1901516551" sldId="358"/>
            <ac:grpSpMk id="24" creationId="{DA502512-C050-0435-BE06-71F88462F313}"/>
          </ac:grpSpMkLst>
        </pc:grpChg>
        <pc:grpChg chg="mod">
          <ac:chgData name="Veniero Facchetti" userId="f2c6c99af91c4974" providerId="LiveId" clId="{34DF7D6B-EB0F-4B53-B080-BB8D6F5C3D93}" dt="2024-05-10T16:12:58.439" v="737" actId="1076"/>
          <ac:grpSpMkLst>
            <pc:docMk/>
            <pc:sldMk cId="1901516551" sldId="358"/>
            <ac:grpSpMk id="30" creationId="{6E9C2804-4F75-B2D3-73D8-7ADF297F4C07}"/>
          </ac:grpSpMkLst>
        </pc:grpChg>
        <pc:grpChg chg="mod">
          <ac:chgData name="Veniero Facchetti" userId="f2c6c99af91c4974" providerId="LiveId" clId="{34DF7D6B-EB0F-4B53-B080-BB8D6F5C3D93}" dt="2024-05-10T16:12:58.439" v="737" actId="1076"/>
          <ac:grpSpMkLst>
            <pc:docMk/>
            <pc:sldMk cId="1901516551" sldId="358"/>
            <ac:grpSpMk id="31" creationId="{3FBE9B43-0C14-6BCF-948A-72A659C31A9F}"/>
          </ac:grpSpMkLst>
        </pc:grpChg>
        <pc:grpChg chg="mod">
          <ac:chgData name="Veniero Facchetti" userId="f2c6c99af91c4974" providerId="LiveId" clId="{34DF7D6B-EB0F-4B53-B080-BB8D6F5C3D93}" dt="2024-05-10T16:12:58.439" v="737" actId="1076"/>
          <ac:grpSpMkLst>
            <pc:docMk/>
            <pc:sldMk cId="1901516551" sldId="358"/>
            <ac:grpSpMk id="32" creationId="{A2F39C19-6A5A-DA53-6A3E-5378F8CEB693}"/>
          </ac:grpSpMkLst>
        </pc:grpChg>
        <pc:grpChg chg="mod">
          <ac:chgData name="Veniero Facchetti" userId="f2c6c99af91c4974" providerId="LiveId" clId="{34DF7D6B-EB0F-4B53-B080-BB8D6F5C3D93}" dt="2024-05-10T16:12:58.439" v="737" actId="1076"/>
          <ac:grpSpMkLst>
            <pc:docMk/>
            <pc:sldMk cId="1901516551" sldId="358"/>
            <ac:grpSpMk id="33" creationId="{8EF32900-EAB0-22DB-E566-2132CA3A38E1}"/>
          </ac:grpSpMkLst>
        </pc:grpChg>
        <pc:grpChg chg="mod">
          <ac:chgData name="Veniero Facchetti" userId="f2c6c99af91c4974" providerId="LiveId" clId="{34DF7D6B-EB0F-4B53-B080-BB8D6F5C3D93}" dt="2024-05-10T16:12:58.439" v="737" actId="1076"/>
          <ac:grpSpMkLst>
            <pc:docMk/>
            <pc:sldMk cId="1901516551" sldId="358"/>
            <ac:grpSpMk id="34" creationId="{DA13F1F8-0688-CB24-9AFD-8D277436765D}"/>
          </ac:grpSpMkLst>
        </pc:grpChg>
        <pc:grpChg chg="mod">
          <ac:chgData name="Veniero Facchetti" userId="f2c6c99af91c4974" providerId="LiveId" clId="{34DF7D6B-EB0F-4B53-B080-BB8D6F5C3D93}" dt="2024-05-10T16:12:58.439" v="737" actId="1076"/>
          <ac:grpSpMkLst>
            <pc:docMk/>
            <pc:sldMk cId="1901516551" sldId="358"/>
            <ac:grpSpMk id="35" creationId="{1CF5385E-A733-92BC-5A49-E9996F6C52B1}"/>
          </ac:grpSpMkLst>
        </pc:grpChg>
        <pc:grpChg chg="add mod">
          <ac:chgData name="Veniero Facchetti" userId="f2c6c99af91c4974" providerId="LiveId" clId="{34DF7D6B-EB0F-4B53-B080-BB8D6F5C3D93}" dt="2024-05-10T16:11:31.449" v="726"/>
          <ac:grpSpMkLst>
            <pc:docMk/>
            <pc:sldMk cId="1901516551" sldId="358"/>
            <ac:grpSpMk id="68" creationId="{37B85C51-C387-1CC0-3322-8AC4A440D8A1}"/>
          </ac:grpSpMkLst>
        </pc:grpChg>
        <pc:graphicFrameChg chg="add mod">
          <ac:chgData name="Veniero Facchetti" userId="f2c6c99af91c4974" providerId="LiveId" clId="{34DF7D6B-EB0F-4B53-B080-BB8D6F5C3D93}" dt="2024-05-10T16:12:58.439" v="737" actId="1076"/>
          <ac:graphicFrameMkLst>
            <pc:docMk/>
            <pc:sldMk cId="1901516551" sldId="358"/>
            <ac:graphicFrameMk id="71" creationId="{862FE512-F67B-7678-F4C6-31F2EE2A8C0F}"/>
          </ac:graphicFrameMkLst>
        </pc:graphicFrameChg>
        <pc:picChg chg="add mod modCrop">
          <ac:chgData name="Veniero Facchetti" userId="f2c6c99af91c4974" providerId="LiveId" clId="{34DF7D6B-EB0F-4B53-B080-BB8D6F5C3D93}" dt="2024-05-10T16:11:54.300" v="734" actId="732"/>
          <ac:picMkLst>
            <pc:docMk/>
            <pc:sldMk cId="1901516551" sldId="358"/>
            <ac:picMk id="66" creationId="{E5D8FE88-7AFB-3E12-212D-466C54F5AB5E}"/>
          </ac:picMkLst>
        </pc:picChg>
        <pc:picChg chg="add del mod">
          <ac:chgData name="Veniero Facchetti" userId="f2c6c99af91c4974" providerId="LiveId" clId="{34DF7D6B-EB0F-4B53-B080-BB8D6F5C3D93}" dt="2024-05-10T16:11:44.366" v="732" actId="478"/>
          <ac:picMkLst>
            <pc:docMk/>
            <pc:sldMk cId="1901516551" sldId="358"/>
            <ac:picMk id="67" creationId="{36D90CFC-4A6B-AA36-E826-D43EB7768210}"/>
          </ac:picMkLst>
        </pc:picChg>
        <pc:cxnChg chg="mod">
          <ac:chgData name="Veniero Facchetti" userId="f2c6c99af91c4974" providerId="LiveId" clId="{34DF7D6B-EB0F-4B53-B080-BB8D6F5C3D93}" dt="2024-05-10T16:12:58.439" v="737" actId="1076"/>
          <ac:cxnSpMkLst>
            <pc:docMk/>
            <pc:sldMk cId="1901516551" sldId="358"/>
            <ac:cxnSpMk id="7" creationId="{B7EDEC3F-FA80-1426-2924-76C4440D7791}"/>
          </ac:cxnSpMkLst>
        </pc:cxnChg>
        <pc:cxnChg chg="mod">
          <ac:chgData name="Veniero Facchetti" userId="f2c6c99af91c4974" providerId="LiveId" clId="{34DF7D6B-EB0F-4B53-B080-BB8D6F5C3D93}" dt="2024-05-10T16:12:58.439" v="737" actId="1076"/>
          <ac:cxnSpMkLst>
            <pc:docMk/>
            <pc:sldMk cId="1901516551" sldId="358"/>
            <ac:cxnSpMk id="8" creationId="{4383ECAE-377E-A7F0-DCD1-2436135647FB}"/>
          </ac:cxnSpMkLst>
        </pc:cxnChg>
        <pc:cxnChg chg="mod">
          <ac:chgData name="Veniero Facchetti" userId="f2c6c99af91c4974" providerId="LiveId" clId="{34DF7D6B-EB0F-4B53-B080-BB8D6F5C3D93}" dt="2024-05-10T16:12:58.439" v="737" actId="1076"/>
          <ac:cxnSpMkLst>
            <pc:docMk/>
            <pc:sldMk cId="1901516551" sldId="358"/>
            <ac:cxnSpMk id="9" creationId="{876CDB1D-5BD7-F0D4-70F0-3B11E48B398A}"/>
          </ac:cxnSpMkLst>
        </pc:cxnChg>
        <pc:cxnChg chg="mod">
          <ac:chgData name="Veniero Facchetti" userId="f2c6c99af91c4974" providerId="LiveId" clId="{34DF7D6B-EB0F-4B53-B080-BB8D6F5C3D93}" dt="2024-05-10T16:12:58.439" v="737" actId="1076"/>
          <ac:cxnSpMkLst>
            <pc:docMk/>
            <pc:sldMk cId="1901516551" sldId="358"/>
            <ac:cxnSpMk id="21" creationId="{E4D60649-6109-98BF-4097-242FEA6825C6}"/>
          </ac:cxnSpMkLst>
        </pc:cxnChg>
        <pc:cxnChg chg="mod">
          <ac:chgData name="Veniero Facchetti" userId="f2c6c99af91c4974" providerId="LiveId" clId="{34DF7D6B-EB0F-4B53-B080-BB8D6F5C3D93}" dt="2024-05-10T16:12:58.439" v="737" actId="1076"/>
          <ac:cxnSpMkLst>
            <pc:docMk/>
            <pc:sldMk cId="1901516551" sldId="358"/>
            <ac:cxnSpMk id="22" creationId="{059D865A-336F-C525-0E97-79BE11CDF748}"/>
          </ac:cxnSpMkLst>
        </pc:cxnChg>
        <pc:cxnChg chg="mod">
          <ac:chgData name="Veniero Facchetti" userId="f2c6c99af91c4974" providerId="LiveId" clId="{34DF7D6B-EB0F-4B53-B080-BB8D6F5C3D93}" dt="2024-05-10T16:12:58.439" v="737" actId="1076"/>
          <ac:cxnSpMkLst>
            <pc:docMk/>
            <pc:sldMk cId="1901516551" sldId="358"/>
            <ac:cxnSpMk id="36" creationId="{2EAF4B23-0568-BE4B-9902-8DFC7DBF0008}"/>
          </ac:cxnSpMkLst>
        </pc:cxnChg>
        <pc:cxnChg chg="mod">
          <ac:chgData name="Veniero Facchetti" userId="f2c6c99af91c4974" providerId="LiveId" clId="{34DF7D6B-EB0F-4B53-B080-BB8D6F5C3D93}" dt="2024-05-10T16:12:58.439" v="737" actId="1076"/>
          <ac:cxnSpMkLst>
            <pc:docMk/>
            <pc:sldMk cId="1901516551" sldId="358"/>
            <ac:cxnSpMk id="37" creationId="{3AAAB203-660A-8282-E436-0CD4C8697FD4}"/>
          </ac:cxnSpMkLst>
        </pc:cxnChg>
        <pc:cxnChg chg="mod">
          <ac:chgData name="Veniero Facchetti" userId="f2c6c99af91c4974" providerId="LiveId" clId="{34DF7D6B-EB0F-4B53-B080-BB8D6F5C3D93}" dt="2024-05-10T16:12:58.439" v="737" actId="1076"/>
          <ac:cxnSpMkLst>
            <pc:docMk/>
            <pc:sldMk cId="1901516551" sldId="358"/>
            <ac:cxnSpMk id="38" creationId="{5328AD1A-0F07-55D0-79B9-7F252C2793E3}"/>
          </ac:cxnSpMkLst>
        </pc:cxnChg>
        <pc:cxnChg chg="mod">
          <ac:chgData name="Veniero Facchetti" userId="f2c6c99af91c4974" providerId="LiveId" clId="{34DF7D6B-EB0F-4B53-B080-BB8D6F5C3D93}" dt="2024-05-10T16:12:58.439" v="737" actId="1076"/>
          <ac:cxnSpMkLst>
            <pc:docMk/>
            <pc:sldMk cId="1901516551" sldId="358"/>
            <ac:cxnSpMk id="40" creationId="{90FD7C3F-BCD6-5821-004C-DEA785A9DD87}"/>
          </ac:cxnSpMkLst>
        </pc:cxnChg>
        <pc:cxnChg chg="mod">
          <ac:chgData name="Veniero Facchetti" userId="f2c6c99af91c4974" providerId="LiveId" clId="{34DF7D6B-EB0F-4B53-B080-BB8D6F5C3D93}" dt="2024-05-10T16:12:58.439" v="737" actId="1076"/>
          <ac:cxnSpMkLst>
            <pc:docMk/>
            <pc:sldMk cId="1901516551" sldId="358"/>
            <ac:cxnSpMk id="41" creationId="{4D6BD356-B2EC-1FD5-1A36-B3A09E4AD914}"/>
          </ac:cxnSpMkLst>
        </pc:cxnChg>
        <pc:cxnChg chg="mod">
          <ac:chgData name="Veniero Facchetti" userId="f2c6c99af91c4974" providerId="LiveId" clId="{34DF7D6B-EB0F-4B53-B080-BB8D6F5C3D93}" dt="2024-05-10T16:12:58.439" v="737" actId="1076"/>
          <ac:cxnSpMkLst>
            <pc:docMk/>
            <pc:sldMk cId="1901516551" sldId="358"/>
            <ac:cxnSpMk id="42" creationId="{D6724D96-2952-FCF6-4D73-47169E25E514}"/>
          </ac:cxnSpMkLst>
        </pc:cxnChg>
        <pc:cxnChg chg="mod">
          <ac:chgData name="Veniero Facchetti" userId="f2c6c99af91c4974" providerId="LiveId" clId="{34DF7D6B-EB0F-4B53-B080-BB8D6F5C3D93}" dt="2024-05-10T16:12:58.439" v="737" actId="1076"/>
          <ac:cxnSpMkLst>
            <pc:docMk/>
            <pc:sldMk cId="1901516551" sldId="358"/>
            <ac:cxnSpMk id="44" creationId="{2D7C48CA-EBFC-561A-D27B-FE7BA16E42FB}"/>
          </ac:cxnSpMkLst>
        </pc:cxnChg>
        <pc:cxnChg chg="mod">
          <ac:chgData name="Veniero Facchetti" userId="f2c6c99af91c4974" providerId="LiveId" clId="{34DF7D6B-EB0F-4B53-B080-BB8D6F5C3D93}" dt="2024-05-10T16:12:58.439" v="737" actId="1076"/>
          <ac:cxnSpMkLst>
            <pc:docMk/>
            <pc:sldMk cId="1901516551" sldId="358"/>
            <ac:cxnSpMk id="45" creationId="{04B43B61-BC34-83AC-4B35-070923438993}"/>
          </ac:cxnSpMkLst>
        </pc:cxnChg>
        <pc:cxnChg chg="mod">
          <ac:chgData name="Veniero Facchetti" userId="f2c6c99af91c4974" providerId="LiveId" clId="{34DF7D6B-EB0F-4B53-B080-BB8D6F5C3D93}" dt="2024-05-10T16:12:58.439" v="737" actId="1076"/>
          <ac:cxnSpMkLst>
            <pc:docMk/>
            <pc:sldMk cId="1901516551" sldId="358"/>
            <ac:cxnSpMk id="46" creationId="{281EAB79-365B-E96A-33D3-976008F605BA}"/>
          </ac:cxnSpMkLst>
        </pc:cxnChg>
        <pc:cxnChg chg="mod">
          <ac:chgData name="Veniero Facchetti" userId="f2c6c99af91c4974" providerId="LiveId" clId="{34DF7D6B-EB0F-4B53-B080-BB8D6F5C3D93}" dt="2024-05-10T16:12:58.439" v="737" actId="1076"/>
          <ac:cxnSpMkLst>
            <pc:docMk/>
            <pc:sldMk cId="1901516551" sldId="358"/>
            <ac:cxnSpMk id="48" creationId="{5631E384-7A68-F10A-0799-080B395C5C65}"/>
          </ac:cxnSpMkLst>
        </pc:cxnChg>
        <pc:cxnChg chg="mod">
          <ac:chgData name="Veniero Facchetti" userId="f2c6c99af91c4974" providerId="LiveId" clId="{34DF7D6B-EB0F-4B53-B080-BB8D6F5C3D93}" dt="2024-05-10T16:12:58.439" v="737" actId="1076"/>
          <ac:cxnSpMkLst>
            <pc:docMk/>
            <pc:sldMk cId="1901516551" sldId="358"/>
            <ac:cxnSpMk id="49" creationId="{10B34536-106C-05BC-CDAB-0F53243AA1A2}"/>
          </ac:cxnSpMkLst>
        </pc:cxnChg>
        <pc:cxnChg chg="mod">
          <ac:chgData name="Veniero Facchetti" userId="f2c6c99af91c4974" providerId="LiveId" clId="{34DF7D6B-EB0F-4B53-B080-BB8D6F5C3D93}" dt="2024-05-10T16:12:58.439" v="737" actId="1076"/>
          <ac:cxnSpMkLst>
            <pc:docMk/>
            <pc:sldMk cId="1901516551" sldId="358"/>
            <ac:cxnSpMk id="50" creationId="{051459F7-72AF-9ABE-8155-8924F10D9A63}"/>
          </ac:cxnSpMkLst>
        </pc:cxnChg>
        <pc:cxnChg chg="mod">
          <ac:chgData name="Veniero Facchetti" userId="f2c6c99af91c4974" providerId="LiveId" clId="{34DF7D6B-EB0F-4B53-B080-BB8D6F5C3D93}" dt="2024-05-10T16:12:58.439" v="737" actId="1076"/>
          <ac:cxnSpMkLst>
            <pc:docMk/>
            <pc:sldMk cId="1901516551" sldId="358"/>
            <ac:cxnSpMk id="52" creationId="{1C843788-3629-775E-D36D-A7BCBE9E3B61}"/>
          </ac:cxnSpMkLst>
        </pc:cxnChg>
        <pc:cxnChg chg="mod">
          <ac:chgData name="Veniero Facchetti" userId="f2c6c99af91c4974" providerId="LiveId" clId="{34DF7D6B-EB0F-4B53-B080-BB8D6F5C3D93}" dt="2024-05-10T16:12:58.439" v="737" actId="1076"/>
          <ac:cxnSpMkLst>
            <pc:docMk/>
            <pc:sldMk cId="1901516551" sldId="358"/>
            <ac:cxnSpMk id="53" creationId="{1D0BBF14-B5AB-6621-6B8C-4E0858F14D4D}"/>
          </ac:cxnSpMkLst>
        </pc:cxnChg>
        <pc:cxnChg chg="mod">
          <ac:chgData name="Veniero Facchetti" userId="f2c6c99af91c4974" providerId="LiveId" clId="{34DF7D6B-EB0F-4B53-B080-BB8D6F5C3D93}" dt="2024-05-10T16:12:58.439" v="737" actId="1076"/>
          <ac:cxnSpMkLst>
            <pc:docMk/>
            <pc:sldMk cId="1901516551" sldId="358"/>
            <ac:cxnSpMk id="54" creationId="{DE291602-3DE9-0C10-F098-F5EFBBDCA9EF}"/>
          </ac:cxnSpMkLst>
        </pc:cxnChg>
        <pc:cxnChg chg="mod">
          <ac:chgData name="Veniero Facchetti" userId="f2c6c99af91c4974" providerId="LiveId" clId="{34DF7D6B-EB0F-4B53-B080-BB8D6F5C3D93}" dt="2024-05-10T16:12:58.439" v="737" actId="1076"/>
          <ac:cxnSpMkLst>
            <pc:docMk/>
            <pc:sldMk cId="1901516551" sldId="358"/>
            <ac:cxnSpMk id="56" creationId="{B3ABDB32-4662-DAAD-8B3A-DA9035E97F82}"/>
          </ac:cxnSpMkLst>
        </pc:cxnChg>
        <pc:cxnChg chg="mod">
          <ac:chgData name="Veniero Facchetti" userId="f2c6c99af91c4974" providerId="LiveId" clId="{34DF7D6B-EB0F-4B53-B080-BB8D6F5C3D93}" dt="2024-05-10T16:12:58.439" v="737" actId="1076"/>
          <ac:cxnSpMkLst>
            <pc:docMk/>
            <pc:sldMk cId="1901516551" sldId="358"/>
            <ac:cxnSpMk id="57" creationId="{D2B8D790-0EE8-AF62-2C75-D6E5A007F446}"/>
          </ac:cxnSpMkLst>
        </pc:cxnChg>
        <pc:cxnChg chg="mod">
          <ac:chgData name="Veniero Facchetti" userId="f2c6c99af91c4974" providerId="LiveId" clId="{34DF7D6B-EB0F-4B53-B080-BB8D6F5C3D93}" dt="2024-05-10T16:12:58.439" v="737" actId="1076"/>
          <ac:cxnSpMkLst>
            <pc:docMk/>
            <pc:sldMk cId="1901516551" sldId="358"/>
            <ac:cxnSpMk id="58" creationId="{F35E15C0-6FE7-0E9F-0986-48D7DB1FE1EB}"/>
          </ac:cxnSpMkLst>
        </pc:cxnChg>
        <pc:cxnChg chg="mod">
          <ac:chgData name="Veniero Facchetti" userId="f2c6c99af91c4974" providerId="LiveId" clId="{34DF7D6B-EB0F-4B53-B080-BB8D6F5C3D93}" dt="2024-05-10T16:12:58.439" v="737" actId="1076"/>
          <ac:cxnSpMkLst>
            <pc:docMk/>
            <pc:sldMk cId="1901516551" sldId="358"/>
            <ac:cxnSpMk id="59" creationId="{A5D312E1-245E-93AD-2BF2-8AA6D2DF30E0}"/>
          </ac:cxnSpMkLst>
        </pc:cxnChg>
        <pc:cxnChg chg="mod">
          <ac:chgData name="Veniero Facchetti" userId="f2c6c99af91c4974" providerId="LiveId" clId="{34DF7D6B-EB0F-4B53-B080-BB8D6F5C3D93}" dt="2024-05-10T16:12:58.439" v="737" actId="1076"/>
          <ac:cxnSpMkLst>
            <pc:docMk/>
            <pc:sldMk cId="1901516551" sldId="358"/>
            <ac:cxnSpMk id="60" creationId="{63540EAF-70ED-B31E-753C-D1F587BBC101}"/>
          </ac:cxnSpMkLst>
        </pc:cxnChg>
        <pc:cxnChg chg="mod">
          <ac:chgData name="Veniero Facchetti" userId="f2c6c99af91c4974" providerId="LiveId" clId="{34DF7D6B-EB0F-4B53-B080-BB8D6F5C3D93}" dt="2024-05-10T16:12:58.439" v="737" actId="1076"/>
          <ac:cxnSpMkLst>
            <pc:docMk/>
            <pc:sldMk cId="1901516551" sldId="358"/>
            <ac:cxnSpMk id="61" creationId="{DB1613C1-C7D1-EF07-8BFB-19DE207C8CC8}"/>
          </ac:cxnSpMkLst>
        </pc:cxnChg>
        <pc:cxnChg chg="mod">
          <ac:chgData name="Veniero Facchetti" userId="f2c6c99af91c4974" providerId="LiveId" clId="{34DF7D6B-EB0F-4B53-B080-BB8D6F5C3D93}" dt="2024-05-10T16:12:58.439" v="737" actId="1076"/>
          <ac:cxnSpMkLst>
            <pc:docMk/>
            <pc:sldMk cId="1901516551" sldId="358"/>
            <ac:cxnSpMk id="62" creationId="{947F7D88-59E4-36C1-1E1F-2327D16F87CC}"/>
          </ac:cxnSpMkLst>
        </pc:cxnChg>
        <pc:cxnChg chg="mod">
          <ac:chgData name="Veniero Facchetti" userId="f2c6c99af91c4974" providerId="LiveId" clId="{34DF7D6B-EB0F-4B53-B080-BB8D6F5C3D93}" dt="2024-05-10T16:12:58.439" v="737" actId="1076"/>
          <ac:cxnSpMkLst>
            <pc:docMk/>
            <pc:sldMk cId="1901516551" sldId="358"/>
            <ac:cxnSpMk id="63" creationId="{314FB0C1-E6A7-1DA4-437E-D66A51C60A56}"/>
          </ac:cxnSpMkLst>
        </pc:cxnChg>
        <pc:cxnChg chg="mod">
          <ac:chgData name="Veniero Facchetti" userId="f2c6c99af91c4974" providerId="LiveId" clId="{34DF7D6B-EB0F-4B53-B080-BB8D6F5C3D93}" dt="2024-05-10T16:12:58.439" v="737" actId="1076"/>
          <ac:cxnSpMkLst>
            <pc:docMk/>
            <pc:sldMk cId="1901516551" sldId="358"/>
            <ac:cxnSpMk id="64" creationId="{07A10B4B-1799-B788-6DD2-731FC8226001}"/>
          </ac:cxnSpMkLst>
        </pc:cxnChg>
      </pc:sldChg>
      <pc:sldChg chg="addSp delSp modSp new mod">
        <pc:chgData name="Veniero Facchetti" userId="f2c6c99af91c4974" providerId="LiveId" clId="{34DF7D6B-EB0F-4B53-B080-BB8D6F5C3D93}" dt="2024-05-10T16:14:39.524" v="754" actId="1076"/>
        <pc:sldMkLst>
          <pc:docMk/>
          <pc:sldMk cId="2881425008" sldId="359"/>
        </pc:sldMkLst>
        <pc:spChg chg="add mod">
          <ac:chgData name="Veniero Facchetti" userId="f2c6c99af91c4974" providerId="LiveId" clId="{34DF7D6B-EB0F-4B53-B080-BB8D6F5C3D93}" dt="2024-05-10T16:13:28.778" v="742"/>
          <ac:spMkLst>
            <pc:docMk/>
            <pc:sldMk cId="2881425008" sldId="359"/>
            <ac:spMk id="3" creationId="{D2AE31C6-6BCB-0B00-104F-BFC4BCB2D571}"/>
          </ac:spMkLst>
        </pc:spChg>
        <pc:spChg chg="add mod">
          <ac:chgData name="Veniero Facchetti" userId="f2c6c99af91c4974" providerId="LiveId" clId="{34DF7D6B-EB0F-4B53-B080-BB8D6F5C3D93}" dt="2024-05-10T16:13:28.778" v="742"/>
          <ac:spMkLst>
            <pc:docMk/>
            <pc:sldMk cId="2881425008" sldId="359"/>
            <ac:spMk id="5" creationId="{BB14314A-97AE-13AE-81BB-590AF5D169D0}"/>
          </ac:spMkLst>
        </pc:spChg>
        <pc:spChg chg="add mod">
          <ac:chgData name="Veniero Facchetti" userId="f2c6c99af91c4974" providerId="LiveId" clId="{34DF7D6B-EB0F-4B53-B080-BB8D6F5C3D93}" dt="2024-05-10T16:13:38.823" v="743"/>
          <ac:spMkLst>
            <pc:docMk/>
            <pc:sldMk cId="2881425008" sldId="359"/>
            <ac:spMk id="6" creationId="{93541B01-33A5-DC83-7233-C206FD269A49}"/>
          </ac:spMkLst>
        </pc:spChg>
        <pc:spChg chg="add mod">
          <ac:chgData name="Veniero Facchetti" userId="f2c6c99af91c4974" providerId="LiveId" clId="{34DF7D6B-EB0F-4B53-B080-BB8D6F5C3D93}" dt="2024-05-10T16:13:28.778" v="742"/>
          <ac:spMkLst>
            <pc:docMk/>
            <pc:sldMk cId="2881425008" sldId="359"/>
            <ac:spMk id="7" creationId="{4276C577-03B3-5EF6-AB8B-3DA48D1770D1}"/>
          </ac:spMkLst>
        </pc:spChg>
        <pc:spChg chg="add mod">
          <ac:chgData name="Veniero Facchetti" userId="f2c6c99af91c4974" providerId="LiveId" clId="{34DF7D6B-EB0F-4B53-B080-BB8D6F5C3D93}" dt="2024-05-10T16:13:28.778" v="742"/>
          <ac:spMkLst>
            <pc:docMk/>
            <pc:sldMk cId="2881425008" sldId="359"/>
            <ac:spMk id="8" creationId="{0BD81DDB-037B-D3F7-9B72-B5C0A4034007}"/>
          </ac:spMkLst>
        </pc:spChg>
        <pc:spChg chg="mod">
          <ac:chgData name="Veniero Facchetti" userId="f2c6c99af91c4974" providerId="LiveId" clId="{34DF7D6B-EB0F-4B53-B080-BB8D6F5C3D93}" dt="2024-05-10T16:13:28.778" v="742"/>
          <ac:spMkLst>
            <pc:docMk/>
            <pc:sldMk cId="2881425008" sldId="359"/>
            <ac:spMk id="11" creationId="{945B0D29-71D6-6520-77CC-5F23BC9D0509}"/>
          </ac:spMkLst>
        </pc:spChg>
        <pc:spChg chg="mod">
          <ac:chgData name="Veniero Facchetti" userId="f2c6c99af91c4974" providerId="LiveId" clId="{34DF7D6B-EB0F-4B53-B080-BB8D6F5C3D93}" dt="2024-05-10T16:13:28.778" v="742"/>
          <ac:spMkLst>
            <pc:docMk/>
            <pc:sldMk cId="2881425008" sldId="359"/>
            <ac:spMk id="12" creationId="{E36B7DB9-0D98-3EB3-73E2-26EC7C764E51}"/>
          </ac:spMkLst>
        </pc:spChg>
        <pc:spChg chg="add mod">
          <ac:chgData name="Veniero Facchetti" userId="f2c6c99af91c4974" providerId="LiveId" clId="{34DF7D6B-EB0F-4B53-B080-BB8D6F5C3D93}" dt="2024-05-10T16:13:28.778" v="742"/>
          <ac:spMkLst>
            <pc:docMk/>
            <pc:sldMk cId="2881425008" sldId="359"/>
            <ac:spMk id="13" creationId="{18AC93DF-BF01-4619-D67B-7394139028E5}"/>
          </ac:spMkLst>
        </pc:spChg>
        <pc:spChg chg="add mod">
          <ac:chgData name="Veniero Facchetti" userId="f2c6c99af91c4974" providerId="LiveId" clId="{34DF7D6B-EB0F-4B53-B080-BB8D6F5C3D93}" dt="2024-05-10T16:13:28.778" v="742"/>
          <ac:spMkLst>
            <pc:docMk/>
            <pc:sldMk cId="2881425008" sldId="359"/>
            <ac:spMk id="14" creationId="{C1177A9E-CF59-AFAC-794D-2D5929419C03}"/>
          </ac:spMkLst>
        </pc:spChg>
        <pc:spChg chg="add mod">
          <ac:chgData name="Veniero Facchetti" userId="f2c6c99af91c4974" providerId="LiveId" clId="{34DF7D6B-EB0F-4B53-B080-BB8D6F5C3D93}" dt="2024-05-10T16:13:28.778" v="742"/>
          <ac:spMkLst>
            <pc:docMk/>
            <pc:sldMk cId="2881425008" sldId="359"/>
            <ac:spMk id="15" creationId="{730B66E4-1801-AAD6-994A-E8573CBB771E}"/>
          </ac:spMkLst>
        </pc:spChg>
        <pc:spChg chg="add mod">
          <ac:chgData name="Veniero Facchetti" userId="f2c6c99af91c4974" providerId="LiveId" clId="{34DF7D6B-EB0F-4B53-B080-BB8D6F5C3D93}" dt="2024-05-10T16:13:28.778" v="742"/>
          <ac:spMkLst>
            <pc:docMk/>
            <pc:sldMk cId="2881425008" sldId="359"/>
            <ac:spMk id="16" creationId="{AFA3A65C-C370-80FA-2F21-8997E4906DAD}"/>
          </ac:spMkLst>
        </pc:spChg>
        <pc:spChg chg="add mod">
          <ac:chgData name="Veniero Facchetti" userId="f2c6c99af91c4974" providerId="LiveId" clId="{34DF7D6B-EB0F-4B53-B080-BB8D6F5C3D93}" dt="2024-05-10T16:13:28.778" v="742"/>
          <ac:spMkLst>
            <pc:docMk/>
            <pc:sldMk cId="2881425008" sldId="359"/>
            <ac:spMk id="17" creationId="{9B5A4E19-FC0E-33B6-60D2-EC98F9C66922}"/>
          </ac:spMkLst>
        </pc:spChg>
        <pc:spChg chg="add mod">
          <ac:chgData name="Veniero Facchetti" userId="f2c6c99af91c4974" providerId="LiveId" clId="{34DF7D6B-EB0F-4B53-B080-BB8D6F5C3D93}" dt="2024-05-10T16:13:28.778" v="742"/>
          <ac:spMkLst>
            <pc:docMk/>
            <pc:sldMk cId="2881425008" sldId="359"/>
            <ac:spMk id="19" creationId="{5B816E37-2B36-9488-EA8E-DF03E2DEB326}"/>
          </ac:spMkLst>
        </pc:spChg>
        <pc:spChg chg="add mod">
          <ac:chgData name="Veniero Facchetti" userId="f2c6c99af91c4974" providerId="LiveId" clId="{34DF7D6B-EB0F-4B53-B080-BB8D6F5C3D93}" dt="2024-05-10T16:13:28.778" v="742"/>
          <ac:spMkLst>
            <pc:docMk/>
            <pc:sldMk cId="2881425008" sldId="359"/>
            <ac:spMk id="20" creationId="{35889B9C-8BFF-7512-4225-4520CFE1EF00}"/>
          </ac:spMkLst>
        </pc:spChg>
        <pc:spChg chg="add mod">
          <ac:chgData name="Veniero Facchetti" userId="f2c6c99af91c4974" providerId="LiveId" clId="{34DF7D6B-EB0F-4B53-B080-BB8D6F5C3D93}" dt="2024-05-10T16:13:28.778" v="742"/>
          <ac:spMkLst>
            <pc:docMk/>
            <pc:sldMk cId="2881425008" sldId="359"/>
            <ac:spMk id="21" creationId="{27C6C6CE-3F75-67BB-51CC-8E5719022E59}"/>
          </ac:spMkLst>
        </pc:spChg>
        <pc:spChg chg="add mod">
          <ac:chgData name="Veniero Facchetti" userId="f2c6c99af91c4974" providerId="LiveId" clId="{34DF7D6B-EB0F-4B53-B080-BB8D6F5C3D93}" dt="2024-05-10T16:13:28.778" v="742"/>
          <ac:spMkLst>
            <pc:docMk/>
            <pc:sldMk cId="2881425008" sldId="359"/>
            <ac:spMk id="22" creationId="{E3DCDDF9-9DA9-D0BD-B54F-619139E03F69}"/>
          </ac:spMkLst>
        </pc:spChg>
        <pc:spChg chg="add mod">
          <ac:chgData name="Veniero Facchetti" userId="f2c6c99af91c4974" providerId="LiveId" clId="{34DF7D6B-EB0F-4B53-B080-BB8D6F5C3D93}" dt="2024-05-10T16:13:28.778" v="742"/>
          <ac:spMkLst>
            <pc:docMk/>
            <pc:sldMk cId="2881425008" sldId="359"/>
            <ac:spMk id="23" creationId="{AF114938-AC07-7D69-2F57-815BD58EC789}"/>
          </ac:spMkLst>
        </pc:spChg>
        <pc:spChg chg="add mod">
          <ac:chgData name="Veniero Facchetti" userId="f2c6c99af91c4974" providerId="LiveId" clId="{34DF7D6B-EB0F-4B53-B080-BB8D6F5C3D93}" dt="2024-05-10T16:13:28.778" v="742"/>
          <ac:spMkLst>
            <pc:docMk/>
            <pc:sldMk cId="2881425008" sldId="359"/>
            <ac:spMk id="24" creationId="{FF0A18A0-DBD5-CF04-5D30-B20D0DC42981}"/>
          </ac:spMkLst>
        </pc:spChg>
        <pc:spChg chg="add mod">
          <ac:chgData name="Veniero Facchetti" userId="f2c6c99af91c4974" providerId="LiveId" clId="{34DF7D6B-EB0F-4B53-B080-BB8D6F5C3D93}" dt="2024-05-10T16:13:28.778" v="742"/>
          <ac:spMkLst>
            <pc:docMk/>
            <pc:sldMk cId="2881425008" sldId="359"/>
            <ac:spMk id="25" creationId="{15B10BC8-FAA1-2642-40A3-38C2DD291EEF}"/>
          </ac:spMkLst>
        </pc:spChg>
        <pc:spChg chg="add mod">
          <ac:chgData name="Veniero Facchetti" userId="f2c6c99af91c4974" providerId="LiveId" clId="{34DF7D6B-EB0F-4B53-B080-BB8D6F5C3D93}" dt="2024-05-10T16:13:28.778" v="742"/>
          <ac:spMkLst>
            <pc:docMk/>
            <pc:sldMk cId="2881425008" sldId="359"/>
            <ac:spMk id="27" creationId="{11E5179D-2A9E-A493-B644-B5C1845B9155}"/>
          </ac:spMkLst>
        </pc:spChg>
        <pc:spChg chg="add mod">
          <ac:chgData name="Veniero Facchetti" userId="f2c6c99af91c4974" providerId="LiveId" clId="{34DF7D6B-EB0F-4B53-B080-BB8D6F5C3D93}" dt="2024-05-10T16:13:28.778" v="742"/>
          <ac:spMkLst>
            <pc:docMk/>
            <pc:sldMk cId="2881425008" sldId="359"/>
            <ac:spMk id="28" creationId="{B10E91DD-0736-7112-D01A-C63ED13146B8}"/>
          </ac:spMkLst>
        </pc:spChg>
        <pc:spChg chg="add mod">
          <ac:chgData name="Veniero Facchetti" userId="f2c6c99af91c4974" providerId="LiveId" clId="{34DF7D6B-EB0F-4B53-B080-BB8D6F5C3D93}" dt="2024-05-10T16:13:28.778" v="742"/>
          <ac:spMkLst>
            <pc:docMk/>
            <pc:sldMk cId="2881425008" sldId="359"/>
            <ac:spMk id="29" creationId="{A5B41622-D097-B5EA-E68F-D56874D68EDB}"/>
          </ac:spMkLst>
        </pc:spChg>
        <pc:spChg chg="add mod">
          <ac:chgData name="Veniero Facchetti" userId="f2c6c99af91c4974" providerId="LiveId" clId="{34DF7D6B-EB0F-4B53-B080-BB8D6F5C3D93}" dt="2024-05-10T16:13:28.778" v="742"/>
          <ac:spMkLst>
            <pc:docMk/>
            <pc:sldMk cId="2881425008" sldId="359"/>
            <ac:spMk id="30" creationId="{12CA9259-09C8-AEA3-316F-21BFD9A4E70C}"/>
          </ac:spMkLst>
        </pc:spChg>
        <pc:spChg chg="add mod">
          <ac:chgData name="Veniero Facchetti" userId="f2c6c99af91c4974" providerId="LiveId" clId="{34DF7D6B-EB0F-4B53-B080-BB8D6F5C3D93}" dt="2024-05-10T16:13:28.778" v="742"/>
          <ac:spMkLst>
            <pc:docMk/>
            <pc:sldMk cId="2881425008" sldId="359"/>
            <ac:spMk id="32" creationId="{67EB4FDC-AE99-2297-3E1E-75C12BF4D981}"/>
          </ac:spMkLst>
        </pc:spChg>
        <pc:spChg chg="add mod">
          <ac:chgData name="Veniero Facchetti" userId="f2c6c99af91c4974" providerId="LiveId" clId="{34DF7D6B-EB0F-4B53-B080-BB8D6F5C3D93}" dt="2024-05-10T16:13:28.778" v="742"/>
          <ac:spMkLst>
            <pc:docMk/>
            <pc:sldMk cId="2881425008" sldId="359"/>
            <ac:spMk id="33" creationId="{AB3DC61A-4B3E-1BCC-9240-89B6B831001F}"/>
          </ac:spMkLst>
        </pc:spChg>
        <pc:spChg chg="add mod">
          <ac:chgData name="Veniero Facchetti" userId="f2c6c99af91c4974" providerId="LiveId" clId="{34DF7D6B-EB0F-4B53-B080-BB8D6F5C3D93}" dt="2024-05-10T16:13:28.778" v="742"/>
          <ac:spMkLst>
            <pc:docMk/>
            <pc:sldMk cId="2881425008" sldId="359"/>
            <ac:spMk id="34" creationId="{983B1F73-22B8-2E69-E450-559638DDA9A0}"/>
          </ac:spMkLst>
        </pc:spChg>
        <pc:spChg chg="add mod">
          <ac:chgData name="Veniero Facchetti" userId="f2c6c99af91c4974" providerId="LiveId" clId="{34DF7D6B-EB0F-4B53-B080-BB8D6F5C3D93}" dt="2024-05-10T16:13:28.778" v="742"/>
          <ac:spMkLst>
            <pc:docMk/>
            <pc:sldMk cId="2881425008" sldId="359"/>
            <ac:spMk id="35" creationId="{280CE88E-41BE-7832-297B-C1684CC64615}"/>
          </ac:spMkLst>
        </pc:spChg>
        <pc:spChg chg="add mod">
          <ac:chgData name="Veniero Facchetti" userId="f2c6c99af91c4974" providerId="LiveId" clId="{34DF7D6B-EB0F-4B53-B080-BB8D6F5C3D93}" dt="2024-05-10T16:14:23.175" v="750" actId="1076"/>
          <ac:spMkLst>
            <pc:docMk/>
            <pc:sldMk cId="2881425008" sldId="359"/>
            <ac:spMk id="37" creationId="{C00DF3E2-4389-FC42-2728-5C01FE4A4010}"/>
          </ac:spMkLst>
        </pc:spChg>
        <pc:spChg chg="add mod">
          <ac:chgData name="Veniero Facchetti" userId="f2c6c99af91c4974" providerId="LiveId" clId="{34DF7D6B-EB0F-4B53-B080-BB8D6F5C3D93}" dt="2024-05-10T16:14:23.175" v="750" actId="1076"/>
          <ac:spMkLst>
            <pc:docMk/>
            <pc:sldMk cId="2881425008" sldId="359"/>
            <ac:spMk id="39" creationId="{7BB97B64-7AE4-0459-495B-23E836E5E13E}"/>
          </ac:spMkLst>
        </pc:spChg>
        <pc:spChg chg="add mod">
          <ac:chgData name="Veniero Facchetti" userId="f2c6c99af91c4974" providerId="LiveId" clId="{34DF7D6B-EB0F-4B53-B080-BB8D6F5C3D93}" dt="2024-05-10T16:14:32.731" v="753" actId="14100"/>
          <ac:spMkLst>
            <pc:docMk/>
            <pc:sldMk cId="2881425008" sldId="359"/>
            <ac:spMk id="40" creationId="{DF762D92-F4F4-6069-8E9D-C92FF51B985C}"/>
          </ac:spMkLst>
        </pc:spChg>
        <pc:spChg chg="add mod">
          <ac:chgData name="Veniero Facchetti" userId="f2c6c99af91c4974" providerId="LiveId" clId="{34DF7D6B-EB0F-4B53-B080-BB8D6F5C3D93}" dt="2024-05-10T16:14:39.524" v="754" actId="1076"/>
          <ac:spMkLst>
            <pc:docMk/>
            <pc:sldMk cId="2881425008" sldId="359"/>
            <ac:spMk id="41" creationId="{E47FF53E-BB14-23B8-F6FB-890032744681}"/>
          </ac:spMkLst>
        </pc:spChg>
        <pc:spChg chg="add mod">
          <ac:chgData name="Veniero Facchetti" userId="f2c6c99af91c4974" providerId="LiveId" clId="{34DF7D6B-EB0F-4B53-B080-BB8D6F5C3D93}" dt="2024-05-10T16:14:39.524" v="754" actId="1076"/>
          <ac:spMkLst>
            <pc:docMk/>
            <pc:sldMk cId="2881425008" sldId="359"/>
            <ac:spMk id="42" creationId="{AA2567E3-575B-8B4F-AF43-7FC3989E20D4}"/>
          </ac:spMkLst>
        </pc:spChg>
        <pc:spChg chg="mod">
          <ac:chgData name="Veniero Facchetti" userId="f2c6c99af91c4974" providerId="LiveId" clId="{34DF7D6B-EB0F-4B53-B080-BB8D6F5C3D93}" dt="2024-05-10T16:13:42.026" v="744"/>
          <ac:spMkLst>
            <pc:docMk/>
            <pc:sldMk cId="2881425008" sldId="359"/>
            <ac:spMk id="45" creationId="{91F3D1DF-D2D6-9E51-A226-25270B2B8E0F}"/>
          </ac:spMkLst>
        </pc:spChg>
        <pc:spChg chg="mod">
          <ac:chgData name="Veniero Facchetti" userId="f2c6c99af91c4974" providerId="LiveId" clId="{34DF7D6B-EB0F-4B53-B080-BB8D6F5C3D93}" dt="2024-05-10T16:13:42.026" v="744"/>
          <ac:spMkLst>
            <pc:docMk/>
            <pc:sldMk cId="2881425008" sldId="359"/>
            <ac:spMk id="46" creationId="{891C427B-14C5-C6B2-2FAE-6EBA0B7DFCB0}"/>
          </ac:spMkLst>
        </pc:spChg>
        <pc:spChg chg="add mod">
          <ac:chgData name="Veniero Facchetti" userId="f2c6c99af91c4974" providerId="LiveId" clId="{34DF7D6B-EB0F-4B53-B080-BB8D6F5C3D93}" dt="2024-05-10T16:14:23.175" v="750" actId="1076"/>
          <ac:spMkLst>
            <pc:docMk/>
            <pc:sldMk cId="2881425008" sldId="359"/>
            <ac:spMk id="47" creationId="{CB961871-7242-EE50-A668-2DA3A4640DB0}"/>
          </ac:spMkLst>
        </pc:spChg>
        <pc:spChg chg="add mod">
          <ac:chgData name="Veniero Facchetti" userId="f2c6c99af91c4974" providerId="LiveId" clId="{34DF7D6B-EB0F-4B53-B080-BB8D6F5C3D93}" dt="2024-05-10T16:14:23.175" v="750" actId="1076"/>
          <ac:spMkLst>
            <pc:docMk/>
            <pc:sldMk cId="2881425008" sldId="359"/>
            <ac:spMk id="48" creationId="{F35E981E-9C62-FA35-9B90-2E31A1B1C477}"/>
          </ac:spMkLst>
        </pc:spChg>
        <pc:spChg chg="add mod">
          <ac:chgData name="Veniero Facchetti" userId="f2c6c99af91c4974" providerId="LiveId" clId="{34DF7D6B-EB0F-4B53-B080-BB8D6F5C3D93}" dt="2024-05-10T16:14:23.175" v="750" actId="1076"/>
          <ac:spMkLst>
            <pc:docMk/>
            <pc:sldMk cId="2881425008" sldId="359"/>
            <ac:spMk id="49" creationId="{07736F86-8632-3FB2-5065-0A5AF3AE2572}"/>
          </ac:spMkLst>
        </pc:spChg>
        <pc:spChg chg="add mod">
          <ac:chgData name="Veniero Facchetti" userId="f2c6c99af91c4974" providerId="LiveId" clId="{34DF7D6B-EB0F-4B53-B080-BB8D6F5C3D93}" dt="2024-05-10T16:14:23.175" v="750" actId="1076"/>
          <ac:spMkLst>
            <pc:docMk/>
            <pc:sldMk cId="2881425008" sldId="359"/>
            <ac:spMk id="50" creationId="{5F20D8BC-3AF2-B957-DB76-0E5FA03C8011}"/>
          </ac:spMkLst>
        </pc:spChg>
        <pc:spChg chg="add mod">
          <ac:chgData name="Veniero Facchetti" userId="f2c6c99af91c4974" providerId="LiveId" clId="{34DF7D6B-EB0F-4B53-B080-BB8D6F5C3D93}" dt="2024-05-10T16:14:23.175" v="750" actId="1076"/>
          <ac:spMkLst>
            <pc:docMk/>
            <pc:sldMk cId="2881425008" sldId="359"/>
            <ac:spMk id="51" creationId="{2CF3B221-BED1-CED9-4D7B-2E2DB9D1320D}"/>
          </ac:spMkLst>
        </pc:spChg>
        <pc:spChg chg="add mod">
          <ac:chgData name="Veniero Facchetti" userId="f2c6c99af91c4974" providerId="LiveId" clId="{34DF7D6B-EB0F-4B53-B080-BB8D6F5C3D93}" dt="2024-05-10T16:14:23.175" v="750" actId="1076"/>
          <ac:spMkLst>
            <pc:docMk/>
            <pc:sldMk cId="2881425008" sldId="359"/>
            <ac:spMk id="53" creationId="{54870E76-B08A-9308-958C-056AC18AABB0}"/>
          </ac:spMkLst>
        </pc:spChg>
        <pc:spChg chg="add mod">
          <ac:chgData name="Veniero Facchetti" userId="f2c6c99af91c4974" providerId="LiveId" clId="{34DF7D6B-EB0F-4B53-B080-BB8D6F5C3D93}" dt="2024-05-10T16:14:23.175" v="750" actId="1076"/>
          <ac:spMkLst>
            <pc:docMk/>
            <pc:sldMk cId="2881425008" sldId="359"/>
            <ac:spMk id="54" creationId="{113C9A41-9AAD-36B6-5D66-05EBFD19FD7E}"/>
          </ac:spMkLst>
        </pc:spChg>
        <pc:spChg chg="add mod">
          <ac:chgData name="Veniero Facchetti" userId="f2c6c99af91c4974" providerId="LiveId" clId="{34DF7D6B-EB0F-4B53-B080-BB8D6F5C3D93}" dt="2024-05-10T16:14:23.175" v="750" actId="1076"/>
          <ac:spMkLst>
            <pc:docMk/>
            <pc:sldMk cId="2881425008" sldId="359"/>
            <ac:spMk id="55" creationId="{62B0E111-14E0-2E48-DD77-D0709702FD92}"/>
          </ac:spMkLst>
        </pc:spChg>
        <pc:spChg chg="add mod">
          <ac:chgData name="Veniero Facchetti" userId="f2c6c99af91c4974" providerId="LiveId" clId="{34DF7D6B-EB0F-4B53-B080-BB8D6F5C3D93}" dt="2024-05-10T16:14:23.175" v="750" actId="1076"/>
          <ac:spMkLst>
            <pc:docMk/>
            <pc:sldMk cId="2881425008" sldId="359"/>
            <ac:spMk id="56" creationId="{365941AA-C435-67B3-203D-624FA7EE6393}"/>
          </ac:spMkLst>
        </pc:spChg>
        <pc:spChg chg="add mod">
          <ac:chgData name="Veniero Facchetti" userId="f2c6c99af91c4974" providerId="LiveId" clId="{34DF7D6B-EB0F-4B53-B080-BB8D6F5C3D93}" dt="2024-05-10T16:14:23.175" v="750" actId="1076"/>
          <ac:spMkLst>
            <pc:docMk/>
            <pc:sldMk cId="2881425008" sldId="359"/>
            <ac:spMk id="57" creationId="{2CCDA871-8A89-04BB-63B1-F5CE2F4F270D}"/>
          </ac:spMkLst>
        </pc:spChg>
        <pc:spChg chg="add mod">
          <ac:chgData name="Veniero Facchetti" userId="f2c6c99af91c4974" providerId="LiveId" clId="{34DF7D6B-EB0F-4B53-B080-BB8D6F5C3D93}" dt="2024-05-10T16:14:23.175" v="750" actId="1076"/>
          <ac:spMkLst>
            <pc:docMk/>
            <pc:sldMk cId="2881425008" sldId="359"/>
            <ac:spMk id="58" creationId="{776B2A2E-A18C-15E5-E3B0-B9EC403D91A6}"/>
          </ac:spMkLst>
        </pc:spChg>
        <pc:spChg chg="add mod">
          <ac:chgData name="Veniero Facchetti" userId="f2c6c99af91c4974" providerId="LiveId" clId="{34DF7D6B-EB0F-4B53-B080-BB8D6F5C3D93}" dt="2024-05-10T16:14:23.175" v="750" actId="1076"/>
          <ac:spMkLst>
            <pc:docMk/>
            <pc:sldMk cId="2881425008" sldId="359"/>
            <ac:spMk id="59" creationId="{72584FC5-65E1-AC9E-B3EF-54243D50374E}"/>
          </ac:spMkLst>
        </pc:spChg>
        <pc:spChg chg="add mod">
          <ac:chgData name="Veniero Facchetti" userId="f2c6c99af91c4974" providerId="LiveId" clId="{34DF7D6B-EB0F-4B53-B080-BB8D6F5C3D93}" dt="2024-05-10T16:14:23.175" v="750" actId="1076"/>
          <ac:spMkLst>
            <pc:docMk/>
            <pc:sldMk cId="2881425008" sldId="359"/>
            <ac:spMk id="61" creationId="{69ED9E67-73CD-D86E-97DE-6455D5E70D64}"/>
          </ac:spMkLst>
        </pc:spChg>
        <pc:spChg chg="add mod">
          <ac:chgData name="Veniero Facchetti" userId="f2c6c99af91c4974" providerId="LiveId" clId="{34DF7D6B-EB0F-4B53-B080-BB8D6F5C3D93}" dt="2024-05-10T16:14:23.175" v="750" actId="1076"/>
          <ac:spMkLst>
            <pc:docMk/>
            <pc:sldMk cId="2881425008" sldId="359"/>
            <ac:spMk id="62" creationId="{53D87CA9-B8DF-21C2-8899-3CC685780599}"/>
          </ac:spMkLst>
        </pc:spChg>
        <pc:spChg chg="add mod">
          <ac:chgData name="Veniero Facchetti" userId="f2c6c99af91c4974" providerId="LiveId" clId="{34DF7D6B-EB0F-4B53-B080-BB8D6F5C3D93}" dt="2024-05-10T16:14:23.175" v="750" actId="1076"/>
          <ac:spMkLst>
            <pc:docMk/>
            <pc:sldMk cId="2881425008" sldId="359"/>
            <ac:spMk id="63" creationId="{FD57F228-DD36-B914-5D44-BDA277D3003C}"/>
          </ac:spMkLst>
        </pc:spChg>
        <pc:spChg chg="add mod">
          <ac:chgData name="Veniero Facchetti" userId="f2c6c99af91c4974" providerId="LiveId" clId="{34DF7D6B-EB0F-4B53-B080-BB8D6F5C3D93}" dt="2024-05-10T16:14:23.175" v="750" actId="1076"/>
          <ac:spMkLst>
            <pc:docMk/>
            <pc:sldMk cId="2881425008" sldId="359"/>
            <ac:spMk id="64" creationId="{CFADA9ED-7702-CD57-DF4C-C47C32464285}"/>
          </ac:spMkLst>
        </pc:spChg>
        <pc:spChg chg="add mod">
          <ac:chgData name="Veniero Facchetti" userId="f2c6c99af91c4974" providerId="LiveId" clId="{34DF7D6B-EB0F-4B53-B080-BB8D6F5C3D93}" dt="2024-05-10T16:14:23.175" v="750" actId="1076"/>
          <ac:spMkLst>
            <pc:docMk/>
            <pc:sldMk cId="2881425008" sldId="359"/>
            <ac:spMk id="66" creationId="{F4101934-E793-B510-3ADC-43BBB6649AC6}"/>
          </ac:spMkLst>
        </pc:spChg>
        <pc:spChg chg="add mod">
          <ac:chgData name="Veniero Facchetti" userId="f2c6c99af91c4974" providerId="LiveId" clId="{34DF7D6B-EB0F-4B53-B080-BB8D6F5C3D93}" dt="2024-05-10T16:14:23.175" v="750" actId="1076"/>
          <ac:spMkLst>
            <pc:docMk/>
            <pc:sldMk cId="2881425008" sldId="359"/>
            <ac:spMk id="67" creationId="{45ADE431-75F2-F79F-3A68-6BE743C9CB98}"/>
          </ac:spMkLst>
        </pc:spChg>
        <pc:spChg chg="add mod">
          <ac:chgData name="Veniero Facchetti" userId="f2c6c99af91c4974" providerId="LiveId" clId="{34DF7D6B-EB0F-4B53-B080-BB8D6F5C3D93}" dt="2024-05-10T16:14:23.175" v="750" actId="1076"/>
          <ac:spMkLst>
            <pc:docMk/>
            <pc:sldMk cId="2881425008" sldId="359"/>
            <ac:spMk id="68" creationId="{22E6D3B1-4592-F3EE-4E61-075FA26D1574}"/>
          </ac:spMkLst>
        </pc:spChg>
        <pc:spChg chg="add mod">
          <ac:chgData name="Veniero Facchetti" userId="f2c6c99af91c4974" providerId="LiveId" clId="{34DF7D6B-EB0F-4B53-B080-BB8D6F5C3D93}" dt="2024-05-10T16:14:27.236" v="751" actId="1076"/>
          <ac:spMkLst>
            <pc:docMk/>
            <pc:sldMk cId="2881425008" sldId="359"/>
            <ac:spMk id="69" creationId="{7BD0D115-1FAB-FF7D-A56F-1CFC4BF5E87F}"/>
          </ac:spMkLst>
        </pc:spChg>
        <pc:grpChg chg="add mod">
          <ac:chgData name="Veniero Facchetti" userId="f2c6c99af91c4974" providerId="LiveId" clId="{34DF7D6B-EB0F-4B53-B080-BB8D6F5C3D93}" dt="2024-05-10T16:13:28.778" v="742"/>
          <ac:grpSpMkLst>
            <pc:docMk/>
            <pc:sldMk cId="2881425008" sldId="359"/>
            <ac:grpSpMk id="10" creationId="{A672A40E-CD81-2C99-8F33-CEF593296E3C}"/>
          </ac:grpSpMkLst>
        </pc:grpChg>
        <pc:grpChg chg="add mod">
          <ac:chgData name="Veniero Facchetti" userId="f2c6c99af91c4974" providerId="LiveId" clId="{34DF7D6B-EB0F-4B53-B080-BB8D6F5C3D93}" dt="2024-05-10T16:13:42.026" v="744"/>
          <ac:grpSpMkLst>
            <pc:docMk/>
            <pc:sldMk cId="2881425008" sldId="359"/>
            <ac:grpSpMk id="44" creationId="{CC987BAD-C215-8187-58B8-889A49A7C011}"/>
          </ac:grpSpMkLst>
        </pc:grpChg>
        <pc:picChg chg="add mod">
          <ac:chgData name="Veniero Facchetti" userId="f2c6c99af91c4974" providerId="LiveId" clId="{34DF7D6B-EB0F-4B53-B080-BB8D6F5C3D93}" dt="2024-05-10T16:13:38.823" v="743"/>
          <ac:picMkLst>
            <pc:docMk/>
            <pc:sldMk cId="2881425008" sldId="359"/>
            <ac:picMk id="2" creationId="{6A79DD6D-66F2-39AB-A027-6915321B0961}"/>
          </ac:picMkLst>
        </pc:picChg>
        <pc:picChg chg="add mod">
          <ac:chgData name="Veniero Facchetti" userId="f2c6c99af91c4974" providerId="LiveId" clId="{34DF7D6B-EB0F-4B53-B080-BB8D6F5C3D93}" dt="2024-05-10T16:13:28.778" v="742"/>
          <ac:picMkLst>
            <pc:docMk/>
            <pc:sldMk cId="2881425008" sldId="359"/>
            <ac:picMk id="9" creationId="{B9FEC539-7C92-3FC0-B2F4-F9C5354F5DA3}"/>
          </ac:picMkLst>
        </pc:picChg>
        <pc:picChg chg="add mod">
          <ac:chgData name="Veniero Facchetti" userId="f2c6c99af91c4974" providerId="LiveId" clId="{34DF7D6B-EB0F-4B53-B080-BB8D6F5C3D93}" dt="2024-05-10T16:13:28.778" v="742"/>
          <ac:picMkLst>
            <pc:docMk/>
            <pc:sldMk cId="2881425008" sldId="359"/>
            <ac:picMk id="26" creationId="{4D28655A-E587-982E-D804-97581E23FC20}"/>
          </ac:picMkLst>
        </pc:picChg>
        <pc:picChg chg="add mod">
          <ac:chgData name="Veniero Facchetti" userId="f2c6c99af91c4974" providerId="LiveId" clId="{34DF7D6B-EB0F-4B53-B080-BB8D6F5C3D93}" dt="2024-05-10T16:13:28.778" v="742"/>
          <ac:picMkLst>
            <pc:docMk/>
            <pc:sldMk cId="2881425008" sldId="359"/>
            <ac:picMk id="31" creationId="{E812B419-54FB-5623-3DDD-1961CEAE3892}"/>
          </ac:picMkLst>
        </pc:picChg>
        <pc:picChg chg="add mod ord modCrop">
          <ac:chgData name="Veniero Facchetti" userId="f2c6c99af91c4974" providerId="LiveId" clId="{34DF7D6B-EB0F-4B53-B080-BB8D6F5C3D93}" dt="2024-05-10T16:13:59.213" v="747" actId="732"/>
          <ac:picMkLst>
            <pc:docMk/>
            <pc:sldMk cId="2881425008" sldId="359"/>
            <ac:picMk id="36" creationId="{548FD310-0321-0A2F-768D-052D25E92CD1}"/>
          </ac:picMkLst>
        </pc:picChg>
        <pc:picChg chg="add del mod">
          <ac:chgData name="Veniero Facchetti" userId="f2c6c99af91c4974" providerId="LiveId" clId="{34DF7D6B-EB0F-4B53-B080-BB8D6F5C3D93}" dt="2024-05-10T16:14:01.671" v="748" actId="478"/>
          <ac:picMkLst>
            <pc:docMk/>
            <pc:sldMk cId="2881425008" sldId="359"/>
            <ac:picMk id="43" creationId="{893FFB49-8CAB-EF40-EEF9-686888E8D52D}"/>
          </ac:picMkLst>
        </pc:picChg>
        <pc:picChg chg="add mod">
          <ac:chgData name="Veniero Facchetti" userId="f2c6c99af91c4974" providerId="LiveId" clId="{34DF7D6B-EB0F-4B53-B080-BB8D6F5C3D93}" dt="2024-05-10T16:14:23.175" v="750" actId="1076"/>
          <ac:picMkLst>
            <pc:docMk/>
            <pc:sldMk cId="2881425008" sldId="359"/>
            <ac:picMk id="60" creationId="{4C1D6D26-6B57-5BAA-81A7-9F31278B25CB}"/>
          </ac:picMkLst>
        </pc:picChg>
        <pc:picChg chg="add mod">
          <ac:chgData name="Veniero Facchetti" userId="f2c6c99af91c4974" providerId="LiveId" clId="{34DF7D6B-EB0F-4B53-B080-BB8D6F5C3D93}" dt="2024-05-10T16:14:23.175" v="750" actId="1076"/>
          <ac:picMkLst>
            <pc:docMk/>
            <pc:sldMk cId="2881425008" sldId="359"/>
            <ac:picMk id="65" creationId="{CE6CD54F-51CE-BEAA-F735-E5D584835C95}"/>
          </ac:picMkLst>
        </pc:picChg>
        <pc:cxnChg chg="add mod">
          <ac:chgData name="Veniero Facchetti" userId="f2c6c99af91c4974" providerId="LiveId" clId="{34DF7D6B-EB0F-4B53-B080-BB8D6F5C3D93}" dt="2024-05-10T16:13:28.778" v="742"/>
          <ac:cxnSpMkLst>
            <pc:docMk/>
            <pc:sldMk cId="2881425008" sldId="359"/>
            <ac:cxnSpMk id="4" creationId="{53093508-CFC7-7E6F-CF71-E3D2ACC6D548}"/>
          </ac:cxnSpMkLst>
        </pc:cxnChg>
        <pc:cxnChg chg="add mod">
          <ac:chgData name="Veniero Facchetti" userId="f2c6c99af91c4974" providerId="LiveId" clId="{34DF7D6B-EB0F-4B53-B080-BB8D6F5C3D93}" dt="2024-05-10T16:13:28.778" v="742"/>
          <ac:cxnSpMkLst>
            <pc:docMk/>
            <pc:sldMk cId="2881425008" sldId="359"/>
            <ac:cxnSpMk id="18" creationId="{BEB59A8F-3DCF-56A1-AB06-3D64EF382E19}"/>
          </ac:cxnSpMkLst>
        </pc:cxnChg>
        <pc:cxnChg chg="add mod">
          <ac:chgData name="Veniero Facchetti" userId="f2c6c99af91c4974" providerId="LiveId" clId="{34DF7D6B-EB0F-4B53-B080-BB8D6F5C3D93}" dt="2024-05-10T16:14:23.175" v="750" actId="1076"/>
          <ac:cxnSpMkLst>
            <pc:docMk/>
            <pc:sldMk cId="2881425008" sldId="359"/>
            <ac:cxnSpMk id="38" creationId="{289544C6-6720-B4C9-4793-17C56B970198}"/>
          </ac:cxnSpMkLst>
        </pc:cxnChg>
        <pc:cxnChg chg="add mod">
          <ac:chgData name="Veniero Facchetti" userId="f2c6c99af91c4974" providerId="LiveId" clId="{34DF7D6B-EB0F-4B53-B080-BB8D6F5C3D93}" dt="2024-05-10T16:14:23.175" v="750" actId="1076"/>
          <ac:cxnSpMkLst>
            <pc:docMk/>
            <pc:sldMk cId="2881425008" sldId="359"/>
            <ac:cxnSpMk id="52" creationId="{A1C153E6-0B2E-DC43-C491-B9D8A9C2959C}"/>
          </ac:cxnSpMkLst>
        </pc:cxnChg>
      </pc:sldChg>
      <pc:sldChg chg="addSp modSp new mod">
        <pc:chgData name="Veniero Facchetti" userId="f2c6c99af91c4974" providerId="LiveId" clId="{34DF7D6B-EB0F-4B53-B080-BB8D6F5C3D93}" dt="2024-05-10T16:15:56.397" v="771" actId="1076"/>
        <pc:sldMkLst>
          <pc:docMk/>
          <pc:sldMk cId="538651564" sldId="360"/>
        </pc:sldMkLst>
        <pc:spChg chg="add mod">
          <ac:chgData name="Veniero Facchetti" userId="f2c6c99af91c4974" providerId="LiveId" clId="{34DF7D6B-EB0F-4B53-B080-BB8D6F5C3D93}" dt="2024-05-10T16:15:45.975" v="769" actId="404"/>
          <ac:spMkLst>
            <pc:docMk/>
            <pc:sldMk cId="538651564" sldId="360"/>
            <ac:spMk id="2" creationId="{2998F9CA-981A-2987-331B-F01FB544A2DC}"/>
          </ac:spMkLst>
        </pc:spChg>
        <pc:spChg chg="add mod">
          <ac:chgData name="Veniero Facchetti" userId="f2c6c99af91c4974" providerId="LiveId" clId="{34DF7D6B-EB0F-4B53-B080-BB8D6F5C3D93}" dt="2024-05-10T16:15:56.397" v="771" actId="1076"/>
          <ac:spMkLst>
            <pc:docMk/>
            <pc:sldMk cId="538651564" sldId="360"/>
            <ac:spMk id="3" creationId="{18E2A75B-A72C-2F5A-3D88-7DFA565203FF}"/>
          </ac:spMkLst>
        </pc:spChg>
        <pc:spChg chg="add mod">
          <ac:chgData name="Veniero Facchetti" userId="f2c6c99af91c4974" providerId="LiveId" clId="{34DF7D6B-EB0F-4B53-B080-BB8D6F5C3D93}" dt="2024-05-10T16:15:35.922" v="763" actId="1076"/>
          <ac:spMkLst>
            <pc:docMk/>
            <pc:sldMk cId="538651564" sldId="360"/>
            <ac:spMk id="4" creationId="{D7351B57-F4F5-B378-4733-B02A87EDD0F0}"/>
          </ac:spMkLst>
        </pc:spChg>
        <pc:spChg chg="add mod">
          <ac:chgData name="Veniero Facchetti" userId="f2c6c99af91c4974" providerId="LiveId" clId="{34DF7D6B-EB0F-4B53-B080-BB8D6F5C3D93}" dt="2024-05-10T16:15:35.922" v="763" actId="1076"/>
          <ac:spMkLst>
            <pc:docMk/>
            <pc:sldMk cId="538651564" sldId="360"/>
            <ac:spMk id="5" creationId="{976496B6-B45E-2F68-5F28-4BDFB5B9FE78}"/>
          </ac:spMkLst>
        </pc:spChg>
        <pc:spChg chg="add mod">
          <ac:chgData name="Veniero Facchetti" userId="f2c6c99af91c4974" providerId="LiveId" clId="{34DF7D6B-EB0F-4B53-B080-BB8D6F5C3D93}" dt="2024-05-10T16:15:35.922" v="763" actId="1076"/>
          <ac:spMkLst>
            <pc:docMk/>
            <pc:sldMk cId="538651564" sldId="360"/>
            <ac:spMk id="6" creationId="{B18F4348-1DF7-3860-7167-83EEC822E3D6}"/>
          </ac:spMkLst>
        </pc:spChg>
        <pc:spChg chg="add mod">
          <ac:chgData name="Veniero Facchetti" userId="f2c6c99af91c4974" providerId="LiveId" clId="{34DF7D6B-EB0F-4B53-B080-BB8D6F5C3D93}" dt="2024-05-10T16:15:35.922" v="763" actId="1076"/>
          <ac:spMkLst>
            <pc:docMk/>
            <pc:sldMk cId="538651564" sldId="360"/>
            <ac:spMk id="7" creationId="{C964F402-F734-38EF-C7D4-CA69395FB742}"/>
          </ac:spMkLst>
        </pc:spChg>
        <pc:spChg chg="add mod">
          <ac:chgData name="Veniero Facchetti" userId="f2c6c99af91c4974" providerId="LiveId" clId="{34DF7D6B-EB0F-4B53-B080-BB8D6F5C3D93}" dt="2024-05-10T16:15:35.922" v="763" actId="1076"/>
          <ac:spMkLst>
            <pc:docMk/>
            <pc:sldMk cId="538651564" sldId="360"/>
            <ac:spMk id="8" creationId="{45D791F7-F1A2-A44C-A0BE-9BEBE4A732C8}"/>
          </ac:spMkLst>
        </pc:spChg>
        <pc:spChg chg="add mod">
          <ac:chgData name="Veniero Facchetti" userId="f2c6c99af91c4974" providerId="LiveId" clId="{34DF7D6B-EB0F-4B53-B080-BB8D6F5C3D93}" dt="2024-05-10T16:15:35.922" v="763" actId="1076"/>
          <ac:spMkLst>
            <pc:docMk/>
            <pc:sldMk cId="538651564" sldId="360"/>
            <ac:spMk id="9" creationId="{6976D825-E72A-B938-DC65-DDB43133AF79}"/>
          </ac:spMkLst>
        </pc:spChg>
        <pc:spChg chg="add mod">
          <ac:chgData name="Veniero Facchetti" userId="f2c6c99af91c4974" providerId="LiveId" clId="{34DF7D6B-EB0F-4B53-B080-BB8D6F5C3D93}" dt="2024-05-10T16:15:35.922" v="763" actId="1076"/>
          <ac:spMkLst>
            <pc:docMk/>
            <pc:sldMk cId="538651564" sldId="360"/>
            <ac:spMk id="10" creationId="{0D64D783-6330-B569-AFDE-4756322DBD8C}"/>
          </ac:spMkLst>
        </pc:spChg>
        <pc:spChg chg="mod">
          <ac:chgData name="Veniero Facchetti" userId="f2c6c99af91c4974" providerId="LiveId" clId="{34DF7D6B-EB0F-4B53-B080-BB8D6F5C3D93}" dt="2024-05-10T16:15:07.277" v="756"/>
          <ac:spMkLst>
            <pc:docMk/>
            <pc:sldMk cId="538651564" sldId="360"/>
            <ac:spMk id="12" creationId="{85184B74-6A1B-D5D2-02CB-C28F27B170D4}"/>
          </ac:spMkLst>
        </pc:spChg>
        <pc:spChg chg="mod">
          <ac:chgData name="Veniero Facchetti" userId="f2c6c99af91c4974" providerId="LiveId" clId="{34DF7D6B-EB0F-4B53-B080-BB8D6F5C3D93}" dt="2024-05-10T16:15:07.277" v="756"/>
          <ac:spMkLst>
            <pc:docMk/>
            <pc:sldMk cId="538651564" sldId="360"/>
            <ac:spMk id="14" creationId="{29FDE699-310F-1870-AFC6-92BABBCFE2C2}"/>
          </ac:spMkLst>
        </pc:spChg>
        <pc:spChg chg="mod">
          <ac:chgData name="Veniero Facchetti" userId="f2c6c99af91c4974" providerId="LiveId" clId="{34DF7D6B-EB0F-4B53-B080-BB8D6F5C3D93}" dt="2024-05-10T16:15:07.277" v="756"/>
          <ac:spMkLst>
            <pc:docMk/>
            <pc:sldMk cId="538651564" sldId="360"/>
            <ac:spMk id="16" creationId="{15083D78-4B4B-63FF-F327-B6A917F5DF21}"/>
          </ac:spMkLst>
        </pc:spChg>
        <pc:spChg chg="mod">
          <ac:chgData name="Veniero Facchetti" userId="f2c6c99af91c4974" providerId="LiveId" clId="{34DF7D6B-EB0F-4B53-B080-BB8D6F5C3D93}" dt="2024-05-10T16:15:07.277" v="756"/>
          <ac:spMkLst>
            <pc:docMk/>
            <pc:sldMk cId="538651564" sldId="360"/>
            <ac:spMk id="17" creationId="{BA49E2AC-ABED-2E0C-3F3C-76BE718E9DD7}"/>
          </ac:spMkLst>
        </pc:spChg>
        <pc:spChg chg="mod">
          <ac:chgData name="Veniero Facchetti" userId="f2c6c99af91c4974" providerId="LiveId" clId="{34DF7D6B-EB0F-4B53-B080-BB8D6F5C3D93}" dt="2024-05-10T16:15:07.277" v="756"/>
          <ac:spMkLst>
            <pc:docMk/>
            <pc:sldMk cId="538651564" sldId="360"/>
            <ac:spMk id="19" creationId="{1EFC56F2-AC16-9CBB-F516-9832E92912D6}"/>
          </ac:spMkLst>
        </pc:spChg>
        <pc:spChg chg="mod">
          <ac:chgData name="Veniero Facchetti" userId="f2c6c99af91c4974" providerId="LiveId" clId="{34DF7D6B-EB0F-4B53-B080-BB8D6F5C3D93}" dt="2024-05-10T16:15:07.277" v="756"/>
          <ac:spMkLst>
            <pc:docMk/>
            <pc:sldMk cId="538651564" sldId="360"/>
            <ac:spMk id="20" creationId="{0590615A-D167-8DB4-2320-63664C638DCB}"/>
          </ac:spMkLst>
        </pc:spChg>
        <pc:spChg chg="mod">
          <ac:chgData name="Veniero Facchetti" userId="f2c6c99af91c4974" providerId="LiveId" clId="{34DF7D6B-EB0F-4B53-B080-BB8D6F5C3D93}" dt="2024-05-10T16:15:07.277" v="756"/>
          <ac:spMkLst>
            <pc:docMk/>
            <pc:sldMk cId="538651564" sldId="360"/>
            <ac:spMk id="22" creationId="{4DF6AB44-D7D2-11F6-D073-59737B1CE15B}"/>
          </ac:spMkLst>
        </pc:spChg>
        <pc:spChg chg="mod">
          <ac:chgData name="Veniero Facchetti" userId="f2c6c99af91c4974" providerId="LiveId" clId="{34DF7D6B-EB0F-4B53-B080-BB8D6F5C3D93}" dt="2024-05-10T16:15:07.277" v="756"/>
          <ac:spMkLst>
            <pc:docMk/>
            <pc:sldMk cId="538651564" sldId="360"/>
            <ac:spMk id="23" creationId="{FB2D1F5D-05C8-8705-56D0-517C4AB9CF30}"/>
          </ac:spMkLst>
        </pc:spChg>
        <pc:spChg chg="mod">
          <ac:chgData name="Veniero Facchetti" userId="f2c6c99af91c4974" providerId="LiveId" clId="{34DF7D6B-EB0F-4B53-B080-BB8D6F5C3D93}" dt="2024-05-10T16:15:07.277" v="756"/>
          <ac:spMkLst>
            <pc:docMk/>
            <pc:sldMk cId="538651564" sldId="360"/>
            <ac:spMk id="24" creationId="{6AD3CE80-DF2D-4B09-C8F0-8FF7F5F0957B}"/>
          </ac:spMkLst>
        </pc:spChg>
        <pc:spChg chg="mod">
          <ac:chgData name="Veniero Facchetti" userId="f2c6c99af91c4974" providerId="LiveId" clId="{34DF7D6B-EB0F-4B53-B080-BB8D6F5C3D93}" dt="2024-05-10T16:15:07.277" v="756"/>
          <ac:spMkLst>
            <pc:docMk/>
            <pc:sldMk cId="538651564" sldId="360"/>
            <ac:spMk id="25" creationId="{3C17FF2B-BAB2-FD43-B8DE-4CDD714DA886}"/>
          </ac:spMkLst>
        </pc:spChg>
        <pc:spChg chg="mod">
          <ac:chgData name="Veniero Facchetti" userId="f2c6c99af91c4974" providerId="LiveId" clId="{34DF7D6B-EB0F-4B53-B080-BB8D6F5C3D93}" dt="2024-05-10T16:15:07.277" v="756"/>
          <ac:spMkLst>
            <pc:docMk/>
            <pc:sldMk cId="538651564" sldId="360"/>
            <ac:spMk id="27" creationId="{55C3E72D-3140-4CE8-951A-E9D6BB286784}"/>
          </ac:spMkLst>
        </pc:spChg>
        <pc:spChg chg="mod">
          <ac:chgData name="Veniero Facchetti" userId="f2c6c99af91c4974" providerId="LiveId" clId="{34DF7D6B-EB0F-4B53-B080-BB8D6F5C3D93}" dt="2024-05-10T16:15:07.277" v="756"/>
          <ac:spMkLst>
            <pc:docMk/>
            <pc:sldMk cId="538651564" sldId="360"/>
            <ac:spMk id="28" creationId="{3CDF672F-70A3-AB29-29AC-7BB8FE3992A8}"/>
          </ac:spMkLst>
        </pc:spChg>
        <pc:spChg chg="mod">
          <ac:chgData name="Veniero Facchetti" userId="f2c6c99af91c4974" providerId="LiveId" clId="{34DF7D6B-EB0F-4B53-B080-BB8D6F5C3D93}" dt="2024-05-10T16:15:07.277" v="756"/>
          <ac:spMkLst>
            <pc:docMk/>
            <pc:sldMk cId="538651564" sldId="360"/>
            <ac:spMk id="29" creationId="{67F605FB-A9E3-B2C6-8FB0-07980258FBE6}"/>
          </ac:spMkLst>
        </pc:spChg>
        <pc:spChg chg="mod">
          <ac:chgData name="Veniero Facchetti" userId="f2c6c99af91c4974" providerId="LiveId" clId="{34DF7D6B-EB0F-4B53-B080-BB8D6F5C3D93}" dt="2024-05-10T16:15:07.277" v="756"/>
          <ac:spMkLst>
            <pc:docMk/>
            <pc:sldMk cId="538651564" sldId="360"/>
            <ac:spMk id="32" creationId="{28176DA2-C61F-868E-B140-E262088D8974}"/>
          </ac:spMkLst>
        </pc:spChg>
        <pc:spChg chg="mod">
          <ac:chgData name="Veniero Facchetti" userId="f2c6c99af91c4974" providerId="LiveId" clId="{34DF7D6B-EB0F-4B53-B080-BB8D6F5C3D93}" dt="2024-05-10T16:15:07.277" v="756"/>
          <ac:spMkLst>
            <pc:docMk/>
            <pc:sldMk cId="538651564" sldId="360"/>
            <ac:spMk id="33" creationId="{9E6BC18F-B0E8-1F40-690B-92A08939382F}"/>
          </ac:spMkLst>
        </pc:spChg>
        <pc:spChg chg="mod">
          <ac:chgData name="Veniero Facchetti" userId="f2c6c99af91c4974" providerId="LiveId" clId="{34DF7D6B-EB0F-4B53-B080-BB8D6F5C3D93}" dt="2024-05-10T16:15:07.277" v="756"/>
          <ac:spMkLst>
            <pc:docMk/>
            <pc:sldMk cId="538651564" sldId="360"/>
            <ac:spMk id="34" creationId="{C59DF270-2682-E9CB-F075-0449A60771D0}"/>
          </ac:spMkLst>
        </pc:spChg>
        <pc:spChg chg="mod">
          <ac:chgData name="Veniero Facchetti" userId="f2c6c99af91c4974" providerId="LiveId" clId="{34DF7D6B-EB0F-4B53-B080-BB8D6F5C3D93}" dt="2024-05-10T16:15:07.277" v="756"/>
          <ac:spMkLst>
            <pc:docMk/>
            <pc:sldMk cId="538651564" sldId="360"/>
            <ac:spMk id="36" creationId="{93BD71A0-2A97-DB3F-EDD4-8E3D7A640800}"/>
          </ac:spMkLst>
        </pc:spChg>
        <pc:spChg chg="mod">
          <ac:chgData name="Veniero Facchetti" userId="f2c6c99af91c4974" providerId="LiveId" clId="{34DF7D6B-EB0F-4B53-B080-BB8D6F5C3D93}" dt="2024-05-10T16:15:07.277" v="756"/>
          <ac:spMkLst>
            <pc:docMk/>
            <pc:sldMk cId="538651564" sldId="360"/>
            <ac:spMk id="37" creationId="{FC686360-2573-6C30-9875-5010F92C4828}"/>
          </ac:spMkLst>
        </pc:spChg>
        <pc:spChg chg="mod">
          <ac:chgData name="Veniero Facchetti" userId="f2c6c99af91c4974" providerId="LiveId" clId="{34DF7D6B-EB0F-4B53-B080-BB8D6F5C3D93}" dt="2024-05-10T16:15:07.277" v="756"/>
          <ac:spMkLst>
            <pc:docMk/>
            <pc:sldMk cId="538651564" sldId="360"/>
            <ac:spMk id="38" creationId="{62C41F88-4657-32A1-6A7F-DC269577FAE7}"/>
          </ac:spMkLst>
        </pc:spChg>
        <pc:spChg chg="mod">
          <ac:chgData name="Veniero Facchetti" userId="f2c6c99af91c4974" providerId="LiveId" clId="{34DF7D6B-EB0F-4B53-B080-BB8D6F5C3D93}" dt="2024-05-10T16:15:07.277" v="756"/>
          <ac:spMkLst>
            <pc:docMk/>
            <pc:sldMk cId="538651564" sldId="360"/>
            <ac:spMk id="40" creationId="{1DFE1099-1CD0-02CB-2FFE-70805346E2B4}"/>
          </ac:spMkLst>
        </pc:spChg>
        <pc:spChg chg="mod">
          <ac:chgData name="Veniero Facchetti" userId="f2c6c99af91c4974" providerId="LiveId" clId="{34DF7D6B-EB0F-4B53-B080-BB8D6F5C3D93}" dt="2024-05-10T16:15:07.277" v="756"/>
          <ac:spMkLst>
            <pc:docMk/>
            <pc:sldMk cId="538651564" sldId="360"/>
            <ac:spMk id="42" creationId="{7AC4491A-FDB8-AF7A-213A-AD5D144D0715}"/>
          </ac:spMkLst>
        </pc:spChg>
        <pc:spChg chg="mod">
          <ac:chgData name="Veniero Facchetti" userId="f2c6c99af91c4974" providerId="LiveId" clId="{34DF7D6B-EB0F-4B53-B080-BB8D6F5C3D93}" dt="2024-05-10T16:15:07.277" v="756"/>
          <ac:spMkLst>
            <pc:docMk/>
            <pc:sldMk cId="538651564" sldId="360"/>
            <ac:spMk id="43" creationId="{135F71EA-B50F-42F7-28E1-348A96DCF445}"/>
          </ac:spMkLst>
        </pc:spChg>
        <pc:spChg chg="mod">
          <ac:chgData name="Veniero Facchetti" userId="f2c6c99af91c4974" providerId="LiveId" clId="{34DF7D6B-EB0F-4B53-B080-BB8D6F5C3D93}" dt="2024-05-10T16:15:07.277" v="756"/>
          <ac:spMkLst>
            <pc:docMk/>
            <pc:sldMk cId="538651564" sldId="360"/>
            <ac:spMk id="45" creationId="{96A8625A-26F5-A535-B08E-B5B921B59B88}"/>
          </ac:spMkLst>
        </pc:spChg>
        <pc:spChg chg="mod">
          <ac:chgData name="Veniero Facchetti" userId="f2c6c99af91c4974" providerId="LiveId" clId="{34DF7D6B-EB0F-4B53-B080-BB8D6F5C3D93}" dt="2024-05-10T16:15:07.277" v="756"/>
          <ac:spMkLst>
            <pc:docMk/>
            <pc:sldMk cId="538651564" sldId="360"/>
            <ac:spMk id="46" creationId="{98168A3F-DAD5-543B-4377-BBF30F1A974D}"/>
          </ac:spMkLst>
        </pc:spChg>
        <pc:spChg chg="mod">
          <ac:chgData name="Veniero Facchetti" userId="f2c6c99af91c4974" providerId="LiveId" clId="{34DF7D6B-EB0F-4B53-B080-BB8D6F5C3D93}" dt="2024-05-10T16:15:07.277" v="756"/>
          <ac:spMkLst>
            <pc:docMk/>
            <pc:sldMk cId="538651564" sldId="360"/>
            <ac:spMk id="47" creationId="{8978CFE7-AD50-835E-A354-1D750B4840A8}"/>
          </ac:spMkLst>
        </pc:spChg>
        <pc:spChg chg="mod">
          <ac:chgData name="Veniero Facchetti" userId="f2c6c99af91c4974" providerId="LiveId" clId="{34DF7D6B-EB0F-4B53-B080-BB8D6F5C3D93}" dt="2024-05-10T16:15:07.277" v="756"/>
          <ac:spMkLst>
            <pc:docMk/>
            <pc:sldMk cId="538651564" sldId="360"/>
            <ac:spMk id="49" creationId="{E1B3A73F-4476-6389-A885-B0B7D2B3CD60}"/>
          </ac:spMkLst>
        </pc:spChg>
        <pc:spChg chg="mod">
          <ac:chgData name="Veniero Facchetti" userId="f2c6c99af91c4974" providerId="LiveId" clId="{34DF7D6B-EB0F-4B53-B080-BB8D6F5C3D93}" dt="2024-05-10T16:15:07.277" v="756"/>
          <ac:spMkLst>
            <pc:docMk/>
            <pc:sldMk cId="538651564" sldId="360"/>
            <ac:spMk id="51" creationId="{951AF236-542A-541E-2139-0040F4BF65C0}"/>
          </ac:spMkLst>
        </pc:spChg>
        <pc:spChg chg="mod">
          <ac:chgData name="Veniero Facchetti" userId="f2c6c99af91c4974" providerId="LiveId" clId="{34DF7D6B-EB0F-4B53-B080-BB8D6F5C3D93}" dt="2024-05-10T16:15:07.277" v="756"/>
          <ac:spMkLst>
            <pc:docMk/>
            <pc:sldMk cId="538651564" sldId="360"/>
            <ac:spMk id="52" creationId="{8B1A40A0-A55D-B7AC-685D-FA0DC32C2095}"/>
          </ac:spMkLst>
        </pc:spChg>
        <pc:spChg chg="mod">
          <ac:chgData name="Veniero Facchetti" userId="f2c6c99af91c4974" providerId="LiveId" clId="{34DF7D6B-EB0F-4B53-B080-BB8D6F5C3D93}" dt="2024-05-10T16:15:07.277" v="756"/>
          <ac:spMkLst>
            <pc:docMk/>
            <pc:sldMk cId="538651564" sldId="360"/>
            <ac:spMk id="54" creationId="{32BEE509-427B-1ED7-32E8-1D511D2D6B20}"/>
          </ac:spMkLst>
        </pc:spChg>
        <pc:spChg chg="mod">
          <ac:chgData name="Veniero Facchetti" userId="f2c6c99af91c4974" providerId="LiveId" clId="{34DF7D6B-EB0F-4B53-B080-BB8D6F5C3D93}" dt="2024-05-10T16:15:07.277" v="756"/>
          <ac:spMkLst>
            <pc:docMk/>
            <pc:sldMk cId="538651564" sldId="360"/>
            <ac:spMk id="55" creationId="{30A72ABB-6B79-4039-D6B5-91F6D66364D0}"/>
          </ac:spMkLst>
        </pc:spChg>
        <pc:spChg chg="mod">
          <ac:chgData name="Veniero Facchetti" userId="f2c6c99af91c4974" providerId="LiveId" clId="{34DF7D6B-EB0F-4B53-B080-BB8D6F5C3D93}" dt="2024-05-10T16:15:07.277" v="756"/>
          <ac:spMkLst>
            <pc:docMk/>
            <pc:sldMk cId="538651564" sldId="360"/>
            <ac:spMk id="56" creationId="{02FA88FD-9F30-B320-6330-DF3CE70A7813}"/>
          </ac:spMkLst>
        </pc:spChg>
        <pc:spChg chg="mod">
          <ac:chgData name="Veniero Facchetti" userId="f2c6c99af91c4974" providerId="LiveId" clId="{34DF7D6B-EB0F-4B53-B080-BB8D6F5C3D93}" dt="2024-05-10T16:15:07.277" v="756"/>
          <ac:spMkLst>
            <pc:docMk/>
            <pc:sldMk cId="538651564" sldId="360"/>
            <ac:spMk id="58" creationId="{4FB8C6CC-14FE-D365-6260-2C0210D82D90}"/>
          </ac:spMkLst>
        </pc:spChg>
        <pc:spChg chg="mod">
          <ac:chgData name="Veniero Facchetti" userId="f2c6c99af91c4974" providerId="LiveId" clId="{34DF7D6B-EB0F-4B53-B080-BB8D6F5C3D93}" dt="2024-05-10T16:15:07.277" v="756"/>
          <ac:spMkLst>
            <pc:docMk/>
            <pc:sldMk cId="538651564" sldId="360"/>
            <ac:spMk id="60" creationId="{A4A644F5-0488-1784-B07C-35318F5EF700}"/>
          </ac:spMkLst>
        </pc:spChg>
        <pc:spChg chg="mod">
          <ac:chgData name="Veniero Facchetti" userId="f2c6c99af91c4974" providerId="LiveId" clId="{34DF7D6B-EB0F-4B53-B080-BB8D6F5C3D93}" dt="2024-05-10T16:15:07.277" v="756"/>
          <ac:spMkLst>
            <pc:docMk/>
            <pc:sldMk cId="538651564" sldId="360"/>
            <ac:spMk id="61" creationId="{39697DF5-E716-3A15-7128-8FCD99C7F9DF}"/>
          </ac:spMkLst>
        </pc:spChg>
        <pc:spChg chg="mod">
          <ac:chgData name="Veniero Facchetti" userId="f2c6c99af91c4974" providerId="LiveId" clId="{34DF7D6B-EB0F-4B53-B080-BB8D6F5C3D93}" dt="2024-05-10T16:15:07.277" v="756"/>
          <ac:spMkLst>
            <pc:docMk/>
            <pc:sldMk cId="538651564" sldId="360"/>
            <ac:spMk id="63" creationId="{E23ED66A-5775-67FB-AAF2-238A091778AB}"/>
          </ac:spMkLst>
        </pc:spChg>
        <pc:spChg chg="mod">
          <ac:chgData name="Veniero Facchetti" userId="f2c6c99af91c4974" providerId="LiveId" clId="{34DF7D6B-EB0F-4B53-B080-BB8D6F5C3D93}" dt="2024-05-10T16:15:07.277" v="756"/>
          <ac:spMkLst>
            <pc:docMk/>
            <pc:sldMk cId="538651564" sldId="360"/>
            <ac:spMk id="64" creationId="{B9F899E2-ED4A-1D44-7E4E-12B1BF60D539}"/>
          </ac:spMkLst>
        </pc:spChg>
        <pc:spChg chg="mod">
          <ac:chgData name="Veniero Facchetti" userId="f2c6c99af91c4974" providerId="LiveId" clId="{34DF7D6B-EB0F-4B53-B080-BB8D6F5C3D93}" dt="2024-05-10T16:15:07.277" v="756"/>
          <ac:spMkLst>
            <pc:docMk/>
            <pc:sldMk cId="538651564" sldId="360"/>
            <ac:spMk id="65" creationId="{98E51EA2-B6E9-F49C-4BD7-CA6F378DB437}"/>
          </ac:spMkLst>
        </pc:spChg>
        <pc:spChg chg="mod">
          <ac:chgData name="Veniero Facchetti" userId="f2c6c99af91c4974" providerId="LiveId" clId="{34DF7D6B-EB0F-4B53-B080-BB8D6F5C3D93}" dt="2024-05-10T16:15:07.277" v="756"/>
          <ac:spMkLst>
            <pc:docMk/>
            <pc:sldMk cId="538651564" sldId="360"/>
            <ac:spMk id="67" creationId="{250EAFD2-DAFD-E78B-10BD-F1CE6CB06D2B}"/>
          </ac:spMkLst>
        </pc:spChg>
        <pc:spChg chg="mod">
          <ac:chgData name="Veniero Facchetti" userId="f2c6c99af91c4974" providerId="LiveId" clId="{34DF7D6B-EB0F-4B53-B080-BB8D6F5C3D93}" dt="2024-05-10T16:15:07.277" v="756"/>
          <ac:spMkLst>
            <pc:docMk/>
            <pc:sldMk cId="538651564" sldId="360"/>
            <ac:spMk id="69" creationId="{8A991DBE-CB93-7D61-8D48-EEC53533FA27}"/>
          </ac:spMkLst>
        </pc:spChg>
        <pc:spChg chg="mod">
          <ac:chgData name="Veniero Facchetti" userId="f2c6c99af91c4974" providerId="LiveId" clId="{34DF7D6B-EB0F-4B53-B080-BB8D6F5C3D93}" dt="2024-05-10T16:15:07.277" v="756"/>
          <ac:spMkLst>
            <pc:docMk/>
            <pc:sldMk cId="538651564" sldId="360"/>
            <ac:spMk id="70" creationId="{6AD4B259-8DB4-D6B7-E58C-02CE6237DBE7}"/>
          </ac:spMkLst>
        </pc:spChg>
        <pc:spChg chg="add mod">
          <ac:chgData name="Veniero Facchetti" userId="f2c6c99af91c4974" providerId="LiveId" clId="{34DF7D6B-EB0F-4B53-B080-BB8D6F5C3D93}" dt="2024-05-10T16:15:35.922" v="763" actId="1076"/>
          <ac:spMkLst>
            <pc:docMk/>
            <pc:sldMk cId="538651564" sldId="360"/>
            <ac:spMk id="101" creationId="{22BD6AD6-AC29-C698-3689-2DB414FB9D4C}"/>
          </ac:spMkLst>
        </pc:spChg>
        <pc:spChg chg="mod">
          <ac:chgData name="Veniero Facchetti" userId="f2c6c99af91c4974" providerId="LiveId" clId="{34DF7D6B-EB0F-4B53-B080-BB8D6F5C3D93}" dt="2024-05-10T16:15:07.277" v="756"/>
          <ac:spMkLst>
            <pc:docMk/>
            <pc:sldMk cId="538651564" sldId="360"/>
            <ac:spMk id="103" creationId="{092B8A57-9C9C-6898-244D-4AEBA16ECD7E}"/>
          </ac:spMkLst>
        </pc:spChg>
        <pc:spChg chg="mod">
          <ac:chgData name="Veniero Facchetti" userId="f2c6c99af91c4974" providerId="LiveId" clId="{34DF7D6B-EB0F-4B53-B080-BB8D6F5C3D93}" dt="2024-05-10T16:15:07.277" v="756"/>
          <ac:spMkLst>
            <pc:docMk/>
            <pc:sldMk cId="538651564" sldId="360"/>
            <ac:spMk id="104" creationId="{7D3D6028-7FEC-36D6-067F-A112B08D32FB}"/>
          </ac:spMkLst>
        </pc:spChg>
        <pc:spChg chg="mod">
          <ac:chgData name="Veniero Facchetti" userId="f2c6c99af91c4974" providerId="LiveId" clId="{34DF7D6B-EB0F-4B53-B080-BB8D6F5C3D93}" dt="2024-05-10T16:15:07.277" v="756"/>
          <ac:spMkLst>
            <pc:docMk/>
            <pc:sldMk cId="538651564" sldId="360"/>
            <ac:spMk id="112" creationId="{76A88385-60AB-868F-8DF1-C571AB7C108F}"/>
          </ac:spMkLst>
        </pc:spChg>
        <pc:spChg chg="mod">
          <ac:chgData name="Veniero Facchetti" userId="f2c6c99af91c4974" providerId="LiveId" clId="{34DF7D6B-EB0F-4B53-B080-BB8D6F5C3D93}" dt="2024-05-10T16:15:07.277" v="756"/>
          <ac:spMkLst>
            <pc:docMk/>
            <pc:sldMk cId="538651564" sldId="360"/>
            <ac:spMk id="113" creationId="{788F46A5-DC1B-E98B-D719-5D6E0807149B}"/>
          </ac:spMkLst>
        </pc:spChg>
        <pc:spChg chg="mod">
          <ac:chgData name="Veniero Facchetti" userId="f2c6c99af91c4974" providerId="LiveId" clId="{34DF7D6B-EB0F-4B53-B080-BB8D6F5C3D93}" dt="2024-05-10T16:15:07.277" v="756"/>
          <ac:spMkLst>
            <pc:docMk/>
            <pc:sldMk cId="538651564" sldId="360"/>
            <ac:spMk id="114" creationId="{2D7E1341-0238-6611-96A6-1A08C1A268D0}"/>
          </ac:spMkLst>
        </pc:spChg>
        <pc:spChg chg="mod">
          <ac:chgData name="Veniero Facchetti" userId="f2c6c99af91c4974" providerId="LiveId" clId="{34DF7D6B-EB0F-4B53-B080-BB8D6F5C3D93}" dt="2024-05-10T16:15:07.277" v="756"/>
          <ac:spMkLst>
            <pc:docMk/>
            <pc:sldMk cId="538651564" sldId="360"/>
            <ac:spMk id="115" creationId="{D635984E-C282-9B83-FBEB-A26349580EEA}"/>
          </ac:spMkLst>
        </pc:spChg>
        <pc:spChg chg="mod">
          <ac:chgData name="Veniero Facchetti" userId="f2c6c99af91c4974" providerId="LiveId" clId="{34DF7D6B-EB0F-4B53-B080-BB8D6F5C3D93}" dt="2024-05-10T16:15:07.277" v="756"/>
          <ac:spMkLst>
            <pc:docMk/>
            <pc:sldMk cId="538651564" sldId="360"/>
            <ac:spMk id="116" creationId="{DB7F8B92-1A6E-8BD1-6798-053B30418F3B}"/>
          </ac:spMkLst>
        </pc:spChg>
        <pc:spChg chg="mod">
          <ac:chgData name="Veniero Facchetti" userId="f2c6c99af91c4974" providerId="LiveId" clId="{34DF7D6B-EB0F-4B53-B080-BB8D6F5C3D93}" dt="2024-05-10T16:15:07.277" v="756"/>
          <ac:spMkLst>
            <pc:docMk/>
            <pc:sldMk cId="538651564" sldId="360"/>
            <ac:spMk id="117" creationId="{413270B7-064D-D34A-7E35-57B51EC7C4B5}"/>
          </ac:spMkLst>
        </pc:spChg>
        <pc:spChg chg="mod">
          <ac:chgData name="Veniero Facchetti" userId="f2c6c99af91c4974" providerId="LiveId" clId="{34DF7D6B-EB0F-4B53-B080-BB8D6F5C3D93}" dt="2024-05-10T16:15:07.277" v="756"/>
          <ac:spMkLst>
            <pc:docMk/>
            <pc:sldMk cId="538651564" sldId="360"/>
            <ac:spMk id="121" creationId="{0D269316-0C2A-4396-67A0-B595F89C2093}"/>
          </ac:spMkLst>
        </pc:spChg>
        <pc:spChg chg="mod">
          <ac:chgData name="Veniero Facchetti" userId="f2c6c99af91c4974" providerId="LiveId" clId="{34DF7D6B-EB0F-4B53-B080-BB8D6F5C3D93}" dt="2024-05-10T16:15:07.277" v="756"/>
          <ac:spMkLst>
            <pc:docMk/>
            <pc:sldMk cId="538651564" sldId="360"/>
            <ac:spMk id="122" creationId="{88A5E983-B0BC-EBB0-2921-B416AAD0EB01}"/>
          </ac:spMkLst>
        </pc:spChg>
        <pc:spChg chg="mod">
          <ac:chgData name="Veniero Facchetti" userId="f2c6c99af91c4974" providerId="LiveId" clId="{34DF7D6B-EB0F-4B53-B080-BB8D6F5C3D93}" dt="2024-05-10T16:15:07.277" v="756"/>
          <ac:spMkLst>
            <pc:docMk/>
            <pc:sldMk cId="538651564" sldId="360"/>
            <ac:spMk id="123" creationId="{E3874156-2900-B6C9-8EBA-45DF3312A189}"/>
          </ac:spMkLst>
        </pc:spChg>
        <pc:spChg chg="mod">
          <ac:chgData name="Veniero Facchetti" userId="f2c6c99af91c4974" providerId="LiveId" clId="{34DF7D6B-EB0F-4B53-B080-BB8D6F5C3D93}" dt="2024-05-10T16:15:07.277" v="756"/>
          <ac:spMkLst>
            <pc:docMk/>
            <pc:sldMk cId="538651564" sldId="360"/>
            <ac:spMk id="124" creationId="{F473FC3E-D624-D422-BD62-7E993D050219}"/>
          </ac:spMkLst>
        </pc:spChg>
        <pc:spChg chg="mod">
          <ac:chgData name="Veniero Facchetti" userId="f2c6c99af91c4974" providerId="LiveId" clId="{34DF7D6B-EB0F-4B53-B080-BB8D6F5C3D93}" dt="2024-05-10T16:15:07.277" v="756"/>
          <ac:spMkLst>
            <pc:docMk/>
            <pc:sldMk cId="538651564" sldId="360"/>
            <ac:spMk id="128" creationId="{200FC050-CFB3-6396-9CD1-DFC86BB69F23}"/>
          </ac:spMkLst>
        </pc:spChg>
        <pc:spChg chg="mod">
          <ac:chgData name="Veniero Facchetti" userId="f2c6c99af91c4974" providerId="LiveId" clId="{34DF7D6B-EB0F-4B53-B080-BB8D6F5C3D93}" dt="2024-05-10T16:15:07.277" v="756"/>
          <ac:spMkLst>
            <pc:docMk/>
            <pc:sldMk cId="538651564" sldId="360"/>
            <ac:spMk id="129" creationId="{80F7C51A-FE13-2225-3AD3-1CDDD6A7FB31}"/>
          </ac:spMkLst>
        </pc:spChg>
        <pc:spChg chg="mod">
          <ac:chgData name="Veniero Facchetti" userId="f2c6c99af91c4974" providerId="LiveId" clId="{34DF7D6B-EB0F-4B53-B080-BB8D6F5C3D93}" dt="2024-05-10T16:15:07.277" v="756"/>
          <ac:spMkLst>
            <pc:docMk/>
            <pc:sldMk cId="538651564" sldId="360"/>
            <ac:spMk id="130" creationId="{85AF4AB0-1BA6-27C5-5467-9CED3EFDE48E}"/>
          </ac:spMkLst>
        </pc:spChg>
        <pc:spChg chg="mod">
          <ac:chgData name="Veniero Facchetti" userId="f2c6c99af91c4974" providerId="LiveId" clId="{34DF7D6B-EB0F-4B53-B080-BB8D6F5C3D93}" dt="2024-05-10T16:15:07.277" v="756"/>
          <ac:spMkLst>
            <pc:docMk/>
            <pc:sldMk cId="538651564" sldId="360"/>
            <ac:spMk id="131" creationId="{AB0C8DB8-155F-392D-3920-E569183E6FC5}"/>
          </ac:spMkLst>
        </pc:spChg>
        <pc:spChg chg="mod">
          <ac:chgData name="Veniero Facchetti" userId="f2c6c99af91c4974" providerId="LiveId" clId="{34DF7D6B-EB0F-4B53-B080-BB8D6F5C3D93}" dt="2024-05-10T16:15:07.277" v="756"/>
          <ac:spMkLst>
            <pc:docMk/>
            <pc:sldMk cId="538651564" sldId="360"/>
            <ac:spMk id="132" creationId="{D60F9CB1-8E28-94BA-717B-28B4EC2F6C73}"/>
          </ac:spMkLst>
        </pc:spChg>
        <pc:spChg chg="mod">
          <ac:chgData name="Veniero Facchetti" userId="f2c6c99af91c4974" providerId="LiveId" clId="{34DF7D6B-EB0F-4B53-B080-BB8D6F5C3D93}" dt="2024-05-10T16:15:07.277" v="756"/>
          <ac:spMkLst>
            <pc:docMk/>
            <pc:sldMk cId="538651564" sldId="360"/>
            <ac:spMk id="133" creationId="{075DC913-009B-FFB9-9785-154A55EA58CD}"/>
          </ac:spMkLst>
        </pc:spChg>
        <pc:spChg chg="mod">
          <ac:chgData name="Veniero Facchetti" userId="f2c6c99af91c4974" providerId="LiveId" clId="{34DF7D6B-EB0F-4B53-B080-BB8D6F5C3D93}" dt="2024-05-10T16:15:07.277" v="756"/>
          <ac:spMkLst>
            <pc:docMk/>
            <pc:sldMk cId="538651564" sldId="360"/>
            <ac:spMk id="143" creationId="{AFB92F9E-2C0F-DA69-0794-A8B7E9AC354D}"/>
          </ac:spMkLst>
        </pc:spChg>
        <pc:spChg chg="mod">
          <ac:chgData name="Veniero Facchetti" userId="f2c6c99af91c4974" providerId="LiveId" clId="{34DF7D6B-EB0F-4B53-B080-BB8D6F5C3D93}" dt="2024-05-10T16:15:07.277" v="756"/>
          <ac:spMkLst>
            <pc:docMk/>
            <pc:sldMk cId="538651564" sldId="360"/>
            <ac:spMk id="144" creationId="{9966B83C-113C-D045-2489-C8825E64174D}"/>
          </ac:spMkLst>
        </pc:spChg>
        <pc:spChg chg="mod">
          <ac:chgData name="Veniero Facchetti" userId="f2c6c99af91c4974" providerId="LiveId" clId="{34DF7D6B-EB0F-4B53-B080-BB8D6F5C3D93}" dt="2024-05-10T16:15:07.277" v="756"/>
          <ac:spMkLst>
            <pc:docMk/>
            <pc:sldMk cId="538651564" sldId="360"/>
            <ac:spMk id="145" creationId="{60EFEB52-7565-C87F-BDC3-428573059544}"/>
          </ac:spMkLst>
        </pc:spChg>
        <pc:spChg chg="mod">
          <ac:chgData name="Veniero Facchetti" userId="f2c6c99af91c4974" providerId="LiveId" clId="{34DF7D6B-EB0F-4B53-B080-BB8D6F5C3D93}" dt="2024-05-10T16:15:07.277" v="756"/>
          <ac:spMkLst>
            <pc:docMk/>
            <pc:sldMk cId="538651564" sldId="360"/>
            <ac:spMk id="146" creationId="{168ACE70-B40F-87FA-CDB8-8108A0E66D20}"/>
          </ac:spMkLst>
        </pc:spChg>
        <pc:spChg chg="mod">
          <ac:chgData name="Veniero Facchetti" userId="f2c6c99af91c4974" providerId="LiveId" clId="{34DF7D6B-EB0F-4B53-B080-BB8D6F5C3D93}" dt="2024-05-10T16:15:07.277" v="756"/>
          <ac:spMkLst>
            <pc:docMk/>
            <pc:sldMk cId="538651564" sldId="360"/>
            <ac:spMk id="150" creationId="{2002D6B8-434A-8465-2BA2-923733C5B2FC}"/>
          </ac:spMkLst>
        </pc:spChg>
        <pc:spChg chg="mod">
          <ac:chgData name="Veniero Facchetti" userId="f2c6c99af91c4974" providerId="LiveId" clId="{34DF7D6B-EB0F-4B53-B080-BB8D6F5C3D93}" dt="2024-05-10T16:15:07.277" v="756"/>
          <ac:spMkLst>
            <pc:docMk/>
            <pc:sldMk cId="538651564" sldId="360"/>
            <ac:spMk id="151" creationId="{DE50918E-0296-07D0-C428-18EE84570E24}"/>
          </ac:spMkLst>
        </pc:spChg>
        <pc:spChg chg="mod">
          <ac:chgData name="Veniero Facchetti" userId="f2c6c99af91c4974" providerId="LiveId" clId="{34DF7D6B-EB0F-4B53-B080-BB8D6F5C3D93}" dt="2024-05-10T16:15:07.277" v="756"/>
          <ac:spMkLst>
            <pc:docMk/>
            <pc:sldMk cId="538651564" sldId="360"/>
            <ac:spMk id="152" creationId="{C32BD968-4F49-C727-F114-A5EA259A70F6}"/>
          </ac:spMkLst>
        </pc:spChg>
        <pc:spChg chg="mod">
          <ac:chgData name="Veniero Facchetti" userId="f2c6c99af91c4974" providerId="LiveId" clId="{34DF7D6B-EB0F-4B53-B080-BB8D6F5C3D93}" dt="2024-05-10T16:15:07.277" v="756"/>
          <ac:spMkLst>
            <pc:docMk/>
            <pc:sldMk cId="538651564" sldId="360"/>
            <ac:spMk id="153" creationId="{02B8E796-D6F7-94B5-7082-51300E4F991A}"/>
          </ac:spMkLst>
        </pc:spChg>
        <pc:spChg chg="mod">
          <ac:chgData name="Veniero Facchetti" userId="f2c6c99af91c4974" providerId="LiveId" clId="{34DF7D6B-EB0F-4B53-B080-BB8D6F5C3D93}" dt="2024-05-10T16:15:07.277" v="756"/>
          <ac:spMkLst>
            <pc:docMk/>
            <pc:sldMk cId="538651564" sldId="360"/>
            <ac:spMk id="157" creationId="{257FE3C2-F84F-852D-D8A2-71765CD83BEF}"/>
          </ac:spMkLst>
        </pc:spChg>
        <pc:spChg chg="mod">
          <ac:chgData name="Veniero Facchetti" userId="f2c6c99af91c4974" providerId="LiveId" clId="{34DF7D6B-EB0F-4B53-B080-BB8D6F5C3D93}" dt="2024-05-10T16:15:07.277" v="756"/>
          <ac:spMkLst>
            <pc:docMk/>
            <pc:sldMk cId="538651564" sldId="360"/>
            <ac:spMk id="158" creationId="{2E9DD779-5398-360B-72FF-28E0D1BB310C}"/>
          </ac:spMkLst>
        </pc:spChg>
        <pc:spChg chg="mod">
          <ac:chgData name="Veniero Facchetti" userId="f2c6c99af91c4974" providerId="LiveId" clId="{34DF7D6B-EB0F-4B53-B080-BB8D6F5C3D93}" dt="2024-05-10T16:15:07.277" v="756"/>
          <ac:spMkLst>
            <pc:docMk/>
            <pc:sldMk cId="538651564" sldId="360"/>
            <ac:spMk id="159" creationId="{890A05AD-6346-F2E7-E419-7491F1C5A094}"/>
          </ac:spMkLst>
        </pc:spChg>
        <pc:spChg chg="mod">
          <ac:chgData name="Veniero Facchetti" userId="f2c6c99af91c4974" providerId="LiveId" clId="{34DF7D6B-EB0F-4B53-B080-BB8D6F5C3D93}" dt="2024-05-10T16:15:07.277" v="756"/>
          <ac:spMkLst>
            <pc:docMk/>
            <pc:sldMk cId="538651564" sldId="360"/>
            <ac:spMk id="160" creationId="{7D0E954F-E025-4682-9A86-B4742A5D4630}"/>
          </ac:spMkLst>
        </pc:spChg>
        <pc:spChg chg="mod">
          <ac:chgData name="Veniero Facchetti" userId="f2c6c99af91c4974" providerId="LiveId" clId="{34DF7D6B-EB0F-4B53-B080-BB8D6F5C3D93}" dt="2024-05-10T16:15:07.277" v="756"/>
          <ac:spMkLst>
            <pc:docMk/>
            <pc:sldMk cId="538651564" sldId="360"/>
            <ac:spMk id="164" creationId="{4F4D66AC-00D7-F8A2-3209-9F8A8A458F20}"/>
          </ac:spMkLst>
        </pc:spChg>
        <pc:spChg chg="mod">
          <ac:chgData name="Veniero Facchetti" userId="f2c6c99af91c4974" providerId="LiveId" clId="{34DF7D6B-EB0F-4B53-B080-BB8D6F5C3D93}" dt="2024-05-10T16:15:07.277" v="756"/>
          <ac:spMkLst>
            <pc:docMk/>
            <pc:sldMk cId="538651564" sldId="360"/>
            <ac:spMk id="165" creationId="{C651774E-7AB2-DA54-206F-22C3D2BDF513}"/>
          </ac:spMkLst>
        </pc:spChg>
        <pc:spChg chg="mod">
          <ac:chgData name="Veniero Facchetti" userId="f2c6c99af91c4974" providerId="LiveId" clId="{34DF7D6B-EB0F-4B53-B080-BB8D6F5C3D93}" dt="2024-05-10T16:15:07.277" v="756"/>
          <ac:spMkLst>
            <pc:docMk/>
            <pc:sldMk cId="538651564" sldId="360"/>
            <ac:spMk id="166" creationId="{DD6D0074-4BCC-DC83-517B-196AA0D9C673}"/>
          </ac:spMkLst>
        </pc:spChg>
        <pc:spChg chg="mod">
          <ac:chgData name="Veniero Facchetti" userId="f2c6c99af91c4974" providerId="LiveId" clId="{34DF7D6B-EB0F-4B53-B080-BB8D6F5C3D93}" dt="2024-05-10T16:15:07.277" v="756"/>
          <ac:spMkLst>
            <pc:docMk/>
            <pc:sldMk cId="538651564" sldId="360"/>
            <ac:spMk id="167" creationId="{7A9E04AF-A9B5-FD6C-7E44-026ACEBDFD7A}"/>
          </ac:spMkLst>
        </pc:spChg>
        <pc:spChg chg="mod">
          <ac:chgData name="Veniero Facchetti" userId="f2c6c99af91c4974" providerId="LiveId" clId="{34DF7D6B-EB0F-4B53-B080-BB8D6F5C3D93}" dt="2024-05-10T16:15:07.277" v="756"/>
          <ac:spMkLst>
            <pc:docMk/>
            <pc:sldMk cId="538651564" sldId="360"/>
            <ac:spMk id="171" creationId="{B61C5763-1E2B-1774-D07B-B648D751E00E}"/>
          </ac:spMkLst>
        </pc:spChg>
        <pc:spChg chg="mod">
          <ac:chgData name="Veniero Facchetti" userId="f2c6c99af91c4974" providerId="LiveId" clId="{34DF7D6B-EB0F-4B53-B080-BB8D6F5C3D93}" dt="2024-05-10T16:15:07.277" v="756"/>
          <ac:spMkLst>
            <pc:docMk/>
            <pc:sldMk cId="538651564" sldId="360"/>
            <ac:spMk id="172" creationId="{AA7C3F58-3C66-5D20-7E65-28ED8757655D}"/>
          </ac:spMkLst>
        </pc:spChg>
        <pc:spChg chg="mod">
          <ac:chgData name="Veniero Facchetti" userId="f2c6c99af91c4974" providerId="LiveId" clId="{34DF7D6B-EB0F-4B53-B080-BB8D6F5C3D93}" dt="2024-05-10T16:15:07.277" v="756"/>
          <ac:spMkLst>
            <pc:docMk/>
            <pc:sldMk cId="538651564" sldId="360"/>
            <ac:spMk id="173" creationId="{C62E107D-7F70-523F-C5D4-0272ACBF27A4}"/>
          </ac:spMkLst>
        </pc:spChg>
        <pc:spChg chg="mod">
          <ac:chgData name="Veniero Facchetti" userId="f2c6c99af91c4974" providerId="LiveId" clId="{34DF7D6B-EB0F-4B53-B080-BB8D6F5C3D93}" dt="2024-05-10T16:15:07.277" v="756"/>
          <ac:spMkLst>
            <pc:docMk/>
            <pc:sldMk cId="538651564" sldId="360"/>
            <ac:spMk id="174" creationId="{7F3C932E-71EC-5393-5E63-F3BD26528E1A}"/>
          </ac:spMkLst>
        </pc:spChg>
        <pc:spChg chg="add mod">
          <ac:chgData name="Veniero Facchetti" userId="f2c6c99af91c4974" providerId="LiveId" clId="{34DF7D6B-EB0F-4B53-B080-BB8D6F5C3D93}" dt="2024-05-10T16:15:49.252" v="770" actId="1076"/>
          <ac:spMkLst>
            <pc:docMk/>
            <pc:sldMk cId="538651564" sldId="360"/>
            <ac:spMk id="177" creationId="{494FF1BC-38BA-D07A-7AB5-6B2F4273CB74}"/>
          </ac:spMkLst>
        </pc:spChg>
        <pc:grpChg chg="add mod">
          <ac:chgData name="Veniero Facchetti" userId="f2c6c99af91c4974" providerId="LiveId" clId="{34DF7D6B-EB0F-4B53-B080-BB8D6F5C3D93}" dt="2024-05-10T16:15:35.922" v="763" actId="1076"/>
          <ac:grpSpMkLst>
            <pc:docMk/>
            <pc:sldMk cId="538651564" sldId="360"/>
            <ac:grpSpMk id="11" creationId="{F4EFB192-21D3-5DF5-29C4-AE32586B4625}"/>
          </ac:grpSpMkLst>
        </pc:grpChg>
        <pc:grpChg chg="add mod">
          <ac:chgData name="Veniero Facchetti" userId="f2c6c99af91c4974" providerId="LiveId" clId="{34DF7D6B-EB0F-4B53-B080-BB8D6F5C3D93}" dt="2024-05-10T16:15:35.922" v="763" actId="1076"/>
          <ac:grpSpMkLst>
            <pc:docMk/>
            <pc:sldMk cId="538651564" sldId="360"/>
            <ac:grpSpMk id="18" creationId="{492E860A-08C8-65E6-B735-20017E31D4DF}"/>
          </ac:grpSpMkLst>
        </pc:grpChg>
        <pc:grpChg chg="add mod">
          <ac:chgData name="Veniero Facchetti" userId="f2c6c99af91c4974" providerId="LiveId" clId="{34DF7D6B-EB0F-4B53-B080-BB8D6F5C3D93}" dt="2024-05-10T16:15:35.922" v="763" actId="1076"/>
          <ac:grpSpMkLst>
            <pc:docMk/>
            <pc:sldMk cId="538651564" sldId="360"/>
            <ac:grpSpMk id="26" creationId="{A2B2EBFE-D4AB-0EDB-CD3C-095D0C0E5322}"/>
          </ac:grpSpMkLst>
        </pc:grpChg>
        <pc:grpChg chg="add mod">
          <ac:chgData name="Veniero Facchetti" userId="f2c6c99af91c4974" providerId="LiveId" clId="{34DF7D6B-EB0F-4B53-B080-BB8D6F5C3D93}" dt="2024-05-10T16:15:35.922" v="763" actId="1076"/>
          <ac:grpSpMkLst>
            <pc:docMk/>
            <pc:sldMk cId="538651564" sldId="360"/>
            <ac:grpSpMk id="35" creationId="{2D11087A-3854-81D8-4CCB-69D753E7A865}"/>
          </ac:grpSpMkLst>
        </pc:grpChg>
        <pc:grpChg chg="add mod">
          <ac:chgData name="Veniero Facchetti" userId="f2c6c99af91c4974" providerId="LiveId" clId="{34DF7D6B-EB0F-4B53-B080-BB8D6F5C3D93}" dt="2024-05-10T16:15:35.922" v="763" actId="1076"/>
          <ac:grpSpMkLst>
            <pc:docMk/>
            <pc:sldMk cId="538651564" sldId="360"/>
            <ac:grpSpMk id="44" creationId="{2484B42E-FE82-2530-69F9-4E770805CB4A}"/>
          </ac:grpSpMkLst>
        </pc:grpChg>
        <pc:grpChg chg="add mod">
          <ac:chgData name="Veniero Facchetti" userId="f2c6c99af91c4974" providerId="LiveId" clId="{34DF7D6B-EB0F-4B53-B080-BB8D6F5C3D93}" dt="2024-05-10T16:15:35.922" v="763" actId="1076"/>
          <ac:grpSpMkLst>
            <pc:docMk/>
            <pc:sldMk cId="538651564" sldId="360"/>
            <ac:grpSpMk id="53" creationId="{1A69F4D7-5C3E-3263-645A-578EABEB5667}"/>
          </ac:grpSpMkLst>
        </pc:grpChg>
        <pc:grpChg chg="add mod">
          <ac:chgData name="Veniero Facchetti" userId="f2c6c99af91c4974" providerId="LiveId" clId="{34DF7D6B-EB0F-4B53-B080-BB8D6F5C3D93}" dt="2024-05-10T16:15:35.922" v="763" actId="1076"/>
          <ac:grpSpMkLst>
            <pc:docMk/>
            <pc:sldMk cId="538651564" sldId="360"/>
            <ac:grpSpMk id="62" creationId="{3D3EB53F-3275-E9D6-0EF7-C680C653FD8F}"/>
          </ac:grpSpMkLst>
        </pc:grpChg>
        <pc:grpChg chg="add mod">
          <ac:chgData name="Veniero Facchetti" userId="f2c6c99af91c4974" providerId="LiveId" clId="{34DF7D6B-EB0F-4B53-B080-BB8D6F5C3D93}" dt="2024-05-10T16:15:35.922" v="763" actId="1076"/>
          <ac:grpSpMkLst>
            <pc:docMk/>
            <pc:sldMk cId="538651564" sldId="360"/>
            <ac:grpSpMk id="71" creationId="{486B1F2D-A7B5-25B7-A2BA-75099D48CDD4}"/>
          </ac:grpSpMkLst>
        </pc:grpChg>
        <pc:grpChg chg="add mod">
          <ac:chgData name="Veniero Facchetti" userId="f2c6c99af91c4974" providerId="LiveId" clId="{34DF7D6B-EB0F-4B53-B080-BB8D6F5C3D93}" dt="2024-05-10T16:15:35.922" v="763" actId="1076"/>
          <ac:grpSpMkLst>
            <pc:docMk/>
            <pc:sldMk cId="538651564" sldId="360"/>
            <ac:grpSpMk id="77" creationId="{573774ED-C70C-A716-154C-134A5992E5A0}"/>
          </ac:grpSpMkLst>
        </pc:grpChg>
        <pc:grpChg chg="add mod">
          <ac:chgData name="Veniero Facchetti" userId="f2c6c99af91c4974" providerId="LiveId" clId="{34DF7D6B-EB0F-4B53-B080-BB8D6F5C3D93}" dt="2024-05-10T16:15:35.922" v="763" actId="1076"/>
          <ac:grpSpMkLst>
            <pc:docMk/>
            <pc:sldMk cId="538651564" sldId="360"/>
            <ac:grpSpMk id="83" creationId="{FC374966-31CB-C2EB-0A13-28C30D3C0811}"/>
          </ac:grpSpMkLst>
        </pc:grpChg>
        <pc:grpChg chg="add mod">
          <ac:chgData name="Veniero Facchetti" userId="f2c6c99af91c4974" providerId="LiveId" clId="{34DF7D6B-EB0F-4B53-B080-BB8D6F5C3D93}" dt="2024-05-10T16:15:35.922" v="763" actId="1076"/>
          <ac:grpSpMkLst>
            <pc:docMk/>
            <pc:sldMk cId="538651564" sldId="360"/>
            <ac:grpSpMk id="89" creationId="{1D0EBB0E-B4A8-C1D9-5F3F-718A7FBF3F36}"/>
          </ac:grpSpMkLst>
        </pc:grpChg>
        <pc:grpChg chg="add mod">
          <ac:chgData name="Veniero Facchetti" userId="f2c6c99af91c4974" providerId="LiveId" clId="{34DF7D6B-EB0F-4B53-B080-BB8D6F5C3D93}" dt="2024-05-10T16:15:35.922" v="763" actId="1076"/>
          <ac:grpSpMkLst>
            <pc:docMk/>
            <pc:sldMk cId="538651564" sldId="360"/>
            <ac:grpSpMk id="95" creationId="{A392E3F6-DE80-3490-22AE-316669380549}"/>
          </ac:grpSpMkLst>
        </pc:grpChg>
        <pc:grpChg chg="add mod">
          <ac:chgData name="Veniero Facchetti" userId="f2c6c99af91c4974" providerId="LiveId" clId="{34DF7D6B-EB0F-4B53-B080-BB8D6F5C3D93}" dt="2024-05-10T16:15:07.277" v="756"/>
          <ac:grpSpMkLst>
            <pc:docMk/>
            <pc:sldMk cId="538651564" sldId="360"/>
            <ac:grpSpMk id="102" creationId="{A5C5391D-622C-8B0F-3AF3-21706E761793}"/>
          </ac:grpSpMkLst>
        </pc:grpChg>
        <pc:grpChg chg="add mod">
          <ac:chgData name="Veniero Facchetti" userId="f2c6c99af91c4974" providerId="LiveId" clId="{34DF7D6B-EB0F-4B53-B080-BB8D6F5C3D93}" dt="2024-05-10T16:15:35.922" v="763" actId="1076"/>
          <ac:grpSpMkLst>
            <pc:docMk/>
            <pc:sldMk cId="538651564" sldId="360"/>
            <ac:grpSpMk id="105" creationId="{8752CF9D-29D7-72B4-5CF2-0E3D960E668D}"/>
          </ac:grpSpMkLst>
        </pc:grpChg>
        <pc:grpChg chg="add mod">
          <ac:chgData name="Veniero Facchetti" userId="f2c6c99af91c4974" providerId="LiveId" clId="{34DF7D6B-EB0F-4B53-B080-BB8D6F5C3D93}" dt="2024-05-10T16:15:35.922" v="763" actId="1076"/>
          <ac:grpSpMkLst>
            <pc:docMk/>
            <pc:sldMk cId="538651564" sldId="360"/>
            <ac:grpSpMk id="111" creationId="{D53E42BA-4B20-1E19-41C9-36257443ED83}"/>
          </ac:grpSpMkLst>
        </pc:grpChg>
        <pc:grpChg chg="add mod">
          <ac:chgData name="Veniero Facchetti" userId="f2c6c99af91c4974" providerId="LiveId" clId="{34DF7D6B-EB0F-4B53-B080-BB8D6F5C3D93}" dt="2024-05-10T16:15:35.922" v="763" actId="1076"/>
          <ac:grpSpMkLst>
            <pc:docMk/>
            <pc:sldMk cId="538651564" sldId="360"/>
            <ac:grpSpMk id="120" creationId="{7B28FAC1-CDE3-5450-A230-CF5D0A0E3909}"/>
          </ac:grpSpMkLst>
        </pc:grpChg>
        <pc:grpChg chg="add mod">
          <ac:chgData name="Veniero Facchetti" userId="f2c6c99af91c4974" providerId="LiveId" clId="{34DF7D6B-EB0F-4B53-B080-BB8D6F5C3D93}" dt="2024-05-10T16:15:35.922" v="763" actId="1076"/>
          <ac:grpSpMkLst>
            <pc:docMk/>
            <pc:sldMk cId="538651564" sldId="360"/>
            <ac:grpSpMk id="127" creationId="{5AC85C01-0B04-A42A-8C8D-D537A5D8125C}"/>
          </ac:grpSpMkLst>
        </pc:grpChg>
        <pc:grpChg chg="add mod">
          <ac:chgData name="Veniero Facchetti" userId="f2c6c99af91c4974" providerId="LiveId" clId="{34DF7D6B-EB0F-4B53-B080-BB8D6F5C3D93}" dt="2024-05-10T16:15:35.922" v="763" actId="1076"/>
          <ac:grpSpMkLst>
            <pc:docMk/>
            <pc:sldMk cId="538651564" sldId="360"/>
            <ac:grpSpMk id="136" creationId="{F5EFAF9F-9A75-D710-0803-A647973779FB}"/>
          </ac:grpSpMkLst>
        </pc:grpChg>
        <pc:grpChg chg="add mod">
          <ac:chgData name="Veniero Facchetti" userId="f2c6c99af91c4974" providerId="LiveId" clId="{34DF7D6B-EB0F-4B53-B080-BB8D6F5C3D93}" dt="2024-05-10T16:15:35.922" v="763" actId="1076"/>
          <ac:grpSpMkLst>
            <pc:docMk/>
            <pc:sldMk cId="538651564" sldId="360"/>
            <ac:grpSpMk id="142" creationId="{4820CF02-EC4B-7B0E-41D5-5B66848585CE}"/>
          </ac:grpSpMkLst>
        </pc:grpChg>
        <pc:grpChg chg="add mod">
          <ac:chgData name="Veniero Facchetti" userId="f2c6c99af91c4974" providerId="LiveId" clId="{34DF7D6B-EB0F-4B53-B080-BB8D6F5C3D93}" dt="2024-05-10T16:15:35.922" v="763" actId="1076"/>
          <ac:grpSpMkLst>
            <pc:docMk/>
            <pc:sldMk cId="538651564" sldId="360"/>
            <ac:grpSpMk id="149" creationId="{A5A2785B-8AFF-00E6-2FFA-00C8EA787503}"/>
          </ac:grpSpMkLst>
        </pc:grpChg>
        <pc:grpChg chg="add mod">
          <ac:chgData name="Veniero Facchetti" userId="f2c6c99af91c4974" providerId="LiveId" clId="{34DF7D6B-EB0F-4B53-B080-BB8D6F5C3D93}" dt="2024-05-10T16:15:35.922" v="763" actId="1076"/>
          <ac:grpSpMkLst>
            <pc:docMk/>
            <pc:sldMk cId="538651564" sldId="360"/>
            <ac:grpSpMk id="156" creationId="{56B61603-9B07-29D1-9071-FC537021DEDF}"/>
          </ac:grpSpMkLst>
        </pc:grpChg>
        <pc:grpChg chg="add mod">
          <ac:chgData name="Veniero Facchetti" userId="f2c6c99af91c4974" providerId="LiveId" clId="{34DF7D6B-EB0F-4B53-B080-BB8D6F5C3D93}" dt="2024-05-10T16:15:35.922" v="763" actId="1076"/>
          <ac:grpSpMkLst>
            <pc:docMk/>
            <pc:sldMk cId="538651564" sldId="360"/>
            <ac:grpSpMk id="163" creationId="{70BB8495-2980-84F0-AAAB-0696292452AF}"/>
          </ac:grpSpMkLst>
        </pc:grpChg>
        <pc:grpChg chg="add mod">
          <ac:chgData name="Veniero Facchetti" userId="f2c6c99af91c4974" providerId="LiveId" clId="{34DF7D6B-EB0F-4B53-B080-BB8D6F5C3D93}" dt="2024-05-10T16:15:35.922" v="763" actId="1076"/>
          <ac:grpSpMkLst>
            <pc:docMk/>
            <pc:sldMk cId="538651564" sldId="360"/>
            <ac:grpSpMk id="170" creationId="{E17762E4-9366-6C19-509C-271C0E487BF1}"/>
          </ac:grpSpMkLst>
        </pc:grpChg>
        <pc:picChg chg="mod">
          <ac:chgData name="Veniero Facchetti" userId="f2c6c99af91c4974" providerId="LiveId" clId="{34DF7D6B-EB0F-4B53-B080-BB8D6F5C3D93}" dt="2024-05-10T16:15:07.277" v="756"/>
          <ac:picMkLst>
            <pc:docMk/>
            <pc:sldMk cId="538651564" sldId="360"/>
            <ac:picMk id="13" creationId="{9CF279DD-B3B0-6049-BCED-51A9EC8C7DDC}"/>
          </ac:picMkLst>
        </pc:picChg>
        <pc:picChg chg="mod">
          <ac:chgData name="Veniero Facchetti" userId="f2c6c99af91c4974" providerId="LiveId" clId="{34DF7D6B-EB0F-4B53-B080-BB8D6F5C3D93}" dt="2024-05-10T16:15:07.277" v="756"/>
          <ac:picMkLst>
            <pc:docMk/>
            <pc:sldMk cId="538651564" sldId="360"/>
            <ac:picMk id="15" creationId="{BD155EF1-DEC5-C668-D11D-8E91E47DB356}"/>
          </ac:picMkLst>
        </pc:picChg>
        <pc:picChg chg="mod">
          <ac:chgData name="Veniero Facchetti" userId="f2c6c99af91c4974" providerId="LiveId" clId="{34DF7D6B-EB0F-4B53-B080-BB8D6F5C3D93}" dt="2024-05-10T16:15:07.277" v="756"/>
          <ac:picMkLst>
            <pc:docMk/>
            <pc:sldMk cId="538651564" sldId="360"/>
            <ac:picMk id="21" creationId="{7656BF8E-0C65-949B-A94E-207C3BECEE16}"/>
          </ac:picMkLst>
        </pc:picChg>
        <pc:picChg chg="mod">
          <ac:chgData name="Veniero Facchetti" userId="f2c6c99af91c4974" providerId="LiveId" clId="{34DF7D6B-EB0F-4B53-B080-BB8D6F5C3D93}" dt="2024-05-10T16:15:07.277" v="756"/>
          <ac:picMkLst>
            <pc:docMk/>
            <pc:sldMk cId="538651564" sldId="360"/>
            <ac:picMk id="30" creationId="{FCA8E5F8-433F-43AF-BA2E-4CC632EE3776}"/>
          </ac:picMkLst>
        </pc:picChg>
        <pc:picChg chg="mod">
          <ac:chgData name="Veniero Facchetti" userId="f2c6c99af91c4974" providerId="LiveId" clId="{34DF7D6B-EB0F-4B53-B080-BB8D6F5C3D93}" dt="2024-05-10T16:15:07.277" v="756"/>
          <ac:picMkLst>
            <pc:docMk/>
            <pc:sldMk cId="538651564" sldId="360"/>
            <ac:picMk id="31" creationId="{0ADEE887-10B4-17E5-2FE4-EE46B5DE3234}"/>
          </ac:picMkLst>
        </pc:picChg>
        <pc:picChg chg="mod">
          <ac:chgData name="Veniero Facchetti" userId="f2c6c99af91c4974" providerId="LiveId" clId="{34DF7D6B-EB0F-4B53-B080-BB8D6F5C3D93}" dt="2024-05-10T16:15:07.277" v="756"/>
          <ac:picMkLst>
            <pc:docMk/>
            <pc:sldMk cId="538651564" sldId="360"/>
            <ac:picMk id="39" creationId="{45C68E66-D63B-D67D-771F-97AE9C77D5BD}"/>
          </ac:picMkLst>
        </pc:picChg>
        <pc:picChg chg="mod">
          <ac:chgData name="Veniero Facchetti" userId="f2c6c99af91c4974" providerId="LiveId" clId="{34DF7D6B-EB0F-4B53-B080-BB8D6F5C3D93}" dt="2024-05-10T16:15:07.277" v="756"/>
          <ac:picMkLst>
            <pc:docMk/>
            <pc:sldMk cId="538651564" sldId="360"/>
            <ac:picMk id="41" creationId="{1FFA2A6E-6A8F-CA02-3ECE-2129867E74E6}"/>
          </ac:picMkLst>
        </pc:picChg>
        <pc:picChg chg="mod">
          <ac:chgData name="Veniero Facchetti" userId="f2c6c99af91c4974" providerId="LiveId" clId="{34DF7D6B-EB0F-4B53-B080-BB8D6F5C3D93}" dt="2024-05-10T16:15:07.277" v="756"/>
          <ac:picMkLst>
            <pc:docMk/>
            <pc:sldMk cId="538651564" sldId="360"/>
            <ac:picMk id="48" creationId="{2352C2A9-4B99-33D0-DC22-5E8E4EB7FA29}"/>
          </ac:picMkLst>
        </pc:picChg>
        <pc:picChg chg="mod">
          <ac:chgData name="Veniero Facchetti" userId="f2c6c99af91c4974" providerId="LiveId" clId="{34DF7D6B-EB0F-4B53-B080-BB8D6F5C3D93}" dt="2024-05-10T16:15:07.277" v="756"/>
          <ac:picMkLst>
            <pc:docMk/>
            <pc:sldMk cId="538651564" sldId="360"/>
            <ac:picMk id="50" creationId="{62D1D895-6905-E47D-ABFB-AD01485F9C2F}"/>
          </ac:picMkLst>
        </pc:picChg>
        <pc:picChg chg="mod">
          <ac:chgData name="Veniero Facchetti" userId="f2c6c99af91c4974" providerId="LiveId" clId="{34DF7D6B-EB0F-4B53-B080-BB8D6F5C3D93}" dt="2024-05-10T16:15:07.277" v="756"/>
          <ac:picMkLst>
            <pc:docMk/>
            <pc:sldMk cId="538651564" sldId="360"/>
            <ac:picMk id="57" creationId="{C428B88F-5F5D-4A4C-FB3C-2828C8AA8725}"/>
          </ac:picMkLst>
        </pc:picChg>
        <pc:picChg chg="mod">
          <ac:chgData name="Veniero Facchetti" userId="f2c6c99af91c4974" providerId="LiveId" clId="{34DF7D6B-EB0F-4B53-B080-BB8D6F5C3D93}" dt="2024-05-10T16:15:07.277" v="756"/>
          <ac:picMkLst>
            <pc:docMk/>
            <pc:sldMk cId="538651564" sldId="360"/>
            <ac:picMk id="59" creationId="{58A4263B-1025-C7D9-96B4-56D42B0A230F}"/>
          </ac:picMkLst>
        </pc:picChg>
        <pc:picChg chg="mod">
          <ac:chgData name="Veniero Facchetti" userId="f2c6c99af91c4974" providerId="LiveId" clId="{34DF7D6B-EB0F-4B53-B080-BB8D6F5C3D93}" dt="2024-05-10T16:15:07.277" v="756"/>
          <ac:picMkLst>
            <pc:docMk/>
            <pc:sldMk cId="538651564" sldId="360"/>
            <ac:picMk id="66" creationId="{4B003EE7-1597-2ECD-4B2D-95D8CB667FD1}"/>
          </ac:picMkLst>
        </pc:picChg>
        <pc:picChg chg="mod">
          <ac:chgData name="Veniero Facchetti" userId="f2c6c99af91c4974" providerId="LiveId" clId="{34DF7D6B-EB0F-4B53-B080-BB8D6F5C3D93}" dt="2024-05-10T16:15:07.277" v="756"/>
          <ac:picMkLst>
            <pc:docMk/>
            <pc:sldMk cId="538651564" sldId="360"/>
            <ac:picMk id="68" creationId="{ABF5D51B-0228-8293-3C16-E3F7ACFDD97F}"/>
          </ac:picMkLst>
        </pc:picChg>
        <pc:picChg chg="mod">
          <ac:chgData name="Veniero Facchetti" userId="f2c6c99af91c4974" providerId="LiveId" clId="{34DF7D6B-EB0F-4B53-B080-BB8D6F5C3D93}" dt="2024-05-10T16:15:07.277" v="756"/>
          <ac:picMkLst>
            <pc:docMk/>
            <pc:sldMk cId="538651564" sldId="360"/>
            <ac:picMk id="118" creationId="{1952B17A-14F0-0166-AFD8-4DF16185C00E}"/>
          </ac:picMkLst>
        </pc:picChg>
        <pc:picChg chg="mod">
          <ac:chgData name="Veniero Facchetti" userId="f2c6c99af91c4974" providerId="LiveId" clId="{34DF7D6B-EB0F-4B53-B080-BB8D6F5C3D93}" dt="2024-05-10T16:15:07.277" v="756"/>
          <ac:picMkLst>
            <pc:docMk/>
            <pc:sldMk cId="538651564" sldId="360"/>
            <ac:picMk id="119" creationId="{0AB8BE84-7FD7-95C9-FECB-3D16AF315244}"/>
          </ac:picMkLst>
        </pc:picChg>
        <pc:picChg chg="mod">
          <ac:chgData name="Veniero Facchetti" userId="f2c6c99af91c4974" providerId="LiveId" clId="{34DF7D6B-EB0F-4B53-B080-BB8D6F5C3D93}" dt="2024-05-10T16:15:07.277" v="756"/>
          <ac:picMkLst>
            <pc:docMk/>
            <pc:sldMk cId="538651564" sldId="360"/>
            <ac:picMk id="125" creationId="{6F7B603A-9B82-920B-C26E-4BA286F15C8A}"/>
          </ac:picMkLst>
        </pc:picChg>
        <pc:picChg chg="mod">
          <ac:chgData name="Veniero Facchetti" userId="f2c6c99af91c4974" providerId="LiveId" clId="{34DF7D6B-EB0F-4B53-B080-BB8D6F5C3D93}" dt="2024-05-10T16:15:07.277" v="756"/>
          <ac:picMkLst>
            <pc:docMk/>
            <pc:sldMk cId="538651564" sldId="360"/>
            <ac:picMk id="126" creationId="{084F1E98-868D-B150-F79A-41C11C519A67}"/>
          </ac:picMkLst>
        </pc:picChg>
        <pc:picChg chg="mod">
          <ac:chgData name="Veniero Facchetti" userId="f2c6c99af91c4974" providerId="LiveId" clId="{34DF7D6B-EB0F-4B53-B080-BB8D6F5C3D93}" dt="2024-05-10T16:15:07.277" v="756"/>
          <ac:picMkLst>
            <pc:docMk/>
            <pc:sldMk cId="538651564" sldId="360"/>
            <ac:picMk id="134" creationId="{BD780FB1-37CD-E8F4-4115-732E61F6A987}"/>
          </ac:picMkLst>
        </pc:picChg>
        <pc:picChg chg="mod">
          <ac:chgData name="Veniero Facchetti" userId="f2c6c99af91c4974" providerId="LiveId" clId="{34DF7D6B-EB0F-4B53-B080-BB8D6F5C3D93}" dt="2024-05-10T16:15:07.277" v="756"/>
          <ac:picMkLst>
            <pc:docMk/>
            <pc:sldMk cId="538651564" sldId="360"/>
            <ac:picMk id="135" creationId="{3E877E43-E18C-DB4F-77AA-BA01E4C9AFA6}"/>
          </ac:picMkLst>
        </pc:picChg>
        <pc:picChg chg="mod">
          <ac:chgData name="Veniero Facchetti" userId="f2c6c99af91c4974" providerId="LiveId" clId="{34DF7D6B-EB0F-4B53-B080-BB8D6F5C3D93}" dt="2024-05-10T16:15:07.277" v="756"/>
          <ac:picMkLst>
            <pc:docMk/>
            <pc:sldMk cId="538651564" sldId="360"/>
            <ac:picMk id="147" creationId="{48F05E29-8351-D512-9749-503721046EFE}"/>
          </ac:picMkLst>
        </pc:picChg>
        <pc:picChg chg="mod">
          <ac:chgData name="Veniero Facchetti" userId="f2c6c99af91c4974" providerId="LiveId" clId="{34DF7D6B-EB0F-4B53-B080-BB8D6F5C3D93}" dt="2024-05-10T16:15:07.277" v="756"/>
          <ac:picMkLst>
            <pc:docMk/>
            <pc:sldMk cId="538651564" sldId="360"/>
            <ac:picMk id="148" creationId="{02749780-A010-C6D8-53A1-4DECA3B9C7A4}"/>
          </ac:picMkLst>
        </pc:picChg>
        <pc:picChg chg="mod">
          <ac:chgData name="Veniero Facchetti" userId="f2c6c99af91c4974" providerId="LiveId" clId="{34DF7D6B-EB0F-4B53-B080-BB8D6F5C3D93}" dt="2024-05-10T16:15:07.277" v="756"/>
          <ac:picMkLst>
            <pc:docMk/>
            <pc:sldMk cId="538651564" sldId="360"/>
            <ac:picMk id="154" creationId="{82D9F49B-9DDC-DD5D-3C95-05505529D81B}"/>
          </ac:picMkLst>
        </pc:picChg>
        <pc:picChg chg="mod">
          <ac:chgData name="Veniero Facchetti" userId="f2c6c99af91c4974" providerId="LiveId" clId="{34DF7D6B-EB0F-4B53-B080-BB8D6F5C3D93}" dt="2024-05-10T16:15:07.277" v="756"/>
          <ac:picMkLst>
            <pc:docMk/>
            <pc:sldMk cId="538651564" sldId="360"/>
            <ac:picMk id="155" creationId="{4C0F7DB7-8920-9B94-4277-097D405B7D86}"/>
          </ac:picMkLst>
        </pc:picChg>
        <pc:picChg chg="mod">
          <ac:chgData name="Veniero Facchetti" userId="f2c6c99af91c4974" providerId="LiveId" clId="{34DF7D6B-EB0F-4B53-B080-BB8D6F5C3D93}" dt="2024-05-10T16:15:07.277" v="756"/>
          <ac:picMkLst>
            <pc:docMk/>
            <pc:sldMk cId="538651564" sldId="360"/>
            <ac:picMk id="161" creationId="{642A1F97-B7CD-49F6-BC80-FF4C902077E9}"/>
          </ac:picMkLst>
        </pc:picChg>
        <pc:picChg chg="mod">
          <ac:chgData name="Veniero Facchetti" userId="f2c6c99af91c4974" providerId="LiveId" clId="{34DF7D6B-EB0F-4B53-B080-BB8D6F5C3D93}" dt="2024-05-10T16:15:07.277" v="756"/>
          <ac:picMkLst>
            <pc:docMk/>
            <pc:sldMk cId="538651564" sldId="360"/>
            <ac:picMk id="162" creationId="{8DD5EF35-9CF6-363E-4910-28A08C06B362}"/>
          </ac:picMkLst>
        </pc:picChg>
        <pc:picChg chg="mod">
          <ac:chgData name="Veniero Facchetti" userId="f2c6c99af91c4974" providerId="LiveId" clId="{34DF7D6B-EB0F-4B53-B080-BB8D6F5C3D93}" dt="2024-05-10T16:15:07.277" v="756"/>
          <ac:picMkLst>
            <pc:docMk/>
            <pc:sldMk cId="538651564" sldId="360"/>
            <ac:picMk id="168" creationId="{45B06234-143B-8D05-4E7F-BD6898701B97}"/>
          </ac:picMkLst>
        </pc:picChg>
        <pc:picChg chg="mod">
          <ac:chgData name="Veniero Facchetti" userId="f2c6c99af91c4974" providerId="LiveId" clId="{34DF7D6B-EB0F-4B53-B080-BB8D6F5C3D93}" dt="2024-05-10T16:15:07.277" v="756"/>
          <ac:picMkLst>
            <pc:docMk/>
            <pc:sldMk cId="538651564" sldId="360"/>
            <ac:picMk id="169" creationId="{DD276DFE-BBFF-40B9-B134-D6EC09F124FF}"/>
          </ac:picMkLst>
        </pc:picChg>
        <pc:picChg chg="mod">
          <ac:chgData name="Veniero Facchetti" userId="f2c6c99af91c4974" providerId="LiveId" clId="{34DF7D6B-EB0F-4B53-B080-BB8D6F5C3D93}" dt="2024-05-10T16:15:07.277" v="756"/>
          <ac:picMkLst>
            <pc:docMk/>
            <pc:sldMk cId="538651564" sldId="360"/>
            <ac:picMk id="175" creationId="{DFD10A8A-DB8B-B900-E7EB-F926A3320E40}"/>
          </ac:picMkLst>
        </pc:picChg>
        <pc:picChg chg="mod">
          <ac:chgData name="Veniero Facchetti" userId="f2c6c99af91c4974" providerId="LiveId" clId="{34DF7D6B-EB0F-4B53-B080-BB8D6F5C3D93}" dt="2024-05-10T16:15:07.277" v="756"/>
          <ac:picMkLst>
            <pc:docMk/>
            <pc:sldMk cId="538651564" sldId="360"/>
            <ac:picMk id="176" creationId="{60B682E8-0BB0-758F-6C64-4CCD3BF23154}"/>
          </ac:picMkLst>
        </pc:picChg>
        <pc:cxnChg chg="mod">
          <ac:chgData name="Veniero Facchetti" userId="f2c6c99af91c4974" providerId="LiveId" clId="{34DF7D6B-EB0F-4B53-B080-BB8D6F5C3D93}" dt="2024-05-10T16:15:07.277" v="756"/>
          <ac:cxnSpMkLst>
            <pc:docMk/>
            <pc:sldMk cId="538651564" sldId="360"/>
            <ac:cxnSpMk id="72" creationId="{A7D04766-880F-F92A-AFC8-4F6787BC8AEC}"/>
          </ac:cxnSpMkLst>
        </pc:cxnChg>
        <pc:cxnChg chg="mod">
          <ac:chgData name="Veniero Facchetti" userId="f2c6c99af91c4974" providerId="LiveId" clId="{34DF7D6B-EB0F-4B53-B080-BB8D6F5C3D93}" dt="2024-05-10T16:15:07.277" v="756"/>
          <ac:cxnSpMkLst>
            <pc:docMk/>
            <pc:sldMk cId="538651564" sldId="360"/>
            <ac:cxnSpMk id="73" creationId="{8F6120F7-76F2-5E76-3689-2C7705D38A77}"/>
          </ac:cxnSpMkLst>
        </pc:cxnChg>
        <pc:cxnChg chg="mod">
          <ac:chgData name="Veniero Facchetti" userId="f2c6c99af91c4974" providerId="LiveId" clId="{34DF7D6B-EB0F-4B53-B080-BB8D6F5C3D93}" dt="2024-05-10T16:15:07.277" v="756"/>
          <ac:cxnSpMkLst>
            <pc:docMk/>
            <pc:sldMk cId="538651564" sldId="360"/>
            <ac:cxnSpMk id="74" creationId="{D1F769F6-420C-40A6-2ED1-43E0F6CBBF2D}"/>
          </ac:cxnSpMkLst>
        </pc:cxnChg>
        <pc:cxnChg chg="mod">
          <ac:chgData name="Veniero Facchetti" userId="f2c6c99af91c4974" providerId="LiveId" clId="{34DF7D6B-EB0F-4B53-B080-BB8D6F5C3D93}" dt="2024-05-10T16:15:07.277" v="756"/>
          <ac:cxnSpMkLst>
            <pc:docMk/>
            <pc:sldMk cId="538651564" sldId="360"/>
            <ac:cxnSpMk id="75" creationId="{543B598B-FF3D-9BAC-7721-874B976BD63A}"/>
          </ac:cxnSpMkLst>
        </pc:cxnChg>
        <pc:cxnChg chg="mod">
          <ac:chgData name="Veniero Facchetti" userId="f2c6c99af91c4974" providerId="LiveId" clId="{34DF7D6B-EB0F-4B53-B080-BB8D6F5C3D93}" dt="2024-05-10T16:15:07.277" v="756"/>
          <ac:cxnSpMkLst>
            <pc:docMk/>
            <pc:sldMk cId="538651564" sldId="360"/>
            <ac:cxnSpMk id="76" creationId="{65E6A9AC-2E0D-4859-E5D7-509EB8D43A53}"/>
          </ac:cxnSpMkLst>
        </pc:cxnChg>
        <pc:cxnChg chg="mod">
          <ac:chgData name="Veniero Facchetti" userId="f2c6c99af91c4974" providerId="LiveId" clId="{34DF7D6B-EB0F-4B53-B080-BB8D6F5C3D93}" dt="2024-05-10T16:15:07.277" v="756"/>
          <ac:cxnSpMkLst>
            <pc:docMk/>
            <pc:sldMk cId="538651564" sldId="360"/>
            <ac:cxnSpMk id="78" creationId="{DE38CDCB-0033-F261-B89A-C34403052F3E}"/>
          </ac:cxnSpMkLst>
        </pc:cxnChg>
        <pc:cxnChg chg="mod">
          <ac:chgData name="Veniero Facchetti" userId="f2c6c99af91c4974" providerId="LiveId" clId="{34DF7D6B-EB0F-4B53-B080-BB8D6F5C3D93}" dt="2024-05-10T16:15:07.277" v="756"/>
          <ac:cxnSpMkLst>
            <pc:docMk/>
            <pc:sldMk cId="538651564" sldId="360"/>
            <ac:cxnSpMk id="79" creationId="{BF03F83F-52D8-29D3-D172-4D5451FC94D5}"/>
          </ac:cxnSpMkLst>
        </pc:cxnChg>
        <pc:cxnChg chg="mod">
          <ac:chgData name="Veniero Facchetti" userId="f2c6c99af91c4974" providerId="LiveId" clId="{34DF7D6B-EB0F-4B53-B080-BB8D6F5C3D93}" dt="2024-05-10T16:15:07.277" v="756"/>
          <ac:cxnSpMkLst>
            <pc:docMk/>
            <pc:sldMk cId="538651564" sldId="360"/>
            <ac:cxnSpMk id="80" creationId="{A38AF7C0-B52C-2B91-88F8-EDDAFDFBA891}"/>
          </ac:cxnSpMkLst>
        </pc:cxnChg>
        <pc:cxnChg chg="mod">
          <ac:chgData name="Veniero Facchetti" userId="f2c6c99af91c4974" providerId="LiveId" clId="{34DF7D6B-EB0F-4B53-B080-BB8D6F5C3D93}" dt="2024-05-10T16:15:07.277" v="756"/>
          <ac:cxnSpMkLst>
            <pc:docMk/>
            <pc:sldMk cId="538651564" sldId="360"/>
            <ac:cxnSpMk id="81" creationId="{95B27CD5-9917-C743-4A8D-63C40402DEF9}"/>
          </ac:cxnSpMkLst>
        </pc:cxnChg>
        <pc:cxnChg chg="mod">
          <ac:chgData name="Veniero Facchetti" userId="f2c6c99af91c4974" providerId="LiveId" clId="{34DF7D6B-EB0F-4B53-B080-BB8D6F5C3D93}" dt="2024-05-10T16:15:07.277" v="756"/>
          <ac:cxnSpMkLst>
            <pc:docMk/>
            <pc:sldMk cId="538651564" sldId="360"/>
            <ac:cxnSpMk id="82" creationId="{971430A5-BBF3-0BCF-53ED-6FB99B6787F7}"/>
          </ac:cxnSpMkLst>
        </pc:cxnChg>
        <pc:cxnChg chg="mod">
          <ac:chgData name="Veniero Facchetti" userId="f2c6c99af91c4974" providerId="LiveId" clId="{34DF7D6B-EB0F-4B53-B080-BB8D6F5C3D93}" dt="2024-05-10T16:15:07.277" v="756"/>
          <ac:cxnSpMkLst>
            <pc:docMk/>
            <pc:sldMk cId="538651564" sldId="360"/>
            <ac:cxnSpMk id="84" creationId="{5E72EFEE-4971-02F8-32A1-CE298C7E9C4F}"/>
          </ac:cxnSpMkLst>
        </pc:cxnChg>
        <pc:cxnChg chg="mod">
          <ac:chgData name="Veniero Facchetti" userId="f2c6c99af91c4974" providerId="LiveId" clId="{34DF7D6B-EB0F-4B53-B080-BB8D6F5C3D93}" dt="2024-05-10T16:15:07.277" v="756"/>
          <ac:cxnSpMkLst>
            <pc:docMk/>
            <pc:sldMk cId="538651564" sldId="360"/>
            <ac:cxnSpMk id="85" creationId="{C6D4E767-849B-5F25-F013-8F9F92DFA94A}"/>
          </ac:cxnSpMkLst>
        </pc:cxnChg>
        <pc:cxnChg chg="mod">
          <ac:chgData name="Veniero Facchetti" userId="f2c6c99af91c4974" providerId="LiveId" clId="{34DF7D6B-EB0F-4B53-B080-BB8D6F5C3D93}" dt="2024-05-10T16:15:07.277" v="756"/>
          <ac:cxnSpMkLst>
            <pc:docMk/>
            <pc:sldMk cId="538651564" sldId="360"/>
            <ac:cxnSpMk id="86" creationId="{8DF18CF6-A4ED-3FFE-3657-CE0D510393FE}"/>
          </ac:cxnSpMkLst>
        </pc:cxnChg>
        <pc:cxnChg chg="mod">
          <ac:chgData name="Veniero Facchetti" userId="f2c6c99af91c4974" providerId="LiveId" clId="{34DF7D6B-EB0F-4B53-B080-BB8D6F5C3D93}" dt="2024-05-10T16:15:07.277" v="756"/>
          <ac:cxnSpMkLst>
            <pc:docMk/>
            <pc:sldMk cId="538651564" sldId="360"/>
            <ac:cxnSpMk id="87" creationId="{257D5AAA-975F-B1E8-5842-6401ADC1430F}"/>
          </ac:cxnSpMkLst>
        </pc:cxnChg>
        <pc:cxnChg chg="mod">
          <ac:chgData name="Veniero Facchetti" userId="f2c6c99af91c4974" providerId="LiveId" clId="{34DF7D6B-EB0F-4B53-B080-BB8D6F5C3D93}" dt="2024-05-10T16:15:07.277" v="756"/>
          <ac:cxnSpMkLst>
            <pc:docMk/>
            <pc:sldMk cId="538651564" sldId="360"/>
            <ac:cxnSpMk id="88" creationId="{F480B697-F2AD-5417-B9DB-6D12F1EE3D1B}"/>
          </ac:cxnSpMkLst>
        </pc:cxnChg>
        <pc:cxnChg chg="mod">
          <ac:chgData name="Veniero Facchetti" userId="f2c6c99af91c4974" providerId="LiveId" clId="{34DF7D6B-EB0F-4B53-B080-BB8D6F5C3D93}" dt="2024-05-10T16:15:07.277" v="756"/>
          <ac:cxnSpMkLst>
            <pc:docMk/>
            <pc:sldMk cId="538651564" sldId="360"/>
            <ac:cxnSpMk id="90" creationId="{D03BF69C-7F81-25BE-4852-DFE7E13B89A2}"/>
          </ac:cxnSpMkLst>
        </pc:cxnChg>
        <pc:cxnChg chg="mod">
          <ac:chgData name="Veniero Facchetti" userId="f2c6c99af91c4974" providerId="LiveId" clId="{34DF7D6B-EB0F-4B53-B080-BB8D6F5C3D93}" dt="2024-05-10T16:15:07.277" v="756"/>
          <ac:cxnSpMkLst>
            <pc:docMk/>
            <pc:sldMk cId="538651564" sldId="360"/>
            <ac:cxnSpMk id="91" creationId="{5BA87B19-D4DF-0B65-BF89-A98162C104F7}"/>
          </ac:cxnSpMkLst>
        </pc:cxnChg>
        <pc:cxnChg chg="mod">
          <ac:chgData name="Veniero Facchetti" userId="f2c6c99af91c4974" providerId="LiveId" clId="{34DF7D6B-EB0F-4B53-B080-BB8D6F5C3D93}" dt="2024-05-10T16:15:07.277" v="756"/>
          <ac:cxnSpMkLst>
            <pc:docMk/>
            <pc:sldMk cId="538651564" sldId="360"/>
            <ac:cxnSpMk id="92" creationId="{1293626C-1416-EFF7-C269-9C203962E0B4}"/>
          </ac:cxnSpMkLst>
        </pc:cxnChg>
        <pc:cxnChg chg="mod">
          <ac:chgData name="Veniero Facchetti" userId="f2c6c99af91c4974" providerId="LiveId" clId="{34DF7D6B-EB0F-4B53-B080-BB8D6F5C3D93}" dt="2024-05-10T16:15:07.277" v="756"/>
          <ac:cxnSpMkLst>
            <pc:docMk/>
            <pc:sldMk cId="538651564" sldId="360"/>
            <ac:cxnSpMk id="93" creationId="{95F9A3C6-F27B-935D-938A-FCA0867EEFB0}"/>
          </ac:cxnSpMkLst>
        </pc:cxnChg>
        <pc:cxnChg chg="mod">
          <ac:chgData name="Veniero Facchetti" userId="f2c6c99af91c4974" providerId="LiveId" clId="{34DF7D6B-EB0F-4B53-B080-BB8D6F5C3D93}" dt="2024-05-10T16:15:07.277" v="756"/>
          <ac:cxnSpMkLst>
            <pc:docMk/>
            <pc:sldMk cId="538651564" sldId="360"/>
            <ac:cxnSpMk id="94" creationId="{9FB69A24-1A6D-753C-A0BB-C27DCE827A24}"/>
          </ac:cxnSpMkLst>
        </pc:cxnChg>
        <pc:cxnChg chg="mod">
          <ac:chgData name="Veniero Facchetti" userId="f2c6c99af91c4974" providerId="LiveId" clId="{34DF7D6B-EB0F-4B53-B080-BB8D6F5C3D93}" dt="2024-05-10T16:15:07.277" v="756"/>
          <ac:cxnSpMkLst>
            <pc:docMk/>
            <pc:sldMk cId="538651564" sldId="360"/>
            <ac:cxnSpMk id="96" creationId="{0C5E5A6A-2008-0666-E655-B9DB71AA6D35}"/>
          </ac:cxnSpMkLst>
        </pc:cxnChg>
        <pc:cxnChg chg="mod">
          <ac:chgData name="Veniero Facchetti" userId="f2c6c99af91c4974" providerId="LiveId" clId="{34DF7D6B-EB0F-4B53-B080-BB8D6F5C3D93}" dt="2024-05-10T16:15:07.277" v="756"/>
          <ac:cxnSpMkLst>
            <pc:docMk/>
            <pc:sldMk cId="538651564" sldId="360"/>
            <ac:cxnSpMk id="97" creationId="{0E6369D0-6126-BA4D-8818-68718286673C}"/>
          </ac:cxnSpMkLst>
        </pc:cxnChg>
        <pc:cxnChg chg="mod">
          <ac:chgData name="Veniero Facchetti" userId="f2c6c99af91c4974" providerId="LiveId" clId="{34DF7D6B-EB0F-4B53-B080-BB8D6F5C3D93}" dt="2024-05-10T16:15:07.277" v="756"/>
          <ac:cxnSpMkLst>
            <pc:docMk/>
            <pc:sldMk cId="538651564" sldId="360"/>
            <ac:cxnSpMk id="98" creationId="{1025F387-3E2A-C303-AC96-2532B7CD1C95}"/>
          </ac:cxnSpMkLst>
        </pc:cxnChg>
        <pc:cxnChg chg="mod">
          <ac:chgData name="Veniero Facchetti" userId="f2c6c99af91c4974" providerId="LiveId" clId="{34DF7D6B-EB0F-4B53-B080-BB8D6F5C3D93}" dt="2024-05-10T16:15:07.277" v="756"/>
          <ac:cxnSpMkLst>
            <pc:docMk/>
            <pc:sldMk cId="538651564" sldId="360"/>
            <ac:cxnSpMk id="99" creationId="{6FAACAFF-F678-5CD5-DD68-44B34BF43BDF}"/>
          </ac:cxnSpMkLst>
        </pc:cxnChg>
        <pc:cxnChg chg="mod">
          <ac:chgData name="Veniero Facchetti" userId="f2c6c99af91c4974" providerId="LiveId" clId="{34DF7D6B-EB0F-4B53-B080-BB8D6F5C3D93}" dt="2024-05-10T16:15:07.277" v="756"/>
          <ac:cxnSpMkLst>
            <pc:docMk/>
            <pc:sldMk cId="538651564" sldId="360"/>
            <ac:cxnSpMk id="100" creationId="{A7F8FC0D-5036-1A81-ECD3-68DD71D1BBA5}"/>
          </ac:cxnSpMkLst>
        </pc:cxnChg>
        <pc:cxnChg chg="mod">
          <ac:chgData name="Veniero Facchetti" userId="f2c6c99af91c4974" providerId="LiveId" clId="{34DF7D6B-EB0F-4B53-B080-BB8D6F5C3D93}" dt="2024-05-10T16:15:07.277" v="756"/>
          <ac:cxnSpMkLst>
            <pc:docMk/>
            <pc:sldMk cId="538651564" sldId="360"/>
            <ac:cxnSpMk id="106" creationId="{FEDCE0E8-80FC-474A-9C5C-935B570F0E8A}"/>
          </ac:cxnSpMkLst>
        </pc:cxnChg>
        <pc:cxnChg chg="mod">
          <ac:chgData name="Veniero Facchetti" userId="f2c6c99af91c4974" providerId="LiveId" clId="{34DF7D6B-EB0F-4B53-B080-BB8D6F5C3D93}" dt="2024-05-10T16:15:07.277" v="756"/>
          <ac:cxnSpMkLst>
            <pc:docMk/>
            <pc:sldMk cId="538651564" sldId="360"/>
            <ac:cxnSpMk id="107" creationId="{063D8904-2F89-ADAA-E114-E47447CB69EE}"/>
          </ac:cxnSpMkLst>
        </pc:cxnChg>
        <pc:cxnChg chg="mod">
          <ac:chgData name="Veniero Facchetti" userId="f2c6c99af91c4974" providerId="LiveId" clId="{34DF7D6B-EB0F-4B53-B080-BB8D6F5C3D93}" dt="2024-05-10T16:15:07.277" v="756"/>
          <ac:cxnSpMkLst>
            <pc:docMk/>
            <pc:sldMk cId="538651564" sldId="360"/>
            <ac:cxnSpMk id="108" creationId="{633F4955-8ECD-FECB-F3B8-6EF4501269BF}"/>
          </ac:cxnSpMkLst>
        </pc:cxnChg>
        <pc:cxnChg chg="mod">
          <ac:chgData name="Veniero Facchetti" userId="f2c6c99af91c4974" providerId="LiveId" clId="{34DF7D6B-EB0F-4B53-B080-BB8D6F5C3D93}" dt="2024-05-10T16:15:07.277" v="756"/>
          <ac:cxnSpMkLst>
            <pc:docMk/>
            <pc:sldMk cId="538651564" sldId="360"/>
            <ac:cxnSpMk id="109" creationId="{929B9E7A-82DD-79F7-B517-6BA5686E62EF}"/>
          </ac:cxnSpMkLst>
        </pc:cxnChg>
        <pc:cxnChg chg="mod">
          <ac:chgData name="Veniero Facchetti" userId="f2c6c99af91c4974" providerId="LiveId" clId="{34DF7D6B-EB0F-4B53-B080-BB8D6F5C3D93}" dt="2024-05-10T16:15:07.277" v="756"/>
          <ac:cxnSpMkLst>
            <pc:docMk/>
            <pc:sldMk cId="538651564" sldId="360"/>
            <ac:cxnSpMk id="110" creationId="{97959995-378B-DB5C-23C3-D22EAD79F7EA}"/>
          </ac:cxnSpMkLst>
        </pc:cxnChg>
        <pc:cxnChg chg="mod">
          <ac:chgData name="Veniero Facchetti" userId="f2c6c99af91c4974" providerId="LiveId" clId="{34DF7D6B-EB0F-4B53-B080-BB8D6F5C3D93}" dt="2024-05-10T16:15:07.277" v="756"/>
          <ac:cxnSpMkLst>
            <pc:docMk/>
            <pc:sldMk cId="538651564" sldId="360"/>
            <ac:cxnSpMk id="137" creationId="{E5509CD0-C695-69B4-4D23-E689381FCFD4}"/>
          </ac:cxnSpMkLst>
        </pc:cxnChg>
        <pc:cxnChg chg="mod">
          <ac:chgData name="Veniero Facchetti" userId="f2c6c99af91c4974" providerId="LiveId" clId="{34DF7D6B-EB0F-4B53-B080-BB8D6F5C3D93}" dt="2024-05-10T16:15:07.277" v="756"/>
          <ac:cxnSpMkLst>
            <pc:docMk/>
            <pc:sldMk cId="538651564" sldId="360"/>
            <ac:cxnSpMk id="138" creationId="{1CF65660-6898-3C3D-B11D-0D9AA8374C72}"/>
          </ac:cxnSpMkLst>
        </pc:cxnChg>
        <pc:cxnChg chg="mod">
          <ac:chgData name="Veniero Facchetti" userId="f2c6c99af91c4974" providerId="LiveId" clId="{34DF7D6B-EB0F-4B53-B080-BB8D6F5C3D93}" dt="2024-05-10T16:15:07.277" v="756"/>
          <ac:cxnSpMkLst>
            <pc:docMk/>
            <pc:sldMk cId="538651564" sldId="360"/>
            <ac:cxnSpMk id="139" creationId="{29B0F862-A422-D032-09AE-08A6880B077A}"/>
          </ac:cxnSpMkLst>
        </pc:cxnChg>
        <pc:cxnChg chg="mod">
          <ac:chgData name="Veniero Facchetti" userId="f2c6c99af91c4974" providerId="LiveId" clId="{34DF7D6B-EB0F-4B53-B080-BB8D6F5C3D93}" dt="2024-05-10T16:15:07.277" v="756"/>
          <ac:cxnSpMkLst>
            <pc:docMk/>
            <pc:sldMk cId="538651564" sldId="360"/>
            <ac:cxnSpMk id="140" creationId="{A95EF1AA-7CDF-6E1B-FD48-65ED690C23C9}"/>
          </ac:cxnSpMkLst>
        </pc:cxnChg>
        <pc:cxnChg chg="mod">
          <ac:chgData name="Veniero Facchetti" userId="f2c6c99af91c4974" providerId="LiveId" clId="{34DF7D6B-EB0F-4B53-B080-BB8D6F5C3D93}" dt="2024-05-10T16:15:07.277" v="756"/>
          <ac:cxnSpMkLst>
            <pc:docMk/>
            <pc:sldMk cId="538651564" sldId="360"/>
            <ac:cxnSpMk id="141" creationId="{7D7464D0-8EF0-147E-F1F7-E6601696D7C4}"/>
          </ac:cxnSpMkLst>
        </pc:cxnChg>
      </pc:sldChg>
      <pc:sldMasterChg chg="delSldLayout modSldLayout">
        <pc:chgData name="Veniero Facchetti" userId="f2c6c99af91c4974" providerId="LiveId" clId="{34DF7D6B-EB0F-4B53-B080-BB8D6F5C3D93}" dt="2024-05-10T16:16:03.299" v="773" actId="47"/>
        <pc:sldMasterMkLst>
          <pc:docMk/>
          <pc:sldMasterMk cId="1449198067" sldId="2147483677"/>
        </pc:sldMasterMkLst>
        <pc:sldLayoutChg chg="modSp mod">
          <pc:chgData name="Veniero Facchetti" userId="f2c6c99af91c4974" providerId="LiveId" clId="{34DF7D6B-EB0F-4B53-B080-BB8D6F5C3D93}" dt="2024-05-10T15:53:56.455" v="461" actId="207"/>
          <pc:sldLayoutMkLst>
            <pc:docMk/>
            <pc:sldMasterMk cId="1449198067" sldId="2147483677"/>
            <pc:sldLayoutMk cId="3403902204" sldId="2147483680"/>
          </pc:sldLayoutMkLst>
          <pc:spChg chg="mod">
            <ac:chgData name="Veniero Facchetti" userId="f2c6c99af91c4974" providerId="LiveId" clId="{34DF7D6B-EB0F-4B53-B080-BB8D6F5C3D93}" dt="2024-05-10T15:53:56.455" v="461" actId="207"/>
            <ac:spMkLst>
              <pc:docMk/>
              <pc:sldMasterMk cId="1449198067" sldId="2147483677"/>
              <pc:sldLayoutMk cId="3403902204" sldId="2147483680"/>
              <ac:spMk id="4" creationId="{1FB50CA6-171D-1B0C-20B6-4CD28D8D280E}"/>
            </ac:spMkLst>
          </pc:spChg>
        </pc:sldLayoutChg>
        <pc:sldLayoutChg chg="del">
          <pc:chgData name="Veniero Facchetti" userId="f2c6c99af91c4974" providerId="LiveId" clId="{34DF7D6B-EB0F-4B53-B080-BB8D6F5C3D93}" dt="2024-05-10T16:16:03.299" v="773" actId="47"/>
          <pc:sldLayoutMkLst>
            <pc:docMk/>
            <pc:sldMasterMk cId="1449198067" sldId="2147483677"/>
            <pc:sldLayoutMk cId="4043713772" sldId="2147483692"/>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5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073394495412843"/>
          <c:y val="6.1396776669224863E-2"/>
          <c:w val="0.83944954128440363"/>
          <c:h val="0.87643898695318501"/>
        </c:manualLayout>
      </c:layout>
      <c:barChart>
        <c:barDir val="col"/>
        <c:grouping val="clustered"/>
        <c:varyColors val="0"/>
        <c:ser>
          <c:idx val="0"/>
          <c:order val="0"/>
          <c:spPr>
            <a:solidFill>
              <a:schemeClr val="accent2"/>
            </a:solidFill>
            <a:ln>
              <a:noFill/>
            </a:ln>
          </c:spPr>
          <c:invertIfNegative val="0"/>
          <c:val>
            <c:numRef>
              <c:f>Sheet1!$A$1:$H$1</c:f>
              <c:numCache>
                <c:formatCode>General</c:formatCode>
                <c:ptCount val="8"/>
                <c:pt idx="0">
                  <c:v>592.20000000000005</c:v>
                </c:pt>
                <c:pt idx="1">
                  <c:v>474</c:v>
                </c:pt>
                <c:pt idx="2">
                  <c:v>500.6</c:v>
                </c:pt>
                <c:pt idx="3">
                  <c:v>525.70000000000005</c:v>
                </c:pt>
                <c:pt idx="4">
                  <c:v>490.7</c:v>
                </c:pt>
                <c:pt idx="5">
                  <c:v>351.8</c:v>
                </c:pt>
                <c:pt idx="6">
                  <c:v>421.2</c:v>
                </c:pt>
                <c:pt idx="7">
                  <c:v>445.9</c:v>
                </c:pt>
              </c:numCache>
            </c:numRef>
          </c:val>
          <c:extLst>
            <c:ext xmlns:c16="http://schemas.microsoft.com/office/drawing/2014/chart" uri="{C3380CC4-5D6E-409C-BE32-E72D297353CC}">
              <c16:uniqueId val="{00000000-70C7-4085-B936-AABD26496B29}"/>
            </c:ext>
          </c:extLst>
        </c:ser>
        <c:ser>
          <c:idx val="1"/>
          <c:order val="1"/>
          <c:spPr>
            <a:solidFill>
              <a:schemeClr val="bg1"/>
            </a:solidFill>
            <a:ln>
              <a:noFill/>
            </a:ln>
          </c:spPr>
          <c:invertIfNegative val="0"/>
          <c:val>
            <c:numRef>
              <c:f>Sheet1!$A$2:$H$2</c:f>
              <c:numCache>
                <c:formatCode>General</c:formatCode>
                <c:ptCount val="8"/>
                <c:pt idx="0">
                  <c:v>350.6</c:v>
                </c:pt>
                <c:pt idx="1">
                  <c:v>298.8</c:v>
                </c:pt>
                <c:pt idx="2">
                  <c:v>287.39999999999998</c:v>
                </c:pt>
                <c:pt idx="3">
                  <c:v>290.3</c:v>
                </c:pt>
                <c:pt idx="4">
                  <c:v>277.7</c:v>
                </c:pt>
                <c:pt idx="5">
                  <c:v>224.3</c:v>
                </c:pt>
                <c:pt idx="6">
                  <c:v>251.7</c:v>
                </c:pt>
                <c:pt idx="7">
                  <c:v>272.2</c:v>
                </c:pt>
              </c:numCache>
            </c:numRef>
          </c:val>
          <c:extLst>
            <c:ext xmlns:c16="http://schemas.microsoft.com/office/drawing/2014/chart" uri="{C3380CC4-5D6E-409C-BE32-E72D297353CC}">
              <c16:uniqueId val="{00000001-70C7-4085-B936-AABD26496B29}"/>
            </c:ext>
          </c:extLst>
        </c:ser>
        <c:dLbls>
          <c:showLegendKey val="0"/>
          <c:showVal val="0"/>
          <c:showCatName val="0"/>
          <c:showSerName val="0"/>
          <c:showPercent val="0"/>
          <c:showBubbleSize val="0"/>
        </c:dLbls>
        <c:gapWidth val="50"/>
        <c:axId val="1096869839"/>
        <c:axId val="1"/>
      </c:barChart>
      <c:catAx>
        <c:axId val="1096869839"/>
        <c:scaling>
          <c:orientation val="minMax"/>
        </c:scaling>
        <c:delete val="0"/>
        <c:axPos val="b"/>
        <c:majorGridlines>
          <c:spPr>
            <a:ln>
              <a:noFill/>
            </a:ln>
          </c:spPr>
        </c:majorGridlines>
        <c:majorTickMark val="none"/>
        <c:minorTickMark val="none"/>
        <c:tickLblPos val="none"/>
        <c:spPr>
          <a:ln w="6350" cmpd="sng" algn="ctr">
            <a:solidFill>
              <a:schemeClr val="bg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6350" cmpd="sng" algn="ctr">
            <a:solidFill>
              <a:schemeClr val="bg1"/>
            </a:solidFill>
            <a:prstDash val="solid"/>
          </a:ln>
        </c:spPr>
        <c:txPr>
          <a:bodyPr wrap="none"/>
          <a:lstStyle/>
          <a:p>
            <a:pPr>
              <a:defRPr sz="800" kern="1200">
                <a:solidFill>
                  <a:schemeClr val="bg1"/>
                </a:solidFill>
                <a:latin typeface="+mn-lt"/>
                <a:ea typeface="+mn-ea"/>
                <a:cs typeface="+mn-cs"/>
                <a:sym typeface="Arial"/>
              </a:defRPr>
            </a:pPr>
            <a:endParaRPr lang="it-IT"/>
          </a:p>
        </c:txPr>
        <c:crossAx val="1096869839"/>
        <c:crosses val="min"/>
        <c:crossBetween val="between"/>
        <c:majorUnit val="5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291605301914583E-2"/>
          <c:y val="0.11901983663943991"/>
          <c:w val="0.92341678939617089"/>
          <c:h val="0.79813302217036175"/>
        </c:manualLayout>
      </c:layout>
      <c:barChart>
        <c:barDir val="col"/>
        <c:grouping val="stacked"/>
        <c:varyColors val="0"/>
        <c:ser>
          <c:idx val="0"/>
          <c:order val="0"/>
          <c:spPr>
            <a:solidFill>
              <a:schemeClr val="accent4"/>
            </a:solidFill>
            <a:ln w="6350" cmpd="sng" algn="ctr">
              <a:solidFill>
                <a:schemeClr val="bg1"/>
              </a:solidFill>
              <a:prstDash val="solid"/>
            </a:ln>
          </c:spPr>
          <c:invertIfNegative val="0"/>
          <c:dLbls>
            <c:dLbl>
              <c:idx val="0"/>
              <c:layout>
                <c:manualLayout>
                  <c:x val="0"/>
                  <c:y val="-0.43523920653442238"/>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B67-42A2-8D9D-0B84E4AA901A}"/>
                </c:ext>
              </c:extLst>
            </c:dLbl>
            <c:dLbl>
              <c:idx val="1"/>
              <c:layout>
                <c:manualLayout>
                  <c:x val="0"/>
                  <c:y val="-0.23570595099183198"/>
                </c:manualLayout>
              </c:layout>
              <c:numFmt formatCode="#,##0;&quot;-&quot;#,##0" sourceLinked="0"/>
              <c:spPr>
                <a:noFill/>
                <a:ln>
                  <a:noFill/>
                </a:ln>
              </c:spPr>
              <c:txPr>
                <a:bodyPr wrap="none"/>
                <a:lstStyle/>
                <a:p>
                  <a:pPr>
                    <a:defRPr sz="10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B67-42A2-8D9D-0B84E4AA90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0</c:v>
                </c:pt>
                <c:pt idx="1">
                  <c:v>35</c:v>
                </c:pt>
              </c:numCache>
            </c:numRef>
          </c:val>
          <c:extLst>
            <c:ext xmlns:c16="http://schemas.microsoft.com/office/drawing/2014/chart" uri="{C3380CC4-5D6E-409C-BE32-E72D297353CC}">
              <c16:uniqueId val="{00000002-5B67-42A2-8D9D-0B84E4AA901A}"/>
            </c:ext>
          </c:extLst>
        </c:ser>
        <c:dLbls>
          <c:showLegendKey val="0"/>
          <c:showVal val="0"/>
          <c:showCatName val="0"/>
          <c:showSerName val="0"/>
          <c:showPercent val="0"/>
          <c:showBubbleSize val="0"/>
        </c:dLbls>
        <c:gapWidth val="70"/>
        <c:overlap val="100"/>
        <c:axId val="646612719"/>
        <c:axId val="1"/>
      </c:barChart>
      <c:catAx>
        <c:axId val="646612719"/>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70"/>
          <c:min val="0"/>
        </c:scaling>
        <c:delete val="1"/>
        <c:axPos val="l"/>
        <c:numFmt formatCode="General" sourceLinked="1"/>
        <c:majorTickMark val="out"/>
        <c:minorTickMark val="none"/>
        <c:tickLblPos val="nextTo"/>
        <c:crossAx val="646612719"/>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15541090317331E-2"/>
          <c:y val="3.2459425717852687E-2"/>
          <c:w val="0.9576891781936534"/>
          <c:h val="0.93508114856429458"/>
        </c:manualLayout>
      </c:layout>
      <c:barChart>
        <c:barDir val="col"/>
        <c:grouping val="stacked"/>
        <c:varyColors val="0"/>
        <c:ser>
          <c:idx val="0"/>
          <c:order val="0"/>
          <c:spPr>
            <a:solidFill>
              <a:schemeClr val="accent6"/>
            </a:solidFill>
            <a:ln w="6350" cmpd="sng" algn="ctr">
              <a:solidFill>
                <a:schemeClr val="bg1"/>
              </a:solidFill>
              <a:prstDash val="solid"/>
            </a:ln>
          </c:spPr>
          <c:invertIfNegative val="0"/>
          <c:val>
            <c:numRef>
              <c:f>Sheet1!$A$1:$C$1</c:f>
              <c:numCache>
                <c:formatCode>General</c:formatCode>
                <c:ptCount val="3"/>
                <c:pt idx="0">
                  <c:v>110</c:v>
                </c:pt>
                <c:pt idx="1">
                  <c:v>30</c:v>
                </c:pt>
                <c:pt idx="2">
                  <c:v>15</c:v>
                </c:pt>
              </c:numCache>
            </c:numRef>
          </c:val>
          <c:extLst>
            <c:ext xmlns:c16="http://schemas.microsoft.com/office/drawing/2014/chart" uri="{C3380CC4-5D6E-409C-BE32-E72D297353CC}">
              <c16:uniqueId val="{00000000-347D-482C-872A-2003B43CD1AB}"/>
            </c:ext>
          </c:extLst>
        </c:ser>
        <c:ser>
          <c:idx val="1"/>
          <c:order val="1"/>
          <c:spPr>
            <a:solidFill>
              <a:schemeClr val="accent5"/>
            </a:solidFill>
            <a:ln w="6350" cmpd="sng" algn="ctr">
              <a:solidFill>
                <a:schemeClr val="bg1"/>
              </a:solidFill>
              <a:prstDash val="solid"/>
            </a:ln>
          </c:spPr>
          <c:invertIfNegative val="0"/>
          <c:val>
            <c:numRef>
              <c:f>Sheet1!$A$2:$C$2</c:f>
              <c:numCache>
                <c:formatCode>General</c:formatCode>
                <c:ptCount val="3"/>
                <c:pt idx="0">
                  <c:v>55</c:v>
                </c:pt>
                <c:pt idx="1">
                  <c:v>25</c:v>
                </c:pt>
                <c:pt idx="2">
                  <c:v>2</c:v>
                </c:pt>
              </c:numCache>
            </c:numRef>
          </c:val>
          <c:extLst>
            <c:ext xmlns:c16="http://schemas.microsoft.com/office/drawing/2014/chart" uri="{C3380CC4-5D6E-409C-BE32-E72D297353CC}">
              <c16:uniqueId val="{00000001-347D-482C-872A-2003B43CD1AB}"/>
            </c:ext>
          </c:extLst>
        </c:ser>
        <c:ser>
          <c:idx val="2"/>
          <c:order val="2"/>
          <c:spPr>
            <a:solidFill>
              <a:schemeClr val="accent4"/>
            </a:solidFill>
            <a:ln w="6350" cmpd="sng" algn="ctr">
              <a:solidFill>
                <a:schemeClr val="bg1"/>
              </a:solidFill>
              <a:prstDash val="solid"/>
            </a:ln>
          </c:spPr>
          <c:invertIfNegative val="0"/>
          <c:val>
            <c:numRef>
              <c:f>Sheet1!$A$3:$C$3</c:f>
              <c:numCache>
                <c:formatCode>General</c:formatCode>
                <c:ptCount val="3"/>
                <c:pt idx="0">
                  <c:v>35</c:v>
                </c:pt>
                <c:pt idx="1">
                  <c:v>80</c:v>
                </c:pt>
                <c:pt idx="2">
                  <c:v>15</c:v>
                </c:pt>
              </c:numCache>
            </c:numRef>
          </c:val>
          <c:extLst>
            <c:ext xmlns:c16="http://schemas.microsoft.com/office/drawing/2014/chart" uri="{C3380CC4-5D6E-409C-BE32-E72D297353CC}">
              <c16:uniqueId val="{00000002-347D-482C-872A-2003B43CD1AB}"/>
            </c:ext>
          </c:extLst>
        </c:ser>
        <c:ser>
          <c:idx val="3"/>
          <c:order val="3"/>
          <c:spPr>
            <a:solidFill>
              <a:schemeClr val="accent3"/>
            </a:solidFill>
            <a:ln w="6350" cmpd="sng" algn="ctr">
              <a:solidFill>
                <a:schemeClr val="bg1"/>
              </a:solidFill>
              <a:prstDash val="solid"/>
            </a:ln>
          </c:spPr>
          <c:invertIfNegative val="0"/>
          <c:val>
            <c:numRef>
              <c:f>Sheet1!$A$4:$C$4</c:f>
              <c:numCache>
                <c:formatCode>General</c:formatCode>
                <c:ptCount val="3"/>
                <c:pt idx="0">
                  <c:v>30</c:v>
                </c:pt>
                <c:pt idx="1">
                  <c:v>35</c:v>
                </c:pt>
                <c:pt idx="2">
                  <c:v>10</c:v>
                </c:pt>
              </c:numCache>
            </c:numRef>
          </c:val>
          <c:extLst>
            <c:ext xmlns:c16="http://schemas.microsoft.com/office/drawing/2014/chart" uri="{C3380CC4-5D6E-409C-BE32-E72D297353CC}">
              <c16:uniqueId val="{00000003-347D-482C-872A-2003B43CD1AB}"/>
            </c:ext>
          </c:extLst>
        </c:ser>
        <c:ser>
          <c:idx val="4"/>
          <c:order val="4"/>
          <c:spPr>
            <a:solidFill>
              <a:schemeClr val="accent2"/>
            </a:solidFill>
            <a:ln w="6350" cmpd="sng" algn="ctr">
              <a:solidFill>
                <a:schemeClr val="bg1"/>
              </a:solidFill>
              <a:prstDash val="solid"/>
            </a:ln>
          </c:spPr>
          <c:invertIfNegative val="0"/>
          <c:val>
            <c:numRef>
              <c:f>Sheet1!$A$5:$C$5</c:f>
              <c:numCache>
                <c:formatCode>General</c:formatCode>
                <c:ptCount val="3"/>
                <c:pt idx="0">
                  <c:v>20</c:v>
                </c:pt>
                <c:pt idx="1">
                  <c:v>5</c:v>
                </c:pt>
                <c:pt idx="2">
                  <c:v>8</c:v>
                </c:pt>
              </c:numCache>
            </c:numRef>
          </c:val>
          <c:extLst>
            <c:ext xmlns:c16="http://schemas.microsoft.com/office/drawing/2014/chart" uri="{C3380CC4-5D6E-409C-BE32-E72D297353CC}">
              <c16:uniqueId val="{00000004-347D-482C-872A-2003B43CD1AB}"/>
            </c:ext>
          </c:extLst>
        </c:ser>
        <c:dLbls>
          <c:showLegendKey val="0"/>
          <c:showVal val="0"/>
          <c:showCatName val="0"/>
          <c:showSerName val="0"/>
          <c:showPercent val="0"/>
          <c:showBubbleSize val="0"/>
        </c:dLbls>
        <c:gapWidth val="70"/>
        <c:overlap val="100"/>
        <c:axId val="1020124559"/>
        <c:axId val="1"/>
      </c:barChart>
      <c:catAx>
        <c:axId val="1020124559"/>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250"/>
          <c:min val="0"/>
        </c:scaling>
        <c:delete val="1"/>
        <c:axPos val="l"/>
        <c:numFmt formatCode="General" sourceLinked="1"/>
        <c:majorTickMark val="out"/>
        <c:minorTickMark val="none"/>
        <c:tickLblPos val="nextTo"/>
        <c:crossAx val="1020124559"/>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80110497237569"/>
          <c:y val="8.5800604229607252E-2"/>
          <c:w val="0.58121546961325965"/>
          <c:h val="0.82839879154078555"/>
        </c:manualLayout>
      </c:layout>
      <c:barChart>
        <c:barDir val="bar"/>
        <c:grouping val="stacked"/>
        <c:varyColors val="0"/>
        <c:ser>
          <c:idx val="0"/>
          <c:order val="0"/>
          <c:spPr>
            <a:solidFill>
              <a:schemeClr val="tx2"/>
            </a:solidFill>
            <a:ln w="6350" cmpd="sng" algn="ctr">
              <a:solidFill>
                <a:schemeClr val="bg1"/>
              </a:solidFill>
              <a:prstDash val="solid"/>
            </a:ln>
          </c:spPr>
          <c:invertIfNegative val="0"/>
          <c:dLbls>
            <c:dLbl>
              <c:idx val="0"/>
              <c:layout>
                <c:manualLayout>
                  <c:x val="0.37016574585635359"/>
                  <c:y val="0"/>
                </c:manualLayout>
              </c:layout>
              <c:numFmt formatCode="#,##0;&quot;-&quot;#,##0" sourceLinked="0"/>
              <c:spPr>
                <a:noFill/>
                <a:ln>
                  <a:noFill/>
                </a:ln>
              </c:spPr>
              <c:txPr>
                <a:bodyPr wrap="none"/>
                <a:lstStyle/>
                <a:p>
                  <a:pPr>
                    <a:defRPr sz="10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D25-412E-B2F5-90B600582292}"/>
                </c:ext>
              </c:extLst>
            </c:dLbl>
            <c:dLbl>
              <c:idx val="1"/>
              <c:layout>
                <c:manualLayout>
                  <c:x val="0.35911602209944754"/>
                  <c:y val="0"/>
                </c:manualLayout>
              </c:layout>
              <c:numFmt formatCode="#,##0;&quot;-&quot;#,##0" sourceLinked="0"/>
              <c:spPr>
                <a:noFill/>
                <a:ln>
                  <a:noFill/>
                </a:ln>
              </c:spPr>
              <c:txPr>
                <a:bodyPr wrap="none"/>
                <a:lstStyle/>
                <a:p>
                  <a:pPr>
                    <a:defRPr sz="10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D25-412E-B2F5-90B600582292}"/>
                </c:ext>
              </c:extLst>
            </c:dLbl>
            <c:dLbl>
              <c:idx val="2"/>
              <c:layout>
                <c:manualLayout>
                  <c:x val="0.28950276243093925"/>
                  <c:y val="0"/>
                </c:manualLayout>
              </c:layout>
              <c:numFmt formatCode="#,##0;&quot;-&quot;#,##0" sourceLinked="0"/>
              <c:spPr>
                <a:noFill/>
                <a:ln>
                  <a:noFill/>
                </a:ln>
              </c:spPr>
              <c:txPr>
                <a:bodyPr wrap="none"/>
                <a:lstStyle/>
                <a:p>
                  <a:pPr>
                    <a:defRPr sz="10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D25-412E-B2F5-90B600582292}"/>
                </c:ext>
              </c:extLst>
            </c:dLbl>
            <c:dLbl>
              <c:idx val="3"/>
              <c:layout>
                <c:manualLayout>
                  <c:x val="0.19558011049723756"/>
                  <c:y val="0"/>
                </c:manualLayout>
              </c:layout>
              <c:numFmt formatCode="#,##0;&quot;-&quot;#,##0" sourceLinked="0"/>
              <c:spPr>
                <a:noFill/>
                <a:ln>
                  <a:noFill/>
                </a:ln>
              </c:spPr>
              <c:txPr>
                <a:bodyPr wrap="none"/>
                <a:lstStyle/>
                <a:p>
                  <a:pPr>
                    <a:defRPr sz="10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D25-412E-B2F5-90B600582292}"/>
                </c:ext>
              </c:extLst>
            </c:dLbl>
            <c:dLbl>
              <c:idx val="4"/>
              <c:layout>
                <c:manualLayout>
                  <c:x val="0.19558011049723756"/>
                  <c:y val="0"/>
                </c:manualLayout>
              </c:layout>
              <c:numFmt formatCode="#,##0;&quot;-&quot;#,##0" sourceLinked="0"/>
              <c:spPr>
                <a:noFill/>
                <a:ln>
                  <a:noFill/>
                </a:ln>
              </c:spPr>
              <c:txPr>
                <a:bodyPr wrap="none"/>
                <a:lstStyle/>
                <a:p>
                  <a:pPr>
                    <a:defRPr sz="10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D25-412E-B2F5-90B6005822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5</c:v>
                </c:pt>
                <c:pt idx="1">
                  <c:v>24</c:v>
                </c:pt>
                <c:pt idx="2">
                  <c:v>18</c:v>
                </c:pt>
                <c:pt idx="3">
                  <c:v>10</c:v>
                </c:pt>
                <c:pt idx="4">
                  <c:v>10</c:v>
                </c:pt>
              </c:numCache>
            </c:numRef>
          </c:val>
          <c:extLst>
            <c:ext xmlns:c16="http://schemas.microsoft.com/office/drawing/2014/chart" uri="{C3380CC4-5D6E-409C-BE32-E72D297353CC}">
              <c16:uniqueId val="{00000005-1D25-412E-B2F5-90B600582292}"/>
            </c:ext>
          </c:extLst>
        </c:ser>
        <c:dLbls>
          <c:showLegendKey val="0"/>
          <c:showVal val="0"/>
          <c:showCatName val="0"/>
          <c:showSerName val="0"/>
          <c:showPercent val="0"/>
          <c:showBubbleSize val="0"/>
        </c:dLbls>
        <c:gapWidth val="70"/>
        <c:overlap val="100"/>
        <c:axId val="358445199"/>
        <c:axId val="1"/>
      </c:barChart>
      <c:catAx>
        <c:axId val="358445199"/>
        <c:scaling>
          <c:orientation val="maxMin"/>
        </c:scaling>
        <c:delete val="0"/>
        <c:axPos val="l"/>
        <c:majorGridlines>
          <c:spPr>
            <a:ln>
              <a:noFill/>
            </a:ln>
          </c:spPr>
        </c:majorGridlines>
        <c:majorTickMark val="none"/>
        <c:minorTickMark val="none"/>
        <c:tickLblPos val="none"/>
        <c:spPr>
          <a:ln w="6350" cmpd="sng" algn="ctr">
            <a:solidFill>
              <a:schemeClr val="bg1"/>
            </a:solidFill>
            <a:prstDash val="solid"/>
          </a:ln>
        </c:spPr>
        <c:crossAx val="1"/>
        <c:crosses val="min"/>
        <c:auto val="0"/>
        <c:lblAlgn val="ctr"/>
        <c:lblOffset val="100"/>
        <c:noMultiLvlLbl val="0"/>
      </c:catAx>
      <c:valAx>
        <c:axId val="1"/>
        <c:scaling>
          <c:orientation val="minMax"/>
          <c:max val="25"/>
          <c:min val="0"/>
        </c:scaling>
        <c:delete val="1"/>
        <c:axPos val="t"/>
        <c:numFmt formatCode="General" sourceLinked="1"/>
        <c:majorTickMark val="out"/>
        <c:minorTickMark val="none"/>
        <c:tickLblPos val="nextTo"/>
        <c:crossAx val="358445199"/>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15541090317331E-2"/>
          <c:y val="3.2459425717852687E-2"/>
          <c:w val="0.9576891781936534"/>
          <c:h val="0.93508114856429458"/>
        </c:manualLayout>
      </c:layout>
      <c:barChart>
        <c:barDir val="col"/>
        <c:grouping val="stacked"/>
        <c:varyColors val="0"/>
        <c:ser>
          <c:idx val="0"/>
          <c:order val="0"/>
          <c:spPr>
            <a:solidFill>
              <a:schemeClr val="accent6"/>
            </a:solidFill>
            <a:ln w="6350" cmpd="sng" algn="ctr">
              <a:solidFill>
                <a:schemeClr val="bg1"/>
              </a:solidFill>
              <a:prstDash val="solid"/>
            </a:ln>
          </c:spPr>
          <c:invertIfNegative val="0"/>
          <c:val>
            <c:numRef>
              <c:f>Sheet1!$A$1:$C$1</c:f>
              <c:numCache>
                <c:formatCode>General</c:formatCode>
                <c:ptCount val="3"/>
                <c:pt idx="0">
                  <c:v>110</c:v>
                </c:pt>
                <c:pt idx="1">
                  <c:v>30</c:v>
                </c:pt>
                <c:pt idx="2">
                  <c:v>15</c:v>
                </c:pt>
              </c:numCache>
            </c:numRef>
          </c:val>
          <c:extLst>
            <c:ext xmlns:c16="http://schemas.microsoft.com/office/drawing/2014/chart" uri="{C3380CC4-5D6E-409C-BE32-E72D297353CC}">
              <c16:uniqueId val="{00000000-347D-482C-872A-2003B43CD1AB}"/>
            </c:ext>
          </c:extLst>
        </c:ser>
        <c:ser>
          <c:idx val="1"/>
          <c:order val="1"/>
          <c:spPr>
            <a:solidFill>
              <a:schemeClr val="accent5"/>
            </a:solidFill>
            <a:ln w="6350" cmpd="sng" algn="ctr">
              <a:solidFill>
                <a:schemeClr val="bg1"/>
              </a:solidFill>
              <a:prstDash val="solid"/>
            </a:ln>
          </c:spPr>
          <c:invertIfNegative val="0"/>
          <c:val>
            <c:numRef>
              <c:f>Sheet1!$A$2:$C$2</c:f>
              <c:numCache>
                <c:formatCode>General</c:formatCode>
                <c:ptCount val="3"/>
                <c:pt idx="0">
                  <c:v>55</c:v>
                </c:pt>
                <c:pt idx="1">
                  <c:v>25</c:v>
                </c:pt>
                <c:pt idx="2">
                  <c:v>2</c:v>
                </c:pt>
              </c:numCache>
            </c:numRef>
          </c:val>
          <c:extLst>
            <c:ext xmlns:c16="http://schemas.microsoft.com/office/drawing/2014/chart" uri="{C3380CC4-5D6E-409C-BE32-E72D297353CC}">
              <c16:uniqueId val="{00000001-347D-482C-872A-2003B43CD1AB}"/>
            </c:ext>
          </c:extLst>
        </c:ser>
        <c:ser>
          <c:idx val="2"/>
          <c:order val="2"/>
          <c:spPr>
            <a:solidFill>
              <a:schemeClr val="accent4"/>
            </a:solidFill>
            <a:ln w="6350" cmpd="sng" algn="ctr">
              <a:solidFill>
                <a:schemeClr val="bg1"/>
              </a:solidFill>
              <a:prstDash val="solid"/>
            </a:ln>
          </c:spPr>
          <c:invertIfNegative val="0"/>
          <c:val>
            <c:numRef>
              <c:f>Sheet1!$A$3:$C$3</c:f>
              <c:numCache>
                <c:formatCode>General</c:formatCode>
                <c:ptCount val="3"/>
                <c:pt idx="0">
                  <c:v>35</c:v>
                </c:pt>
                <c:pt idx="1">
                  <c:v>80</c:v>
                </c:pt>
                <c:pt idx="2">
                  <c:v>15</c:v>
                </c:pt>
              </c:numCache>
            </c:numRef>
          </c:val>
          <c:extLst>
            <c:ext xmlns:c16="http://schemas.microsoft.com/office/drawing/2014/chart" uri="{C3380CC4-5D6E-409C-BE32-E72D297353CC}">
              <c16:uniqueId val="{00000002-347D-482C-872A-2003B43CD1AB}"/>
            </c:ext>
          </c:extLst>
        </c:ser>
        <c:ser>
          <c:idx val="3"/>
          <c:order val="3"/>
          <c:spPr>
            <a:solidFill>
              <a:schemeClr val="accent3"/>
            </a:solidFill>
            <a:ln w="6350" cmpd="sng" algn="ctr">
              <a:solidFill>
                <a:schemeClr val="bg1"/>
              </a:solidFill>
              <a:prstDash val="solid"/>
            </a:ln>
          </c:spPr>
          <c:invertIfNegative val="0"/>
          <c:val>
            <c:numRef>
              <c:f>Sheet1!$A$4:$C$4</c:f>
              <c:numCache>
                <c:formatCode>General</c:formatCode>
                <c:ptCount val="3"/>
                <c:pt idx="0">
                  <c:v>30</c:v>
                </c:pt>
                <c:pt idx="1">
                  <c:v>35</c:v>
                </c:pt>
                <c:pt idx="2">
                  <c:v>10</c:v>
                </c:pt>
              </c:numCache>
            </c:numRef>
          </c:val>
          <c:extLst>
            <c:ext xmlns:c16="http://schemas.microsoft.com/office/drawing/2014/chart" uri="{C3380CC4-5D6E-409C-BE32-E72D297353CC}">
              <c16:uniqueId val="{00000003-347D-482C-872A-2003B43CD1AB}"/>
            </c:ext>
          </c:extLst>
        </c:ser>
        <c:ser>
          <c:idx val="4"/>
          <c:order val="4"/>
          <c:spPr>
            <a:solidFill>
              <a:schemeClr val="accent2"/>
            </a:solidFill>
            <a:ln w="6350" cmpd="sng" algn="ctr">
              <a:solidFill>
                <a:schemeClr val="bg1"/>
              </a:solidFill>
              <a:prstDash val="solid"/>
            </a:ln>
          </c:spPr>
          <c:invertIfNegative val="0"/>
          <c:val>
            <c:numRef>
              <c:f>Sheet1!$A$5:$C$5</c:f>
              <c:numCache>
                <c:formatCode>General</c:formatCode>
                <c:ptCount val="3"/>
                <c:pt idx="0">
                  <c:v>20</c:v>
                </c:pt>
                <c:pt idx="1">
                  <c:v>5</c:v>
                </c:pt>
                <c:pt idx="2">
                  <c:v>8</c:v>
                </c:pt>
              </c:numCache>
            </c:numRef>
          </c:val>
          <c:extLst>
            <c:ext xmlns:c16="http://schemas.microsoft.com/office/drawing/2014/chart" uri="{C3380CC4-5D6E-409C-BE32-E72D297353CC}">
              <c16:uniqueId val="{00000004-347D-482C-872A-2003B43CD1AB}"/>
            </c:ext>
          </c:extLst>
        </c:ser>
        <c:dLbls>
          <c:showLegendKey val="0"/>
          <c:showVal val="0"/>
          <c:showCatName val="0"/>
          <c:showSerName val="0"/>
          <c:showPercent val="0"/>
          <c:showBubbleSize val="0"/>
        </c:dLbls>
        <c:gapWidth val="70"/>
        <c:overlap val="100"/>
        <c:axId val="1020124559"/>
        <c:axId val="1"/>
      </c:barChart>
      <c:catAx>
        <c:axId val="1020124559"/>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250"/>
          <c:min val="0"/>
        </c:scaling>
        <c:delete val="1"/>
        <c:axPos val="l"/>
        <c:numFmt formatCode="General" sourceLinked="1"/>
        <c:majorTickMark val="out"/>
        <c:minorTickMark val="none"/>
        <c:tickLblPos val="nextTo"/>
        <c:crossAx val="1020124559"/>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80110497237569"/>
          <c:y val="8.5800604229607252E-2"/>
          <c:w val="0.58121546961325965"/>
          <c:h val="0.82839879154078555"/>
        </c:manualLayout>
      </c:layout>
      <c:barChart>
        <c:barDir val="bar"/>
        <c:grouping val="stacked"/>
        <c:varyColors val="0"/>
        <c:ser>
          <c:idx val="0"/>
          <c:order val="0"/>
          <c:spPr>
            <a:solidFill>
              <a:schemeClr val="tx2"/>
            </a:solidFill>
            <a:ln w="6350" cmpd="sng" algn="ctr">
              <a:solidFill>
                <a:schemeClr val="bg1"/>
              </a:solidFill>
              <a:prstDash val="solid"/>
            </a:ln>
          </c:spPr>
          <c:invertIfNegative val="0"/>
          <c:dLbls>
            <c:dLbl>
              <c:idx val="0"/>
              <c:layout>
                <c:manualLayout>
                  <c:x val="0.37016574585635359"/>
                  <c:y val="0"/>
                </c:manualLayout>
              </c:layout>
              <c:numFmt formatCode="#,##0;&quot;-&quot;#,##0" sourceLinked="0"/>
              <c:spPr>
                <a:noFill/>
                <a:ln>
                  <a:noFill/>
                </a:ln>
              </c:spPr>
              <c:txPr>
                <a:bodyPr wrap="none"/>
                <a:lstStyle/>
                <a:p>
                  <a:pPr>
                    <a:defRPr sz="10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D25-412E-B2F5-90B600582292}"/>
                </c:ext>
              </c:extLst>
            </c:dLbl>
            <c:dLbl>
              <c:idx val="1"/>
              <c:layout>
                <c:manualLayout>
                  <c:x val="0.35911602209944754"/>
                  <c:y val="0"/>
                </c:manualLayout>
              </c:layout>
              <c:numFmt formatCode="#,##0;&quot;-&quot;#,##0" sourceLinked="0"/>
              <c:spPr>
                <a:noFill/>
                <a:ln>
                  <a:noFill/>
                </a:ln>
              </c:spPr>
              <c:txPr>
                <a:bodyPr wrap="none"/>
                <a:lstStyle/>
                <a:p>
                  <a:pPr>
                    <a:defRPr sz="10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D25-412E-B2F5-90B600582292}"/>
                </c:ext>
              </c:extLst>
            </c:dLbl>
            <c:dLbl>
              <c:idx val="2"/>
              <c:layout>
                <c:manualLayout>
                  <c:x val="0.28950276243093925"/>
                  <c:y val="0"/>
                </c:manualLayout>
              </c:layout>
              <c:numFmt formatCode="#,##0;&quot;-&quot;#,##0" sourceLinked="0"/>
              <c:spPr>
                <a:noFill/>
                <a:ln>
                  <a:noFill/>
                </a:ln>
              </c:spPr>
              <c:txPr>
                <a:bodyPr wrap="none"/>
                <a:lstStyle/>
                <a:p>
                  <a:pPr>
                    <a:defRPr sz="10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D25-412E-B2F5-90B600582292}"/>
                </c:ext>
              </c:extLst>
            </c:dLbl>
            <c:dLbl>
              <c:idx val="3"/>
              <c:layout>
                <c:manualLayout>
                  <c:x val="0.19558011049723756"/>
                  <c:y val="0"/>
                </c:manualLayout>
              </c:layout>
              <c:numFmt formatCode="#,##0;&quot;-&quot;#,##0" sourceLinked="0"/>
              <c:spPr>
                <a:noFill/>
                <a:ln>
                  <a:noFill/>
                </a:ln>
              </c:spPr>
              <c:txPr>
                <a:bodyPr wrap="none"/>
                <a:lstStyle/>
                <a:p>
                  <a:pPr>
                    <a:defRPr sz="10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D25-412E-B2F5-90B600582292}"/>
                </c:ext>
              </c:extLst>
            </c:dLbl>
            <c:dLbl>
              <c:idx val="4"/>
              <c:layout>
                <c:manualLayout>
                  <c:x val="0.19558011049723756"/>
                  <c:y val="0"/>
                </c:manualLayout>
              </c:layout>
              <c:numFmt formatCode="#,##0;&quot;-&quot;#,##0" sourceLinked="0"/>
              <c:spPr>
                <a:noFill/>
                <a:ln>
                  <a:noFill/>
                </a:ln>
              </c:spPr>
              <c:txPr>
                <a:bodyPr wrap="none"/>
                <a:lstStyle/>
                <a:p>
                  <a:pPr>
                    <a:defRPr sz="10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D25-412E-B2F5-90B6005822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5</c:v>
                </c:pt>
                <c:pt idx="1">
                  <c:v>24</c:v>
                </c:pt>
                <c:pt idx="2">
                  <c:v>18</c:v>
                </c:pt>
                <c:pt idx="3">
                  <c:v>10</c:v>
                </c:pt>
                <c:pt idx="4">
                  <c:v>10</c:v>
                </c:pt>
              </c:numCache>
            </c:numRef>
          </c:val>
          <c:extLst>
            <c:ext xmlns:c16="http://schemas.microsoft.com/office/drawing/2014/chart" uri="{C3380CC4-5D6E-409C-BE32-E72D297353CC}">
              <c16:uniqueId val="{00000005-1D25-412E-B2F5-90B600582292}"/>
            </c:ext>
          </c:extLst>
        </c:ser>
        <c:dLbls>
          <c:showLegendKey val="0"/>
          <c:showVal val="0"/>
          <c:showCatName val="0"/>
          <c:showSerName val="0"/>
          <c:showPercent val="0"/>
          <c:showBubbleSize val="0"/>
        </c:dLbls>
        <c:gapWidth val="70"/>
        <c:overlap val="100"/>
        <c:axId val="358445199"/>
        <c:axId val="1"/>
      </c:barChart>
      <c:catAx>
        <c:axId val="358445199"/>
        <c:scaling>
          <c:orientation val="maxMin"/>
        </c:scaling>
        <c:delete val="0"/>
        <c:axPos val="l"/>
        <c:majorGridlines>
          <c:spPr>
            <a:ln>
              <a:noFill/>
            </a:ln>
          </c:spPr>
        </c:majorGridlines>
        <c:majorTickMark val="none"/>
        <c:minorTickMark val="none"/>
        <c:tickLblPos val="none"/>
        <c:spPr>
          <a:ln w="6350" cmpd="sng" algn="ctr">
            <a:solidFill>
              <a:schemeClr val="bg1"/>
            </a:solidFill>
            <a:prstDash val="solid"/>
          </a:ln>
        </c:spPr>
        <c:crossAx val="1"/>
        <c:crosses val="min"/>
        <c:auto val="0"/>
        <c:lblAlgn val="ctr"/>
        <c:lblOffset val="100"/>
        <c:noMultiLvlLbl val="0"/>
      </c:catAx>
      <c:valAx>
        <c:axId val="1"/>
        <c:scaling>
          <c:orientation val="minMax"/>
          <c:max val="25"/>
          <c:min val="0"/>
        </c:scaling>
        <c:delete val="1"/>
        <c:axPos val="t"/>
        <c:numFmt formatCode="General" sourceLinked="1"/>
        <c:majorTickMark val="out"/>
        <c:minorTickMark val="none"/>
        <c:tickLblPos val="nextTo"/>
        <c:crossAx val="358445199"/>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2233375156838E-2"/>
          <c:y val="3.5470668485675309E-2"/>
          <c:w val="0.93475533249686327"/>
          <c:h val="0.92905866302864937"/>
        </c:manualLayout>
      </c:layout>
      <c:barChart>
        <c:barDir val="col"/>
        <c:grouping val="stacked"/>
        <c:varyColors val="0"/>
        <c:ser>
          <c:idx val="0"/>
          <c:order val="0"/>
          <c:spPr>
            <a:solidFill>
              <a:schemeClr val="accent6"/>
            </a:solidFill>
            <a:ln w="6350" cmpd="sng" algn="ctr">
              <a:solidFill>
                <a:schemeClr val="bg1"/>
              </a:solidFill>
              <a:prstDash val="solid"/>
            </a:ln>
          </c:spPr>
          <c:invertIfNegative val="0"/>
          <c:val>
            <c:numRef>
              <c:f>Sheet1!$A$1:$C$1</c:f>
              <c:numCache>
                <c:formatCode>General</c:formatCode>
                <c:ptCount val="3"/>
                <c:pt idx="0">
                  <c:v>34</c:v>
                </c:pt>
                <c:pt idx="1">
                  <c:v>38.799999999999997</c:v>
                </c:pt>
                <c:pt idx="2">
                  <c:v>42.3</c:v>
                </c:pt>
              </c:numCache>
            </c:numRef>
          </c:val>
          <c:extLst>
            <c:ext xmlns:c16="http://schemas.microsoft.com/office/drawing/2014/chart" uri="{C3380CC4-5D6E-409C-BE32-E72D297353CC}">
              <c16:uniqueId val="{00000000-9CE3-469D-8896-103AE6CB2918}"/>
            </c:ext>
          </c:extLst>
        </c:ser>
        <c:ser>
          <c:idx val="1"/>
          <c:order val="1"/>
          <c:spPr>
            <a:solidFill>
              <a:schemeClr val="accent5"/>
            </a:solidFill>
            <a:ln w="6350" cmpd="sng" algn="ctr">
              <a:solidFill>
                <a:schemeClr val="bg1"/>
              </a:solidFill>
              <a:prstDash val="solid"/>
            </a:ln>
          </c:spPr>
          <c:invertIfNegative val="0"/>
          <c:val>
            <c:numRef>
              <c:f>Sheet1!$A$2:$C$2</c:f>
              <c:numCache>
                <c:formatCode>General</c:formatCode>
                <c:ptCount val="3"/>
                <c:pt idx="0">
                  <c:v>22.5</c:v>
                </c:pt>
                <c:pt idx="1">
                  <c:v>23.1</c:v>
                </c:pt>
                <c:pt idx="2">
                  <c:v>22.100000000000009</c:v>
                </c:pt>
              </c:numCache>
            </c:numRef>
          </c:val>
          <c:extLst>
            <c:ext xmlns:c16="http://schemas.microsoft.com/office/drawing/2014/chart" uri="{C3380CC4-5D6E-409C-BE32-E72D297353CC}">
              <c16:uniqueId val="{00000001-9CE3-469D-8896-103AE6CB2918}"/>
            </c:ext>
          </c:extLst>
        </c:ser>
        <c:ser>
          <c:idx val="2"/>
          <c:order val="2"/>
          <c:spPr>
            <a:solidFill>
              <a:schemeClr val="accent4"/>
            </a:solidFill>
            <a:ln w="6350" cmpd="sng" algn="ctr">
              <a:solidFill>
                <a:schemeClr val="bg1"/>
              </a:solidFill>
              <a:prstDash val="solid"/>
            </a:ln>
          </c:spPr>
          <c:invertIfNegative val="0"/>
          <c:val>
            <c:numRef>
              <c:f>Sheet1!$A$3:$C$3</c:f>
              <c:numCache>
                <c:formatCode>General</c:formatCode>
                <c:ptCount val="3"/>
                <c:pt idx="0">
                  <c:v>22.799999999999997</c:v>
                </c:pt>
                <c:pt idx="1">
                  <c:v>22.800000000000004</c:v>
                </c:pt>
                <c:pt idx="2">
                  <c:v>21.5</c:v>
                </c:pt>
              </c:numCache>
            </c:numRef>
          </c:val>
          <c:extLst>
            <c:ext xmlns:c16="http://schemas.microsoft.com/office/drawing/2014/chart" uri="{C3380CC4-5D6E-409C-BE32-E72D297353CC}">
              <c16:uniqueId val="{00000002-9CE3-469D-8896-103AE6CB2918}"/>
            </c:ext>
          </c:extLst>
        </c:ser>
        <c:ser>
          <c:idx val="3"/>
          <c:order val="3"/>
          <c:spPr>
            <a:solidFill>
              <a:schemeClr val="accent3"/>
            </a:solidFill>
            <a:ln w="6350" cmpd="sng" algn="ctr">
              <a:solidFill>
                <a:schemeClr val="bg1"/>
              </a:solidFill>
              <a:prstDash val="solid"/>
            </a:ln>
          </c:spPr>
          <c:invertIfNegative val="0"/>
          <c:val>
            <c:numRef>
              <c:f>Sheet1!$A$4:$C$4</c:f>
              <c:numCache>
                <c:formatCode>General</c:formatCode>
                <c:ptCount val="3"/>
                <c:pt idx="0">
                  <c:v>9</c:v>
                </c:pt>
                <c:pt idx="1">
                  <c:v>11.400000000000006</c:v>
                </c:pt>
                <c:pt idx="2">
                  <c:v>13</c:v>
                </c:pt>
              </c:numCache>
            </c:numRef>
          </c:val>
          <c:extLst>
            <c:ext xmlns:c16="http://schemas.microsoft.com/office/drawing/2014/chart" uri="{C3380CC4-5D6E-409C-BE32-E72D297353CC}">
              <c16:uniqueId val="{00000003-9CE3-469D-8896-103AE6CB2918}"/>
            </c:ext>
          </c:extLst>
        </c:ser>
        <c:ser>
          <c:idx val="4"/>
          <c:order val="4"/>
          <c:spPr>
            <a:solidFill>
              <a:schemeClr val="tx2"/>
            </a:solidFill>
            <a:ln w="6350" cmpd="sng" algn="ctr">
              <a:solidFill>
                <a:schemeClr val="bg1"/>
              </a:solidFill>
              <a:prstDash val="solid"/>
            </a:ln>
          </c:spPr>
          <c:invertIfNegative val="0"/>
          <c:val>
            <c:numRef>
              <c:f>Sheet1!$A$5:$C$5</c:f>
              <c:numCache>
                <c:formatCode>General</c:formatCode>
                <c:ptCount val="3"/>
                <c:pt idx="0">
                  <c:v>10.399999999999991</c:v>
                </c:pt>
                <c:pt idx="1">
                  <c:v>11.5</c:v>
                </c:pt>
                <c:pt idx="2">
                  <c:v>12.599999999999994</c:v>
                </c:pt>
              </c:numCache>
            </c:numRef>
          </c:val>
          <c:extLst>
            <c:ext xmlns:c16="http://schemas.microsoft.com/office/drawing/2014/chart" uri="{C3380CC4-5D6E-409C-BE32-E72D297353CC}">
              <c16:uniqueId val="{00000004-9CE3-469D-8896-103AE6CB2918}"/>
            </c:ext>
          </c:extLst>
        </c:ser>
        <c:dLbls>
          <c:showLegendKey val="0"/>
          <c:showVal val="0"/>
          <c:showCatName val="0"/>
          <c:showSerName val="0"/>
          <c:showPercent val="0"/>
          <c:showBubbleSize val="0"/>
        </c:dLbls>
        <c:gapWidth val="70"/>
        <c:overlap val="100"/>
        <c:axId val="624980239"/>
        <c:axId val="1"/>
      </c:barChart>
      <c:catAx>
        <c:axId val="624980239"/>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11.5"/>
          <c:min val="0"/>
        </c:scaling>
        <c:delete val="1"/>
        <c:axPos val="l"/>
        <c:numFmt formatCode="General" sourceLinked="1"/>
        <c:majorTickMark val="out"/>
        <c:minorTickMark val="none"/>
        <c:tickLblPos val="nextTo"/>
        <c:crossAx val="624980239"/>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36769759450172E-2"/>
          <c:y val="0.13461538461538461"/>
          <c:w val="0.9553264604810997"/>
          <c:h val="0.77036199095022628"/>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dPt>
            <c:idx val="0"/>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1-50D6-45FA-A1D8-FE7386FC06D3}"/>
              </c:ext>
            </c:extLst>
          </c:dPt>
          <c:dPt>
            <c:idx val="1"/>
            <c:invertIfNegative val="0"/>
            <c:bubble3D val="0"/>
            <c:spPr>
              <a:solidFill>
                <a:schemeClr val="accent4"/>
              </a:solidFill>
              <a:ln w="9525" cmpd="sng" algn="ctr">
                <a:solidFill>
                  <a:schemeClr val="bg1"/>
                </a:solidFill>
                <a:prstDash val="solid"/>
              </a:ln>
            </c:spPr>
            <c:extLst>
              <c:ext xmlns:c16="http://schemas.microsoft.com/office/drawing/2014/chart" uri="{C3380CC4-5D6E-409C-BE32-E72D297353CC}">
                <c16:uniqueId val="{00000003-50D6-45FA-A1D8-FE7386FC06D3}"/>
              </c:ext>
            </c:extLst>
          </c:dPt>
          <c:dPt>
            <c:idx val="2"/>
            <c:invertIfNegative val="0"/>
            <c:bubble3D val="0"/>
            <c:spPr>
              <a:solidFill>
                <a:schemeClr val="accent5"/>
              </a:solidFill>
              <a:ln w="9525" cmpd="sng" algn="ctr">
                <a:solidFill>
                  <a:schemeClr val="bg1"/>
                </a:solidFill>
                <a:prstDash val="solid"/>
              </a:ln>
            </c:spPr>
            <c:extLst>
              <c:ext xmlns:c16="http://schemas.microsoft.com/office/drawing/2014/chart" uri="{C3380CC4-5D6E-409C-BE32-E72D297353CC}">
                <c16:uniqueId val="{00000005-50D6-45FA-A1D8-FE7386FC06D3}"/>
              </c:ext>
            </c:extLst>
          </c:dPt>
          <c:dPt>
            <c:idx val="4"/>
            <c:invertIfNegative val="0"/>
            <c:bubble3D val="0"/>
            <c:spPr>
              <a:solidFill>
                <a:schemeClr val="tx2"/>
              </a:solidFill>
              <a:ln w="9525" cmpd="sng" algn="ctr">
                <a:solidFill>
                  <a:schemeClr val="bg1"/>
                </a:solidFill>
                <a:prstDash val="solid"/>
              </a:ln>
            </c:spPr>
            <c:extLst>
              <c:ext xmlns:c16="http://schemas.microsoft.com/office/drawing/2014/chart" uri="{C3380CC4-5D6E-409C-BE32-E72D297353CC}">
                <c16:uniqueId val="{00000007-50D6-45FA-A1D8-FE7386FC06D3}"/>
              </c:ext>
            </c:extLst>
          </c:dPt>
          <c:dLbls>
            <c:dLbl>
              <c:idx val="0"/>
              <c:layout>
                <c:manualLayout>
                  <c:x val="0"/>
                  <c:y val="-0.42533936651583709"/>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0D6-45FA-A1D8-FE7386FC06D3}"/>
                </c:ext>
              </c:extLst>
            </c:dLbl>
            <c:dLbl>
              <c:idx val="1"/>
              <c:layout>
                <c:manualLayout>
                  <c:x val="0"/>
                  <c:y val="-0.23529411764705882"/>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0D6-45FA-A1D8-FE7386FC06D3}"/>
                </c:ext>
              </c:extLst>
            </c:dLbl>
            <c:dLbl>
              <c:idx val="2"/>
              <c:layout>
                <c:manualLayout>
                  <c:x val="0"/>
                  <c:y val="-0.20871040723981901"/>
                </c:manualLayout>
              </c:layout>
              <c:numFmt formatCode="#,##0;&quot;-&quot;#,##0" sourceLinked="0"/>
              <c:spPr>
                <a:noFill/>
                <a:ln>
                  <a:noFill/>
                </a:ln>
              </c:spPr>
              <c:txPr>
                <a:bodyPr wrap="none"/>
                <a:lstStyle/>
                <a:p>
                  <a:pPr>
                    <a:defRPr sz="12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0D6-45FA-A1D8-FE7386FC06D3}"/>
                </c:ext>
              </c:extLst>
            </c:dLbl>
            <c:dLbl>
              <c:idx val="3"/>
              <c:layout>
                <c:manualLayout>
                  <c:x val="0"/>
                  <c:y val="-0.14649321266968326"/>
                </c:manualLayout>
              </c:layout>
              <c:numFmt formatCode="#,##0;&quot;-&quot;#,##0" sourceLinked="0"/>
              <c:spPr>
                <a:noFill/>
                <a:ln>
                  <a:noFill/>
                </a:ln>
              </c:spPr>
              <c:txPr>
                <a:bodyPr wrap="none"/>
                <a:lstStyle/>
                <a:p>
                  <a:pPr>
                    <a:defRPr sz="12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0D6-45FA-A1D8-FE7386FC06D3}"/>
                </c:ext>
              </c:extLst>
            </c:dLbl>
            <c:dLbl>
              <c:idx val="4"/>
              <c:layout>
                <c:manualLayout>
                  <c:x val="0"/>
                  <c:y val="-0.16459276018099547"/>
                </c:manualLayout>
              </c:layout>
              <c:numFmt formatCode="#,##0;&quot;-&quot;#,##0" sourceLinked="0"/>
              <c:spPr>
                <a:noFill/>
                <a:ln>
                  <a:noFill/>
                </a:ln>
              </c:spPr>
              <c:txPr>
                <a:bodyPr wrap="none"/>
                <a:lstStyle/>
                <a:p>
                  <a:pPr>
                    <a:defRPr sz="12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0D6-45FA-A1D8-FE7386FC06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50</c:v>
                </c:pt>
                <c:pt idx="1">
                  <c:v>330</c:v>
                </c:pt>
                <c:pt idx="2">
                  <c:v>285</c:v>
                </c:pt>
                <c:pt idx="3">
                  <c:v>180</c:v>
                </c:pt>
                <c:pt idx="4">
                  <c:v>210</c:v>
                </c:pt>
              </c:numCache>
            </c:numRef>
          </c:val>
          <c:extLst>
            <c:ext xmlns:c16="http://schemas.microsoft.com/office/drawing/2014/chart" uri="{C3380CC4-5D6E-409C-BE32-E72D297353CC}">
              <c16:uniqueId val="{00000009-50D6-45FA-A1D8-FE7386FC06D3}"/>
            </c:ext>
          </c:extLst>
        </c:ser>
        <c:dLbls>
          <c:showLegendKey val="0"/>
          <c:showVal val="0"/>
          <c:showCatName val="0"/>
          <c:showSerName val="0"/>
          <c:showPercent val="0"/>
          <c:showBubbleSize val="0"/>
        </c:dLbls>
        <c:gapWidth val="70"/>
        <c:overlap val="100"/>
        <c:axId val="1651854399"/>
        <c:axId val="1"/>
      </c:barChart>
      <c:catAx>
        <c:axId val="1651854399"/>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650"/>
          <c:min val="0"/>
        </c:scaling>
        <c:delete val="1"/>
        <c:axPos val="l"/>
        <c:numFmt formatCode="General" sourceLinked="1"/>
        <c:majorTickMark val="out"/>
        <c:minorTickMark val="none"/>
        <c:tickLblPos val="nextTo"/>
        <c:crossAx val="1651854399"/>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723860589812333E-2"/>
          <c:y val="6.0254924681344149E-2"/>
          <c:w val="0.97855227882037532"/>
          <c:h val="0.87949015063731173"/>
        </c:manualLayout>
      </c:layout>
      <c:areaChart>
        <c:grouping val="standard"/>
        <c:varyColors val="0"/>
        <c:ser>
          <c:idx val="0"/>
          <c:order val="0"/>
          <c:spPr>
            <a:solidFill>
              <a:schemeClr val="bg1"/>
            </a:solidFill>
            <a:ln w="6350" cmpd="sng" algn="ctr">
              <a:solidFill>
                <a:schemeClr val="bg1"/>
              </a:solidFill>
              <a:prstDash val="solid"/>
            </a:ln>
          </c:spPr>
          <c:val>
            <c:numRef>
              <c:f>Sheet1!$A$1:$AD$1</c:f>
              <c:numCache>
                <c:formatCode>General</c:formatCode>
                <c:ptCount val="30"/>
                <c:pt idx="0">
                  <c:v>127249.80423659353</c:v>
                </c:pt>
                <c:pt idx="1">
                  <c:v>128932.40185511606</c:v>
                </c:pt>
                <c:pt idx="2">
                  <c:v>130615.44274558539</c:v>
                </c:pt>
                <c:pt idx="3">
                  <c:v>132200.63154495944</c:v>
                </c:pt>
                <c:pt idx="4">
                  <c:v>133786.27252604638</c:v>
                </c:pt>
                <c:pt idx="5">
                  <c:v>135231.0724169442</c:v>
                </c:pt>
                <c:pt idx="6">
                  <c:v>136676.33357840739</c:v>
                </c:pt>
                <c:pt idx="7">
                  <c:v>138329.76485148518</c:v>
                </c:pt>
                <c:pt idx="8">
                  <c:v>139983.66666666669</c:v>
                </c:pt>
                <c:pt idx="9">
                  <c:v>143325.73333333331</c:v>
                </c:pt>
                <c:pt idx="10">
                  <c:v>146678.00599999999</c:v>
                </c:pt>
                <c:pt idx="11">
                  <c:v>149721.06346499998</c:v>
                </c:pt>
                <c:pt idx="12">
                  <c:v>152366.99799072495</c:v>
                </c:pt>
                <c:pt idx="13">
                  <c:v>155089.51515807133</c:v>
                </c:pt>
                <c:pt idx="14">
                  <c:v>157891.77804545453</c:v>
                </c:pt>
                <c:pt idx="15">
                  <c:v>160777.12194946036</c:v>
                </c:pt>
                <c:pt idx="16">
                  <c:v>163749.0660404368</c:v>
                </c:pt>
                <c:pt idx="17">
                  <c:v>166811.32594356712</c:v>
                </c:pt>
                <c:pt idx="18">
                  <c:v>169967.82732697795</c:v>
                </c:pt>
                <c:pt idx="19">
                  <c:v>173222.72058607196</c:v>
                </c:pt>
                <c:pt idx="20">
                  <c:v>176816.10872631139</c:v>
                </c:pt>
                <c:pt idx="21">
                  <c:v>180536.91261914207</c:v>
                </c:pt>
                <c:pt idx="22">
                  <c:v>184391.63168421699</c:v>
                </c:pt>
                <c:pt idx="23">
                  <c:v>188387.19834148517</c:v>
                </c:pt>
                <c:pt idx="24">
                  <c:v>192531.01314094523</c:v>
                </c:pt>
                <c:pt idx="25">
                  <c:v>196830.98314915254</c:v>
                </c:pt>
                <c:pt idx="26">
                  <c:v>201295.56391973546</c:v>
                </c:pt>
                <c:pt idx="27">
                  <c:v>205933.80540955139</c:v>
                </c:pt>
                <c:pt idx="28">
                  <c:v>210755.40224018836</c:v>
                </c:pt>
                <c:pt idx="29">
                  <c:v>215770.74874668475</c:v>
                </c:pt>
              </c:numCache>
            </c:numRef>
          </c:val>
          <c:extLst>
            <c:ext xmlns:c16="http://schemas.microsoft.com/office/drawing/2014/chart" uri="{C3380CC4-5D6E-409C-BE32-E72D297353CC}">
              <c16:uniqueId val="{00000000-C39C-484B-A996-3E6E539E9BB5}"/>
            </c:ext>
          </c:extLst>
        </c:ser>
        <c:dLbls>
          <c:showLegendKey val="0"/>
          <c:showVal val="0"/>
          <c:showCatName val="0"/>
          <c:showSerName val="0"/>
          <c:showPercent val="0"/>
          <c:showBubbleSize val="0"/>
        </c:dLbls>
        <c:axId val="692257103"/>
        <c:axId val="1"/>
      </c:areaChart>
      <c:catAx>
        <c:axId val="692257103"/>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250000"/>
          <c:min val="0"/>
        </c:scaling>
        <c:delete val="0"/>
        <c:axPos val="l"/>
        <c:majorGridlines>
          <c:spPr>
            <a:ln>
              <a:noFill/>
            </a:ln>
          </c:spPr>
        </c:majorGridlines>
        <c:numFmt formatCode="General" sourceLinked="1"/>
        <c:majorTickMark val="out"/>
        <c:minorTickMark val="none"/>
        <c:tickLblPos val="none"/>
        <c:spPr>
          <a:ln w="6350" cmpd="sng" algn="ctr">
            <a:solidFill>
              <a:schemeClr val="tx1"/>
            </a:solidFill>
            <a:prstDash val="solid"/>
          </a:ln>
        </c:spPr>
        <c:txPr>
          <a:bodyPr wrap="none"/>
          <a:lstStyle/>
          <a:p>
            <a:pPr>
              <a:defRPr sz="800" kern="1200">
                <a:latin typeface="+mn-lt"/>
                <a:ea typeface="+mn-ea"/>
                <a:cs typeface="+mn-cs"/>
              </a:defRPr>
            </a:pPr>
            <a:endParaRPr lang="it-IT"/>
          </a:p>
        </c:txPr>
        <c:crossAx val="692257103"/>
        <c:crosses val="min"/>
        <c:crossBetween val="midCat"/>
        <c:majorUnit val="500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906458797327393E-2"/>
          <c:y val="0.12621359223300971"/>
          <c:w val="0.88418708240534516"/>
          <c:h val="0.74757281553398058"/>
        </c:manualLayout>
      </c:layout>
      <c:barChart>
        <c:barDir val="col"/>
        <c:grouping val="stacked"/>
        <c:varyColors val="0"/>
        <c:ser>
          <c:idx val="0"/>
          <c:order val="0"/>
          <c:spPr>
            <a:solidFill>
              <a:schemeClr val="bg2"/>
            </a:solidFill>
            <a:ln w="6350" cmpd="sng" algn="ctr">
              <a:solidFill>
                <a:schemeClr val="bg1"/>
              </a:solidFill>
              <a:prstDash val="solid"/>
            </a:ln>
          </c:spPr>
          <c:invertIfNegative val="0"/>
          <c:val>
            <c:numRef>
              <c:f>Sheet1!$A$1:$C$1</c:f>
              <c:numCache>
                <c:formatCode>General</c:formatCode>
                <c:ptCount val="3"/>
                <c:pt idx="0">
                  <c:v>152366.99799072495</c:v>
                </c:pt>
                <c:pt idx="1">
                  <c:v>173222.72058607196</c:v>
                </c:pt>
                <c:pt idx="2">
                  <c:v>215770.74874668475</c:v>
                </c:pt>
              </c:numCache>
            </c:numRef>
          </c:val>
          <c:extLst>
            <c:ext xmlns:c16="http://schemas.microsoft.com/office/drawing/2014/chart" uri="{C3380CC4-5D6E-409C-BE32-E72D297353CC}">
              <c16:uniqueId val="{00000000-0D9C-4F58-9D4C-91B4632129E5}"/>
            </c:ext>
          </c:extLst>
        </c:ser>
        <c:dLbls>
          <c:showLegendKey val="0"/>
          <c:showVal val="0"/>
          <c:showCatName val="0"/>
          <c:showSerName val="0"/>
          <c:showPercent val="0"/>
          <c:showBubbleSize val="0"/>
        </c:dLbls>
        <c:gapWidth val="70"/>
        <c:overlap val="100"/>
        <c:axId val="1299031296"/>
        <c:axId val="1"/>
      </c:barChart>
      <c:catAx>
        <c:axId val="1299031296"/>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215770.74874668475"/>
          <c:min val="0"/>
        </c:scaling>
        <c:delete val="1"/>
        <c:axPos val="l"/>
        <c:numFmt formatCode="General" sourceLinked="1"/>
        <c:majorTickMark val="out"/>
        <c:minorTickMark val="none"/>
        <c:tickLblPos val="nextTo"/>
        <c:crossAx val="1299031296"/>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26966292134834E-2"/>
          <c:y val="0.12621359223300971"/>
          <c:w val="0.88314606741573032"/>
          <c:h val="0.74757281553398058"/>
        </c:manualLayout>
      </c:layout>
      <c:barChart>
        <c:barDir val="col"/>
        <c:grouping val="stacked"/>
        <c:varyColors val="0"/>
        <c:ser>
          <c:idx val="0"/>
          <c:order val="0"/>
          <c:spPr>
            <a:solidFill>
              <a:schemeClr val="bg2"/>
            </a:solidFill>
            <a:ln w="6350" cmpd="sng" algn="ctr">
              <a:solidFill>
                <a:schemeClr val="bg1"/>
              </a:solidFill>
              <a:prstDash val="solid"/>
            </a:ln>
          </c:spPr>
          <c:invertIfNegative val="0"/>
          <c:val>
            <c:numRef>
              <c:f>Sheet1!$A$1:$C$1</c:f>
              <c:numCache>
                <c:formatCode>General</c:formatCode>
                <c:ptCount val="3"/>
                <c:pt idx="0">
                  <c:v>17365.82106589781</c:v>
                </c:pt>
                <c:pt idx="1">
                  <c:v>21152.231186602858</c:v>
                </c:pt>
                <c:pt idx="2">
                  <c:v>29716.793793967121</c:v>
                </c:pt>
              </c:numCache>
            </c:numRef>
          </c:val>
          <c:extLst>
            <c:ext xmlns:c16="http://schemas.microsoft.com/office/drawing/2014/chart" uri="{C3380CC4-5D6E-409C-BE32-E72D297353CC}">
              <c16:uniqueId val="{00000000-FF6B-48D7-B2D4-D5CAE1B27343}"/>
            </c:ext>
          </c:extLst>
        </c:ser>
        <c:dLbls>
          <c:showLegendKey val="0"/>
          <c:showVal val="0"/>
          <c:showCatName val="0"/>
          <c:showSerName val="0"/>
          <c:showPercent val="0"/>
          <c:showBubbleSize val="0"/>
        </c:dLbls>
        <c:gapWidth val="70"/>
        <c:overlap val="100"/>
        <c:axId val="1299032688"/>
        <c:axId val="1"/>
      </c:barChart>
      <c:catAx>
        <c:axId val="1299032688"/>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29716.793793967121"/>
          <c:min val="0"/>
        </c:scaling>
        <c:delete val="1"/>
        <c:axPos val="l"/>
        <c:numFmt formatCode="General" sourceLinked="1"/>
        <c:majorTickMark val="out"/>
        <c:minorTickMark val="none"/>
        <c:tickLblPos val="nextTo"/>
        <c:crossAx val="129903268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03903903903904E-2"/>
          <c:y val="7.937584803256445E-2"/>
          <c:w val="0.86561561561561562"/>
          <c:h val="0.84124830393487104"/>
        </c:manualLayout>
      </c:layout>
      <c:barChart>
        <c:barDir val="bar"/>
        <c:grouping val="clustered"/>
        <c:varyColors val="0"/>
        <c:ser>
          <c:idx val="0"/>
          <c:order val="0"/>
          <c:spPr>
            <a:solidFill>
              <a:schemeClr val="accent1"/>
            </a:solidFill>
            <a:ln w="9525" cmpd="sng" algn="ctr">
              <a:solidFill>
                <a:schemeClr val="bg1"/>
              </a:solidFill>
              <a:prstDash val="solid"/>
            </a:ln>
          </c:spPr>
          <c:invertIfNegative val="0"/>
          <c:dLbls>
            <c:dLbl>
              <c:idx val="0"/>
              <c:layout>
                <c:manualLayout>
                  <c:x val="0.47972972972972971"/>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0D7-413F-8056-3B0A8BC7583B}"/>
                </c:ext>
              </c:extLst>
            </c:dLbl>
            <c:dLbl>
              <c:idx val="1"/>
              <c:layout>
                <c:manualLayout>
                  <c:x val="0.29804804804804808"/>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0D7-413F-8056-3B0A8BC7583B}"/>
                </c:ext>
              </c:extLst>
            </c:dLbl>
            <c:dLbl>
              <c:idx val="2"/>
              <c:layout>
                <c:manualLayout>
                  <c:x val="0.29804804804804808"/>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0D7-413F-8056-3B0A8BC7583B}"/>
                </c:ext>
              </c:extLst>
            </c:dLbl>
            <c:dLbl>
              <c:idx val="3"/>
              <c:layout>
                <c:manualLayout>
                  <c:x val="0.21771771771771772"/>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0D7-413F-8056-3B0A8BC7583B}"/>
                </c:ext>
              </c:extLst>
            </c:dLbl>
            <c:dLbl>
              <c:idx val="4"/>
              <c:layout>
                <c:manualLayout>
                  <c:x val="0.21096096096096095"/>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0D7-413F-8056-3B0A8BC7583B}"/>
                </c:ext>
              </c:extLst>
            </c:dLbl>
            <c:dLbl>
              <c:idx val="5"/>
              <c:layout>
                <c:manualLayout>
                  <c:x val="0.20795795795795796"/>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0D7-413F-8056-3B0A8BC758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3</c:v>
                </c:pt>
                <c:pt idx="1">
                  <c:v>25</c:v>
                </c:pt>
                <c:pt idx="2">
                  <c:v>25</c:v>
                </c:pt>
                <c:pt idx="3">
                  <c:v>17</c:v>
                </c:pt>
                <c:pt idx="4">
                  <c:v>16.3</c:v>
                </c:pt>
                <c:pt idx="5">
                  <c:v>16</c:v>
                </c:pt>
              </c:numCache>
            </c:numRef>
          </c:val>
          <c:extLst>
            <c:ext xmlns:c16="http://schemas.microsoft.com/office/drawing/2014/chart" uri="{C3380CC4-5D6E-409C-BE32-E72D297353CC}">
              <c16:uniqueId val="{00000006-70D7-413F-8056-3B0A8BC7583B}"/>
            </c:ext>
          </c:extLst>
        </c:ser>
        <c:ser>
          <c:idx val="1"/>
          <c:order val="1"/>
          <c:spPr>
            <a:solidFill>
              <a:schemeClr val="accent3"/>
            </a:solidFill>
            <a:ln w="9525" cmpd="sng" algn="ctr">
              <a:solidFill>
                <a:schemeClr val="bg1"/>
              </a:solidFill>
              <a:prstDash val="solid"/>
            </a:ln>
          </c:spPr>
          <c:invertIfNegative val="0"/>
          <c:dLbls>
            <c:dLbl>
              <c:idx val="0"/>
              <c:layout>
                <c:manualLayout>
                  <c:x val="0.47147147147147145"/>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0D7-413F-8056-3B0A8BC7583B}"/>
                </c:ext>
              </c:extLst>
            </c:dLbl>
            <c:dLbl>
              <c:idx val="1"/>
              <c:layout>
                <c:manualLayout>
                  <c:x val="0.31156156156156156"/>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0D7-413F-8056-3B0A8BC7583B}"/>
                </c:ext>
              </c:extLst>
            </c:dLbl>
            <c:dLbl>
              <c:idx val="2"/>
              <c:layout>
                <c:manualLayout>
                  <c:x val="0.27702702702702703"/>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0D7-413F-8056-3B0A8BC7583B}"/>
                </c:ext>
              </c:extLst>
            </c:dLbl>
            <c:dLbl>
              <c:idx val="3"/>
              <c:layout>
                <c:manualLayout>
                  <c:x val="0.21546546546546547"/>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0D7-413F-8056-3B0A8BC7583B}"/>
                </c:ext>
              </c:extLst>
            </c:dLbl>
            <c:dLbl>
              <c:idx val="4"/>
              <c:layout>
                <c:manualLayout>
                  <c:x val="0.21096096096096095"/>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0D7-413F-8056-3B0A8BC7583B}"/>
                </c:ext>
              </c:extLst>
            </c:dLbl>
            <c:dLbl>
              <c:idx val="5"/>
              <c:layout>
                <c:manualLayout>
                  <c:x val="0.2057057057057057"/>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0D7-413F-8056-3B0A8BC758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42.2</c:v>
                </c:pt>
                <c:pt idx="1">
                  <c:v>26.3</c:v>
                </c:pt>
                <c:pt idx="2">
                  <c:v>22.9</c:v>
                </c:pt>
                <c:pt idx="3">
                  <c:v>16.8</c:v>
                </c:pt>
                <c:pt idx="4">
                  <c:v>16.3</c:v>
                </c:pt>
                <c:pt idx="5">
                  <c:v>15.8</c:v>
                </c:pt>
              </c:numCache>
            </c:numRef>
          </c:val>
          <c:extLst>
            <c:ext xmlns:c16="http://schemas.microsoft.com/office/drawing/2014/chart" uri="{C3380CC4-5D6E-409C-BE32-E72D297353CC}">
              <c16:uniqueId val="{0000000D-70D7-413F-8056-3B0A8BC7583B}"/>
            </c:ext>
          </c:extLst>
        </c:ser>
        <c:ser>
          <c:idx val="2"/>
          <c:order val="2"/>
          <c:spPr>
            <a:solidFill>
              <a:schemeClr val="tx2"/>
            </a:solidFill>
            <a:ln w="9525" cmpd="sng" algn="ctr">
              <a:solidFill>
                <a:schemeClr val="bg1"/>
              </a:solidFill>
              <a:prstDash val="solid"/>
            </a:ln>
          </c:spPr>
          <c:invertIfNegative val="0"/>
          <c:dLbls>
            <c:dLbl>
              <c:idx val="0"/>
              <c:layout>
                <c:manualLayout>
                  <c:x val="0.43693693693693691"/>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0D7-413F-8056-3B0A8BC7583B}"/>
                </c:ext>
              </c:extLst>
            </c:dLbl>
            <c:dLbl>
              <c:idx val="1"/>
              <c:layout>
                <c:manualLayout>
                  <c:x val="0.2747747747747748"/>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0D7-413F-8056-3B0A8BC7583B}"/>
                </c:ext>
              </c:extLst>
            </c:dLbl>
            <c:dLbl>
              <c:idx val="2"/>
              <c:layout>
                <c:manualLayout>
                  <c:x val="0.27402402402402404"/>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0D7-413F-8056-3B0A8BC7583B}"/>
                </c:ext>
              </c:extLst>
            </c:dLbl>
            <c:dLbl>
              <c:idx val="3"/>
              <c:layout>
                <c:manualLayout>
                  <c:x val="0.20795795795795796"/>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0D7-413F-8056-3B0A8BC7583B}"/>
                </c:ext>
              </c:extLst>
            </c:dLbl>
            <c:dLbl>
              <c:idx val="4"/>
              <c:layout>
                <c:manualLayout>
                  <c:x val="0.19219219219219219"/>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0D7-413F-8056-3B0A8BC7583B}"/>
                </c:ext>
              </c:extLst>
            </c:dLbl>
            <c:dLbl>
              <c:idx val="5"/>
              <c:layout>
                <c:manualLayout>
                  <c:x val="0.16666666666666666"/>
                  <c:y val="1.3568521031207597E-3"/>
                </c:manualLayout>
              </c:layout>
              <c:numFmt formatCode="#,##0;&quot;-&quot;#,##0" sourceLinked="0"/>
              <c:spPr>
                <a:noFill/>
                <a:ln>
                  <a:noFill/>
                </a:ln>
              </c:spPr>
              <c:txPr>
                <a:bodyPr wrap="none"/>
                <a:lstStyle/>
                <a:p>
                  <a:pPr>
                    <a:defRPr sz="8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0D7-413F-8056-3B0A8BC758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38.799999999999997</c:v>
                </c:pt>
                <c:pt idx="1">
                  <c:v>22.7</c:v>
                </c:pt>
                <c:pt idx="2">
                  <c:v>22.6</c:v>
                </c:pt>
                <c:pt idx="3">
                  <c:v>16</c:v>
                </c:pt>
                <c:pt idx="4">
                  <c:v>14.5</c:v>
                </c:pt>
                <c:pt idx="5">
                  <c:v>11.9</c:v>
                </c:pt>
              </c:numCache>
            </c:numRef>
          </c:val>
          <c:extLst>
            <c:ext xmlns:c16="http://schemas.microsoft.com/office/drawing/2014/chart" uri="{C3380CC4-5D6E-409C-BE32-E72D297353CC}">
              <c16:uniqueId val="{00000014-70D7-413F-8056-3B0A8BC7583B}"/>
            </c:ext>
          </c:extLst>
        </c:ser>
        <c:dLbls>
          <c:showLegendKey val="0"/>
          <c:showVal val="0"/>
          <c:showCatName val="0"/>
          <c:showSerName val="0"/>
          <c:showPercent val="0"/>
          <c:showBubbleSize val="0"/>
        </c:dLbls>
        <c:gapWidth val="70"/>
        <c:axId val="1369029135"/>
        <c:axId val="1"/>
      </c:barChart>
      <c:catAx>
        <c:axId val="1369029135"/>
        <c:scaling>
          <c:orientation val="maxMin"/>
        </c:scaling>
        <c:delete val="0"/>
        <c:axPos val="l"/>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43"/>
          <c:min val="0"/>
        </c:scaling>
        <c:delete val="1"/>
        <c:axPos val="t"/>
        <c:numFmt formatCode="General" sourceLinked="1"/>
        <c:majorTickMark val="out"/>
        <c:minorTickMark val="none"/>
        <c:tickLblPos val="nextTo"/>
        <c:crossAx val="1369029135"/>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906458797327393E-2"/>
          <c:y val="0.12621359223300971"/>
          <c:w val="0.88418708240534516"/>
          <c:h val="0.74757281553398058"/>
        </c:manualLayout>
      </c:layout>
      <c:barChart>
        <c:barDir val="col"/>
        <c:grouping val="stacked"/>
        <c:varyColors val="0"/>
        <c:ser>
          <c:idx val="0"/>
          <c:order val="0"/>
          <c:spPr>
            <a:solidFill>
              <a:schemeClr val="bg2"/>
            </a:solidFill>
            <a:ln w="6350" cmpd="sng" algn="ctr">
              <a:solidFill>
                <a:schemeClr val="bg1"/>
              </a:solidFill>
              <a:prstDash val="solid"/>
            </a:ln>
          </c:spPr>
          <c:invertIfNegative val="0"/>
          <c:val>
            <c:numRef>
              <c:f>Sheet1!$A$1:$C$1</c:f>
              <c:numCache>
                <c:formatCode>General</c:formatCode>
                <c:ptCount val="3"/>
                <c:pt idx="0">
                  <c:v>1331.1989002524174</c:v>
                </c:pt>
                <c:pt idx="1">
                  <c:v>1527.9879990741247</c:v>
                </c:pt>
                <c:pt idx="2">
                  <c:v>1907.5692055035895</c:v>
                </c:pt>
              </c:numCache>
            </c:numRef>
          </c:val>
          <c:extLst>
            <c:ext xmlns:c16="http://schemas.microsoft.com/office/drawing/2014/chart" uri="{C3380CC4-5D6E-409C-BE32-E72D297353CC}">
              <c16:uniqueId val="{00000000-70DB-48BD-8285-3C7F852E4B06}"/>
            </c:ext>
          </c:extLst>
        </c:ser>
        <c:dLbls>
          <c:showLegendKey val="0"/>
          <c:showVal val="0"/>
          <c:showCatName val="0"/>
          <c:showSerName val="0"/>
          <c:showPercent val="0"/>
          <c:showBubbleSize val="0"/>
        </c:dLbls>
        <c:gapWidth val="70"/>
        <c:overlap val="100"/>
        <c:axId val="1299028048"/>
        <c:axId val="1"/>
      </c:barChart>
      <c:catAx>
        <c:axId val="1299028048"/>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907.5692055035895"/>
          <c:min val="0"/>
        </c:scaling>
        <c:delete val="1"/>
        <c:axPos val="l"/>
        <c:numFmt formatCode="General" sourceLinked="1"/>
        <c:majorTickMark val="out"/>
        <c:minorTickMark val="none"/>
        <c:tickLblPos val="nextTo"/>
        <c:crossAx val="1299028048"/>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842046718576193E-2"/>
          <c:y val="0.12621359223300971"/>
          <c:w val="0.88431590656284764"/>
          <c:h val="0.74757281553398058"/>
        </c:manualLayout>
      </c:layout>
      <c:barChart>
        <c:barDir val="col"/>
        <c:grouping val="stacked"/>
        <c:varyColors val="0"/>
        <c:ser>
          <c:idx val="0"/>
          <c:order val="0"/>
          <c:spPr>
            <a:solidFill>
              <a:schemeClr val="bg2"/>
            </a:solidFill>
            <a:ln w="6350" cmpd="sng" algn="ctr">
              <a:solidFill>
                <a:schemeClr val="bg1"/>
              </a:solidFill>
              <a:prstDash val="solid"/>
            </a:ln>
          </c:spPr>
          <c:invertIfNegative val="0"/>
          <c:val>
            <c:numRef>
              <c:f>Sheet1!$A$1:$C$1</c:f>
              <c:numCache>
                <c:formatCode>General</c:formatCode>
                <c:ptCount val="3"/>
                <c:pt idx="0">
                  <c:v>0.5</c:v>
                </c:pt>
                <c:pt idx="1">
                  <c:v>1</c:v>
                </c:pt>
                <c:pt idx="2">
                  <c:v>1.8</c:v>
                </c:pt>
              </c:numCache>
            </c:numRef>
          </c:val>
          <c:extLst>
            <c:ext xmlns:c16="http://schemas.microsoft.com/office/drawing/2014/chart" uri="{C3380CC4-5D6E-409C-BE32-E72D297353CC}">
              <c16:uniqueId val="{00000000-49E2-48E4-A7F4-B8B155A18DD8}"/>
            </c:ext>
          </c:extLst>
        </c:ser>
        <c:dLbls>
          <c:showLegendKey val="0"/>
          <c:showVal val="0"/>
          <c:showCatName val="0"/>
          <c:showSerName val="0"/>
          <c:showPercent val="0"/>
          <c:showBubbleSize val="0"/>
        </c:dLbls>
        <c:gapWidth val="70"/>
        <c:overlap val="100"/>
        <c:axId val="1659080095"/>
        <c:axId val="1"/>
      </c:barChart>
      <c:catAx>
        <c:axId val="1659080095"/>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8"/>
          <c:min val="0"/>
        </c:scaling>
        <c:delete val="1"/>
        <c:axPos val="l"/>
        <c:numFmt formatCode="General" sourceLinked="1"/>
        <c:majorTickMark val="out"/>
        <c:minorTickMark val="none"/>
        <c:tickLblPos val="nextTo"/>
        <c:crossAx val="1659080095"/>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558558558558557E-2"/>
          <c:y val="0.12621359223300971"/>
          <c:w val="0.88288288288288286"/>
          <c:h val="0.74757281553398058"/>
        </c:manualLayout>
      </c:layout>
      <c:barChart>
        <c:barDir val="col"/>
        <c:grouping val="stacked"/>
        <c:varyColors val="0"/>
        <c:ser>
          <c:idx val="0"/>
          <c:order val="0"/>
          <c:spPr>
            <a:solidFill>
              <a:schemeClr val="bg2"/>
            </a:solidFill>
            <a:ln w="6350" cmpd="sng" algn="ctr">
              <a:solidFill>
                <a:schemeClr val="bg1"/>
              </a:solidFill>
              <a:prstDash val="solid"/>
            </a:ln>
          </c:spPr>
          <c:invertIfNegative val="0"/>
          <c:val>
            <c:numRef>
              <c:f>Sheet1!$A$1:$C$1</c:f>
              <c:numCache>
                <c:formatCode>General</c:formatCode>
                <c:ptCount val="3"/>
                <c:pt idx="0">
                  <c:v>1805.8006512000006</c:v>
                </c:pt>
                <c:pt idx="1">
                  <c:v>3987.5957552937471</c:v>
                </c:pt>
                <c:pt idx="2">
                  <c:v>11827.60160250441</c:v>
                </c:pt>
              </c:numCache>
            </c:numRef>
          </c:val>
          <c:extLst>
            <c:ext xmlns:c16="http://schemas.microsoft.com/office/drawing/2014/chart" uri="{C3380CC4-5D6E-409C-BE32-E72D297353CC}">
              <c16:uniqueId val="{00000000-48B5-476D-B30E-1E4BF72FF6A0}"/>
            </c:ext>
          </c:extLst>
        </c:ser>
        <c:dLbls>
          <c:showLegendKey val="0"/>
          <c:showVal val="0"/>
          <c:showCatName val="0"/>
          <c:showSerName val="0"/>
          <c:showPercent val="0"/>
          <c:showBubbleSize val="0"/>
        </c:dLbls>
        <c:gapWidth val="70"/>
        <c:overlap val="100"/>
        <c:axId val="692202815"/>
        <c:axId val="1"/>
      </c:barChart>
      <c:catAx>
        <c:axId val="692202815"/>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1827.60160250441"/>
          <c:min val="0"/>
        </c:scaling>
        <c:delete val="1"/>
        <c:axPos val="l"/>
        <c:numFmt formatCode="General" sourceLinked="1"/>
        <c:majorTickMark val="out"/>
        <c:minorTickMark val="none"/>
        <c:tickLblPos val="nextTo"/>
        <c:crossAx val="692202815"/>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588235294117649E-2"/>
          <c:y val="3.2663316582914576E-2"/>
          <c:w val="0.93882352941176472"/>
          <c:h val="0.9346733668341709"/>
        </c:manualLayout>
      </c:layout>
      <c:barChart>
        <c:barDir val="col"/>
        <c:grouping val="stacked"/>
        <c:varyColors val="0"/>
        <c:ser>
          <c:idx val="0"/>
          <c:order val="0"/>
          <c:spPr>
            <a:solidFill>
              <a:srgbClr val="00B050"/>
            </a:solidFill>
            <a:ln w="9525" cmpd="sng" algn="ctr">
              <a:solidFill>
                <a:schemeClr val="bg1"/>
              </a:solidFill>
              <a:prstDash val="solid"/>
            </a:ln>
          </c:spPr>
          <c:invertIfNegative val="0"/>
          <c:dPt>
            <c:idx val="0"/>
            <c:invertIfNegative val="0"/>
            <c:bubble3D val="0"/>
            <c:spPr>
              <a:solidFill>
                <a:srgbClr val="000082"/>
              </a:solidFill>
              <a:ln w="9525" cmpd="sng" algn="ctr">
                <a:solidFill>
                  <a:schemeClr val="bg1"/>
                </a:solidFill>
                <a:prstDash val="solid"/>
              </a:ln>
            </c:spPr>
            <c:extLst>
              <c:ext xmlns:c16="http://schemas.microsoft.com/office/drawing/2014/chart" uri="{C3380CC4-5D6E-409C-BE32-E72D297353CC}">
                <c16:uniqueId val="{00000001-E4BB-4BBC-9EFE-B596D8984A5E}"/>
              </c:ext>
            </c:extLst>
          </c:dPt>
          <c:val>
            <c:numRef>
              <c:f>Sheet1!$A$1:$D$1</c:f>
              <c:numCache>
                <c:formatCode>General</c:formatCode>
                <c:ptCount val="4"/>
                <c:pt idx="0">
                  <c:v>1</c:v>
                </c:pt>
                <c:pt idx="1">
                  <c:v>51</c:v>
                </c:pt>
                <c:pt idx="2">
                  <c:v>116</c:v>
                </c:pt>
                <c:pt idx="3">
                  <c:v>327</c:v>
                </c:pt>
              </c:numCache>
            </c:numRef>
          </c:val>
          <c:extLst>
            <c:ext xmlns:c16="http://schemas.microsoft.com/office/drawing/2014/chart" uri="{C3380CC4-5D6E-409C-BE32-E72D297353CC}">
              <c16:uniqueId val="{00000002-E4BB-4BBC-9EFE-B596D8984A5E}"/>
            </c:ext>
          </c:extLst>
        </c:ser>
        <c:ser>
          <c:idx val="1"/>
          <c:order val="1"/>
          <c:spPr>
            <a:solidFill>
              <a:srgbClr val="000082"/>
            </a:solidFill>
            <a:ln w="9525" cmpd="sng" algn="ctr">
              <a:solidFill>
                <a:schemeClr val="bg1"/>
              </a:solidFill>
              <a:prstDash val="solid"/>
            </a:ln>
          </c:spPr>
          <c:invertIfNegative val="0"/>
          <c:dPt>
            <c:idx val="0"/>
            <c:invertIfNegative val="0"/>
            <c:bubble3D val="0"/>
            <c:spPr>
              <a:solidFill>
                <a:schemeClr val="tx2"/>
              </a:solidFill>
              <a:ln w="9525" cmpd="sng" algn="ctr">
                <a:solidFill>
                  <a:schemeClr val="bg1"/>
                </a:solidFill>
                <a:prstDash val="solid"/>
              </a:ln>
            </c:spPr>
            <c:extLst>
              <c:ext xmlns:c16="http://schemas.microsoft.com/office/drawing/2014/chart" uri="{C3380CC4-5D6E-409C-BE32-E72D297353CC}">
                <c16:uniqueId val="{00000004-E4BB-4BBC-9EFE-B596D8984A5E}"/>
              </c:ext>
            </c:extLst>
          </c:dPt>
          <c:val>
            <c:numRef>
              <c:f>Sheet1!$A$2:$D$2</c:f>
              <c:numCache>
                <c:formatCode>General</c:formatCode>
                <c:ptCount val="4"/>
                <c:pt idx="0">
                  <c:v>94</c:v>
                </c:pt>
                <c:pt idx="1">
                  <c:v>18</c:v>
                </c:pt>
                <c:pt idx="2">
                  <c:v>34</c:v>
                </c:pt>
                <c:pt idx="3">
                  <c:v>89</c:v>
                </c:pt>
              </c:numCache>
            </c:numRef>
          </c:val>
          <c:extLst>
            <c:ext xmlns:c16="http://schemas.microsoft.com/office/drawing/2014/chart" uri="{C3380CC4-5D6E-409C-BE32-E72D297353CC}">
              <c16:uniqueId val="{00000005-E4BB-4BBC-9EFE-B596D8984A5E}"/>
            </c:ext>
          </c:extLst>
        </c:ser>
        <c:ser>
          <c:idx val="2"/>
          <c:order val="2"/>
          <c:spPr>
            <a:solidFill>
              <a:schemeClr val="tx2"/>
            </a:solidFill>
            <a:ln w="9525" cmpd="sng" algn="ctr">
              <a:solidFill>
                <a:schemeClr val="bg1"/>
              </a:solidFill>
              <a:prstDash val="solid"/>
            </a:ln>
          </c:spPr>
          <c:invertIfNegative val="0"/>
          <c:dPt>
            <c:idx val="0"/>
            <c:invertIfNegative val="0"/>
            <c:bubble3D val="0"/>
            <c:spPr>
              <a:solidFill>
                <a:srgbClr val="00B050"/>
              </a:solidFill>
              <a:ln w="9525" cmpd="sng" algn="ctr">
                <a:solidFill>
                  <a:schemeClr val="bg1"/>
                </a:solidFill>
                <a:prstDash val="solid"/>
              </a:ln>
            </c:spPr>
            <c:extLst>
              <c:ext xmlns:c16="http://schemas.microsoft.com/office/drawing/2014/chart" uri="{C3380CC4-5D6E-409C-BE32-E72D297353CC}">
                <c16:uniqueId val="{00000007-E4BB-4BBC-9EFE-B596D8984A5E}"/>
              </c:ext>
            </c:extLst>
          </c:dPt>
          <c:val>
            <c:numRef>
              <c:f>Sheet1!$A$3:$D$3</c:f>
              <c:numCache>
                <c:formatCode>General</c:formatCode>
                <c:ptCount val="4"/>
                <c:pt idx="0">
                  <c:v>0</c:v>
                </c:pt>
                <c:pt idx="1">
                  <c:v>81</c:v>
                </c:pt>
                <c:pt idx="2">
                  <c:v>65</c:v>
                </c:pt>
                <c:pt idx="3">
                  <c:v>14</c:v>
                </c:pt>
              </c:numCache>
            </c:numRef>
          </c:val>
          <c:extLst>
            <c:ext xmlns:c16="http://schemas.microsoft.com/office/drawing/2014/chart" uri="{C3380CC4-5D6E-409C-BE32-E72D297353CC}">
              <c16:uniqueId val="{00000008-E4BB-4BBC-9EFE-B596D8984A5E}"/>
            </c:ext>
          </c:extLst>
        </c:ser>
        <c:dLbls>
          <c:showLegendKey val="0"/>
          <c:showVal val="0"/>
          <c:showCatName val="0"/>
          <c:showSerName val="0"/>
          <c:showPercent val="0"/>
          <c:showBubbleSize val="0"/>
        </c:dLbls>
        <c:gapWidth val="70"/>
        <c:overlap val="100"/>
        <c:axId val="870080735"/>
        <c:axId val="1"/>
      </c:barChart>
      <c:catAx>
        <c:axId val="870080735"/>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430"/>
          <c:min val="0"/>
        </c:scaling>
        <c:delete val="1"/>
        <c:axPos val="l"/>
        <c:numFmt formatCode="General" sourceLinked="1"/>
        <c:majorTickMark val="out"/>
        <c:minorTickMark val="none"/>
        <c:tickLblPos val="nextTo"/>
        <c:crossAx val="870080735"/>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837353549276363E-2"/>
          <c:y val="3.2663316582914576E-2"/>
          <c:w val="0.92832529290144727"/>
          <c:h val="0.9346733668341709"/>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Pt>
            <c:idx val="0"/>
            <c:invertIfNegative val="0"/>
            <c:bubble3D val="0"/>
            <c:spPr>
              <a:solidFill>
                <a:schemeClr val="accent5"/>
              </a:solidFill>
              <a:ln w="9525" cmpd="sng" algn="ctr">
                <a:solidFill>
                  <a:schemeClr val="bg1"/>
                </a:solidFill>
                <a:prstDash val="solid"/>
              </a:ln>
            </c:spPr>
            <c:extLst>
              <c:ext xmlns:c16="http://schemas.microsoft.com/office/drawing/2014/chart" uri="{C3380CC4-5D6E-409C-BE32-E72D297353CC}">
                <c16:uniqueId val="{00000001-E261-4DC4-8B6F-49B65F80E680}"/>
              </c:ext>
            </c:extLst>
          </c:dPt>
          <c:val>
            <c:numRef>
              <c:f>Sheet1!$A$1:$D$1</c:f>
              <c:numCache>
                <c:formatCode>General</c:formatCode>
                <c:ptCount val="4"/>
                <c:pt idx="0">
                  <c:v>95</c:v>
                </c:pt>
                <c:pt idx="1">
                  <c:v>28</c:v>
                </c:pt>
                <c:pt idx="2">
                  <c:v>58</c:v>
                </c:pt>
                <c:pt idx="3">
                  <c:v>88</c:v>
                </c:pt>
              </c:numCache>
            </c:numRef>
          </c:val>
          <c:extLst>
            <c:ext xmlns:c16="http://schemas.microsoft.com/office/drawing/2014/chart" uri="{C3380CC4-5D6E-409C-BE32-E72D297353CC}">
              <c16:uniqueId val="{00000002-E261-4DC4-8B6F-49B65F80E680}"/>
            </c:ext>
          </c:extLst>
        </c:ser>
        <c:ser>
          <c:idx val="1"/>
          <c:order val="1"/>
          <c:spPr>
            <a:solidFill>
              <a:schemeClr val="accent4"/>
            </a:solidFill>
            <a:ln w="9525" cmpd="sng" algn="ctr">
              <a:solidFill>
                <a:schemeClr val="bg1"/>
              </a:solidFill>
              <a:prstDash val="solid"/>
            </a:ln>
          </c:spPr>
          <c:invertIfNegative val="0"/>
          <c:val>
            <c:numRef>
              <c:f>Sheet1!$A$2:$D$2</c:f>
              <c:numCache>
                <c:formatCode>General</c:formatCode>
                <c:ptCount val="4"/>
                <c:pt idx="1">
                  <c:v>16</c:v>
                </c:pt>
                <c:pt idx="2">
                  <c:v>40</c:v>
                </c:pt>
                <c:pt idx="3">
                  <c:v>193</c:v>
                </c:pt>
              </c:numCache>
            </c:numRef>
          </c:val>
          <c:extLst>
            <c:ext xmlns:c16="http://schemas.microsoft.com/office/drawing/2014/chart" uri="{C3380CC4-5D6E-409C-BE32-E72D297353CC}">
              <c16:uniqueId val="{00000003-E261-4DC4-8B6F-49B65F80E680}"/>
            </c:ext>
          </c:extLst>
        </c:ser>
        <c:ser>
          <c:idx val="2"/>
          <c:order val="2"/>
          <c:spPr>
            <a:solidFill>
              <a:schemeClr val="accent5"/>
            </a:solidFill>
            <a:ln w="9525" cmpd="sng" algn="ctr">
              <a:solidFill>
                <a:schemeClr val="bg1"/>
              </a:solidFill>
              <a:prstDash val="solid"/>
            </a:ln>
          </c:spPr>
          <c:invertIfNegative val="0"/>
          <c:val>
            <c:numRef>
              <c:f>Sheet1!$A$3:$D$3</c:f>
              <c:numCache>
                <c:formatCode>General</c:formatCode>
                <c:ptCount val="4"/>
                <c:pt idx="1">
                  <c:v>106</c:v>
                </c:pt>
                <c:pt idx="2">
                  <c:v>118</c:v>
                </c:pt>
                <c:pt idx="3">
                  <c:v>149</c:v>
                </c:pt>
              </c:numCache>
            </c:numRef>
          </c:val>
          <c:extLst>
            <c:ext xmlns:c16="http://schemas.microsoft.com/office/drawing/2014/chart" uri="{C3380CC4-5D6E-409C-BE32-E72D297353CC}">
              <c16:uniqueId val="{00000004-E261-4DC4-8B6F-49B65F80E680}"/>
            </c:ext>
          </c:extLst>
        </c:ser>
        <c:dLbls>
          <c:showLegendKey val="0"/>
          <c:showVal val="0"/>
          <c:showCatName val="0"/>
          <c:showSerName val="0"/>
          <c:showPercent val="0"/>
          <c:showBubbleSize val="0"/>
        </c:dLbls>
        <c:gapWidth val="70"/>
        <c:overlap val="100"/>
        <c:axId val="358461439"/>
        <c:axId val="1"/>
      </c:barChart>
      <c:catAx>
        <c:axId val="358461439"/>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430"/>
          <c:min val="0"/>
        </c:scaling>
        <c:delete val="1"/>
        <c:axPos val="l"/>
        <c:numFmt formatCode="General" sourceLinked="1"/>
        <c:majorTickMark val="out"/>
        <c:minorTickMark val="none"/>
        <c:tickLblPos val="nextTo"/>
        <c:crossAx val="358461439"/>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040439052570769E-2"/>
          <c:y val="8.0135440180586909E-2"/>
          <c:w val="0.93991912189485849"/>
          <c:h val="0.83972911963882624"/>
        </c:manualLayout>
      </c:layout>
      <c:barChart>
        <c:barDir val="col"/>
        <c:grouping val="stacked"/>
        <c:varyColors val="0"/>
        <c:ser>
          <c:idx val="0"/>
          <c:order val="0"/>
          <c:spPr>
            <a:solidFill>
              <a:srgbClr val="00B050"/>
            </a:solidFill>
            <a:ln>
              <a:noFill/>
            </a:ln>
          </c:spPr>
          <c:invertIfNegative val="0"/>
          <c:dLbls>
            <c:dLbl>
              <c:idx val="1"/>
              <c:layout>
                <c:manualLayout>
                  <c:x val="0"/>
                  <c:y val="-0.110045146726862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2E-49CA-95C0-1A577C65CC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c:v>
                </c:pt>
                <c:pt idx="1">
                  <c:v>590</c:v>
                </c:pt>
                <c:pt idx="2">
                  <c:v>1340</c:v>
                </c:pt>
                <c:pt idx="3">
                  <c:v>3300</c:v>
                </c:pt>
              </c:numCache>
            </c:numRef>
          </c:val>
          <c:extLst>
            <c:ext xmlns:c16="http://schemas.microsoft.com/office/drawing/2014/chart" uri="{C3380CC4-5D6E-409C-BE32-E72D297353CC}">
              <c16:uniqueId val="{00000001-A42E-49CA-95C0-1A577C65CC5A}"/>
            </c:ext>
          </c:extLst>
        </c:ser>
        <c:dLbls>
          <c:showLegendKey val="0"/>
          <c:showVal val="0"/>
          <c:showCatName val="0"/>
          <c:showSerName val="0"/>
          <c:showPercent val="0"/>
          <c:showBubbleSize val="0"/>
        </c:dLbls>
        <c:gapWidth val="70"/>
        <c:overlap val="100"/>
        <c:axId val="870048719"/>
        <c:axId val="1"/>
      </c:barChart>
      <c:catAx>
        <c:axId val="870048719"/>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3300"/>
          <c:min val="0"/>
        </c:scaling>
        <c:delete val="1"/>
        <c:axPos val="l"/>
        <c:numFmt formatCode="General" sourceLinked="1"/>
        <c:majorTickMark val="out"/>
        <c:minorTickMark val="none"/>
        <c:tickLblPos val="nextTo"/>
        <c:crossAx val="870048719"/>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043062200956935"/>
          <c:y val="0.22681704260651628"/>
          <c:w val="0.21818181818181817"/>
          <c:h val="0.54636591478696739"/>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dLbls>
            <c:dLbl>
              <c:idx val="0"/>
              <c:layout>
                <c:manualLayout>
                  <c:x val="0"/>
                  <c:y val="-0.29197994987468673"/>
                </c:manualLayout>
              </c:layout>
              <c:numFmt formatCode="#,##0;&quot;-&quot;#,##0" sourceLinked="0"/>
              <c:spPr>
                <a:noFill/>
                <a:ln>
                  <a:noFill/>
                </a:ln>
              </c:spPr>
              <c:txPr>
                <a:bodyPr wrap="none"/>
                <a:lstStyle/>
                <a:p>
                  <a:pPr>
                    <a:defRPr sz="1300" b="1"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5BE-4930-8BF7-94DCE0A798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77.3</c:v>
                </c:pt>
              </c:numCache>
            </c:numRef>
          </c:val>
          <c:extLst>
            <c:ext xmlns:c16="http://schemas.microsoft.com/office/drawing/2014/chart" uri="{C3380CC4-5D6E-409C-BE32-E72D297353CC}">
              <c16:uniqueId val="{00000001-05BE-4930-8BF7-94DCE0A7988F}"/>
            </c:ext>
          </c:extLst>
        </c:ser>
        <c:dLbls>
          <c:showLegendKey val="0"/>
          <c:showVal val="0"/>
          <c:showCatName val="0"/>
          <c:showSerName val="0"/>
          <c:showPercent val="0"/>
          <c:showBubbleSize val="0"/>
        </c:dLbls>
        <c:gapWidth val="70"/>
        <c:overlap val="100"/>
        <c:axId val="869975871"/>
        <c:axId val="1"/>
      </c:barChart>
      <c:catAx>
        <c:axId val="869975871"/>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07.67667731629392"/>
          <c:min val="0"/>
        </c:scaling>
        <c:delete val="1"/>
        <c:axPos val="l"/>
        <c:numFmt formatCode="General" sourceLinked="1"/>
        <c:majorTickMark val="out"/>
        <c:minorTickMark val="none"/>
        <c:tickLblPos val="nextTo"/>
        <c:crossAx val="869975871"/>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41423220973782771"/>
          <c:y val="0.22681704260651628"/>
          <c:w val="0.17153558052434456"/>
          <c:h val="0.54636591478696739"/>
        </c:manualLayout>
      </c:layout>
      <c:barChart>
        <c:barDir val="col"/>
        <c:grouping val="stacked"/>
        <c:varyColors val="0"/>
        <c:ser>
          <c:idx val="0"/>
          <c:order val="0"/>
          <c:spPr>
            <a:solidFill>
              <a:schemeClr val="accent5"/>
            </a:solidFill>
            <a:ln w="9525" cmpd="sng" algn="ctr">
              <a:solidFill>
                <a:schemeClr val="bg1"/>
              </a:solidFill>
              <a:prstDash val="solid"/>
            </a:ln>
          </c:spPr>
          <c:invertIfNegative val="0"/>
          <c:dLbls>
            <c:dLbl>
              <c:idx val="0"/>
              <c:layout>
                <c:manualLayout>
                  <c:x val="0"/>
                  <c:y val="-0.24561403508771928"/>
                </c:manualLayout>
              </c:layout>
              <c:numFmt formatCode="#,##0;&quot;-&quot;#,##0" sourceLinked="0"/>
              <c:spPr>
                <a:noFill/>
                <a:ln>
                  <a:noFill/>
                </a:ln>
              </c:spPr>
              <c:txPr>
                <a:bodyPr wrap="none"/>
                <a:lstStyle/>
                <a:p>
                  <a:pPr>
                    <a:defRPr sz="1300" b="1"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B39-4666-BDE2-B19AA220D5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1</c:v>
                </c:pt>
              </c:numCache>
            </c:numRef>
          </c:val>
          <c:extLst>
            <c:ext xmlns:c16="http://schemas.microsoft.com/office/drawing/2014/chart" uri="{C3380CC4-5D6E-409C-BE32-E72D297353CC}">
              <c16:uniqueId val="{00000001-AB39-4666-BDE2-B19AA220D572}"/>
            </c:ext>
          </c:extLst>
        </c:ser>
        <c:dLbls>
          <c:showLegendKey val="0"/>
          <c:showVal val="0"/>
          <c:showCatName val="0"/>
          <c:showSerName val="0"/>
          <c:showPercent val="0"/>
          <c:showBubbleSize val="0"/>
        </c:dLbls>
        <c:gapWidth val="70"/>
        <c:overlap val="100"/>
        <c:axId val="869967519"/>
        <c:axId val="1"/>
      </c:barChart>
      <c:catAx>
        <c:axId val="869967519"/>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82.4792332268371"/>
          <c:min val="0"/>
        </c:scaling>
        <c:delete val="1"/>
        <c:axPos val="l"/>
        <c:numFmt formatCode="General" sourceLinked="1"/>
        <c:majorTickMark val="out"/>
        <c:minorTickMark val="none"/>
        <c:tickLblPos val="nextTo"/>
        <c:crossAx val="869967519"/>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662650602409639"/>
          <c:y val="9.6296296296296297E-2"/>
          <c:w val="0.68674698795180722"/>
          <c:h val="0.80740740740740746"/>
        </c:manualLayout>
      </c:layout>
      <c:barChart>
        <c:barDir val="col"/>
        <c:grouping val="stacked"/>
        <c:varyColors val="0"/>
        <c:ser>
          <c:idx val="0"/>
          <c:order val="0"/>
          <c:spPr>
            <a:solidFill>
              <a:schemeClr val="tx2"/>
            </a:solidFill>
            <a:ln w="9525" cmpd="sng" algn="ctr">
              <a:solidFill>
                <a:schemeClr val="bg1"/>
              </a:solidFill>
              <a:prstDash val="solid"/>
            </a:ln>
          </c:spPr>
          <c:invertIfNegative val="0"/>
          <c:val>
            <c:numRef>
              <c:f>Sheet1!$A$1</c:f>
              <c:numCache>
                <c:formatCode>General</c:formatCode>
                <c:ptCount val="1"/>
                <c:pt idx="0">
                  <c:v>0.49943502824858754</c:v>
                </c:pt>
              </c:numCache>
            </c:numRef>
          </c:val>
          <c:extLst>
            <c:ext xmlns:c16="http://schemas.microsoft.com/office/drawing/2014/chart" uri="{C3380CC4-5D6E-409C-BE32-E72D297353CC}">
              <c16:uniqueId val="{00000000-4565-44D7-B31B-45B9C3FB2FFE}"/>
            </c:ext>
          </c:extLst>
        </c:ser>
        <c:dLbls>
          <c:showLegendKey val="0"/>
          <c:showVal val="0"/>
          <c:showCatName val="0"/>
          <c:showSerName val="0"/>
          <c:showPercent val="0"/>
          <c:showBubbleSize val="0"/>
        </c:dLbls>
        <c:gapWidth val="70"/>
        <c:overlap val="100"/>
        <c:axId val="931586511"/>
        <c:axId val="1"/>
      </c:barChart>
      <c:catAx>
        <c:axId val="931586511"/>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3794350282485874"/>
          <c:min val="0"/>
        </c:scaling>
        <c:delete val="1"/>
        <c:axPos val="l"/>
        <c:numFmt formatCode="General" sourceLinked="1"/>
        <c:majorTickMark val="out"/>
        <c:minorTickMark val="none"/>
        <c:tickLblPos val="nextTo"/>
        <c:crossAx val="931586511"/>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043062200956935"/>
          <c:y val="0.22681704260651628"/>
          <c:w val="0.21913875598086124"/>
          <c:h val="0.54636591478696739"/>
        </c:manualLayout>
      </c:layout>
      <c:barChart>
        <c:barDir val="col"/>
        <c:grouping val="stacked"/>
        <c:varyColors val="0"/>
        <c:ser>
          <c:idx val="0"/>
          <c:order val="0"/>
          <c:spPr>
            <a:solidFill>
              <a:schemeClr val="accent5"/>
            </a:solidFill>
            <a:ln w="9525" cmpd="sng" algn="ctr">
              <a:solidFill>
                <a:schemeClr val="bg1"/>
              </a:solidFill>
              <a:prstDash val="solid"/>
            </a:ln>
          </c:spPr>
          <c:invertIfNegative val="0"/>
          <c:dLbls>
            <c:dLbl>
              <c:idx val="0"/>
              <c:layout>
                <c:manualLayout>
                  <c:x val="0"/>
                  <c:y val="-0.21804511278195488"/>
                </c:manualLayout>
              </c:layout>
              <c:numFmt formatCode="#,##0;&quot;-&quot;#,##0" sourceLinked="0"/>
              <c:spPr>
                <a:noFill/>
                <a:ln>
                  <a:noFill/>
                </a:ln>
              </c:spPr>
              <c:txPr>
                <a:bodyPr wrap="none"/>
                <a:lstStyle/>
                <a:p>
                  <a:pPr>
                    <a:defRPr sz="1300" b="1"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82-4963-91AE-9472D62F78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82</c:v>
                </c:pt>
              </c:numCache>
            </c:numRef>
          </c:val>
          <c:extLst>
            <c:ext xmlns:c16="http://schemas.microsoft.com/office/drawing/2014/chart" uri="{C3380CC4-5D6E-409C-BE32-E72D297353CC}">
              <c16:uniqueId val="{00000001-E582-4963-91AE-9472D62F786D}"/>
            </c:ext>
          </c:extLst>
        </c:ser>
        <c:dLbls>
          <c:showLegendKey val="0"/>
          <c:showVal val="0"/>
          <c:showCatName val="0"/>
          <c:showSerName val="0"/>
          <c:showPercent val="0"/>
          <c:showBubbleSize val="0"/>
        </c:dLbls>
        <c:gapWidth val="70"/>
        <c:overlap val="100"/>
        <c:axId val="869970767"/>
        <c:axId val="1"/>
      </c:barChart>
      <c:catAx>
        <c:axId val="869970767"/>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82.4792332268371"/>
          <c:min val="0"/>
        </c:scaling>
        <c:delete val="1"/>
        <c:axPos val="l"/>
        <c:numFmt formatCode="General" sourceLinked="1"/>
        <c:majorTickMark val="out"/>
        <c:minorTickMark val="none"/>
        <c:tickLblPos val="nextTo"/>
        <c:crossAx val="869970767"/>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91941391941392"/>
          <c:y val="6.1396776669224863E-2"/>
          <c:w val="0.82905982905982911"/>
          <c:h val="0.87643898695318501"/>
        </c:manualLayout>
      </c:layout>
      <c:scatterChart>
        <c:scatterStyle val="lineMarker"/>
        <c:varyColors val="0"/>
        <c:ser>
          <c:idx val="0"/>
          <c:order val="0"/>
          <c:spPr>
            <a:ln w="28575" cmpd="sng" algn="ctr">
              <a:solidFill>
                <a:schemeClr val="accent6"/>
              </a:solidFill>
              <a:prstDash val="solid"/>
            </a:ln>
          </c:spPr>
          <c:marker>
            <c:symbol val="none"/>
          </c:marker>
          <c:xVal>
            <c:numRef>
              <c:f>Sheet1!$A$1:$BI$1</c:f>
              <c:numCache>
                <c:formatCode>General</c:formatCode>
                <c:ptCount val="61"/>
                <c:pt idx="0">
                  <c:v>17775</c:v>
                </c:pt>
                <c:pt idx="1">
                  <c:v>17805</c:v>
                </c:pt>
                <c:pt idx="2">
                  <c:v>17836</c:v>
                </c:pt>
                <c:pt idx="3">
                  <c:v>17866</c:v>
                </c:pt>
                <c:pt idx="4">
                  <c:v>17897</c:v>
                </c:pt>
                <c:pt idx="5">
                  <c:v>17928</c:v>
                </c:pt>
                <c:pt idx="6">
                  <c:v>17956</c:v>
                </c:pt>
                <c:pt idx="7">
                  <c:v>17987</c:v>
                </c:pt>
                <c:pt idx="8">
                  <c:v>18017</c:v>
                </c:pt>
                <c:pt idx="9">
                  <c:v>18048</c:v>
                </c:pt>
                <c:pt idx="10">
                  <c:v>18078</c:v>
                </c:pt>
                <c:pt idx="11">
                  <c:v>18109</c:v>
                </c:pt>
                <c:pt idx="12">
                  <c:v>18140</c:v>
                </c:pt>
                <c:pt idx="13">
                  <c:v>18170</c:v>
                </c:pt>
                <c:pt idx="14">
                  <c:v>18201</c:v>
                </c:pt>
                <c:pt idx="15">
                  <c:v>18231</c:v>
                </c:pt>
                <c:pt idx="16">
                  <c:v>18262</c:v>
                </c:pt>
                <c:pt idx="17">
                  <c:v>18293</c:v>
                </c:pt>
                <c:pt idx="18">
                  <c:v>18322</c:v>
                </c:pt>
                <c:pt idx="19">
                  <c:v>18353</c:v>
                </c:pt>
                <c:pt idx="20">
                  <c:v>18383</c:v>
                </c:pt>
                <c:pt idx="21">
                  <c:v>18414</c:v>
                </c:pt>
                <c:pt idx="22">
                  <c:v>18444</c:v>
                </c:pt>
                <c:pt idx="23">
                  <c:v>18475</c:v>
                </c:pt>
                <c:pt idx="24">
                  <c:v>18506</c:v>
                </c:pt>
                <c:pt idx="25">
                  <c:v>18536</c:v>
                </c:pt>
                <c:pt idx="26">
                  <c:v>18567</c:v>
                </c:pt>
                <c:pt idx="27">
                  <c:v>18597</c:v>
                </c:pt>
                <c:pt idx="28">
                  <c:v>18628</c:v>
                </c:pt>
                <c:pt idx="29">
                  <c:v>18659</c:v>
                </c:pt>
                <c:pt idx="30">
                  <c:v>18687</c:v>
                </c:pt>
                <c:pt idx="31">
                  <c:v>18718</c:v>
                </c:pt>
                <c:pt idx="32">
                  <c:v>18748</c:v>
                </c:pt>
                <c:pt idx="33">
                  <c:v>18779</c:v>
                </c:pt>
                <c:pt idx="34">
                  <c:v>18809</c:v>
                </c:pt>
                <c:pt idx="35">
                  <c:v>18840</c:v>
                </c:pt>
                <c:pt idx="36">
                  <c:v>18871</c:v>
                </c:pt>
                <c:pt idx="37">
                  <c:v>18901</c:v>
                </c:pt>
                <c:pt idx="38">
                  <c:v>18932</c:v>
                </c:pt>
                <c:pt idx="39">
                  <c:v>18962</c:v>
                </c:pt>
                <c:pt idx="40">
                  <c:v>18993</c:v>
                </c:pt>
                <c:pt idx="41">
                  <c:v>19024</c:v>
                </c:pt>
                <c:pt idx="42">
                  <c:v>19052</c:v>
                </c:pt>
                <c:pt idx="43">
                  <c:v>19083</c:v>
                </c:pt>
                <c:pt idx="44">
                  <c:v>19113</c:v>
                </c:pt>
                <c:pt idx="45">
                  <c:v>19144</c:v>
                </c:pt>
                <c:pt idx="46">
                  <c:v>19174</c:v>
                </c:pt>
                <c:pt idx="47">
                  <c:v>19205</c:v>
                </c:pt>
                <c:pt idx="48">
                  <c:v>19236</c:v>
                </c:pt>
                <c:pt idx="49">
                  <c:v>19266</c:v>
                </c:pt>
                <c:pt idx="50">
                  <c:v>19297</c:v>
                </c:pt>
                <c:pt idx="51">
                  <c:v>19327</c:v>
                </c:pt>
                <c:pt idx="52">
                  <c:v>19358</c:v>
                </c:pt>
                <c:pt idx="53">
                  <c:v>19389</c:v>
                </c:pt>
                <c:pt idx="54">
                  <c:v>19417</c:v>
                </c:pt>
                <c:pt idx="55">
                  <c:v>19448</c:v>
                </c:pt>
                <c:pt idx="56">
                  <c:v>19478</c:v>
                </c:pt>
                <c:pt idx="57">
                  <c:v>19509</c:v>
                </c:pt>
                <c:pt idx="58">
                  <c:v>19539</c:v>
                </c:pt>
                <c:pt idx="59">
                  <c:v>19570</c:v>
                </c:pt>
                <c:pt idx="60">
                  <c:v>19601</c:v>
                </c:pt>
              </c:numCache>
            </c:numRef>
          </c:xVal>
          <c:yVal>
            <c:numRef>
              <c:f>Sheet1!$A$2:$BI$2</c:f>
              <c:numCache>
                <c:formatCode>General</c:formatCode>
                <c:ptCount val="61"/>
                <c:pt idx="0">
                  <c:v>78.891000000000005</c:v>
                </c:pt>
                <c:pt idx="1">
                  <c:v>81.032173913043479</c:v>
                </c:pt>
                <c:pt idx="2">
                  <c:v>64.74818181818182</c:v>
                </c:pt>
                <c:pt idx="3">
                  <c:v>57.362352941176468</c:v>
                </c:pt>
                <c:pt idx="4">
                  <c:v>59.409545454545452</c:v>
                </c:pt>
                <c:pt idx="5">
                  <c:v>63.960500000000003</c:v>
                </c:pt>
                <c:pt idx="6">
                  <c:v>66.138571428571424</c:v>
                </c:pt>
                <c:pt idx="7">
                  <c:v>71.233333333333334</c:v>
                </c:pt>
                <c:pt idx="8">
                  <c:v>71.317727272727268</c:v>
                </c:pt>
                <c:pt idx="9">
                  <c:v>64.220500000000001</c:v>
                </c:pt>
                <c:pt idx="10">
                  <c:v>63.919130434782609</c:v>
                </c:pt>
                <c:pt idx="11">
                  <c:v>59.041818181818179</c:v>
                </c:pt>
                <c:pt idx="12">
                  <c:v>62.826666666666668</c:v>
                </c:pt>
                <c:pt idx="13">
                  <c:v>59.713043478260872</c:v>
                </c:pt>
                <c:pt idx="14">
                  <c:v>63.211904761904762</c:v>
                </c:pt>
                <c:pt idx="15">
                  <c:v>67.217142857142861</c:v>
                </c:pt>
                <c:pt idx="16">
                  <c:v>63.645454545454548</c:v>
                </c:pt>
                <c:pt idx="17">
                  <c:v>55.656999999999996</c:v>
                </c:pt>
                <c:pt idx="18">
                  <c:v>32.011363636363633</c:v>
                </c:pt>
                <c:pt idx="19">
                  <c:v>18.378499999999999</c:v>
                </c:pt>
                <c:pt idx="20">
                  <c:v>29.378947368421052</c:v>
                </c:pt>
                <c:pt idx="21">
                  <c:v>40.266818181818181</c:v>
                </c:pt>
                <c:pt idx="22">
                  <c:v>43.24217391304348</c:v>
                </c:pt>
                <c:pt idx="23">
                  <c:v>44.735999999999997</c:v>
                </c:pt>
                <c:pt idx="24">
                  <c:v>40.909545454545452</c:v>
                </c:pt>
                <c:pt idx="25">
                  <c:v>40.189545454545453</c:v>
                </c:pt>
                <c:pt idx="26">
                  <c:v>42.692380952380951</c:v>
                </c:pt>
                <c:pt idx="27">
                  <c:v>49.993636363636362</c:v>
                </c:pt>
                <c:pt idx="28">
                  <c:v>54.774000000000001</c:v>
                </c:pt>
                <c:pt idx="29">
                  <c:v>62.276499999999999</c:v>
                </c:pt>
                <c:pt idx="30">
                  <c:v>65.41</c:v>
                </c:pt>
                <c:pt idx="31">
                  <c:v>64.8065</c:v>
                </c:pt>
                <c:pt idx="32">
                  <c:v>68.534210526315789</c:v>
                </c:pt>
                <c:pt idx="33">
                  <c:v>73.164090909090916</c:v>
                </c:pt>
                <c:pt idx="34">
                  <c:v>75.165909090909096</c:v>
                </c:pt>
                <c:pt idx="35">
                  <c:v>70.747142857142862</c:v>
                </c:pt>
                <c:pt idx="36">
                  <c:v>74.48863636363636</c:v>
                </c:pt>
                <c:pt idx="37">
                  <c:v>83.538095238095238</c:v>
                </c:pt>
                <c:pt idx="38">
                  <c:v>81.05</c:v>
                </c:pt>
                <c:pt idx="39">
                  <c:v>74.170476190476194</c:v>
                </c:pt>
                <c:pt idx="40">
                  <c:v>86.505238095238099</c:v>
                </c:pt>
                <c:pt idx="41">
                  <c:v>97.129000000000005</c:v>
                </c:pt>
                <c:pt idx="42">
                  <c:v>117.24521739130435</c:v>
                </c:pt>
                <c:pt idx="43">
                  <c:v>104.57526315789474</c:v>
                </c:pt>
                <c:pt idx="44">
                  <c:v>113.33761904761904</c:v>
                </c:pt>
                <c:pt idx="45">
                  <c:v>122.71095238095238</c:v>
                </c:pt>
                <c:pt idx="46">
                  <c:v>111.92571428571429</c:v>
                </c:pt>
                <c:pt idx="47">
                  <c:v>100.44636363636364</c:v>
                </c:pt>
                <c:pt idx="48">
                  <c:v>89.764761904761912</c:v>
                </c:pt>
                <c:pt idx="49">
                  <c:v>93.331904761904767</c:v>
                </c:pt>
                <c:pt idx="50">
                  <c:v>91.415454545454551</c:v>
                </c:pt>
                <c:pt idx="51">
                  <c:v>80.924000000000007</c:v>
                </c:pt>
                <c:pt idx="52">
                  <c:v>82.501428571428576</c:v>
                </c:pt>
                <c:pt idx="53">
                  <c:v>82.584999999999994</c:v>
                </c:pt>
                <c:pt idx="54">
                  <c:v>78.434347826086963</c:v>
                </c:pt>
                <c:pt idx="55">
                  <c:v>84.638333333333335</c:v>
                </c:pt>
                <c:pt idx="56">
                  <c:v>75.465999999999994</c:v>
                </c:pt>
                <c:pt idx="57">
                  <c:v>74.839090909090913</c:v>
                </c:pt>
                <c:pt idx="58">
                  <c:v>80.108095238095231</c:v>
                </c:pt>
                <c:pt idx="59">
                  <c:v>86.147727272727266</c:v>
                </c:pt>
                <c:pt idx="60">
                  <c:v>93.722380952380959</c:v>
                </c:pt>
              </c:numCache>
            </c:numRef>
          </c:yVal>
          <c:smooth val="0"/>
          <c:extLst>
            <c:ext xmlns:c16="http://schemas.microsoft.com/office/drawing/2014/chart" uri="{C3380CC4-5D6E-409C-BE32-E72D297353CC}">
              <c16:uniqueId val="{00000000-81E5-4598-BE00-4AFCEF0AD02A}"/>
            </c:ext>
          </c:extLst>
        </c:ser>
        <c:ser>
          <c:idx val="1"/>
          <c:order val="1"/>
          <c:spPr>
            <a:ln w="28575" cmpd="sng" algn="ctr">
              <a:solidFill>
                <a:schemeClr val="accent4"/>
              </a:solidFill>
              <a:prstDash val="solid"/>
            </a:ln>
          </c:spPr>
          <c:marker>
            <c:symbol val="none"/>
          </c:marker>
          <c:xVal>
            <c:numRef>
              <c:f>Sheet1!$A$1:$BI$1</c:f>
              <c:numCache>
                <c:formatCode>General</c:formatCode>
                <c:ptCount val="61"/>
                <c:pt idx="0">
                  <c:v>17775</c:v>
                </c:pt>
                <c:pt idx="1">
                  <c:v>17805</c:v>
                </c:pt>
                <c:pt idx="2">
                  <c:v>17836</c:v>
                </c:pt>
                <c:pt idx="3">
                  <c:v>17866</c:v>
                </c:pt>
                <c:pt idx="4">
                  <c:v>17897</c:v>
                </c:pt>
                <c:pt idx="5">
                  <c:v>17928</c:v>
                </c:pt>
                <c:pt idx="6">
                  <c:v>17956</c:v>
                </c:pt>
                <c:pt idx="7">
                  <c:v>17987</c:v>
                </c:pt>
                <c:pt idx="8">
                  <c:v>18017</c:v>
                </c:pt>
                <c:pt idx="9">
                  <c:v>18048</c:v>
                </c:pt>
                <c:pt idx="10">
                  <c:v>18078</c:v>
                </c:pt>
                <c:pt idx="11">
                  <c:v>18109</c:v>
                </c:pt>
                <c:pt idx="12">
                  <c:v>18140</c:v>
                </c:pt>
                <c:pt idx="13">
                  <c:v>18170</c:v>
                </c:pt>
                <c:pt idx="14">
                  <c:v>18201</c:v>
                </c:pt>
                <c:pt idx="15">
                  <c:v>18231</c:v>
                </c:pt>
                <c:pt idx="16">
                  <c:v>18262</c:v>
                </c:pt>
                <c:pt idx="17">
                  <c:v>18293</c:v>
                </c:pt>
                <c:pt idx="18">
                  <c:v>18322</c:v>
                </c:pt>
                <c:pt idx="19">
                  <c:v>18353</c:v>
                </c:pt>
                <c:pt idx="20">
                  <c:v>18383</c:v>
                </c:pt>
                <c:pt idx="21">
                  <c:v>18414</c:v>
                </c:pt>
                <c:pt idx="22">
                  <c:v>18444</c:v>
                </c:pt>
                <c:pt idx="23">
                  <c:v>18475</c:v>
                </c:pt>
                <c:pt idx="24">
                  <c:v>18506</c:v>
                </c:pt>
                <c:pt idx="25">
                  <c:v>18536</c:v>
                </c:pt>
                <c:pt idx="26">
                  <c:v>18567</c:v>
                </c:pt>
                <c:pt idx="27">
                  <c:v>18597</c:v>
                </c:pt>
                <c:pt idx="28">
                  <c:v>18628</c:v>
                </c:pt>
                <c:pt idx="29">
                  <c:v>18659</c:v>
                </c:pt>
                <c:pt idx="30">
                  <c:v>18687</c:v>
                </c:pt>
                <c:pt idx="31">
                  <c:v>18718</c:v>
                </c:pt>
                <c:pt idx="32">
                  <c:v>18748</c:v>
                </c:pt>
                <c:pt idx="33">
                  <c:v>18779</c:v>
                </c:pt>
                <c:pt idx="34">
                  <c:v>18809</c:v>
                </c:pt>
                <c:pt idx="35">
                  <c:v>18840</c:v>
                </c:pt>
                <c:pt idx="36">
                  <c:v>18871</c:v>
                </c:pt>
                <c:pt idx="37">
                  <c:v>18901</c:v>
                </c:pt>
                <c:pt idx="38">
                  <c:v>18932</c:v>
                </c:pt>
                <c:pt idx="39">
                  <c:v>18962</c:v>
                </c:pt>
                <c:pt idx="40">
                  <c:v>18993</c:v>
                </c:pt>
                <c:pt idx="41">
                  <c:v>19024</c:v>
                </c:pt>
                <c:pt idx="42">
                  <c:v>19052</c:v>
                </c:pt>
                <c:pt idx="43">
                  <c:v>19083</c:v>
                </c:pt>
                <c:pt idx="44">
                  <c:v>19113</c:v>
                </c:pt>
                <c:pt idx="45">
                  <c:v>19144</c:v>
                </c:pt>
                <c:pt idx="46">
                  <c:v>19174</c:v>
                </c:pt>
                <c:pt idx="47">
                  <c:v>19205</c:v>
                </c:pt>
                <c:pt idx="48">
                  <c:v>19236</c:v>
                </c:pt>
                <c:pt idx="49">
                  <c:v>19266</c:v>
                </c:pt>
                <c:pt idx="50">
                  <c:v>19297</c:v>
                </c:pt>
                <c:pt idx="51">
                  <c:v>19327</c:v>
                </c:pt>
                <c:pt idx="52">
                  <c:v>19358</c:v>
                </c:pt>
                <c:pt idx="53">
                  <c:v>19389</c:v>
                </c:pt>
                <c:pt idx="54">
                  <c:v>19417</c:v>
                </c:pt>
                <c:pt idx="55">
                  <c:v>19448</c:v>
                </c:pt>
                <c:pt idx="56">
                  <c:v>19478</c:v>
                </c:pt>
                <c:pt idx="57">
                  <c:v>19509</c:v>
                </c:pt>
                <c:pt idx="58">
                  <c:v>19539</c:v>
                </c:pt>
                <c:pt idx="59">
                  <c:v>19570</c:v>
                </c:pt>
                <c:pt idx="60">
                  <c:v>19601</c:v>
                </c:pt>
              </c:numCache>
            </c:numRef>
          </c:xVal>
          <c:yVal>
            <c:numRef>
              <c:f>Sheet1!$A$3:$BI$3</c:f>
              <c:numCache>
                <c:formatCode>General</c:formatCode>
                <c:ptCount val="61"/>
                <c:pt idx="0">
                  <c:v>9.5188801834177301</c:v>
                </c:pt>
                <c:pt idx="1">
                  <c:v>8.5959145992116799</c:v>
                </c:pt>
                <c:pt idx="2">
                  <c:v>8.2044901667392693</c:v>
                </c:pt>
                <c:pt idx="3">
                  <c:v>7.8929458214160197</c:v>
                </c:pt>
                <c:pt idx="4">
                  <c:v>7.1610649527949404</c:v>
                </c:pt>
                <c:pt idx="5">
                  <c:v>5.9863385600447803</c:v>
                </c:pt>
                <c:pt idx="6">
                  <c:v>5.1971800732523503</c:v>
                </c:pt>
                <c:pt idx="7">
                  <c:v>4.9532498501872704</c:v>
                </c:pt>
                <c:pt idx="8">
                  <c:v>4.3601828877204696</c:v>
                </c:pt>
                <c:pt idx="9">
                  <c:v>3.4830359995732998</c:v>
                </c:pt>
                <c:pt idx="10">
                  <c:v>3.59594390863893</c:v>
                </c:pt>
                <c:pt idx="11">
                  <c:v>3.27019667685218</c:v>
                </c:pt>
                <c:pt idx="12">
                  <c:v>3.0868045862290798</c:v>
                </c:pt>
                <c:pt idx="13">
                  <c:v>3.3397242457181102</c:v>
                </c:pt>
                <c:pt idx="14">
                  <c:v>4.78101952320268</c:v>
                </c:pt>
                <c:pt idx="15">
                  <c:v>4.2435487441417203</c:v>
                </c:pt>
                <c:pt idx="16">
                  <c:v>3.62626971086415</c:v>
                </c:pt>
                <c:pt idx="17">
                  <c:v>2.99547720316124</c:v>
                </c:pt>
                <c:pt idx="18">
                  <c:v>2.7898236708309598</c:v>
                </c:pt>
                <c:pt idx="19">
                  <c:v>2.0838822024346699</c:v>
                </c:pt>
                <c:pt idx="20">
                  <c:v>1.4626123204738599</c:v>
                </c:pt>
                <c:pt idx="21">
                  <c:v>1.6472999823599399</c:v>
                </c:pt>
                <c:pt idx="22">
                  <c:v>1.6408628221847401</c:v>
                </c:pt>
                <c:pt idx="23">
                  <c:v>2.6115655460395599</c:v>
                </c:pt>
                <c:pt idx="24">
                  <c:v>3.8549955743058302</c:v>
                </c:pt>
                <c:pt idx="25">
                  <c:v>4.8138216350177796</c:v>
                </c:pt>
                <c:pt idx="26">
                  <c:v>4.7835079436450796</c:v>
                </c:pt>
                <c:pt idx="27">
                  <c:v>5.8286391829230402</c:v>
                </c:pt>
                <c:pt idx="28">
                  <c:v>7.3028206615581999</c:v>
                </c:pt>
                <c:pt idx="29">
                  <c:v>6.1713408286361702</c:v>
                </c:pt>
                <c:pt idx="30">
                  <c:v>6.2051973852942997</c:v>
                </c:pt>
                <c:pt idx="31">
                  <c:v>7.2827236064096601</c:v>
                </c:pt>
                <c:pt idx="32">
                  <c:v>9.0047040353961307</c:v>
                </c:pt>
                <c:pt idx="33">
                  <c:v>10.3241391134511</c:v>
                </c:pt>
                <c:pt idx="34">
                  <c:v>12.524246604679099</c:v>
                </c:pt>
                <c:pt idx="35">
                  <c:v>15.2790291163123</c:v>
                </c:pt>
                <c:pt idx="36">
                  <c:v>22.2328272437545</c:v>
                </c:pt>
                <c:pt idx="37">
                  <c:v>29.814142888262399</c:v>
                </c:pt>
                <c:pt idx="38">
                  <c:v>27.383826081171001</c:v>
                </c:pt>
                <c:pt idx="39">
                  <c:v>37.363363062499701</c:v>
                </c:pt>
                <c:pt idx="40">
                  <c:v>27.890944794736399</c:v>
                </c:pt>
                <c:pt idx="41">
                  <c:v>26.984281340477601</c:v>
                </c:pt>
                <c:pt idx="42">
                  <c:v>41.727688313072001</c:v>
                </c:pt>
                <c:pt idx="43">
                  <c:v>31.989874304408001</c:v>
                </c:pt>
                <c:pt idx="44">
                  <c:v>27.464166431595501</c:v>
                </c:pt>
                <c:pt idx="45">
                  <c:v>32.912607221382899</c:v>
                </c:pt>
                <c:pt idx="46">
                  <c:v>51.145912523076497</c:v>
                </c:pt>
                <c:pt idx="47">
                  <c:v>69.977239326716699</c:v>
                </c:pt>
                <c:pt idx="48">
                  <c:v>55.179127401205399</c:v>
                </c:pt>
                <c:pt idx="49">
                  <c:v>20.8066368517553</c:v>
                </c:pt>
                <c:pt idx="50">
                  <c:v>28.790804619983899</c:v>
                </c:pt>
                <c:pt idx="51">
                  <c:v>35.368731214063203</c:v>
                </c:pt>
                <c:pt idx="52">
                  <c:v>19.886186930695001</c:v>
                </c:pt>
                <c:pt idx="53">
                  <c:v>16.737259181158802</c:v>
                </c:pt>
                <c:pt idx="54">
                  <c:v>13.8704403696801</c:v>
                </c:pt>
                <c:pt idx="55">
                  <c:v>13.6839872631252</c:v>
                </c:pt>
                <c:pt idx="56">
                  <c:v>9.9700489133516008</c:v>
                </c:pt>
                <c:pt idx="57">
                  <c:v>10.2937316953891</c:v>
                </c:pt>
                <c:pt idx="58">
                  <c:v>9.61171913597307</c:v>
                </c:pt>
                <c:pt idx="59">
                  <c:v>10.7174212998315</c:v>
                </c:pt>
                <c:pt idx="60">
                  <c:v>11.4279301571713</c:v>
                </c:pt>
              </c:numCache>
            </c:numRef>
          </c:yVal>
          <c:smooth val="0"/>
          <c:extLst>
            <c:ext xmlns:c16="http://schemas.microsoft.com/office/drawing/2014/chart" uri="{C3380CC4-5D6E-409C-BE32-E72D297353CC}">
              <c16:uniqueId val="{00000001-81E5-4598-BE00-4AFCEF0AD02A}"/>
            </c:ext>
          </c:extLst>
        </c:ser>
        <c:dLbls>
          <c:showLegendKey val="0"/>
          <c:showVal val="0"/>
          <c:showCatName val="0"/>
          <c:showSerName val="0"/>
          <c:showPercent val="0"/>
          <c:showBubbleSize val="0"/>
        </c:dLbls>
        <c:axId val="4"/>
        <c:axId val="5"/>
      </c:scatterChart>
      <c:valAx>
        <c:axId val="4"/>
        <c:scaling>
          <c:orientation val="minMax"/>
          <c:max val="19723"/>
          <c:min val="17532"/>
        </c:scaling>
        <c:delete val="0"/>
        <c:axPos val="b"/>
        <c:majorGridlines>
          <c:spPr>
            <a:ln>
              <a:noFill/>
            </a:ln>
          </c:spPr>
        </c:majorGridlines>
        <c:numFmt formatCode="General" sourceLinked="1"/>
        <c:majorTickMark val="none"/>
        <c:minorTickMark val="none"/>
        <c:tickLblPos val="none"/>
        <c:spPr>
          <a:ln w="6350" cmpd="sng" algn="ctr">
            <a:solidFill>
              <a:schemeClr val="tx1"/>
            </a:solidFill>
            <a:prstDash val="solid"/>
          </a:ln>
        </c:spPr>
        <c:crossAx val="5"/>
        <c:crosses val="min"/>
        <c:crossBetween val="midCat"/>
      </c:valAx>
      <c:valAx>
        <c:axId val="5"/>
        <c:scaling>
          <c:orientation val="minMax"/>
          <c:max val="140"/>
          <c:min val="0"/>
        </c:scaling>
        <c:delete val="0"/>
        <c:axPos val="l"/>
        <c:majorGridlines>
          <c:spPr>
            <a:ln>
              <a:noFill/>
            </a:ln>
          </c:spPr>
        </c:majorGridlines>
        <c:numFmt formatCode="#,##0;&quot;-&quot;#,##0" sourceLinked="0"/>
        <c:majorTickMark val="out"/>
        <c:minorTickMark val="none"/>
        <c:tickLblPos val="nextTo"/>
        <c:spPr>
          <a:ln w="6350" cmpd="sng" algn="ctr">
            <a:solidFill>
              <a:schemeClr val="tx1"/>
            </a:solidFill>
            <a:prstDash val="solid"/>
          </a:ln>
        </c:spPr>
        <c:txPr>
          <a:bodyPr wrap="none"/>
          <a:lstStyle/>
          <a:p>
            <a:pPr>
              <a:defRPr sz="800" kern="1200">
                <a:solidFill>
                  <a:schemeClr val="tx1"/>
                </a:solidFill>
                <a:latin typeface="+mn-lt"/>
                <a:ea typeface="+mn-ea"/>
                <a:cs typeface="+mn-cs"/>
                <a:sym typeface="Arial"/>
              </a:defRPr>
            </a:pPr>
            <a:endParaRPr lang="it-IT"/>
          </a:p>
        </c:txPr>
        <c:crossAx val="4"/>
        <c:crosses val="min"/>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043062200956935"/>
          <c:y val="0.22681704260651628"/>
          <c:w val="0.21818181818181817"/>
          <c:h val="0.54636591478696739"/>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dLbls>
            <c:dLbl>
              <c:idx val="0"/>
              <c:layout>
                <c:manualLayout>
                  <c:x val="0"/>
                  <c:y val="-0.27067669172932329"/>
                </c:manualLayout>
              </c:layout>
              <c:numFmt formatCode="#,##0;&quot;-&quot;#,##0" sourceLinked="0"/>
              <c:spPr>
                <a:noFill/>
                <a:ln>
                  <a:noFill/>
                </a:ln>
              </c:spPr>
              <c:txPr>
                <a:bodyPr wrap="none"/>
                <a:lstStyle/>
                <a:p>
                  <a:pPr>
                    <a:defRPr sz="1300" b="1"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05-4097-8F27-5E69C5E6A0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68.900000000000006</c:v>
                </c:pt>
              </c:numCache>
            </c:numRef>
          </c:val>
          <c:extLst>
            <c:ext xmlns:c16="http://schemas.microsoft.com/office/drawing/2014/chart" uri="{C3380CC4-5D6E-409C-BE32-E72D297353CC}">
              <c16:uniqueId val="{00000001-6C05-4097-8F27-5E69C5E6A04E}"/>
            </c:ext>
          </c:extLst>
        </c:ser>
        <c:dLbls>
          <c:showLegendKey val="0"/>
          <c:showVal val="0"/>
          <c:showCatName val="0"/>
          <c:showSerName val="0"/>
          <c:showPercent val="0"/>
          <c:showBubbleSize val="0"/>
        </c:dLbls>
        <c:gapWidth val="70"/>
        <c:overlap val="100"/>
        <c:axId val="869978191"/>
        <c:axId val="1"/>
      </c:barChart>
      <c:catAx>
        <c:axId val="869978191"/>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07.67667731629392"/>
          <c:min val="0"/>
        </c:scaling>
        <c:delete val="1"/>
        <c:axPos val="l"/>
        <c:numFmt formatCode="General" sourceLinked="1"/>
        <c:majorTickMark val="out"/>
        <c:minorTickMark val="none"/>
        <c:tickLblPos val="nextTo"/>
        <c:crossAx val="869978191"/>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662650602409639"/>
          <c:y val="9.6296296296296297E-2"/>
          <c:w val="0.68674698795180722"/>
          <c:h val="0.80740740740740746"/>
        </c:manualLayout>
      </c:layout>
      <c:barChart>
        <c:barDir val="col"/>
        <c:grouping val="stacked"/>
        <c:varyColors val="0"/>
        <c:ser>
          <c:idx val="0"/>
          <c:order val="0"/>
          <c:spPr>
            <a:solidFill>
              <a:schemeClr val="tx2"/>
            </a:solidFill>
            <a:ln w="9525" cmpd="sng" algn="ctr">
              <a:solidFill>
                <a:schemeClr val="bg1"/>
              </a:solidFill>
              <a:prstDash val="solid"/>
            </a:ln>
          </c:spPr>
          <c:invertIfNegative val="0"/>
          <c:val>
            <c:numRef>
              <c:f>Sheet1!$A$1</c:f>
              <c:numCache>
                <c:formatCode>General</c:formatCode>
                <c:ptCount val="1"/>
                <c:pt idx="0">
                  <c:v>0.5794350282485875</c:v>
                </c:pt>
              </c:numCache>
            </c:numRef>
          </c:val>
          <c:extLst>
            <c:ext xmlns:c16="http://schemas.microsoft.com/office/drawing/2014/chart" uri="{C3380CC4-5D6E-409C-BE32-E72D297353CC}">
              <c16:uniqueId val="{00000000-8532-463F-B29A-3A7EBF96F484}"/>
            </c:ext>
          </c:extLst>
        </c:ser>
        <c:dLbls>
          <c:showLegendKey val="0"/>
          <c:showVal val="0"/>
          <c:showCatName val="0"/>
          <c:showSerName val="0"/>
          <c:showPercent val="0"/>
          <c:showBubbleSize val="0"/>
        </c:dLbls>
        <c:gapWidth val="70"/>
        <c:overlap val="100"/>
        <c:axId val="178661999"/>
        <c:axId val="1"/>
      </c:barChart>
      <c:catAx>
        <c:axId val="178661999"/>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3794350282485874"/>
          <c:min val="0"/>
        </c:scaling>
        <c:delete val="1"/>
        <c:axPos val="l"/>
        <c:numFmt formatCode="General" sourceLinked="1"/>
        <c:majorTickMark val="out"/>
        <c:minorTickMark val="none"/>
        <c:tickLblPos val="nextTo"/>
        <c:crossAx val="178661999"/>
        <c:crosses val="min"/>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043062200956935"/>
          <c:y val="0.22681704260651628"/>
          <c:w val="0.21818181818181817"/>
          <c:h val="0.54636591478696739"/>
        </c:manualLayout>
      </c:layout>
      <c:barChart>
        <c:barDir val="col"/>
        <c:grouping val="stacked"/>
        <c:varyColors val="0"/>
        <c:ser>
          <c:idx val="0"/>
          <c:order val="0"/>
          <c:spPr>
            <a:solidFill>
              <a:schemeClr val="accent5"/>
            </a:solidFill>
            <a:ln w="9525" cmpd="sng" algn="ctr">
              <a:solidFill>
                <a:schemeClr val="bg1"/>
              </a:solidFill>
              <a:prstDash val="solid"/>
            </a:ln>
          </c:spPr>
          <c:invertIfNegative val="0"/>
          <c:dLbls>
            <c:dLbl>
              <c:idx val="0"/>
              <c:layout>
                <c:manualLayout>
                  <c:x val="0"/>
                  <c:y val="-0.13032581453634084"/>
                </c:manualLayout>
              </c:layout>
              <c:numFmt formatCode="#,##0;&quot;-&quot;#,##0" sourceLinked="0"/>
              <c:spPr>
                <a:noFill/>
                <a:ln>
                  <a:noFill/>
                </a:ln>
              </c:spPr>
              <c:txPr>
                <a:bodyPr wrap="none"/>
                <a:lstStyle/>
                <a:p>
                  <a:pPr>
                    <a:defRPr sz="1300" b="1"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277-4378-B3F8-D755F2F3CE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3</c:v>
                </c:pt>
              </c:numCache>
            </c:numRef>
          </c:val>
          <c:extLst>
            <c:ext xmlns:c16="http://schemas.microsoft.com/office/drawing/2014/chart" uri="{C3380CC4-5D6E-409C-BE32-E72D297353CC}">
              <c16:uniqueId val="{00000001-D277-4378-B3F8-D755F2F3CE1D}"/>
            </c:ext>
          </c:extLst>
        </c:ser>
        <c:dLbls>
          <c:showLegendKey val="0"/>
          <c:showVal val="0"/>
          <c:showCatName val="0"/>
          <c:showSerName val="0"/>
          <c:showPercent val="0"/>
          <c:showBubbleSize val="0"/>
        </c:dLbls>
        <c:gapWidth val="70"/>
        <c:overlap val="100"/>
        <c:axId val="178660607"/>
        <c:axId val="1"/>
      </c:barChart>
      <c:catAx>
        <c:axId val="178660607"/>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82.48087798332222"/>
          <c:min val="0"/>
        </c:scaling>
        <c:delete val="1"/>
        <c:axPos val="l"/>
        <c:numFmt formatCode="General" sourceLinked="1"/>
        <c:majorTickMark val="out"/>
        <c:minorTickMark val="none"/>
        <c:tickLblPos val="nextTo"/>
        <c:crossAx val="178660607"/>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043062200956935"/>
          <c:y val="0.22681704260651628"/>
          <c:w val="0.21913875598086124"/>
          <c:h val="0.54636591478696739"/>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dLbls>
            <c:dLbl>
              <c:idx val="0"/>
              <c:layout>
                <c:manualLayout>
                  <c:x val="0"/>
                  <c:y val="-0.19172932330827067"/>
                </c:manualLayout>
              </c:layout>
              <c:numFmt formatCode="#,##0;&quot;-&quot;#,##0" sourceLinked="0"/>
              <c:spPr>
                <a:noFill/>
                <a:ln>
                  <a:noFill/>
                </a:ln>
              </c:spPr>
              <c:txPr>
                <a:bodyPr wrap="none"/>
                <a:lstStyle/>
                <a:p>
                  <a:pPr>
                    <a:defRPr sz="1300" b="1"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08A-40CE-A4A9-FFA2D308B49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7.700000000000003</c:v>
                </c:pt>
              </c:numCache>
            </c:numRef>
          </c:val>
          <c:extLst>
            <c:ext xmlns:c16="http://schemas.microsoft.com/office/drawing/2014/chart" uri="{C3380CC4-5D6E-409C-BE32-E72D297353CC}">
              <c16:uniqueId val="{00000001-808A-40CE-A4A9-FFA2D308B49B}"/>
            </c:ext>
          </c:extLst>
        </c:ser>
        <c:dLbls>
          <c:showLegendKey val="0"/>
          <c:showVal val="0"/>
          <c:showCatName val="0"/>
          <c:showSerName val="0"/>
          <c:showPercent val="0"/>
          <c:showBubbleSize val="0"/>
        </c:dLbls>
        <c:gapWidth val="70"/>
        <c:overlap val="100"/>
        <c:axId val="178657823"/>
        <c:axId val="1"/>
      </c:barChart>
      <c:catAx>
        <c:axId val="178657823"/>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07.67667731629392"/>
          <c:min val="0"/>
        </c:scaling>
        <c:delete val="1"/>
        <c:axPos val="l"/>
        <c:numFmt formatCode="General" sourceLinked="1"/>
        <c:majorTickMark val="out"/>
        <c:minorTickMark val="none"/>
        <c:tickLblPos val="nextTo"/>
        <c:crossAx val="178657823"/>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662650602409639"/>
          <c:y val="0.10655737704918032"/>
          <c:w val="0.68674698795180722"/>
          <c:h val="0.78688524590163933"/>
        </c:manualLayout>
      </c:layout>
      <c:barChart>
        <c:barDir val="col"/>
        <c:grouping val="stacked"/>
        <c:varyColors val="0"/>
        <c:ser>
          <c:idx val="0"/>
          <c:order val="0"/>
          <c:spPr>
            <a:solidFill>
              <a:schemeClr val="tx2"/>
            </a:solidFill>
            <a:ln w="9525" cmpd="sng" algn="ctr">
              <a:solidFill>
                <a:schemeClr val="bg1"/>
              </a:solidFill>
              <a:prstDash val="solid"/>
            </a:ln>
          </c:spPr>
          <c:invertIfNegative val="0"/>
          <c:val>
            <c:numRef>
              <c:f>Sheet1!$A$1</c:f>
              <c:numCache>
                <c:formatCode>General</c:formatCode>
                <c:ptCount val="1"/>
                <c:pt idx="0">
                  <c:v>1.4241059602649004</c:v>
                </c:pt>
              </c:numCache>
            </c:numRef>
          </c:val>
          <c:extLst>
            <c:ext xmlns:c16="http://schemas.microsoft.com/office/drawing/2014/chart" uri="{C3380CC4-5D6E-409C-BE32-E72D297353CC}">
              <c16:uniqueId val="{00000000-E26D-44AD-838D-C88DA7DA3E55}"/>
            </c:ext>
          </c:extLst>
        </c:ser>
        <c:dLbls>
          <c:showLegendKey val="0"/>
          <c:showVal val="0"/>
          <c:showCatName val="0"/>
          <c:showSerName val="0"/>
          <c:showPercent val="0"/>
          <c:showBubbleSize val="0"/>
        </c:dLbls>
        <c:gapWidth val="70"/>
        <c:overlap val="100"/>
        <c:axId val="178673135"/>
        <c:axId val="1"/>
      </c:barChart>
      <c:catAx>
        <c:axId val="178673135"/>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4241059602649004"/>
          <c:min val="0"/>
        </c:scaling>
        <c:delete val="1"/>
        <c:axPos val="l"/>
        <c:numFmt formatCode="General" sourceLinked="1"/>
        <c:majorTickMark val="out"/>
        <c:minorTickMark val="none"/>
        <c:tickLblPos val="nextTo"/>
        <c:crossAx val="178673135"/>
        <c:crosses val="min"/>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043062200956935"/>
          <c:y val="0.22681704260651628"/>
          <c:w val="0.21818181818181817"/>
          <c:h val="0.54636591478696739"/>
        </c:manualLayout>
      </c:layout>
      <c:barChart>
        <c:barDir val="col"/>
        <c:grouping val="stacked"/>
        <c:varyColors val="0"/>
        <c:ser>
          <c:idx val="0"/>
          <c:order val="0"/>
          <c:spPr>
            <a:solidFill>
              <a:schemeClr val="accent5"/>
            </a:solidFill>
            <a:ln w="9525" cmpd="sng" algn="ctr">
              <a:solidFill>
                <a:schemeClr val="bg1"/>
              </a:solidFill>
              <a:prstDash val="solid"/>
            </a:ln>
          </c:spPr>
          <c:invertIfNegative val="0"/>
          <c:dLbls>
            <c:dLbl>
              <c:idx val="0"/>
              <c:layout>
                <c:manualLayout>
                  <c:x val="0"/>
                  <c:y val="-0.19924812030075187"/>
                </c:manualLayout>
              </c:layout>
              <c:numFmt formatCode="#,##0;&quot;-&quot;#,##0" sourceLinked="0"/>
              <c:spPr>
                <a:noFill/>
                <a:ln>
                  <a:noFill/>
                </a:ln>
              </c:spPr>
              <c:txPr>
                <a:bodyPr wrap="none"/>
                <a:lstStyle/>
                <a:p>
                  <a:pPr>
                    <a:defRPr sz="1300" b="1"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B42-4C77-A508-364D508FCF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69</c:v>
                </c:pt>
              </c:numCache>
            </c:numRef>
          </c:val>
          <c:extLst>
            <c:ext xmlns:c16="http://schemas.microsoft.com/office/drawing/2014/chart" uri="{C3380CC4-5D6E-409C-BE32-E72D297353CC}">
              <c16:uniqueId val="{00000001-3B42-4C77-A508-364D508FCFB2}"/>
            </c:ext>
          </c:extLst>
        </c:ser>
        <c:dLbls>
          <c:showLegendKey val="0"/>
          <c:showVal val="0"/>
          <c:showCatName val="0"/>
          <c:showSerName val="0"/>
          <c:showPercent val="0"/>
          <c:showBubbleSize val="0"/>
        </c:dLbls>
        <c:gapWidth val="70"/>
        <c:overlap val="100"/>
        <c:axId val="1659151551"/>
        <c:axId val="1"/>
      </c:barChart>
      <c:catAx>
        <c:axId val="1659151551"/>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82.4792332268371"/>
          <c:min val="0"/>
        </c:scaling>
        <c:delete val="1"/>
        <c:axPos val="l"/>
        <c:numFmt formatCode="General" sourceLinked="1"/>
        <c:majorTickMark val="out"/>
        <c:minorTickMark val="none"/>
        <c:tickLblPos val="nextTo"/>
        <c:crossAx val="1659151551"/>
        <c:crosses val="min"/>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043062200956935"/>
          <c:y val="0.22681704260651628"/>
          <c:w val="0.21818181818181817"/>
          <c:h val="0.54636591478696739"/>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dLbls>
            <c:dLbl>
              <c:idx val="0"/>
              <c:layout>
                <c:manualLayout>
                  <c:x val="0"/>
                  <c:y val="-0.23934837092731828"/>
                </c:manualLayout>
              </c:layout>
              <c:numFmt formatCode="#,##0;&quot;-&quot;#,##0" sourceLinked="0"/>
              <c:spPr>
                <a:noFill/>
                <a:ln>
                  <a:noFill/>
                </a:ln>
              </c:spPr>
              <c:txPr>
                <a:bodyPr wrap="none"/>
                <a:lstStyle/>
                <a:p>
                  <a:pPr>
                    <a:defRPr sz="1300" b="1"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4E6-4931-BD9D-763ABE068F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56.9</c:v>
                </c:pt>
              </c:numCache>
            </c:numRef>
          </c:val>
          <c:extLst>
            <c:ext xmlns:c16="http://schemas.microsoft.com/office/drawing/2014/chart" uri="{C3380CC4-5D6E-409C-BE32-E72D297353CC}">
              <c16:uniqueId val="{00000001-14E6-4931-BD9D-763ABE068FD3}"/>
            </c:ext>
          </c:extLst>
        </c:ser>
        <c:dLbls>
          <c:showLegendKey val="0"/>
          <c:showVal val="0"/>
          <c:showCatName val="0"/>
          <c:showSerName val="0"/>
          <c:showPercent val="0"/>
          <c:showBubbleSize val="0"/>
        </c:dLbls>
        <c:gapWidth val="70"/>
        <c:overlap val="100"/>
        <c:axId val="869987007"/>
        <c:axId val="1"/>
      </c:barChart>
      <c:catAx>
        <c:axId val="869987007"/>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07.67667731629392"/>
          <c:min val="0"/>
        </c:scaling>
        <c:delete val="1"/>
        <c:axPos val="l"/>
        <c:numFmt formatCode="General" sourceLinked="1"/>
        <c:majorTickMark val="out"/>
        <c:minorTickMark val="none"/>
        <c:tickLblPos val="nextTo"/>
        <c:crossAx val="869987007"/>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662650602409639"/>
          <c:y val="9.6296296296296297E-2"/>
          <c:w val="0.68674698795180722"/>
          <c:h val="0.80740740740740746"/>
        </c:manualLayout>
      </c:layout>
      <c:barChart>
        <c:barDir val="col"/>
        <c:grouping val="stacked"/>
        <c:varyColors val="0"/>
        <c:ser>
          <c:idx val="0"/>
          <c:order val="0"/>
          <c:spPr>
            <a:solidFill>
              <a:schemeClr val="tx2"/>
            </a:solidFill>
            <a:ln w="9525" cmpd="sng" algn="ctr">
              <a:solidFill>
                <a:schemeClr val="bg1"/>
              </a:solidFill>
              <a:prstDash val="solid"/>
            </a:ln>
          </c:spPr>
          <c:invertIfNegative val="0"/>
          <c:val>
            <c:numRef>
              <c:f>Sheet1!$A$1</c:f>
              <c:numCache>
                <c:formatCode>General</c:formatCode>
                <c:ptCount val="1"/>
                <c:pt idx="0">
                  <c:v>0.55943502824858748</c:v>
                </c:pt>
              </c:numCache>
            </c:numRef>
          </c:val>
          <c:extLst>
            <c:ext xmlns:c16="http://schemas.microsoft.com/office/drawing/2014/chart" uri="{C3380CC4-5D6E-409C-BE32-E72D297353CC}">
              <c16:uniqueId val="{00000000-88A3-45E7-851B-F6AB86142859}"/>
            </c:ext>
          </c:extLst>
        </c:ser>
        <c:dLbls>
          <c:showLegendKey val="0"/>
          <c:showVal val="0"/>
          <c:showCatName val="0"/>
          <c:showSerName val="0"/>
          <c:showPercent val="0"/>
          <c:showBubbleSize val="0"/>
        </c:dLbls>
        <c:gapWidth val="70"/>
        <c:overlap val="100"/>
        <c:axId val="869973087"/>
        <c:axId val="1"/>
      </c:barChart>
      <c:catAx>
        <c:axId val="869973087"/>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3794350282485874"/>
          <c:min val="0"/>
        </c:scaling>
        <c:delete val="1"/>
        <c:axPos val="l"/>
        <c:numFmt formatCode="General" sourceLinked="1"/>
        <c:majorTickMark val="out"/>
        <c:minorTickMark val="none"/>
        <c:tickLblPos val="nextTo"/>
        <c:crossAx val="869973087"/>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41423220973782771"/>
          <c:y val="0.22681704260651628"/>
          <c:w val="0.17153558052434456"/>
          <c:h val="0.54636591478696739"/>
        </c:manualLayout>
      </c:layout>
      <c:barChart>
        <c:barDir val="col"/>
        <c:grouping val="stacked"/>
        <c:varyColors val="0"/>
        <c:ser>
          <c:idx val="0"/>
          <c:order val="0"/>
          <c:spPr>
            <a:solidFill>
              <a:schemeClr val="accent5"/>
            </a:solidFill>
            <a:ln w="9525" cmpd="sng" algn="ctr">
              <a:solidFill>
                <a:schemeClr val="bg1"/>
              </a:solidFill>
              <a:prstDash val="solid"/>
            </a:ln>
          </c:spPr>
          <c:invertIfNegative val="0"/>
          <c:dLbls>
            <c:dLbl>
              <c:idx val="0"/>
              <c:layout>
                <c:manualLayout>
                  <c:x val="0"/>
                  <c:y val="-0.29197994987468673"/>
                </c:manualLayout>
              </c:layout>
              <c:numFmt formatCode="#,##0;&quot;-&quot;#,##0" sourceLinked="0"/>
              <c:spPr>
                <a:noFill/>
                <a:ln>
                  <a:noFill/>
                </a:ln>
              </c:spPr>
              <c:txPr>
                <a:bodyPr wrap="none"/>
                <a:lstStyle/>
                <a:p>
                  <a:pPr>
                    <a:defRPr sz="1300" b="1"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E4E-4CF5-8EA0-020A378B44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31</c:v>
                </c:pt>
              </c:numCache>
            </c:numRef>
          </c:val>
          <c:extLst>
            <c:ext xmlns:c16="http://schemas.microsoft.com/office/drawing/2014/chart" uri="{C3380CC4-5D6E-409C-BE32-E72D297353CC}">
              <c16:uniqueId val="{00000001-AE4E-4CF5-8EA0-020A378B4404}"/>
            </c:ext>
          </c:extLst>
        </c:ser>
        <c:dLbls>
          <c:showLegendKey val="0"/>
          <c:showVal val="0"/>
          <c:showCatName val="0"/>
          <c:showSerName val="0"/>
          <c:showPercent val="0"/>
          <c:showBubbleSize val="0"/>
        </c:dLbls>
        <c:gapWidth val="70"/>
        <c:overlap val="100"/>
        <c:axId val="869973551"/>
        <c:axId val="1"/>
      </c:barChart>
      <c:catAx>
        <c:axId val="869973551"/>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82.4792332268371"/>
          <c:min val="0"/>
        </c:scaling>
        <c:delete val="1"/>
        <c:axPos val="l"/>
        <c:numFmt formatCode="General" sourceLinked="1"/>
        <c:majorTickMark val="out"/>
        <c:minorTickMark val="none"/>
        <c:tickLblPos val="nextTo"/>
        <c:crossAx val="869973551"/>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043062200956935"/>
          <c:y val="0.22681704260651628"/>
          <c:w val="0.21818181818181817"/>
          <c:h val="0.54636591478696739"/>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dLbls>
            <c:dLbl>
              <c:idx val="0"/>
              <c:layout>
                <c:manualLayout>
                  <c:x val="0"/>
                  <c:y val="-0.17042606516290726"/>
                </c:manualLayout>
              </c:layout>
              <c:numFmt formatCode="#,##0;&quot;-&quot;#,##0" sourceLinked="0"/>
              <c:spPr>
                <a:noFill/>
                <a:ln>
                  <a:noFill/>
                </a:ln>
              </c:spPr>
              <c:txPr>
                <a:bodyPr wrap="none"/>
                <a:lstStyle/>
                <a:p>
                  <a:pPr>
                    <a:defRPr sz="1300" b="1"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327-4CFB-A221-2009B5F984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6</c:v>
                </c:pt>
              </c:numCache>
            </c:numRef>
          </c:val>
          <c:extLst>
            <c:ext xmlns:c16="http://schemas.microsoft.com/office/drawing/2014/chart" uri="{C3380CC4-5D6E-409C-BE32-E72D297353CC}">
              <c16:uniqueId val="{00000001-F327-4CFB-A221-2009B5F984D3}"/>
            </c:ext>
          </c:extLst>
        </c:ser>
        <c:dLbls>
          <c:showLegendKey val="0"/>
          <c:showVal val="0"/>
          <c:showCatName val="0"/>
          <c:showSerName val="0"/>
          <c:showPercent val="0"/>
          <c:showBubbleSize val="0"/>
        </c:dLbls>
        <c:gapWidth val="70"/>
        <c:overlap val="100"/>
        <c:axId val="1659113503"/>
        <c:axId val="1"/>
      </c:barChart>
      <c:catAx>
        <c:axId val="1659113503"/>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07.67667731629392"/>
          <c:min val="0"/>
        </c:scaling>
        <c:delete val="1"/>
        <c:axPos val="l"/>
        <c:numFmt formatCode="General" sourceLinked="1"/>
        <c:majorTickMark val="out"/>
        <c:minorTickMark val="none"/>
        <c:tickLblPos val="nextTo"/>
        <c:crossAx val="1659113503"/>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24423403738771E-2"/>
          <c:y val="3.5788024776324846E-2"/>
          <c:w val="0.97475115319252248"/>
          <c:h val="0.92842395044735027"/>
        </c:manualLayout>
      </c:layout>
      <c:barChart>
        <c:barDir val="col"/>
        <c:grouping val="stacked"/>
        <c:varyColors val="0"/>
        <c:ser>
          <c:idx val="0"/>
          <c:order val="0"/>
          <c:spPr>
            <a:solidFill>
              <a:schemeClr val="accent6"/>
            </a:solidFill>
            <a:ln w="6350" cmpd="sng" algn="ctr">
              <a:solidFill>
                <a:schemeClr val="bg1"/>
              </a:solidFill>
              <a:prstDash val="solid"/>
            </a:ln>
          </c:spPr>
          <c:invertIfNegative val="0"/>
          <c:val>
            <c:numRef>
              <c:f>Sheet1!$A$1:$E$1</c:f>
              <c:numCache>
                <c:formatCode>General</c:formatCode>
                <c:ptCount val="5"/>
                <c:pt idx="0">
                  <c:v>110</c:v>
                </c:pt>
                <c:pt idx="1">
                  <c:v>95</c:v>
                </c:pt>
                <c:pt idx="2">
                  <c:v>140</c:v>
                </c:pt>
                <c:pt idx="3">
                  <c:v>145</c:v>
                </c:pt>
                <c:pt idx="4">
                  <c:v>150</c:v>
                </c:pt>
              </c:numCache>
            </c:numRef>
          </c:val>
          <c:extLst>
            <c:ext xmlns:c16="http://schemas.microsoft.com/office/drawing/2014/chart" uri="{C3380CC4-5D6E-409C-BE32-E72D297353CC}">
              <c16:uniqueId val="{00000000-4CD0-4873-9142-B949949CE898}"/>
            </c:ext>
          </c:extLst>
        </c:ser>
        <c:ser>
          <c:idx val="1"/>
          <c:order val="1"/>
          <c:spPr>
            <a:solidFill>
              <a:schemeClr val="accent4"/>
            </a:solidFill>
            <a:ln w="6350" cmpd="sng" algn="ctr">
              <a:solidFill>
                <a:schemeClr val="bg1"/>
              </a:solidFill>
              <a:prstDash val="solid"/>
            </a:ln>
          </c:spPr>
          <c:invertIfNegative val="0"/>
          <c:val>
            <c:numRef>
              <c:f>Sheet1!$A$2:$E$2</c:f>
              <c:numCache>
                <c:formatCode>General</c:formatCode>
                <c:ptCount val="5"/>
                <c:pt idx="0">
                  <c:v>110</c:v>
                </c:pt>
                <c:pt idx="1">
                  <c:v>95</c:v>
                </c:pt>
                <c:pt idx="2">
                  <c:v>130</c:v>
                </c:pt>
                <c:pt idx="3">
                  <c:v>135</c:v>
                </c:pt>
                <c:pt idx="4">
                  <c:v>155</c:v>
                </c:pt>
              </c:numCache>
            </c:numRef>
          </c:val>
          <c:extLst>
            <c:ext xmlns:c16="http://schemas.microsoft.com/office/drawing/2014/chart" uri="{C3380CC4-5D6E-409C-BE32-E72D297353CC}">
              <c16:uniqueId val="{00000001-4CD0-4873-9142-B949949CE898}"/>
            </c:ext>
          </c:extLst>
        </c:ser>
        <c:ser>
          <c:idx val="2"/>
          <c:order val="2"/>
          <c:spPr>
            <a:solidFill>
              <a:schemeClr val="accent3"/>
            </a:solidFill>
            <a:ln w="6350" cmpd="sng" algn="ctr">
              <a:solidFill>
                <a:schemeClr val="bg1"/>
              </a:solidFill>
              <a:prstDash val="solid"/>
            </a:ln>
          </c:spPr>
          <c:invertIfNegative val="0"/>
          <c:val>
            <c:numRef>
              <c:f>Sheet1!$A$3:$E$3</c:f>
              <c:numCache>
                <c:formatCode>General</c:formatCode>
                <c:ptCount val="5"/>
                <c:pt idx="0">
                  <c:v>130</c:v>
                </c:pt>
                <c:pt idx="1">
                  <c:v>85</c:v>
                </c:pt>
                <c:pt idx="2">
                  <c:v>100</c:v>
                </c:pt>
                <c:pt idx="3">
                  <c:v>100</c:v>
                </c:pt>
                <c:pt idx="4">
                  <c:v>110</c:v>
                </c:pt>
              </c:numCache>
            </c:numRef>
          </c:val>
          <c:extLst>
            <c:ext xmlns:c16="http://schemas.microsoft.com/office/drawing/2014/chart" uri="{C3380CC4-5D6E-409C-BE32-E72D297353CC}">
              <c16:uniqueId val="{00000002-4CD0-4873-9142-B949949CE898}"/>
            </c:ext>
          </c:extLst>
        </c:ser>
        <c:ser>
          <c:idx val="3"/>
          <c:order val="3"/>
          <c:spPr>
            <a:solidFill>
              <a:schemeClr val="accent2"/>
            </a:solidFill>
            <a:ln w="6350" cmpd="sng" algn="ctr">
              <a:solidFill>
                <a:schemeClr val="bg1"/>
              </a:solidFill>
              <a:prstDash val="solid"/>
            </a:ln>
          </c:spPr>
          <c:invertIfNegative val="0"/>
          <c:val>
            <c:numRef>
              <c:f>Sheet1!$A$4:$E$4</c:f>
              <c:numCache>
                <c:formatCode>General</c:formatCode>
                <c:ptCount val="5"/>
                <c:pt idx="0">
                  <c:v>105</c:v>
                </c:pt>
                <c:pt idx="1">
                  <c:v>65</c:v>
                </c:pt>
                <c:pt idx="2">
                  <c:v>90</c:v>
                </c:pt>
                <c:pt idx="3">
                  <c:v>95</c:v>
                </c:pt>
                <c:pt idx="4">
                  <c:v>85</c:v>
                </c:pt>
              </c:numCache>
            </c:numRef>
          </c:val>
          <c:extLst>
            <c:ext xmlns:c16="http://schemas.microsoft.com/office/drawing/2014/chart" uri="{C3380CC4-5D6E-409C-BE32-E72D297353CC}">
              <c16:uniqueId val="{00000003-4CD0-4873-9142-B949949CE898}"/>
            </c:ext>
          </c:extLst>
        </c:ser>
        <c:ser>
          <c:idx val="4"/>
          <c:order val="4"/>
          <c:spPr>
            <a:solidFill>
              <a:schemeClr val="accent1"/>
            </a:solidFill>
            <a:ln w="6350" cmpd="sng" algn="ctr">
              <a:solidFill>
                <a:schemeClr val="bg1"/>
              </a:solidFill>
              <a:prstDash val="solid"/>
            </a:ln>
          </c:spPr>
          <c:invertIfNegative val="0"/>
          <c:val>
            <c:numRef>
              <c:f>Sheet1!$A$5:$E$5</c:f>
              <c:numCache>
                <c:formatCode>General</c:formatCode>
                <c:ptCount val="5"/>
                <c:pt idx="0">
                  <c:v>75</c:v>
                </c:pt>
                <c:pt idx="1">
                  <c:v>50</c:v>
                </c:pt>
                <c:pt idx="2">
                  <c:v>55</c:v>
                </c:pt>
                <c:pt idx="3">
                  <c:v>55</c:v>
                </c:pt>
                <c:pt idx="4">
                  <c:v>65</c:v>
                </c:pt>
              </c:numCache>
            </c:numRef>
          </c:val>
          <c:extLst>
            <c:ext xmlns:c16="http://schemas.microsoft.com/office/drawing/2014/chart" uri="{C3380CC4-5D6E-409C-BE32-E72D297353CC}">
              <c16:uniqueId val="{00000004-4CD0-4873-9142-B949949CE898}"/>
            </c:ext>
          </c:extLst>
        </c:ser>
        <c:ser>
          <c:idx val="5"/>
          <c:order val="5"/>
          <c:spPr>
            <a:solidFill>
              <a:schemeClr val="tx2"/>
            </a:solidFill>
            <a:ln w="6350" cmpd="sng" algn="ctr">
              <a:solidFill>
                <a:schemeClr val="bg1"/>
              </a:solidFill>
              <a:prstDash val="solid"/>
            </a:ln>
          </c:spPr>
          <c:invertIfNegative val="0"/>
          <c:val>
            <c:numRef>
              <c:f>Sheet1!$A$6:$E$6</c:f>
              <c:numCache>
                <c:formatCode>General</c:formatCode>
                <c:ptCount val="5"/>
                <c:pt idx="0">
                  <c:v>30</c:v>
                </c:pt>
                <c:pt idx="1">
                  <c:v>20</c:v>
                </c:pt>
                <c:pt idx="2">
                  <c:v>40</c:v>
                </c:pt>
                <c:pt idx="3">
                  <c:v>40</c:v>
                </c:pt>
                <c:pt idx="4">
                  <c:v>40</c:v>
                </c:pt>
              </c:numCache>
            </c:numRef>
          </c:val>
          <c:extLst>
            <c:ext xmlns:c16="http://schemas.microsoft.com/office/drawing/2014/chart" uri="{C3380CC4-5D6E-409C-BE32-E72D297353CC}">
              <c16:uniqueId val="{00000005-4CD0-4873-9142-B949949CE898}"/>
            </c:ext>
          </c:extLst>
        </c:ser>
        <c:dLbls>
          <c:showLegendKey val="0"/>
          <c:showVal val="0"/>
          <c:showCatName val="0"/>
          <c:showSerName val="0"/>
          <c:showPercent val="0"/>
          <c:showBubbleSize val="0"/>
        </c:dLbls>
        <c:gapWidth val="70"/>
        <c:overlap val="100"/>
        <c:axId val="1659123711"/>
        <c:axId val="1"/>
      </c:barChart>
      <c:catAx>
        <c:axId val="1659123711"/>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605"/>
          <c:min val="0"/>
        </c:scaling>
        <c:delete val="1"/>
        <c:axPos val="l"/>
        <c:numFmt formatCode="General" sourceLinked="1"/>
        <c:majorTickMark val="out"/>
        <c:minorTickMark val="none"/>
        <c:tickLblPos val="nextTo"/>
        <c:crossAx val="1659123711"/>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662650602409639"/>
          <c:y val="9.6296296296296297E-2"/>
          <c:w val="0.68674698795180722"/>
          <c:h val="0.80740740740740746"/>
        </c:manualLayout>
      </c:layout>
      <c:barChart>
        <c:barDir val="col"/>
        <c:grouping val="stacked"/>
        <c:varyColors val="0"/>
        <c:ser>
          <c:idx val="0"/>
          <c:order val="0"/>
          <c:spPr>
            <a:solidFill>
              <a:schemeClr val="tx2"/>
            </a:solidFill>
            <a:ln w="9525" cmpd="sng" algn="ctr">
              <a:solidFill>
                <a:schemeClr val="bg1"/>
              </a:solidFill>
              <a:prstDash val="solid"/>
            </a:ln>
          </c:spPr>
          <c:invertIfNegative val="0"/>
          <c:val>
            <c:numRef>
              <c:f>Sheet1!$A$1</c:f>
              <c:numCache>
                <c:formatCode>General</c:formatCode>
                <c:ptCount val="1"/>
                <c:pt idx="0">
                  <c:v>0.23</c:v>
                </c:pt>
              </c:numCache>
            </c:numRef>
          </c:val>
          <c:extLst>
            <c:ext xmlns:c16="http://schemas.microsoft.com/office/drawing/2014/chart" uri="{C3380CC4-5D6E-409C-BE32-E72D297353CC}">
              <c16:uniqueId val="{00000000-5B6C-44B7-8113-0964EC9E3043}"/>
            </c:ext>
          </c:extLst>
        </c:ser>
        <c:dLbls>
          <c:showLegendKey val="0"/>
          <c:showVal val="0"/>
          <c:showCatName val="0"/>
          <c:showSerName val="0"/>
          <c:showPercent val="0"/>
          <c:showBubbleSize val="0"/>
        </c:dLbls>
        <c:gapWidth val="70"/>
        <c:overlap val="100"/>
        <c:axId val="1659096335"/>
        <c:axId val="1"/>
      </c:barChart>
      <c:catAx>
        <c:axId val="1659096335"/>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3794350282485874"/>
          <c:min val="0"/>
        </c:scaling>
        <c:delete val="1"/>
        <c:axPos val="l"/>
        <c:numFmt formatCode="General" sourceLinked="1"/>
        <c:majorTickMark val="out"/>
        <c:minorTickMark val="none"/>
        <c:tickLblPos val="nextTo"/>
        <c:crossAx val="1659096335"/>
        <c:crosses val="min"/>
        <c:crossBetween val="between"/>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615615615615616"/>
          <c:y val="9.6296296296296297E-2"/>
          <c:w val="0.68768768768768773"/>
          <c:h val="0.80740740740740746"/>
        </c:manualLayout>
      </c:layout>
      <c:barChart>
        <c:barDir val="col"/>
        <c:grouping val="stacked"/>
        <c:varyColors val="0"/>
        <c:ser>
          <c:idx val="0"/>
          <c:order val="0"/>
          <c:spPr>
            <a:solidFill>
              <a:schemeClr val="accent5"/>
            </a:solidFill>
            <a:ln w="9525" cmpd="sng" algn="ctr">
              <a:solidFill>
                <a:schemeClr val="bg1"/>
              </a:solidFill>
              <a:prstDash val="solid"/>
            </a:ln>
          </c:spPr>
          <c:invertIfNegative val="0"/>
          <c:val>
            <c:numRef>
              <c:f>Sheet1!$A$1</c:f>
              <c:numCache>
                <c:formatCode>General</c:formatCode>
                <c:ptCount val="1"/>
                <c:pt idx="0">
                  <c:v>182.4792332268371</c:v>
                </c:pt>
              </c:numCache>
            </c:numRef>
          </c:val>
          <c:extLst>
            <c:ext xmlns:c16="http://schemas.microsoft.com/office/drawing/2014/chart" uri="{C3380CC4-5D6E-409C-BE32-E72D297353CC}">
              <c16:uniqueId val="{00000000-A967-48E9-816A-4D4A0FB05F40}"/>
            </c:ext>
          </c:extLst>
        </c:ser>
        <c:dLbls>
          <c:showLegendKey val="0"/>
          <c:showVal val="0"/>
          <c:showCatName val="0"/>
          <c:showSerName val="0"/>
          <c:showPercent val="0"/>
          <c:showBubbleSize val="0"/>
        </c:dLbls>
        <c:gapWidth val="70"/>
        <c:overlap val="100"/>
        <c:axId val="869965199"/>
        <c:axId val="1"/>
      </c:barChart>
      <c:catAx>
        <c:axId val="869965199"/>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82.4792332268371"/>
          <c:min val="0"/>
        </c:scaling>
        <c:delete val="1"/>
        <c:axPos val="l"/>
        <c:numFmt formatCode="General" sourceLinked="1"/>
        <c:majorTickMark val="out"/>
        <c:minorTickMark val="none"/>
        <c:tickLblPos val="nextTo"/>
        <c:crossAx val="869965199"/>
        <c:crosses val="min"/>
        <c:crossBetween val="between"/>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662650602409639"/>
          <c:y val="9.6296296296296297E-2"/>
          <c:w val="0.68674698795180722"/>
          <c:h val="0.80740740740740746"/>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val>
            <c:numRef>
              <c:f>Sheet1!$A$1</c:f>
              <c:numCache>
                <c:formatCode>General</c:formatCode>
                <c:ptCount val="1"/>
                <c:pt idx="0">
                  <c:v>107.67764784817408</c:v>
                </c:pt>
              </c:numCache>
            </c:numRef>
          </c:val>
          <c:extLst>
            <c:ext xmlns:c16="http://schemas.microsoft.com/office/drawing/2014/chart" uri="{C3380CC4-5D6E-409C-BE32-E72D297353CC}">
              <c16:uniqueId val="{00000000-AF2E-4069-9CEC-B5ADD3A7509E}"/>
            </c:ext>
          </c:extLst>
        </c:ser>
        <c:dLbls>
          <c:showLegendKey val="0"/>
          <c:showVal val="0"/>
          <c:showCatName val="0"/>
          <c:showSerName val="0"/>
          <c:showPercent val="0"/>
          <c:showBubbleSize val="0"/>
        </c:dLbls>
        <c:gapWidth val="70"/>
        <c:overlap val="100"/>
        <c:axId val="931583727"/>
        <c:axId val="1"/>
      </c:barChart>
      <c:catAx>
        <c:axId val="931583727"/>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07.67764784817408"/>
          <c:min val="0"/>
        </c:scaling>
        <c:delete val="1"/>
        <c:axPos val="l"/>
        <c:numFmt formatCode="General" sourceLinked="1"/>
        <c:majorTickMark val="out"/>
        <c:minorTickMark val="none"/>
        <c:tickLblPos val="nextTo"/>
        <c:crossAx val="931583727"/>
        <c:crosses val="min"/>
        <c:crossBetween val="between"/>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662650602409639"/>
          <c:y val="9.6296296296296297E-2"/>
          <c:w val="0.68674698795180722"/>
          <c:h val="0.80740740740740746"/>
        </c:manualLayout>
      </c:layout>
      <c:barChart>
        <c:barDir val="col"/>
        <c:grouping val="stacked"/>
        <c:varyColors val="0"/>
        <c:ser>
          <c:idx val="0"/>
          <c:order val="0"/>
          <c:spPr>
            <a:solidFill>
              <a:schemeClr val="tx2"/>
            </a:solidFill>
            <a:ln w="9525" cmpd="sng" algn="ctr">
              <a:solidFill>
                <a:schemeClr val="bg1"/>
              </a:solidFill>
              <a:prstDash val="solid"/>
            </a:ln>
          </c:spPr>
          <c:invertIfNegative val="0"/>
          <c:val>
            <c:numRef>
              <c:f>Sheet1!$A$1</c:f>
              <c:numCache>
                <c:formatCode>General</c:formatCode>
                <c:ptCount val="1"/>
                <c:pt idx="0">
                  <c:v>0.24</c:v>
                </c:pt>
              </c:numCache>
            </c:numRef>
          </c:val>
          <c:extLst>
            <c:ext xmlns:c16="http://schemas.microsoft.com/office/drawing/2014/chart" uri="{C3380CC4-5D6E-409C-BE32-E72D297353CC}">
              <c16:uniqueId val="{00000000-2818-458D-92B2-9CE22371A9FC}"/>
            </c:ext>
          </c:extLst>
        </c:ser>
        <c:dLbls>
          <c:showLegendKey val="0"/>
          <c:showVal val="0"/>
          <c:showCatName val="0"/>
          <c:showSerName val="0"/>
          <c:showPercent val="0"/>
          <c:showBubbleSize val="0"/>
        </c:dLbls>
        <c:gapWidth val="70"/>
        <c:overlap val="100"/>
        <c:axId val="931576303"/>
        <c:axId val="1"/>
      </c:barChart>
      <c:catAx>
        <c:axId val="931576303"/>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3794350282485874"/>
          <c:min val="0"/>
        </c:scaling>
        <c:delete val="1"/>
        <c:axPos val="l"/>
        <c:numFmt formatCode="General" sourceLinked="1"/>
        <c:majorTickMark val="out"/>
        <c:minorTickMark val="none"/>
        <c:tickLblPos val="nextTo"/>
        <c:crossAx val="931576303"/>
        <c:crosses val="min"/>
        <c:crossBetween val="between"/>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043062200956935"/>
          <c:y val="0.22681704260651628"/>
          <c:w val="0.21818181818181817"/>
          <c:h val="0.54636591478696739"/>
        </c:manualLayout>
      </c:layout>
      <c:barChart>
        <c:barDir val="col"/>
        <c:grouping val="stacked"/>
        <c:varyColors val="0"/>
        <c:ser>
          <c:idx val="0"/>
          <c:order val="0"/>
          <c:spPr>
            <a:solidFill>
              <a:schemeClr val="accent5"/>
            </a:solidFill>
            <a:ln w="9525" cmpd="sng" algn="ctr">
              <a:solidFill>
                <a:schemeClr val="bg1"/>
              </a:solidFill>
              <a:prstDash val="solid"/>
            </a:ln>
          </c:spPr>
          <c:invertIfNegative val="0"/>
          <c:dLbls>
            <c:dLbl>
              <c:idx val="0"/>
              <c:layout>
                <c:manualLayout>
                  <c:x val="0"/>
                  <c:y val="-0.15914786967418545"/>
                </c:manualLayout>
              </c:layout>
              <c:numFmt formatCode="#,##0;&quot;-&quot;#,##0" sourceLinked="0"/>
              <c:spPr>
                <a:noFill/>
                <a:ln>
                  <a:noFill/>
                </a:ln>
              </c:spPr>
              <c:txPr>
                <a:bodyPr wrap="none"/>
                <a:lstStyle/>
                <a:p>
                  <a:pPr>
                    <a:defRPr sz="1300" b="1"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574-4DF8-B34D-293494CE9C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3</c:v>
                </c:pt>
              </c:numCache>
            </c:numRef>
          </c:val>
          <c:extLst>
            <c:ext xmlns:c16="http://schemas.microsoft.com/office/drawing/2014/chart" uri="{C3380CC4-5D6E-409C-BE32-E72D297353CC}">
              <c16:uniqueId val="{00000001-7574-4DF8-B34D-293494CE9C3B}"/>
            </c:ext>
          </c:extLst>
        </c:ser>
        <c:dLbls>
          <c:showLegendKey val="0"/>
          <c:showVal val="0"/>
          <c:showCatName val="0"/>
          <c:showSerName val="0"/>
          <c:showPercent val="0"/>
          <c:showBubbleSize val="0"/>
        </c:dLbls>
        <c:gapWidth val="70"/>
        <c:overlap val="100"/>
        <c:axId val="1659133455"/>
        <c:axId val="1"/>
      </c:barChart>
      <c:catAx>
        <c:axId val="1659133455"/>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82.4792332268371"/>
          <c:min val="0"/>
        </c:scaling>
        <c:delete val="1"/>
        <c:axPos val="l"/>
        <c:numFmt formatCode="General" sourceLinked="1"/>
        <c:majorTickMark val="out"/>
        <c:minorTickMark val="none"/>
        <c:tickLblPos val="nextTo"/>
        <c:crossAx val="1659133455"/>
        <c:crosses val="min"/>
        <c:crossBetween val="between"/>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043062200956935"/>
          <c:y val="0.22681704260651628"/>
          <c:w val="0.21818181818181817"/>
          <c:h val="0.54636591478696739"/>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dLbls>
            <c:dLbl>
              <c:idx val="0"/>
              <c:layout>
                <c:manualLayout>
                  <c:x val="0"/>
                  <c:y val="-0.21679197994987467"/>
                </c:manualLayout>
              </c:layout>
              <c:numFmt formatCode="#,##0;&quot;-&quot;#,##0" sourceLinked="0"/>
              <c:spPr>
                <a:noFill/>
                <a:ln>
                  <a:noFill/>
                </a:ln>
              </c:spPr>
              <c:txPr>
                <a:bodyPr wrap="none"/>
                <a:lstStyle/>
                <a:p>
                  <a:pPr>
                    <a:defRPr sz="1300" b="1"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703-4AC4-BDAA-3A84C7FF23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7.8</c:v>
                </c:pt>
              </c:numCache>
            </c:numRef>
          </c:val>
          <c:extLst>
            <c:ext xmlns:c16="http://schemas.microsoft.com/office/drawing/2014/chart" uri="{C3380CC4-5D6E-409C-BE32-E72D297353CC}">
              <c16:uniqueId val="{00000001-A703-4AC4-BDAA-3A84C7FF23B3}"/>
            </c:ext>
          </c:extLst>
        </c:ser>
        <c:dLbls>
          <c:showLegendKey val="0"/>
          <c:showVal val="0"/>
          <c:showCatName val="0"/>
          <c:showSerName val="0"/>
          <c:showPercent val="0"/>
          <c:showBubbleSize val="0"/>
        </c:dLbls>
        <c:gapWidth val="70"/>
        <c:overlap val="100"/>
        <c:axId val="1659146447"/>
        <c:axId val="1"/>
      </c:barChart>
      <c:catAx>
        <c:axId val="1659146447"/>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07.67667731629392"/>
          <c:min val="0"/>
        </c:scaling>
        <c:delete val="1"/>
        <c:axPos val="l"/>
        <c:numFmt formatCode="General" sourceLinked="1"/>
        <c:majorTickMark val="out"/>
        <c:minorTickMark val="none"/>
        <c:tickLblPos val="nextTo"/>
        <c:crossAx val="1659146447"/>
        <c:crosses val="min"/>
        <c:crossBetween val="between"/>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662650602409639"/>
          <c:y val="9.6296296296296297E-2"/>
          <c:w val="0.68674698795180722"/>
          <c:h val="0.80740740740740746"/>
        </c:manualLayout>
      </c:layout>
      <c:barChart>
        <c:barDir val="col"/>
        <c:grouping val="stacked"/>
        <c:varyColors val="0"/>
        <c:ser>
          <c:idx val="0"/>
          <c:order val="0"/>
          <c:spPr>
            <a:solidFill>
              <a:schemeClr val="tx2"/>
            </a:solidFill>
            <a:ln w="9525" cmpd="sng" algn="ctr">
              <a:solidFill>
                <a:schemeClr val="bg1"/>
              </a:solidFill>
              <a:prstDash val="solid"/>
            </a:ln>
          </c:spPr>
          <c:invertIfNegative val="0"/>
          <c:val>
            <c:numRef>
              <c:f>Sheet1!$A$1</c:f>
              <c:numCache>
                <c:formatCode>General</c:formatCode>
                <c:ptCount val="1"/>
                <c:pt idx="0">
                  <c:v>0.84943502824858763</c:v>
                </c:pt>
              </c:numCache>
            </c:numRef>
          </c:val>
          <c:extLst>
            <c:ext xmlns:c16="http://schemas.microsoft.com/office/drawing/2014/chart" uri="{C3380CC4-5D6E-409C-BE32-E72D297353CC}">
              <c16:uniqueId val="{00000000-D71B-45CC-861A-001CB90C7FDB}"/>
            </c:ext>
          </c:extLst>
        </c:ser>
        <c:dLbls>
          <c:showLegendKey val="0"/>
          <c:showVal val="0"/>
          <c:showCatName val="0"/>
          <c:showSerName val="0"/>
          <c:showPercent val="0"/>
          <c:showBubbleSize val="0"/>
        </c:dLbls>
        <c:gapWidth val="70"/>
        <c:overlap val="100"/>
        <c:axId val="178690303"/>
        <c:axId val="1"/>
      </c:barChart>
      <c:catAx>
        <c:axId val="178690303"/>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3794350282485874"/>
          <c:min val="0"/>
        </c:scaling>
        <c:delete val="1"/>
        <c:axPos val="l"/>
        <c:numFmt formatCode="General" sourceLinked="1"/>
        <c:majorTickMark val="out"/>
        <c:minorTickMark val="none"/>
        <c:tickLblPos val="nextTo"/>
        <c:crossAx val="178690303"/>
        <c:crosses val="min"/>
        <c:crossBetween val="between"/>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205619412515965E-2"/>
          <c:y val="0.20664206642066421"/>
          <c:w val="0.93358876117496803"/>
          <c:h val="0.58671586715867163"/>
        </c:manualLayout>
      </c:layout>
      <c:barChart>
        <c:barDir val="col"/>
        <c:grouping val="stacked"/>
        <c:varyColors val="0"/>
        <c:ser>
          <c:idx val="0"/>
          <c:order val="0"/>
          <c:spPr>
            <a:solidFill>
              <a:schemeClr val="accent6"/>
            </a:solidFill>
            <a:ln w="6350" cmpd="sng" algn="ctr">
              <a:solidFill>
                <a:schemeClr val="bg1"/>
              </a:solidFill>
              <a:prstDash val="solid"/>
            </a:ln>
          </c:spPr>
          <c:invertIfNegative val="0"/>
          <c:dLbls>
            <c:dLbl>
              <c:idx val="0"/>
              <c:layout>
                <c:manualLayout>
                  <c:x val="0"/>
                  <c:y val="-8.9790897908979095E-2"/>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314-4CD2-9487-B298C5982216}"/>
                </c:ext>
              </c:extLst>
            </c:dLbl>
            <c:dLbl>
              <c:idx val="2"/>
              <c:layout>
                <c:manualLayout>
                  <c:x val="0"/>
                  <c:y val="-3.690036900369003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314-4CD2-9487-B298C598221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804</c:v>
                </c:pt>
                <c:pt idx="1">
                  <c:v>25</c:v>
                </c:pt>
                <c:pt idx="2">
                  <c:v>84.574999999999989</c:v>
                </c:pt>
                <c:pt idx="3">
                  <c:v>208.27499999999998</c:v>
                </c:pt>
              </c:numCache>
            </c:numRef>
          </c:val>
          <c:extLst>
            <c:ext xmlns:c16="http://schemas.microsoft.com/office/drawing/2014/chart" uri="{C3380CC4-5D6E-409C-BE32-E72D297353CC}">
              <c16:uniqueId val="{00000002-9314-4CD2-9487-B298C5982216}"/>
            </c:ext>
          </c:extLst>
        </c:ser>
        <c:ser>
          <c:idx val="1"/>
          <c:order val="1"/>
          <c:spPr>
            <a:solidFill>
              <a:srgbClr val="F3F4F5"/>
            </a:solidFill>
            <a:ln>
              <a:noFill/>
            </a:ln>
          </c:spPr>
          <c:invertIfNegative val="0"/>
          <c:dLbls>
            <c:dLbl>
              <c:idx val="2"/>
              <c:layout>
                <c:manualLayout>
                  <c:x val="0"/>
                  <c:y val="-3.6900369003690036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314-4CD2-9487-B298C598221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2">
                  <c:v>63.699999999999989</c:v>
                </c:pt>
              </c:numCache>
            </c:numRef>
          </c:val>
          <c:extLst>
            <c:ext xmlns:c16="http://schemas.microsoft.com/office/drawing/2014/chart" uri="{C3380CC4-5D6E-409C-BE32-E72D297353CC}">
              <c16:uniqueId val="{00000004-9314-4CD2-9487-B298C5982216}"/>
            </c:ext>
          </c:extLst>
        </c:ser>
        <c:dLbls>
          <c:showLegendKey val="0"/>
          <c:showVal val="0"/>
          <c:showCatName val="0"/>
          <c:showSerName val="0"/>
          <c:showPercent val="0"/>
          <c:showBubbleSize val="0"/>
        </c:dLbls>
        <c:gapWidth val="50"/>
        <c:overlap val="100"/>
        <c:axId val="1100423679"/>
        <c:axId val="1"/>
      </c:barChart>
      <c:catAx>
        <c:axId val="1100423679"/>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208.27499999999998"/>
          <c:min val="0"/>
        </c:scaling>
        <c:delete val="1"/>
        <c:axPos val="l"/>
        <c:numFmt formatCode="General" sourceLinked="1"/>
        <c:majorTickMark val="out"/>
        <c:minorTickMark val="none"/>
        <c:tickLblPos val="nextTo"/>
        <c:crossAx val="1100423679"/>
        <c:crosses val="min"/>
        <c:crossBetween val="between"/>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205619412515965E-2"/>
          <c:y val="0.21903520208604954"/>
          <c:w val="0.93358876117496803"/>
          <c:h val="0.56192959582790092"/>
        </c:manualLayout>
      </c:layout>
      <c:barChart>
        <c:barDir val="col"/>
        <c:grouping val="stacked"/>
        <c:varyColors val="0"/>
        <c:ser>
          <c:idx val="0"/>
          <c:order val="0"/>
          <c:spPr>
            <a:solidFill>
              <a:schemeClr val="accent6"/>
            </a:solidFill>
            <a:ln w="6350" cmpd="sng" algn="ctr">
              <a:solidFill>
                <a:schemeClr val="bg1"/>
              </a:solidFill>
              <a:prstDash val="solid"/>
            </a:ln>
          </c:spPr>
          <c:invertIfNegative val="0"/>
          <c:dLbls>
            <c:dLbl>
              <c:idx val="2"/>
              <c:layout>
                <c:manualLayout>
                  <c:x val="0"/>
                  <c:y val="-5.2151238591916557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DB8-4D25-8BA4-C9B4794017BF}"/>
                </c:ext>
              </c:extLst>
            </c:dLbl>
            <c:dLbl>
              <c:idx val="3"/>
              <c:layout>
                <c:manualLayout>
                  <c:x val="0"/>
                  <c:y val="-3.9113428943937422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DB8-4D25-8BA4-C9B4794017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7.159999999999997</c:v>
                </c:pt>
                <c:pt idx="1">
                  <c:v>59.492999999999995</c:v>
                </c:pt>
                <c:pt idx="2">
                  <c:v>247.392</c:v>
                </c:pt>
                <c:pt idx="3">
                  <c:v>304.96499999999997</c:v>
                </c:pt>
              </c:numCache>
            </c:numRef>
          </c:val>
          <c:extLst>
            <c:ext xmlns:c16="http://schemas.microsoft.com/office/drawing/2014/chart" uri="{C3380CC4-5D6E-409C-BE32-E72D297353CC}">
              <c16:uniqueId val="{00000002-3DB8-4D25-8BA4-C9B4794017BF}"/>
            </c:ext>
          </c:extLst>
        </c:ser>
        <c:ser>
          <c:idx val="1"/>
          <c:order val="1"/>
          <c:spPr>
            <a:solidFill>
              <a:srgbClr val="F3F4F5"/>
            </a:solidFill>
            <a:ln>
              <a:noFill/>
            </a:ln>
          </c:spPr>
          <c:invertIfNegative val="0"/>
          <c:val>
            <c:numRef>
              <c:f>Sheet1!$A$2:$D$2</c:f>
              <c:numCache>
                <c:formatCode>General</c:formatCode>
                <c:ptCount val="4"/>
                <c:pt idx="0">
                  <c:v>0</c:v>
                </c:pt>
                <c:pt idx="1">
                  <c:v>0</c:v>
                </c:pt>
                <c:pt idx="2">
                  <c:v>28.399999999999977</c:v>
                </c:pt>
                <c:pt idx="3">
                  <c:v>62</c:v>
                </c:pt>
              </c:numCache>
            </c:numRef>
          </c:val>
          <c:extLst>
            <c:ext xmlns:c16="http://schemas.microsoft.com/office/drawing/2014/chart" uri="{C3380CC4-5D6E-409C-BE32-E72D297353CC}">
              <c16:uniqueId val="{00000003-3DB8-4D25-8BA4-C9B4794017BF}"/>
            </c:ext>
          </c:extLst>
        </c:ser>
        <c:dLbls>
          <c:showLegendKey val="0"/>
          <c:showVal val="0"/>
          <c:showCatName val="0"/>
          <c:showSerName val="0"/>
          <c:showPercent val="0"/>
          <c:showBubbleSize val="0"/>
        </c:dLbls>
        <c:gapWidth val="50"/>
        <c:overlap val="100"/>
        <c:axId val="176417247"/>
        <c:axId val="1"/>
      </c:barChart>
      <c:catAx>
        <c:axId val="176417247"/>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366.96499999999997"/>
          <c:min val="0"/>
        </c:scaling>
        <c:delete val="1"/>
        <c:axPos val="l"/>
        <c:numFmt formatCode="General" sourceLinked="1"/>
        <c:majorTickMark val="out"/>
        <c:minorTickMark val="none"/>
        <c:tickLblPos val="nextTo"/>
        <c:crossAx val="176417247"/>
        <c:crosses val="min"/>
        <c:crossBetween val="between"/>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986522911051212"/>
          <c:y val="4.9695740365111561E-2"/>
          <c:w val="0.82210242587601079"/>
          <c:h val="0.90060851926977692"/>
        </c:manualLayout>
      </c:layout>
      <c:barChart>
        <c:barDir val="col"/>
        <c:grouping val="stacked"/>
        <c:varyColors val="0"/>
        <c:ser>
          <c:idx val="0"/>
          <c:order val="0"/>
          <c:spPr>
            <a:noFill/>
            <a:ln w="6350" cmpd="sng" algn="ctr">
              <a:solidFill>
                <a:schemeClr val="bg1"/>
              </a:solidFill>
              <a:prstDash val="solid"/>
            </a:ln>
          </c:spPr>
          <c:invertIfNegative val="0"/>
          <c:val>
            <c:numRef>
              <c:f>Sheet1!$A$1:$B$1</c:f>
              <c:numCache>
                <c:formatCode>General</c:formatCode>
                <c:ptCount val="2"/>
                <c:pt idx="0">
                  <c:v>75</c:v>
                </c:pt>
                <c:pt idx="1">
                  <c:v>50</c:v>
                </c:pt>
              </c:numCache>
            </c:numRef>
          </c:val>
          <c:extLst>
            <c:ext xmlns:c16="http://schemas.microsoft.com/office/drawing/2014/chart" uri="{C3380CC4-5D6E-409C-BE32-E72D297353CC}">
              <c16:uniqueId val="{00000000-008A-407A-93E2-60E55E56D456}"/>
            </c:ext>
          </c:extLst>
        </c:ser>
        <c:ser>
          <c:idx val="1"/>
          <c:order val="1"/>
          <c:spPr>
            <a:solidFill>
              <a:schemeClr val="bg2"/>
            </a:solidFill>
            <a:ln>
              <a:noFill/>
            </a:ln>
          </c:spPr>
          <c:invertIfNegative val="0"/>
          <c:val>
            <c:numRef>
              <c:f>Sheet1!$A$2:$B$2</c:f>
              <c:numCache>
                <c:formatCode>General</c:formatCode>
                <c:ptCount val="2"/>
                <c:pt idx="0">
                  <c:v>50</c:v>
                </c:pt>
                <c:pt idx="1">
                  <c:v>50</c:v>
                </c:pt>
              </c:numCache>
            </c:numRef>
          </c:val>
          <c:extLst>
            <c:ext xmlns:c16="http://schemas.microsoft.com/office/drawing/2014/chart" uri="{C3380CC4-5D6E-409C-BE32-E72D297353CC}">
              <c16:uniqueId val="{00000001-008A-407A-93E2-60E55E56D456}"/>
            </c:ext>
          </c:extLst>
        </c:ser>
        <c:dLbls>
          <c:showLegendKey val="0"/>
          <c:showVal val="0"/>
          <c:showCatName val="0"/>
          <c:showSerName val="0"/>
          <c:showPercent val="0"/>
          <c:showBubbleSize val="0"/>
        </c:dLbls>
        <c:gapWidth val="200"/>
        <c:overlap val="100"/>
        <c:axId val="1100585615"/>
        <c:axId val="1"/>
      </c:barChart>
      <c:lineChart>
        <c:grouping val="standard"/>
        <c:varyColors val="0"/>
        <c:ser>
          <c:idx val="2"/>
          <c:order val="2"/>
          <c:spPr>
            <a:ln w="19050" cmpd="sng" algn="ctr">
              <a:solidFill>
                <a:schemeClr val="tx2"/>
              </a:solidFill>
              <a:prstDash val="solid"/>
            </a:ln>
          </c:spPr>
          <c:marker>
            <c:symbol val="none"/>
          </c:marker>
          <c:dPt>
            <c:idx val="0"/>
            <c:marker>
              <c:symbol val="square"/>
              <c:size val="6"/>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2-008A-407A-93E2-60E55E56D456}"/>
              </c:ext>
            </c:extLst>
          </c:dPt>
          <c:val>
            <c:numRef>
              <c:f>Sheet1!$A$3:$B$3</c:f>
              <c:numCache>
                <c:formatCode>General</c:formatCode>
                <c:ptCount val="2"/>
                <c:pt idx="0">
                  <c:v>129.88</c:v>
                </c:pt>
              </c:numCache>
            </c:numRef>
          </c:val>
          <c:smooth val="0"/>
          <c:extLst>
            <c:ext xmlns:c16="http://schemas.microsoft.com/office/drawing/2014/chart" uri="{C3380CC4-5D6E-409C-BE32-E72D297353CC}">
              <c16:uniqueId val="{00000003-008A-407A-93E2-60E55E56D456}"/>
            </c:ext>
          </c:extLst>
        </c:ser>
        <c:ser>
          <c:idx val="3"/>
          <c:order val="3"/>
          <c:spPr>
            <a:ln w="19050" cmpd="sng" algn="ctr">
              <a:solidFill>
                <a:schemeClr val="tx2"/>
              </a:solidFill>
              <a:prstDash val="solid"/>
            </a:ln>
          </c:spPr>
          <c:marker>
            <c:symbol val="none"/>
          </c:marker>
          <c:dPt>
            <c:idx val="0"/>
            <c:marker>
              <c:symbol val="square"/>
              <c:size val="6"/>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4-008A-407A-93E2-60E55E56D456}"/>
              </c:ext>
            </c:extLst>
          </c:dPt>
          <c:val>
            <c:numRef>
              <c:f>Sheet1!$A$4:$B$4</c:f>
              <c:numCache>
                <c:formatCode>General</c:formatCode>
                <c:ptCount val="2"/>
                <c:pt idx="0">
                  <c:v>87.61</c:v>
                </c:pt>
              </c:numCache>
            </c:numRef>
          </c:val>
          <c:smooth val="0"/>
          <c:extLst>
            <c:ext xmlns:c16="http://schemas.microsoft.com/office/drawing/2014/chart" uri="{C3380CC4-5D6E-409C-BE32-E72D297353CC}">
              <c16:uniqueId val="{00000005-008A-407A-93E2-60E55E56D456}"/>
            </c:ext>
          </c:extLst>
        </c:ser>
        <c:ser>
          <c:idx val="4"/>
          <c:order val="4"/>
          <c:spPr>
            <a:ln w="19050" cmpd="sng" algn="ctr">
              <a:solidFill>
                <a:schemeClr val="tx2"/>
              </a:solidFill>
              <a:prstDash val="solid"/>
            </a:ln>
          </c:spPr>
          <c:marker>
            <c:symbol val="none"/>
          </c:marker>
          <c:dPt>
            <c:idx val="0"/>
            <c:marker>
              <c:symbol val="square"/>
              <c:size val="6"/>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6-008A-407A-93E2-60E55E56D456}"/>
              </c:ext>
            </c:extLst>
          </c:dPt>
          <c:val>
            <c:numRef>
              <c:f>Sheet1!$A$5:$B$5</c:f>
              <c:numCache>
                <c:formatCode>General</c:formatCode>
                <c:ptCount val="2"/>
                <c:pt idx="0">
                  <c:v>86.52</c:v>
                </c:pt>
              </c:numCache>
            </c:numRef>
          </c:val>
          <c:smooth val="0"/>
          <c:extLst>
            <c:ext xmlns:c16="http://schemas.microsoft.com/office/drawing/2014/chart" uri="{C3380CC4-5D6E-409C-BE32-E72D297353CC}">
              <c16:uniqueId val="{00000007-008A-407A-93E2-60E55E56D456}"/>
            </c:ext>
          </c:extLst>
        </c:ser>
        <c:ser>
          <c:idx val="5"/>
          <c:order val="5"/>
          <c:spPr>
            <a:ln w="19050" cmpd="sng" algn="ctr">
              <a:solidFill>
                <a:schemeClr val="tx2"/>
              </a:solidFill>
              <a:prstDash val="solid"/>
            </a:ln>
          </c:spPr>
          <c:marker>
            <c:symbol val="none"/>
          </c:marker>
          <c:dPt>
            <c:idx val="0"/>
            <c:marker>
              <c:symbol val="square"/>
              <c:size val="6"/>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8-008A-407A-93E2-60E55E56D456}"/>
              </c:ext>
            </c:extLst>
          </c:dPt>
          <c:val>
            <c:numRef>
              <c:f>Sheet1!$A$6:$B$6</c:f>
              <c:numCache>
                <c:formatCode>General</c:formatCode>
                <c:ptCount val="2"/>
                <c:pt idx="0">
                  <c:v>39.96</c:v>
                </c:pt>
              </c:numCache>
            </c:numRef>
          </c:val>
          <c:smooth val="0"/>
          <c:extLst>
            <c:ext xmlns:c16="http://schemas.microsoft.com/office/drawing/2014/chart" uri="{C3380CC4-5D6E-409C-BE32-E72D297353CC}">
              <c16:uniqueId val="{00000009-008A-407A-93E2-60E55E56D456}"/>
            </c:ext>
          </c:extLst>
        </c:ser>
        <c:ser>
          <c:idx val="6"/>
          <c:order val="6"/>
          <c:spPr>
            <a:ln w="19050" cmpd="sng" algn="ctr">
              <a:solidFill>
                <a:schemeClr val="tx2"/>
              </a:solidFill>
              <a:prstDash val="solid"/>
            </a:ln>
          </c:spPr>
          <c:marker>
            <c:symbol val="none"/>
          </c:marker>
          <c:dPt>
            <c:idx val="0"/>
            <c:marker>
              <c:symbol val="square"/>
              <c:size val="6"/>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A-008A-407A-93E2-60E55E56D456}"/>
              </c:ext>
            </c:extLst>
          </c:dPt>
          <c:val>
            <c:numRef>
              <c:f>Sheet1!$A$7:$B$7</c:f>
              <c:numCache>
                <c:formatCode>General</c:formatCode>
                <c:ptCount val="2"/>
                <c:pt idx="0">
                  <c:v>30.82</c:v>
                </c:pt>
              </c:numCache>
            </c:numRef>
          </c:val>
          <c:smooth val="0"/>
          <c:extLst>
            <c:ext xmlns:c16="http://schemas.microsoft.com/office/drawing/2014/chart" uri="{C3380CC4-5D6E-409C-BE32-E72D297353CC}">
              <c16:uniqueId val="{0000000B-008A-407A-93E2-60E55E56D456}"/>
            </c:ext>
          </c:extLst>
        </c:ser>
        <c:ser>
          <c:idx val="7"/>
          <c:order val="7"/>
          <c:spPr>
            <a:ln w="19050" cmpd="sng" algn="ctr">
              <a:solidFill>
                <a:schemeClr val="tx2"/>
              </a:solidFill>
              <a:prstDash val="solid"/>
            </a:ln>
          </c:spPr>
          <c:marker>
            <c:symbol val="none"/>
          </c:marker>
          <c:dPt>
            <c:idx val="0"/>
            <c:marker>
              <c:symbol val="square"/>
              <c:size val="6"/>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C-008A-407A-93E2-60E55E56D456}"/>
              </c:ext>
            </c:extLst>
          </c:dPt>
          <c:val>
            <c:numRef>
              <c:f>Sheet1!$A$8:$B$8</c:f>
              <c:numCache>
                <c:formatCode>General</c:formatCode>
                <c:ptCount val="2"/>
                <c:pt idx="0">
                  <c:v>9.1</c:v>
                </c:pt>
              </c:numCache>
            </c:numRef>
          </c:val>
          <c:smooth val="0"/>
          <c:extLst>
            <c:ext xmlns:c16="http://schemas.microsoft.com/office/drawing/2014/chart" uri="{C3380CC4-5D6E-409C-BE32-E72D297353CC}">
              <c16:uniqueId val="{0000000D-008A-407A-93E2-60E55E56D456}"/>
            </c:ext>
          </c:extLst>
        </c:ser>
        <c:ser>
          <c:idx val="8"/>
          <c:order val="8"/>
          <c:spPr>
            <a:ln w="19050" cmpd="sng" algn="ctr">
              <a:solidFill>
                <a:schemeClr val="tx2"/>
              </a:solidFill>
              <a:prstDash val="solid"/>
            </a:ln>
          </c:spPr>
          <c:marker>
            <c:symbol val="none"/>
          </c:marker>
          <c:dPt>
            <c:idx val="1"/>
            <c:marker>
              <c:symbol val="dash"/>
              <c:size val="7"/>
              <c:spPr>
                <a:solidFill>
                  <a:schemeClr val="tx2"/>
                </a:solidFill>
                <a:ln w="9525" cmpd="sng" algn="ctr">
                  <a:solidFill>
                    <a:schemeClr val="tx2"/>
                  </a:solidFill>
                  <a:prstDash val="solid"/>
                </a:ln>
              </c:spPr>
            </c:marker>
            <c:bubble3D val="0"/>
            <c:extLst>
              <c:ext xmlns:c16="http://schemas.microsoft.com/office/drawing/2014/chart" uri="{C3380CC4-5D6E-409C-BE32-E72D297353CC}">
                <c16:uniqueId val="{0000000E-008A-407A-93E2-60E55E56D456}"/>
              </c:ext>
            </c:extLst>
          </c:dPt>
          <c:val>
            <c:numRef>
              <c:f>Sheet1!$A$9:$B$9</c:f>
              <c:numCache>
                <c:formatCode>General</c:formatCode>
                <c:ptCount val="2"/>
                <c:pt idx="1">
                  <c:v>90</c:v>
                </c:pt>
              </c:numCache>
            </c:numRef>
          </c:val>
          <c:smooth val="0"/>
          <c:extLst>
            <c:ext xmlns:c16="http://schemas.microsoft.com/office/drawing/2014/chart" uri="{C3380CC4-5D6E-409C-BE32-E72D297353CC}">
              <c16:uniqueId val="{0000000F-008A-407A-93E2-60E55E56D456}"/>
            </c:ext>
          </c:extLst>
        </c:ser>
        <c:ser>
          <c:idx val="9"/>
          <c:order val="9"/>
          <c:spPr>
            <a:ln w="19050" cmpd="sng" algn="ctr">
              <a:solidFill>
                <a:schemeClr val="tx2"/>
              </a:solidFill>
              <a:prstDash val="solid"/>
            </a:ln>
          </c:spPr>
          <c:marker>
            <c:symbol val="none"/>
          </c:marker>
          <c:val>
            <c:numRef>
              <c:f>Sheet1!$A$10:$B$10</c:f>
              <c:numCache>
                <c:formatCode>General</c:formatCode>
                <c:ptCount val="2"/>
                <c:pt idx="1">
                  <c:v>130</c:v>
                </c:pt>
              </c:numCache>
            </c:numRef>
          </c:val>
          <c:smooth val="0"/>
          <c:extLst>
            <c:ext xmlns:c16="http://schemas.microsoft.com/office/drawing/2014/chart" uri="{C3380CC4-5D6E-409C-BE32-E72D297353CC}">
              <c16:uniqueId val="{00000010-008A-407A-93E2-60E55E56D456}"/>
            </c:ext>
          </c:extLst>
        </c:ser>
        <c:dLbls>
          <c:showLegendKey val="0"/>
          <c:showVal val="0"/>
          <c:showCatName val="0"/>
          <c:showSerName val="0"/>
          <c:showPercent val="0"/>
          <c:showBubbleSize val="0"/>
        </c:dLbls>
        <c:marker val="1"/>
        <c:smooth val="0"/>
        <c:axId val="1100585615"/>
        <c:axId val="1"/>
      </c:lineChart>
      <c:catAx>
        <c:axId val="1100585615"/>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40"/>
          <c:min val="0"/>
        </c:scaling>
        <c:delete val="0"/>
        <c:axPos val="l"/>
        <c:majorGridlines>
          <c:spPr>
            <a:ln>
              <a:noFill/>
            </a:ln>
          </c:spPr>
        </c:majorGridlines>
        <c:numFmt formatCode="#,##0;&quot;-&quot;#,##0" sourceLinked="0"/>
        <c:majorTickMark val="out"/>
        <c:minorTickMark val="none"/>
        <c:tickLblPos val="nextTo"/>
        <c:spPr>
          <a:ln w="6350" cmpd="sng" algn="ctr">
            <a:solidFill>
              <a:schemeClr val="tx1"/>
            </a:solidFill>
            <a:prstDash val="solid"/>
          </a:ln>
        </c:spPr>
        <c:txPr>
          <a:bodyPr wrap="none"/>
          <a:lstStyle/>
          <a:p>
            <a:pPr>
              <a:defRPr sz="1000" kern="1200">
                <a:solidFill>
                  <a:schemeClr val="tx1"/>
                </a:solidFill>
                <a:latin typeface="+mn-lt"/>
                <a:ea typeface="+mn-ea"/>
                <a:cs typeface="+mn-cs"/>
              </a:defRPr>
            </a:pPr>
            <a:endParaRPr lang="it-IT"/>
          </a:p>
        </c:txPr>
        <c:crossAx val="1100585615"/>
        <c:crosses val="min"/>
        <c:crossBetween val="between"/>
        <c:majorUnit val="2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24423403738771E-2"/>
          <c:y val="3.5788024776324846E-2"/>
          <c:w val="0.97475115319252248"/>
          <c:h val="0.92842395044735027"/>
        </c:manualLayout>
      </c:layout>
      <c:barChart>
        <c:barDir val="col"/>
        <c:grouping val="stacked"/>
        <c:varyColors val="0"/>
        <c:ser>
          <c:idx val="0"/>
          <c:order val="0"/>
          <c:spPr>
            <a:solidFill>
              <a:schemeClr val="accent6"/>
            </a:solidFill>
            <a:ln w="6350" cmpd="sng" algn="ctr">
              <a:solidFill>
                <a:schemeClr val="bg1"/>
              </a:solidFill>
              <a:prstDash val="solid"/>
            </a:ln>
          </c:spPr>
          <c:invertIfNegative val="0"/>
          <c:val>
            <c:numRef>
              <c:f>Sheet1!$A$1:$E$1</c:f>
              <c:numCache>
                <c:formatCode>General</c:formatCode>
                <c:ptCount val="5"/>
                <c:pt idx="0">
                  <c:v>110</c:v>
                </c:pt>
                <c:pt idx="1">
                  <c:v>95</c:v>
                </c:pt>
                <c:pt idx="2">
                  <c:v>140</c:v>
                </c:pt>
                <c:pt idx="3">
                  <c:v>145</c:v>
                </c:pt>
                <c:pt idx="4">
                  <c:v>150</c:v>
                </c:pt>
              </c:numCache>
            </c:numRef>
          </c:val>
          <c:extLst>
            <c:ext xmlns:c16="http://schemas.microsoft.com/office/drawing/2014/chart" uri="{C3380CC4-5D6E-409C-BE32-E72D297353CC}">
              <c16:uniqueId val="{00000000-4CD0-4873-9142-B949949CE898}"/>
            </c:ext>
          </c:extLst>
        </c:ser>
        <c:ser>
          <c:idx val="1"/>
          <c:order val="1"/>
          <c:spPr>
            <a:solidFill>
              <a:schemeClr val="accent4"/>
            </a:solidFill>
            <a:ln w="6350" cmpd="sng" algn="ctr">
              <a:solidFill>
                <a:schemeClr val="bg1"/>
              </a:solidFill>
              <a:prstDash val="solid"/>
            </a:ln>
          </c:spPr>
          <c:invertIfNegative val="0"/>
          <c:val>
            <c:numRef>
              <c:f>Sheet1!$A$2:$E$2</c:f>
              <c:numCache>
                <c:formatCode>General</c:formatCode>
                <c:ptCount val="5"/>
                <c:pt idx="0">
                  <c:v>110</c:v>
                </c:pt>
                <c:pt idx="1">
                  <c:v>95</c:v>
                </c:pt>
                <c:pt idx="2">
                  <c:v>130</c:v>
                </c:pt>
                <c:pt idx="3">
                  <c:v>135</c:v>
                </c:pt>
                <c:pt idx="4">
                  <c:v>155</c:v>
                </c:pt>
              </c:numCache>
            </c:numRef>
          </c:val>
          <c:extLst>
            <c:ext xmlns:c16="http://schemas.microsoft.com/office/drawing/2014/chart" uri="{C3380CC4-5D6E-409C-BE32-E72D297353CC}">
              <c16:uniqueId val="{00000001-4CD0-4873-9142-B949949CE898}"/>
            </c:ext>
          </c:extLst>
        </c:ser>
        <c:ser>
          <c:idx val="2"/>
          <c:order val="2"/>
          <c:spPr>
            <a:solidFill>
              <a:schemeClr val="accent3"/>
            </a:solidFill>
            <a:ln w="6350" cmpd="sng" algn="ctr">
              <a:solidFill>
                <a:schemeClr val="bg1"/>
              </a:solidFill>
              <a:prstDash val="solid"/>
            </a:ln>
          </c:spPr>
          <c:invertIfNegative val="0"/>
          <c:val>
            <c:numRef>
              <c:f>Sheet1!$A$3:$E$3</c:f>
              <c:numCache>
                <c:formatCode>General</c:formatCode>
                <c:ptCount val="5"/>
                <c:pt idx="0">
                  <c:v>130</c:v>
                </c:pt>
                <c:pt idx="1">
                  <c:v>85</c:v>
                </c:pt>
                <c:pt idx="2">
                  <c:v>100</c:v>
                </c:pt>
                <c:pt idx="3">
                  <c:v>100</c:v>
                </c:pt>
                <c:pt idx="4">
                  <c:v>110</c:v>
                </c:pt>
              </c:numCache>
            </c:numRef>
          </c:val>
          <c:extLst>
            <c:ext xmlns:c16="http://schemas.microsoft.com/office/drawing/2014/chart" uri="{C3380CC4-5D6E-409C-BE32-E72D297353CC}">
              <c16:uniqueId val="{00000002-4CD0-4873-9142-B949949CE898}"/>
            </c:ext>
          </c:extLst>
        </c:ser>
        <c:ser>
          <c:idx val="3"/>
          <c:order val="3"/>
          <c:spPr>
            <a:solidFill>
              <a:schemeClr val="accent2"/>
            </a:solidFill>
            <a:ln w="6350" cmpd="sng" algn="ctr">
              <a:solidFill>
                <a:schemeClr val="bg1"/>
              </a:solidFill>
              <a:prstDash val="solid"/>
            </a:ln>
          </c:spPr>
          <c:invertIfNegative val="0"/>
          <c:val>
            <c:numRef>
              <c:f>Sheet1!$A$4:$E$4</c:f>
              <c:numCache>
                <c:formatCode>General</c:formatCode>
                <c:ptCount val="5"/>
                <c:pt idx="0">
                  <c:v>105</c:v>
                </c:pt>
                <c:pt idx="1">
                  <c:v>65</c:v>
                </c:pt>
                <c:pt idx="2">
                  <c:v>90</c:v>
                </c:pt>
                <c:pt idx="3">
                  <c:v>95</c:v>
                </c:pt>
                <c:pt idx="4">
                  <c:v>85</c:v>
                </c:pt>
              </c:numCache>
            </c:numRef>
          </c:val>
          <c:extLst>
            <c:ext xmlns:c16="http://schemas.microsoft.com/office/drawing/2014/chart" uri="{C3380CC4-5D6E-409C-BE32-E72D297353CC}">
              <c16:uniqueId val="{00000003-4CD0-4873-9142-B949949CE898}"/>
            </c:ext>
          </c:extLst>
        </c:ser>
        <c:ser>
          <c:idx val="4"/>
          <c:order val="4"/>
          <c:spPr>
            <a:solidFill>
              <a:schemeClr val="accent1"/>
            </a:solidFill>
            <a:ln w="6350" cmpd="sng" algn="ctr">
              <a:solidFill>
                <a:schemeClr val="bg1"/>
              </a:solidFill>
              <a:prstDash val="solid"/>
            </a:ln>
          </c:spPr>
          <c:invertIfNegative val="0"/>
          <c:val>
            <c:numRef>
              <c:f>Sheet1!$A$5:$E$5</c:f>
              <c:numCache>
                <c:formatCode>General</c:formatCode>
                <c:ptCount val="5"/>
                <c:pt idx="0">
                  <c:v>75</c:v>
                </c:pt>
                <c:pt idx="1">
                  <c:v>50</c:v>
                </c:pt>
                <c:pt idx="2">
                  <c:v>55</c:v>
                </c:pt>
                <c:pt idx="3">
                  <c:v>55</c:v>
                </c:pt>
                <c:pt idx="4">
                  <c:v>65</c:v>
                </c:pt>
              </c:numCache>
            </c:numRef>
          </c:val>
          <c:extLst>
            <c:ext xmlns:c16="http://schemas.microsoft.com/office/drawing/2014/chart" uri="{C3380CC4-5D6E-409C-BE32-E72D297353CC}">
              <c16:uniqueId val="{00000004-4CD0-4873-9142-B949949CE898}"/>
            </c:ext>
          </c:extLst>
        </c:ser>
        <c:ser>
          <c:idx val="5"/>
          <c:order val="5"/>
          <c:spPr>
            <a:solidFill>
              <a:schemeClr val="tx2"/>
            </a:solidFill>
            <a:ln w="6350" cmpd="sng" algn="ctr">
              <a:solidFill>
                <a:schemeClr val="bg1"/>
              </a:solidFill>
              <a:prstDash val="solid"/>
            </a:ln>
          </c:spPr>
          <c:invertIfNegative val="0"/>
          <c:val>
            <c:numRef>
              <c:f>Sheet1!$A$6:$E$6</c:f>
              <c:numCache>
                <c:formatCode>General</c:formatCode>
                <c:ptCount val="5"/>
                <c:pt idx="0">
                  <c:v>30</c:v>
                </c:pt>
                <c:pt idx="1">
                  <c:v>20</c:v>
                </c:pt>
                <c:pt idx="2">
                  <c:v>40</c:v>
                </c:pt>
                <c:pt idx="3">
                  <c:v>40</c:v>
                </c:pt>
                <c:pt idx="4">
                  <c:v>40</c:v>
                </c:pt>
              </c:numCache>
            </c:numRef>
          </c:val>
          <c:extLst>
            <c:ext xmlns:c16="http://schemas.microsoft.com/office/drawing/2014/chart" uri="{C3380CC4-5D6E-409C-BE32-E72D297353CC}">
              <c16:uniqueId val="{00000005-4CD0-4873-9142-B949949CE898}"/>
            </c:ext>
          </c:extLst>
        </c:ser>
        <c:dLbls>
          <c:showLegendKey val="0"/>
          <c:showVal val="0"/>
          <c:showCatName val="0"/>
          <c:showSerName val="0"/>
          <c:showPercent val="0"/>
          <c:showBubbleSize val="0"/>
        </c:dLbls>
        <c:gapWidth val="70"/>
        <c:overlap val="100"/>
        <c:axId val="1659123711"/>
        <c:axId val="1"/>
      </c:barChart>
      <c:catAx>
        <c:axId val="1659123711"/>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605"/>
          <c:min val="0"/>
        </c:scaling>
        <c:delete val="1"/>
        <c:axPos val="l"/>
        <c:numFmt formatCode="General" sourceLinked="1"/>
        <c:majorTickMark val="out"/>
        <c:minorTickMark val="none"/>
        <c:tickLblPos val="nextTo"/>
        <c:crossAx val="1659123711"/>
        <c:crosses val="min"/>
        <c:crossBetween val="between"/>
      </c:valAx>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679012345679011E-2"/>
          <c:y val="0.12802582033351265"/>
          <c:w val="0.94864197530864203"/>
          <c:h val="0.78160301237224317"/>
        </c:manualLayout>
      </c:layout>
      <c:barChart>
        <c:barDir val="col"/>
        <c:grouping val="stacked"/>
        <c:varyColors val="0"/>
        <c:ser>
          <c:idx val="0"/>
          <c:order val="0"/>
          <c:spPr>
            <a:solidFill>
              <a:schemeClr val="accent4"/>
            </a:solidFill>
            <a:ln w="9525" cmpd="sng" algn="ctr">
              <a:solidFill>
                <a:schemeClr val="bg1"/>
              </a:solidFill>
              <a:prstDash val="solid"/>
            </a:ln>
          </c:spPr>
          <c:invertIfNegative val="0"/>
          <c:dLbls>
            <c:dLbl>
              <c:idx val="0"/>
              <c:layout>
                <c:manualLayout>
                  <c:x val="0"/>
                  <c:y val="-0.1705217859064013"/>
                </c:manualLayout>
              </c:layout>
              <c:numFmt formatCode="#,##0;&quot;-&quot;#,##0" sourceLinked="0"/>
              <c:spPr>
                <a:noFill/>
                <a:ln>
                  <a:noFill/>
                </a:ln>
              </c:spPr>
              <c:txPr>
                <a:bodyPr wrap="none"/>
                <a:lstStyle/>
                <a:p>
                  <a:pPr>
                    <a:defRPr sz="12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B43-43DE-A829-D8827F8E8117}"/>
                </c:ext>
              </c:extLst>
            </c:dLbl>
            <c:dLbl>
              <c:idx val="1"/>
              <c:layout>
                <c:manualLayout>
                  <c:x val="0"/>
                  <c:y val="-0.30984400215169444"/>
                </c:manualLayout>
              </c:layout>
              <c:numFmt formatCode="#,##0;&quot;-&quot;#,##0" sourceLinked="0"/>
              <c:spPr>
                <a:noFill/>
                <a:ln>
                  <a:noFill/>
                </a:ln>
              </c:spPr>
              <c:txPr>
                <a:bodyPr wrap="none"/>
                <a:lstStyle/>
                <a:p>
                  <a:pPr>
                    <a:defRPr sz="12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B43-43DE-A829-D8827F8E8117}"/>
                </c:ext>
              </c:extLst>
            </c:dLbl>
            <c:dLbl>
              <c:idx val="2"/>
              <c:layout>
                <c:manualLayout>
                  <c:x val="0"/>
                  <c:y val="-0.42926304464766002"/>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43-43DE-A829-D8827F8E8117}"/>
                </c:ext>
              </c:extLst>
            </c:dLbl>
            <c:dLbl>
              <c:idx val="3"/>
              <c:layout>
                <c:manualLayout>
                  <c:x val="0"/>
                  <c:y val="-0.37547068316299087"/>
                </c:manualLayout>
              </c:layout>
              <c:numFmt formatCode="#,##0;&quot;-&quot;#,##0" sourceLinked="0"/>
              <c:spPr>
                <a:noFill/>
                <a:ln>
                  <a:noFill/>
                </a:ln>
              </c:spPr>
              <c:txPr>
                <a:bodyPr wrap="none"/>
                <a:lstStyle/>
                <a:p>
                  <a:pPr>
                    <a:defRPr sz="12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B43-43DE-A829-D8827F8E8117}"/>
                </c:ext>
              </c:extLst>
            </c:dLbl>
            <c:dLbl>
              <c:idx val="4"/>
              <c:layout>
                <c:manualLayout>
                  <c:x val="0"/>
                  <c:y val="-0.33136094674556216"/>
                </c:manualLayout>
              </c:layout>
              <c:numFmt formatCode="#,##0;&quot;-&quot;#,##0" sourceLinked="0"/>
              <c:spPr>
                <a:noFill/>
                <a:ln>
                  <a:noFill/>
                </a:ln>
              </c:spPr>
              <c:txPr>
                <a:bodyPr wrap="none"/>
                <a:lstStyle/>
                <a:p>
                  <a:pPr>
                    <a:defRPr sz="12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B43-43DE-A829-D8827F8E81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6.520000000000003</c:v>
                </c:pt>
                <c:pt idx="1">
                  <c:v>75</c:v>
                </c:pt>
                <c:pt idx="2">
                  <c:v>107.87</c:v>
                </c:pt>
                <c:pt idx="3">
                  <c:v>93</c:v>
                </c:pt>
                <c:pt idx="4">
                  <c:v>81</c:v>
                </c:pt>
              </c:numCache>
            </c:numRef>
          </c:val>
          <c:extLst>
            <c:ext xmlns:c16="http://schemas.microsoft.com/office/drawing/2014/chart" uri="{C3380CC4-5D6E-409C-BE32-E72D297353CC}">
              <c16:uniqueId val="{00000005-EB43-43DE-A829-D8827F8E8117}"/>
            </c:ext>
          </c:extLst>
        </c:ser>
        <c:dLbls>
          <c:showLegendKey val="0"/>
          <c:showVal val="0"/>
          <c:showCatName val="0"/>
          <c:showSerName val="0"/>
          <c:showPercent val="0"/>
          <c:showBubbleSize val="0"/>
        </c:dLbls>
        <c:gapWidth val="70"/>
        <c:overlap val="100"/>
        <c:axId val="1052977263"/>
        <c:axId val="1"/>
      </c:barChart>
      <c:catAx>
        <c:axId val="1052977263"/>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07.87"/>
          <c:min val="0"/>
        </c:scaling>
        <c:delete val="1"/>
        <c:axPos val="l"/>
        <c:numFmt formatCode="General" sourceLinked="1"/>
        <c:majorTickMark val="out"/>
        <c:minorTickMark val="none"/>
        <c:tickLblPos val="nextTo"/>
        <c:crossAx val="1052977263"/>
        <c:crosses val="min"/>
        <c:crossBetween val="between"/>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929052304505437E-2"/>
          <c:y val="0.12802582033351265"/>
          <c:w val="0.94614189539098914"/>
          <c:h val="0.78160301237224317"/>
        </c:manualLayout>
      </c:layout>
      <c:barChart>
        <c:barDir val="col"/>
        <c:grouping val="stacked"/>
        <c:varyColors val="0"/>
        <c:ser>
          <c:idx val="0"/>
          <c:order val="0"/>
          <c:spPr>
            <a:solidFill>
              <a:schemeClr val="accent3"/>
            </a:solidFill>
            <a:ln w="9525" cmpd="sng" algn="ctr">
              <a:solidFill>
                <a:schemeClr val="bg1"/>
              </a:solidFill>
              <a:prstDash val="solid"/>
            </a:ln>
          </c:spPr>
          <c:invertIfNegative val="0"/>
          <c:dLbls>
            <c:dLbl>
              <c:idx val="0"/>
              <c:layout>
                <c:manualLayout>
                  <c:x val="0"/>
                  <c:y val="-0.42926304464766002"/>
                </c:manualLayout>
              </c:layout>
              <c:numFmt formatCode="#,##0;&quot;-&quot;#,##0" sourceLinked="0"/>
              <c:spPr>
                <a:noFill/>
                <a:ln>
                  <a:noFill/>
                </a:ln>
              </c:spPr>
              <c:txPr>
                <a:bodyPr wrap="none"/>
                <a:lstStyle/>
                <a:p>
                  <a:pPr>
                    <a:defRPr sz="12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9B6-4115-BCDB-B44AC20A4B8E}"/>
                </c:ext>
              </c:extLst>
            </c:dLbl>
            <c:dLbl>
              <c:idx val="1"/>
              <c:layout>
                <c:manualLayout>
                  <c:x val="0"/>
                  <c:y val="-0.22646584185045723"/>
                </c:manualLayout>
              </c:layout>
              <c:numFmt formatCode="#,##0;&quot;-&quot;#,##0" sourceLinked="0"/>
              <c:spPr>
                <a:noFill/>
                <a:ln>
                  <a:noFill/>
                </a:ln>
              </c:spPr>
              <c:txPr>
                <a:bodyPr wrap="none"/>
                <a:lstStyle/>
                <a:p>
                  <a:pPr>
                    <a:defRPr sz="12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9B6-4115-BCDB-B44AC20A4B8E}"/>
                </c:ext>
              </c:extLst>
            </c:dLbl>
            <c:dLbl>
              <c:idx val="2"/>
              <c:layout>
                <c:manualLayout>
                  <c:x val="0"/>
                  <c:y val="-0.21194190424959655"/>
                </c:manualLayout>
              </c:layout>
              <c:numFmt formatCode="#,##0;&quot;-&quot;#,##0" sourceLinked="0"/>
              <c:spPr>
                <a:noFill/>
                <a:ln>
                  <a:noFill/>
                </a:ln>
              </c:spPr>
              <c:txPr>
                <a:bodyPr wrap="none"/>
                <a:lstStyle/>
                <a:p>
                  <a:pPr>
                    <a:defRPr sz="12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9B6-4115-BCDB-B44AC20A4B8E}"/>
                </c:ext>
              </c:extLst>
            </c:dLbl>
            <c:dLbl>
              <c:idx val="3"/>
              <c:layout>
                <c:manualLayout>
                  <c:x val="0"/>
                  <c:y val="-8.1226465841850462E-2"/>
                </c:manualLayout>
              </c:layout>
              <c:numFmt formatCode="#,##0;&quot;-&quot;#,##0" sourceLinked="0"/>
              <c:spPr>
                <a:noFill/>
                <a:ln>
                  <a:noFill/>
                </a:ln>
              </c:spPr>
              <c:txPr>
                <a:bodyPr wrap="none"/>
                <a:lstStyle/>
                <a:p>
                  <a:pPr>
                    <a:defRPr sz="12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9B6-4115-BCDB-B44AC20A4B8E}"/>
                </c:ext>
              </c:extLst>
            </c:dLbl>
            <c:dLbl>
              <c:idx val="4"/>
              <c:layout>
                <c:manualLayout>
                  <c:x val="0"/>
                  <c:y val="-8.1226465841850462E-2"/>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9B6-4115-BCDB-B44AC20A4B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7</c:v>
                </c:pt>
                <c:pt idx="1">
                  <c:v>13</c:v>
                </c:pt>
                <c:pt idx="2">
                  <c:v>12</c:v>
                </c:pt>
                <c:pt idx="3">
                  <c:v>3</c:v>
                </c:pt>
                <c:pt idx="4">
                  <c:v>3</c:v>
                </c:pt>
              </c:numCache>
            </c:numRef>
          </c:val>
          <c:extLst>
            <c:ext xmlns:c16="http://schemas.microsoft.com/office/drawing/2014/chart" uri="{C3380CC4-5D6E-409C-BE32-E72D297353CC}">
              <c16:uniqueId val="{00000005-39B6-4115-BCDB-B44AC20A4B8E}"/>
            </c:ext>
          </c:extLst>
        </c:ser>
        <c:dLbls>
          <c:showLegendKey val="0"/>
          <c:showVal val="0"/>
          <c:showCatName val="0"/>
          <c:showSerName val="0"/>
          <c:showPercent val="0"/>
          <c:showBubbleSize val="0"/>
        </c:dLbls>
        <c:gapWidth val="70"/>
        <c:overlap val="100"/>
        <c:axId val="1052957311"/>
        <c:axId val="1"/>
      </c:barChart>
      <c:catAx>
        <c:axId val="1052957311"/>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27"/>
          <c:min val="0"/>
        </c:scaling>
        <c:delete val="1"/>
        <c:axPos val="l"/>
        <c:numFmt formatCode="General" sourceLinked="1"/>
        <c:majorTickMark val="out"/>
        <c:minorTickMark val="none"/>
        <c:tickLblPos val="nextTo"/>
        <c:crossAx val="1052957311"/>
        <c:crosses val="min"/>
        <c:crossBetween val="between"/>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514644351464432E-2"/>
          <c:y val="2.9936672423719057E-2"/>
          <c:w val="0.91297071129707108"/>
          <c:h val="0.94012665515256189"/>
        </c:manualLayout>
      </c:layout>
      <c:barChart>
        <c:barDir val="bar"/>
        <c:grouping val="stacked"/>
        <c:varyColors val="0"/>
        <c:ser>
          <c:idx val="0"/>
          <c:order val="0"/>
          <c:spPr>
            <a:solidFill>
              <a:schemeClr val="accent3"/>
            </a:solidFill>
            <a:ln>
              <a:noFill/>
            </a:ln>
          </c:spPr>
          <c:invertIfNegative val="0"/>
          <c:dPt>
            <c:idx val="0"/>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1-06AF-4B0B-B5EE-720E30F9B030}"/>
              </c:ext>
            </c:extLst>
          </c:dPt>
          <c:dPt>
            <c:idx val="1"/>
            <c:invertIfNegative val="0"/>
            <c:bubble3D val="0"/>
            <c:spPr>
              <a:solidFill>
                <a:schemeClr val="accent4"/>
              </a:solidFill>
              <a:ln>
                <a:noFill/>
              </a:ln>
            </c:spPr>
            <c:extLst>
              <c:ext xmlns:c16="http://schemas.microsoft.com/office/drawing/2014/chart" uri="{C3380CC4-5D6E-409C-BE32-E72D297353CC}">
                <c16:uniqueId val="{00000003-06AF-4B0B-B5EE-720E30F9B030}"/>
              </c:ext>
            </c:extLst>
          </c:dPt>
          <c:dPt>
            <c:idx val="3"/>
            <c:invertIfNegative val="0"/>
            <c:bubble3D val="0"/>
            <c:spPr>
              <a:solidFill>
                <a:schemeClr val="tx2"/>
              </a:solidFill>
              <a:ln>
                <a:noFill/>
              </a:ln>
            </c:spPr>
            <c:extLst>
              <c:ext xmlns:c16="http://schemas.microsoft.com/office/drawing/2014/chart" uri="{C3380CC4-5D6E-409C-BE32-E72D297353CC}">
                <c16:uniqueId val="{00000005-06AF-4B0B-B5EE-720E30F9B030}"/>
              </c:ext>
            </c:extLst>
          </c:dPt>
          <c:val>
            <c:numRef>
              <c:f>Sheet1!$A$1:$D$1</c:f>
              <c:numCache>
                <c:formatCode>General</c:formatCode>
                <c:ptCount val="4"/>
                <c:pt idx="0">
                  <c:v>-2</c:v>
                </c:pt>
                <c:pt idx="1">
                  <c:v>-6.93</c:v>
                </c:pt>
                <c:pt idx="2">
                  <c:v>-14.31</c:v>
                </c:pt>
                <c:pt idx="3">
                  <c:v>16.47038347740326</c:v>
                </c:pt>
              </c:numCache>
            </c:numRef>
          </c:val>
          <c:extLst>
            <c:ext xmlns:c16="http://schemas.microsoft.com/office/drawing/2014/chart" uri="{C3380CC4-5D6E-409C-BE32-E72D297353CC}">
              <c16:uniqueId val="{00000006-06AF-4B0B-B5EE-720E30F9B030}"/>
            </c:ext>
          </c:extLst>
        </c:ser>
        <c:dLbls>
          <c:showLegendKey val="0"/>
          <c:showVal val="0"/>
          <c:showCatName val="0"/>
          <c:showSerName val="0"/>
          <c:showPercent val="0"/>
          <c:showBubbleSize val="0"/>
        </c:dLbls>
        <c:gapWidth val="70"/>
        <c:overlap val="100"/>
        <c:axId val="1100545711"/>
        <c:axId val="1"/>
      </c:barChart>
      <c:catAx>
        <c:axId val="1100545711"/>
        <c:scaling>
          <c:orientation val="maxMin"/>
        </c:scaling>
        <c:delete val="0"/>
        <c:axPos val="l"/>
        <c:majorGridlines>
          <c:spPr>
            <a:ln>
              <a:noFill/>
            </a:ln>
          </c:spPr>
        </c:majorGridlines>
        <c:majorTickMark val="none"/>
        <c:minorTickMark val="none"/>
        <c:tickLblPos val="none"/>
        <c:spPr>
          <a:ln w="6350" cmpd="sng" algn="ctr">
            <a:solidFill>
              <a:schemeClr val="tx1"/>
            </a:solidFill>
            <a:prstDash val="solid"/>
          </a:ln>
        </c:spPr>
        <c:crossAx val="1"/>
        <c:crossesAt val="0"/>
        <c:auto val="0"/>
        <c:lblAlgn val="ctr"/>
        <c:lblOffset val="100"/>
        <c:noMultiLvlLbl val="0"/>
      </c:catAx>
      <c:valAx>
        <c:axId val="1"/>
        <c:scaling>
          <c:orientation val="minMax"/>
          <c:max val="16.47038347740326"/>
          <c:min val="-14.31"/>
        </c:scaling>
        <c:delete val="1"/>
        <c:axPos val="t"/>
        <c:numFmt formatCode="General" sourceLinked="1"/>
        <c:majorTickMark val="out"/>
        <c:minorTickMark val="none"/>
        <c:tickLblPos val="nextTo"/>
        <c:crossAx val="1100545711"/>
        <c:crosses val="min"/>
        <c:crossBetween val="between"/>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186134137151468E-2"/>
          <c:y val="6.821787414066631E-2"/>
          <c:w val="0.8229088168801808"/>
          <c:h val="0.86356425171866735"/>
        </c:manualLayout>
      </c:layout>
      <c:barChart>
        <c:barDir val="bar"/>
        <c:grouping val="stacked"/>
        <c:varyColors val="0"/>
        <c:ser>
          <c:idx val="0"/>
          <c:order val="0"/>
          <c:spPr>
            <a:solidFill>
              <a:schemeClr val="accent3"/>
            </a:solidFill>
            <a:ln>
              <a:noFill/>
            </a:ln>
          </c:spPr>
          <c:invertIfNegative val="0"/>
          <c:dPt>
            <c:idx val="0"/>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1-2E47-4B32-8F4A-8B3433A04E61}"/>
              </c:ext>
            </c:extLst>
          </c:dPt>
          <c:dPt>
            <c:idx val="1"/>
            <c:invertIfNegative val="0"/>
            <c:bubble3D val="0"/>
            <c:spPr>
              <a:solidFill>
                <a:schemeClr val="accent4"/>
              </a:solidFill>
              <a:ln>
                <a:noFill/>
              </a:ln>
            </c:spPr>
            <c:extLst>
              <c:ext xmlns:c16="http://schemas.microsoft.com/office/drawing/2014/chart" uri="{C3380CC4-5D6E-409C-BE32-E72D297353CC}">
                <c16:uniqueId val="{00000003-2E47-4B32-8F4A-8B3433A04E61}"/>
              </c:ext>
            </c:extLst>
          </c:dPt>
          <c:dPt>
            <c:idx val="3"/>
            <c:invertIfNegative val="0"/>
            <c:bubble3D val="0"/>
            <c:spPr>
              <a:solidFill>
                <a:schemeClr val="tx2"/>
              </a:solidFill>
              <a:ln>
                <a:noFill/>
              </a:ln>
            </c:spPr>
            <c:extLst>
              <c:ext xmlns:c16="http://schemas.microsoft.com/office/drawing/2014/chart" uri="{C3380CC4-5D6E-409C-BE32-E72D297353CC}">
                <c16:uniqueId val="{00000005-2E47-4B32-8F4A-8B3433A04E61}"/>
              </c:ext>
            </c:extLst>
          </c:dPt>
          <c:dLbls>
            <c:dLbl>
              <c:idx val="0"/>
              <c:layout>
                <c:manualLayout>
                  <c:x val="0.28862094951017331"/>
                  <c:y val="0"/>
                </c:manualLayout>
              </c:layout>
              <c:numFmt formatCode="#,##0&quot;%&quot;;&quot;-&quot;#,##0&quot;%&quot;" sourceLinked="0"/>
              <c:spPr>
                <a:noFill/>
                <a:ln>
                  <a:noFill/>
                </a:ln>
              </c:spPr>
              <c:txPr>
                <a:bodyPr wrap="none"/>
                <a:lstStyle/>
                <a:p>
                  <a:pPr>
                    <a:defRPr sz="900" b="1"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E47-4B32-8F4A-8B3433A04E61}"/>
                </c:ext>
              </c:extLst>
            </c:dLbl>
            <c:dLbl>
              <c:idx val="1"/>
              <c:layout>
                <c:manualLayout>
                  <c:x val="0.13941220798794274"/>
                  <c:y val="0"/>
                </c:manualLayout>
              </c:layout>
              <c:numFmt formatCode="#,##0&quot;%&quot;;&quot;-&quot;#,##0&quot;%&quot;" sourceLinked="0"/>
              <c:spPr>
                <a:noFill/>
                <a:ln>
                  <a:noFill/>
                </a:ln>
              </c:spPr>
              <c:txPr>
                <a:bodyPr wrap="none"/>
                <a:lstStyle/>
                <a:p>
                  <a:pPr>
                    <a:defRPr sz="9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E47-4B32-8F4A-8B3433A04E61}"/>
                </c:ext>
              </c:extLst>
            </c:dLbl>
            <c:dLbl>
              <c:idx val="2"/>
              <c:layout>
                <c:manualLayout>
                  <c:x val="6.5561416729464958E-2"/>
                  <c:y val="0"/>
                </c:manualLayout>
              </c:layout>
              <c:numFmt formatCode="#,##0&quot;%&quot;;&quot;-&quot;#,##0&quot;%&quot;" sourceLinked="0"/>
              <c:spPr>
                <a:noFill/>
                <a:ln>
                  <a:noFill/>
                </a:ln>
              </c:spPr>
              <c:txPr>
                <a:bodyPr wrap="none"/>
                <a:lstStyle/>
                <a:p>
                  <a:pPr>
                    <a:defRPr sz="9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E47-4B32-8F4A-8B3433A04E61}"/>
                </c:ext>
              </c:extLst>
            </c:dLbl>
            <c:dLbl>
              <c:idx val="3"/>
              <c:layout>
                <c:manualLayout>
                  <c:x val="0.10474755086661643"/>
                  <c:y val="0"/>
                </c:manualLayout>
              </c:layout>
              <c:numFmt formatCode="#,##0&quot;%&quot;;&quot;-&quot;#,##0&quot;%&quot;" sourceLinked="0"/>
              <c:spPr>
                <a:noFill/>
                <a:ln>
                  <a:noFill/>
                </a:ln>
              </c:spPr>
              <c:txPr>
                <a:bodyPr wrap="none"/>
                <a:lstStyle/>
                <a:p>
                  <a:pPr>
                    <a:defRPr sz="9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E47-4B32-8F4A-8B3433A04E6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6</c:v>
                </c:pt>
                <c:pt idx="1">
                  <c:v>6</c:v>
                </c:pt>
                <c:pt idx="2">
                  <c:v>0.45783363618009293</c:v>
                </c:pt>
                <c:pt idx="3">
                  <c:v>3.3794106406759497</c:v>
                </c:pt>
              </c:numCache>
            </c:numRef>
          </c:val>
          <c:extLst>
            <c:ext xmlns:c16="http://schemas.microsoft.com/office/drawing/2014/chart" uri="{C3380CC4-5D6E-409C-BE32-E72D297353CC}">
              <c16:uniqueId val="{00000007-2E47-4B32-8F4A-8B3433A04E61}"/>
            </c:ext>
          </c:extLst>
        </c:ser>
        <c:dLbls>
          <c:showLegendKey val="0"/>
          <c:showVal val="0"/>
          <c:showCatName val="0"/>
          <c:showSerName val="0"/>
          <c:showPercent val="0"/>
          <c:showBubbleSize val="0"/>
        </c:dLbls>
        <c:gapWidth val="70"/>
        <c:overlap val="100"/>
        <c:axId val="1100544783"/>
        <c:axId val="1"/>
      </c:barChart>
      <c:catAx>
        <c:axId val="1100544783"/>
        <c:scaling>
          <c:orientation val="maxMin"/>
        </c:scaling>
        <c:delete val="0"/>
        <c:axPos val="l"/>
        <c:majorGridlines>
          <c:spPr>
            <a:ln>
              <a:noFill/>
            </a:ln>
          </c:spPr>
        </c:majorGridlines>
        <c:majorTickMark val="none"/>
        <c:minorTickMark val="none"/>
        <c:tickLblPos val="none"/>
        <c:spPr>
          <a:ln w="6350" cmpd="sng" algn="ctr">
            <a:solidFill>
              <a:schemeClr val="tx1"/>
            </a:solidFill>
            <a:prstDash val="solid"/>
          </a:ln>
        </c:spPr>
        <c:crossAx val="1"/>
        <c:crossesAt val="0"/>
        <c:auto val="0"/>
        <c:lblAlgn val="ctr"/>
        <c:lblOffset val="100"/>
        <c:noMultiLvlLbl val="0"/>
      </c:catAx>
      <c:valAx>
        <c:axId val="1"/>
        <c:scaling>
          <c:orientation val="minMax"/>
          <c:max val="16.47038347740326"/>
          <c:min val="-14.31"/>
        </c:scaling>
        <c:delete val="1"/>
        <c:axPos val="t"/>
        <c:numFmt formatCode="General" sourceLinked="1"/>
        <c:majorTickMark val="out"/>
        <c:minorTickMark val="none"/>
        <c:tickLblPos val="nextTo"/>
        <c:crossAx val="1100544783"/>
        <c:crosses val="min"/>
        <c:crossBetween val="between"/>
      </c:valAx>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514644351464432E-2"/>
          <c:y val="2.9936672423719057E-2"/>
          <c:w val="0.91297071129707108"/>
          <c:h val="0.94012665515256189"/>
        </c:manualLayout>
      </c:layout>
      <c:barChart>
        <c:barDir val="bar"/>
        <c:grouping val="stacked"/>
        <c:varyColors val="0"/>
        <c:ser>
          <c:idx val="0"/>
          <c:order val="0"/>
          <c:spPr>
            <a:solidFill>
              <a:schemeClr val="accent3"/>
            </a:solidFill>
            <a:ln>
              <a:noFill/>
            </a:ln>
          </c:spPr>
          <c:invertIfNegative val="0"/>
          <c:dPt>
            <c:idx val="0"/>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1-7E98-48B9-8BD6-312908EF01AB}"/>
              </c:ext>
            </c:extLst>
          </c:dPt>
          <c:dPt>
            <c:idx val="1"/>
            <c:invertIfNegative val="0"/>
            <c:bubble3D val="0"/>
            <c:spPr>
              <a:solidFill>
                <a:schemeClr val="accent4"/>
              </a:solidFill>
              <a:ln>
                <a:noFill/>
              </a:ln>
            </c:spPr>
            <c:extLst>
              <c:ext xmlns:c16="http://schemas.microsoft.com/office/drawing/2014/chart" uri="{C3380CC4-5D6E-409C-BE32-E72D297353CC}">
                <c16:uniqueId val="{00000003-7E98-48B9-8BD6-312908EF01AB}"/>
              </c:ext>
            </c:extLst>
          </c:dPt>
          <c:dPt>
            <c:idx val="3"/>
            <c:invertIfNegative val="0"/>
            <c:bubble3D val="0"/>
            <c:spPr>
              <a:solidFill>
                <a:schemeClr val="tx2"/>
              </a:solidFill>
              <a:ln>
                <a:noFill/>
              </a:ln>
            </c:spPr>
            <c:extLst>
              <c:ext xmlns:c16="http://schemas.microsoft.com/office/drawing/2014/chart" uri="{C3380CC4-5D6E-409C-BE32-E72D297353CC}">
                <c16:uniqueId val="{00000005-7E98-48B9-8BD6-312908EF01AB}"/>
              </c:ext>
            </c:extLst>
          </c:dPt>
          <c:val>
            <c:numRef>
              <c:f>Sheet1!$A$1:$D$1</c:f>
              <c:numCache>
                <c:formatCode>General</c:formatCode>
                <c:ptCount val="4"/>
                <c:pt idx="0">
                  <c:v>3.8</c:v>
                </c:pt>
                <c:pt idx="1">
                  <c:v>3.5000000000000004</c:v>
                </c:pt>
                <c:pt idx="2">
                  <c:v>1.7000000000000002</c:v>
                </c:pt>
                <c:pt idx="3">
                  <c:v>3.5999999999999996</c:v>
                </c:pt>
              </c:numCache>
            </c:numRef>
          </c:val>
          <c:extLst>
            <c:ext xmlns:c16="http://schemas.microsoft.com/office/drawing/2014/chart" uri="{C3380CC4-5D6E-409C-BE32-E72D297353CC}">
              <c16:uniqueId val="{00000006-7E98-48B9-8BD6-312908EF01AB}"/>
            </c:ext>
          </c:extLst>
        </c:ser>
        <c:dLbls>
          <c:showLegendKey val="0"/>
          <c:showVal val="0"/>
          <c:showCatName val="0"/>
          <c:showSerName val="0"/>
          <c:showPercent val="0"/>
          <c:showBubbleSize val="0"/>
        </c:dLbls>
        <c:gapWidth val="70"/>
        <c:overlap val="100"/>
        <c:axId val="1100551279"/>
        <c:axId val="1"/>
      </c:barChart>
      <c:catAx>
        <c:axId val="1100551279"/>
        <c:scaling>
          <c:orientation val="maxMin"/>
        </c:scaling>
        <c:delete val="0"/>
        <c:axPos val="l"/>
        <c:majorGridlines>
          <c:spPr>
            <a:ln>
              <a:noFill/>
            </a:ln>
          </c:spPr>
        </c:majorGridlines>
        <c:majorTickMark val="none"/>
        <c:minorTickMark val="none"/>
        <c:tickLblPos val="none"/>
        <c:spPr>
          <a:ln w="6350" cmpd="sng" algn="ctr">
            <a:solidFill>
              <a:schemeClr val="tx1"/>
            </a:solidFill>
            <a:prstDash val="solid"/>
          </a:ln>
        </c:spPr>
        <c:crossAx val="1"/>
        <c:crossesAt val="0"/>
        <c:auto val="0"/>
        <c:lblAlgn val="ctr"/>
        <c:lblOffset val="100"/>
        <c:noMultiLvlLbl val="0"/>
      </c:catAx>
      <c:valAx>
        <c:axId val="1"/>
        <c:scaling>
          <c:orientation val="minMax"/>
          <c:max val="16.47038347740326"/>
          <c:min val="-14.31"/>
        </c:scaling>
        <c:delete val="1"/>
        <c:axPos val="t"/>
        <c:numFmt formatCode="General" sourceLinked="1"/>
        <c:majorTickMark val="out"/>
        <c:minorTickMark val="none"/>
        <c:tickLblPos val="nextTo"/>
        <c:crossAx val="1100551279"/>
        <c:crosses val="min"/>
        <c:crossBetween val="between"/>
      </c:valAx>
    </c:plotArea>
    <c:plotVisOnly val="0"/>
    <c:dispBlanksAs val="gap"/>
    <c:showDLblsOverMax val="1"/>
  </c:chart>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74188562596601E-2"/>
          <c:y val="7.3239436619718309E-2"/>
          <c:w val="0.96785162287480675"/>
          <c:h val="0.85352112676056335"/>
        </c:manualLayout>
      </c:layout>
      <c:barChart>
        <c:barDir val="col"/>
        <c:grouping val="stacked"/>
        <c:varyColors val="0"/>
        <c:ser>
          <c:idx val="0"/>
          <c:order val="0"/>
          <c:spPr>
            <a:solidFill>
              <a:schemeClr val="accent6"/>
            </a:solidFill>
            <a:ln w="6350" cmpd="sng" algn="ctr">
              <a:solidFill>
                <a:schemeClr val="bg1"/>
              </a:solidFill>
              <a:prstDash val="solid"/>
            </a:ln>
          </c:spPr>
          <c:invertIfNegative val="0"/>
          <c:val>
            <c:numRef>
              <c:f>Sheet1!$A$1:$E$1</c:f>
              <c:numCache>
                <c:formatCode>General</c:formatCode>
                <c:ptCount val="5"/>
                <c:pt idx="0">
                  <c:v>-9.7450749510230921</c:v>
                </c:pt>
                <c:pt idx="1">
                  <c:v>-4.3742162081347455</c:v>
                </c:pt>
                <c:pt idx="2">
                  <c:v>2.1627365633565487</c:v>
                </c:pt>
                <c:pt idx="3">
                  <c:v>5.9714446306620372</c:v>
                </c:pt>
                <c:pt idx="4">
                  <c:v>9.4580340092347939</c:v>
                </c:pt>
              </c:numCache>
            </c:numRef>
          </c:val>
          <c:extLst>
            <c:ext xmlns:c16="http://schemas.microsoft.com/office/drawing/2014/chart" uri="{C3380CC4-5D6E-409C-BE32-E72D297353CC}">
              <c16:uniqueId val="{00000000-BC0A-4768-87DC-8D5367AED269}"/>
            </c:ext>
          </c:extLst>
        </c:ser>
        <c:dLbls>
          <c:showLegendKey val="0"/>
          <c:showVal val="0"/>
          <c:showCatName val="0"/>
          <c:showSerName val="0"/>
          <c:showPercent val="0"/>
          <c:showBubbleSize val="0"/>
        </c:dLbls>
        <c:gapWidth val="70"/>
        <c:overlap val="100"/>
        <c:axId val="178713503"/>
        <c:axId val="1"/>
      </c:barChart>
      <c:catAx>
        <c:axId val="178713503"/>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At val="0"/>
        <c:auto val="0"/>
        <c:lblAlgn val="ctr"/>
        <c:lblOffset val="100"/>
        <c:noMultiLvlLbl val="0"/>
      </c:catAx>
      <c:valAx>
        <c:axId val="1"/>
        <c:scaling>
          <c:orientation val="minMax"/>
          <c:max val="16.47038347740326"/>
          <c:min val="-14.31"/>
        </c:scaling>
        <c:delete val="1"/>
        <c:axPos val="l"/>
        <c:numFmt formatCode="General" sourceLinked="1"/>
        <c:majorTickMark val="out"/>
        <c:minorTickMark val="none"/>
        <c:tickLblPos val="nextTo"/>
        <c:crossAx val="178713503"/>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076015727391877E-2"/>
          <c:y val="3.4076015727391877E-2"/>
          <c:w val="0.93184796854521623"/>
          <c:h val="0.93184796854521623"/>
        </c:manualLayout>
      </c:layout>
      <c:doughnutChart>
        <c:varyColors val="0"/>
        <c:ser>
          <c:idx val="0"/>
          <c:order val="0"/>
          <c:dPt>
            <c:idx val="0"/>
            <c:bubble3D val="0"/>
            <c:spPr>
              <a:solidFill>
                <a:schemeClr val="accent6"/>
              </a:solidFill>
              <a:ln w="6350" cmpd="sng" algn="ctr">
                <a:solidFill>
                  <a:schemeClr val="bg1"/>
                </a:solidFill>
                <a:prstDash val="solid"/>
              </a:ln>
            </c:spPr>
            <c:extLst>
              <c:ext xmlns:c16="http://schemas.microsoft.com/office/drawing/2014/chart" uri="{C3380CC4-5D6E-409C-BE32-E72D297353CC}">
                <c16:uniqueId val="{00000001-3C59-4468-AE61-B26E918E4DDF}"/>
              </c:ext>
            </c:extLst>
          </c:dPt>
          <c:dPt>
            <c:idx val="1"/>
            <c:bubble3D val="0"/>
            <c:spPr>
              <a:solidFill>
                <a:schemeClr val="accent4"/>
              </a:solidFill>
              <a:ln w="6350" cmpd="sng" algn="ctr">
                <a:solidFill>
                  <a:schemeClr val="bg1"/>
                </a:solidFill>
                <a:prstDash val="solid"/>
              </a:ln>
            </c:spPr>
            <c:extLst>
              <c:ext xmlns:c16="http://schemas.microsoft.com/office/drawing/2014/chart" uri="{C3380CC4-5D6E-409C-BE32-E72D297353CC}">
                <c16:uniqueId val="{00000003-3C59-4468-AE61-B26E918E4DDF}"/>
              </c:ext>
            </c:extLst>
          </c:dPt>
          <c:dPt>
            <c:idx val="2"/>
            <c:bubble3D val="0"/>
            <c:spPr>
              <a:solidFill>
                <a:schemeClr val="accent3"/>
              </a:solidFill>
              <a:ln w="6350" cmpd="sng" algn="ctr">
                <a:solidFill>
                  <a:schemeClr val="bg1"/>
                </a:solidFill>
                <a:prstDash val="solid"/>
              </a:ln>
            </c:spPr>
            <c:extLst>
              <c:ext xmlns:c16="http://schemas.microsoft.com/office/drawing/2014/chart" uri="{C3380CC4-5D6E-409C-BE32-E72D297353CC}">
                <c16:uniqueId val="{00000005-3C59-4468-AE61-B26E918E4DDF}"/>
              </c:ext>
            </c:extLst>
          </c:dPt>
          <c:dPt>
            <c:idx val="3"/>
            <c:bubble3D val="0"/>
            <c:spPr>
              <a:solidFill>
                <a:schemeClr val="accent2"/>
              </a:solidFill>
              <a:ln w="6350" cmpd="sng" algn="ctr">
                <a:solidFill>
                  <a:schemeClr val="bg1"/>
                </a:solidFill>
                <a:prstDash val="solid"/>
              </a:ln>
            </c:spPr>
            <c:extLst>
              <c:ext xmlns:c16="http://schemas.microsoft.com/office/drawing/2014/chart" uri="{C3380CC4-5D6E-409C-BE32-E72D297353CC}">
                <c16:uniqueId val="{00000007-3C59-4468-AE61-B26E918E4DDF}"/>
              </c:ext>
            </c:extLst>
          </c:dPt>
          <c:dPt>
            <c:idx val="4"/>
            <c:bubble3D val="0"/>
            <c:spPr>
              <a:solidFill>
                <a:schemeClr val="bg2"/>
              </a:solidFill>
              <a:ln w="6350" cmpd="sng" algn="ctr">
                <a:solidFill>
                  <a:schemeClr val="bg1"/>
                </a:solidFill>
                <a:prstDash val="solid"/>
              </a:ln>
            </c:spPr>
            <c:extLst>
              <c:ext xmlns:c16="http://schemas.microsoft.com/office/drawing/2014/chart" uri="{C3380CC4-5D6E-409C-BE32-E72D297353CC}">
                <c16:uniqueId val="{00000009-3C59-4468-AE61-B26E918E4DDF}"/>
              </c:ext>
            </c:extLst>
          </c:dPt>
          <c:val>
            <c:numRef>
              <c:f>Sheet1!$A$1:$A$5</c:f>
              <c:numCache>
                <c:formatCode>General</c:formatCode>
                <c:ptCount val="5"/>
                <c:pt idx="0">
                  <c:v>20.159151193633949</c:v>
                </c:pt>
                <c:pt idx="1">
                  <c:v>15.915119363395224</c:v>
                </c:pt>
                <c:pt idx="2">
                  <c:v>15.119363395225463</c:v>
                </c:pt>
                <c:pt idx="3">
                  <c:v>13.793103448275861</c:v>
                </c:pt>
                <c:pt idx="4">
                  <c:v>35.013262599469499</c:v>
                </c:pt>
              </c:numCache>
            </c:numRef>
          </c:val>
          <c:extLst>
            <c:ext xmlns:c16="http://schemas.microsoft.com/office/drawing/2014/chart" uri="{C3380CC4-5D6E-409C-BE32-E72D297353CC}">
              <c16:uniqueId val="{0000000A-3C59-4468-AE61-B26E918E4DDF}"/>
            </c:ext>
          </c:extLst>
        </c:ser>
        <c:dLbls>
          <c:showLegendKey val="0"/>
          <c:showVal val="0"/>
          <c:showCatName val="0"/>
          <c:showSerName val="0"/>
          <c:showPercent val="0"/>
          <c:showBubbleSize val="0"/>
          <c:showLeaderLines val="0"/>
        </c:dLbls>
        <c:firstSliceAng val="0"/>
        <c:holeSize val="45"/>
      </c:doughnut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76763485477178E-2"/>
          <c:y val="9.8269896193771633E-2"/>
          <c:w val="0.95684647302904569"/>
          <c:h val="0.80346020761245673"/>
        </c:manualLayout>
      </c:layout>
      <c:barChart>
        <c:barDir val="col"/>
        <c:grouping val="stacked"/>
        <c:varyColors val="0"/>
        <c:ser>
          <c:idx val="0"/>
          <c:order val="0"/>
          <c:spPr>
            <a:solidFill>
              <a:schemeClr val="accent6"/>
            </a:solidFill>
            <a:ln w="9525" cmpd="sng" algn="ctr">
              <a:solidFill>
                <a:schemeClr val="accent6"/>
              </a:solidFill>
              <a:prstDash val="solid"/>
            </a:ln>
          </c:spPr>
          <c:invertIfNegative val="0"/>
          <c:dLbls>
            <c:dLbl>
              <c:idx val="0"/>
              <c:layout>
                <c:manualLayout>
                  <c:x val="0"/>
                  <c:y val="-6.9204152249134946E-4"/>
                </c:manualLayout>
              </c:layout>
              <c:numFmt formatCode="#,##0;&quot;-&quot;#,##0" sourceLinked="0"/>
              <c:spPr>
                <a:noFill/>
                <a:ln>
                  <a:noFill/>
                </a:ln>
              </c:spPr>
              <c:txPr>
                <a:bodyPr wrap="none"/>
                <a:lstStyle/>
                <a:p>
                  <a:pPr>
                    <a:defRPr sz="1000" kern="1200">
                      <a:solidFill>
                        <a:schemeClr val="bg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676-49A0-99A3-D8CF2106B8AF}"/>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676-49A0-99A3-D8CF2106B8AF}"/>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676-49A0-99A3-D8CF2106B8AF}"/>
                </c:ext>
              </c:extLst>
            </c:dLbl>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676-49A0-99A3-D8CF2106B8AF}"/>
                </c:ext>
              </c:extLst>
            </c:dLbl>
            <c:dLbl>
              <c:idx val="4"/>
              <c:layout>
                <c:manualLayout>
                  <c:x val="0"/>
                  <c:y val="-6.9204152249134946E-4"/>
                </c:manualLayout>
              </c:layout>
              <c:numFmt formatCode="#,##0;&quot;-&quot;#,##0" sourceLinked="0"/>
              <c:spPr>
                <a:noFill/>
                <a:ln>
                  <a:noFill/>
                </a:ln>
              </c:spPr>
              <c:txPr>
                <a:bodyPr wrap="none"/>
                <a:lstStyle/>
                <a:p>
                  <a:pPr>
                    <a:defRPr sz="1000" kern="1200">
                      <a:solidFill>
                        <a:schemeClr val="bg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676-49A0-99A3-D8CF2106B8A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10</c:v>
                </c:pt>
                <c:pt idx="1">
                  <c:v>50</c:v>
                </c:pt>
                <c:pt idx="2">
                  <c:v>85</c:v>
                </c:pt>
                <c:pt idx="3">
                  <c:v>105</c:v>
                </c:pt>
                <c:pt idx="4">
                  <c:v>109</c:v>
                </c:pt>
              </c:numCache>
            </c:numRef>
          </c:val>
          <c:extLst>
            <c:ext xmlns:c16="http://schemas.microsoft.com/office/drawing/2014/chart" uri="{C3380CC4-5D6E-409C-BE32-E72D297353CC}">
              <c16:uniqueId val="{00000005-8676-49A0-99A3-D8CF2106B8AF}"/>
            </c:ext>
          </c:extLst>
        </c:ser>
        <c:ser>
          <c:idx val="1"/>
          <c:order val="1"/>
          <c:spPr>
            <a:solidFill>
              <a:schemeClr val="accent3"/>
            </a:solidFill>
            <a:ln w="9525" cmpd="sng" algn="ctr">
              <a:solidFill>
                <a:schemeClr val="accent3"/>
              </a:solidFill>
              <a:prstDash val="solid"/>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676-49A0-99A3-D8CF2106B8AF}"/>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676-49A0-99A3-D8CF2106B8AF}"/>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676-49A0-99A3-D8CF2106B8AF}"/>
                </c:ext>
              </c:extLst>
            </c:dLbl>
            <c:dLbl>
              <c:idx val="3"/>
              <c:layout>
                <c:manualLayout>
                  <c:x val="0"/>
                  <c:y val="-6.9204152249134946E-4"/>
                </c:manualLayout>
              </c:layout>
              <c:numFmt formatCode="#,##0;&quot;-&quot;#,##0" sourceLinked="0"/>
              <c:spPr>
                <a:noFill/>
                <a:ln>
                  <a:noFill/>
                </a:ln>
              </c:spPr>
              <c:txPr>
                <a:bodyPr wrap="none"/>
                <a:lstStyle/>
                <a:p>
                  <a:pPr>
                    <a:defRPr sz="1000" kern="1200">
                      <a:solidFill>
                        <a:schemeClr val="bg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676-49A0-99A3-D8CF2106B8AF}"/>
                </c:ext>
              </c:extLst>
            </c:dLbl>
            <c:dLbl>
              <c:idx val="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676-49A0-99A3-D8CF2106B8A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90</c:v>
                </c:pt>
                <c:pt idx="1">
                  <c:v>37</c:v>
                </c:pt>
                <c:pt idx="2">
                  <c:v>70</c:v>
                </c:pt>
                <c:pt idx="3">
                  <c:v>53</c:v>
                </c:pt>
                <c:pt idx="4">
                  <c:v>74</c:v>
                </c:pt>
              </c:numCache>
            </c:numRef>
          </c:val>
          <c:extLst>
            <c:ext xmlns:c16="http://schemas.microsoft.com/office/drawing/2014/chart" uri="{C3380CC4-5D6E-409C-BE32-E72D297353CC}">
              <c16:uniqueId val="{0000000B-8676-49A0-99A3-D8CF2106B8AF}"/>
            </c:ext>
          </c:extLst>
        </c:ser>
        <c:dLbls>
          <c:showLegendKey val="0"/>
          <c:showVal val="0"/>
          <c:showCatName val="0"/>
          <c:showSerName val="0"/>
          <c:showPercent val="0"/>
          <c:showBubbleSize val="0"/>
        </c:dLbls>
        <c:gapWidth val="50"/>
        <c:overlap val="100"/>
        <c:axId val="1679676479"/>
        <c:axId val="1"/>
      </c:barChart>
      <c:catAx>
        <c:axId val="1679676479"/>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200"/>
          <c:min val="0"/>
        </c:scaling>
        <c:delete val="1"/>
        <c:axPos val="l"/>
        <c:numFmt formatCode="General" sourceLinked="1"/>
        <c:majorTickMark val="out"/>
        <c:minorTickMark val="none"/>
        <c:tickLblPos val="nextTo"/>
        <c:crossAx val="1679676479"/>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17505995203837E-2"/>
          <c:y val="0.11901983663943991"/>
          <c:w val="0.93764988009592332"/>
          <c:h val="0.79813302217036175"/>
        </c:manualLayout>
      </c:layout>
      <c:barChart>
        <c:barDir val="col"/>
        <c:grouping val="stacked"/>
        <c:varyColors val="0"/>
        <c:ser>
          <c:idx val="0"/>
          <c:order val="0"/>
          <c:spPr>
            <a:solidFill>
              <a:schemeClr val="accent6"/>
            </a:solidFill>
            <a:ln w="6350" cmpd="sng" algn="ctr">
              <a:solidFill>
                <a:schemeClr val="bg1"/>
              </a:solidFill>
              <a:prstDash val="solid"/>
            </a:ln>
          </c:spPr>
          <c:invertIfNegative val="0"/>
          <c:dLbls>
            <c:dLbl>
              <c:idx val="0"/>
              <c:layout>
                <c:manualLayout>
                  <c:x val="0"/>
                  <c:y val="-0.43523920653442238"/>
                </c:manualLayout>
              </c:layout>
              <c:numFmt formatCode="#,##0;&quot;-&quot;#,##0" sourceLinked="0"/>
              <c:spPr>
                <a:noFill/>
                <a:ln>
                  <a:noFill/>
                </a:ln>
              </c:spPr>
              <c:txPr>
                <a:bodyPr wrap="none"/>
                <a:lstStyle/>
                <a:p>
                  <a:pPr>
                    <a:defRPr sz="10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930-4195-9336-26A8301B5B46}"/>
                </c:ext>
              </c:extLst>
            </c:dLbl>
            <c:dLbl>
              <c:idx val="1"/>
              <c:layout>
                <c:manualLayout>
                  <c:x val="0"/>
                  <c:y val="-0.42940490081680283"/>
                </c:manualLayout>
              </c:layout>
              <c:numFmt formatCode="#,##0;&quot;-&quot;#,##0" sourceLinked="0"/>
              <c:spPr>
                <a:noFill/>
                <a:ln>
                  <a:noFill/>
                </a:ln>
              </c:spPr>
              <c:txPr>
                <a:bodyPr wrap="none"/>
                <a:lstStyle/>
                <a:p>
                  <a:pPr>
                    <a:defRPr sz="10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930-4195-9336-26A8301B5B46}"/>
                </c:ext>
              </c:extLst>
            </c:dLbl>
            <c:dLbl>
              <c:idx val="2"/>
              <c:layout>
                <c:manualLayout>
                  <c:x val="0"/>
                  <c:y val="-0.43290548424737457"/>
                </c:manualLayout>
              </c:layout>
              <c:numFmt formatCode="#,##0;&quot;-&quot;#,##0" sourceLinked="0"/>
              <c:spPr>
                <a:noFill/>
                <a:ln>
                  <a:noFill/>
                </a:ln>
              </c:spPr>
              <c:txPr>
                <a:bodyPr wrap="none"/>
                <a:lstStyle/>
                <a:p>
                  <a:pPr>
                    <a:defRPr sz="10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930-4195-9336-26A8301B5B46}"/>
                </c:ext>
              </c:extLst>
            </c:dLbl>
            <c:dLbl>
              <c:idx val="3"/>
              <c:layout>
                <c:manualLayout>
                  <c:x val="0"/>
                  <c:y val="-0.42532088681446906"/>
                </c:manualLayout>
              </c:layout>
              <c:numFmt formatCode="#,##0;&quot;-&quot;#,##0" sourceLinked="0"/>
              <c:spPr>
                <a:noFill/>
                <a:ln>
                  <a:noFill/>
                </a:ln>
              </c:spPr>
              <c:txPr>
                <a:bodyPr wrap="none"/>
                <a:lstStyle/>
                <a:p>
                  <a:pPr>
                    <a:defRPr sz="10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930-4195-9336-26A8301B5B46}"/>
                </c:ext>
              </c:extLst>
            </c:dLbl>
            <c:dLbl>
              <c:idx val="4"/>
              <c:layout>
                <c:manualLayout>
                  <c:x val="0"/>
                  <c:y val="-0.4130688448074679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930-4195-9336-26A8301B5B4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01</c:v>
                </c:pt>
                <c:pt idx="1">
                  <c:v>198</c:v>
                </c:pt>
                <c:pt idx="2">
                  <c:v>200</c:v>
                </c:pt>
                <c:pt idx="3">
                  <c:v>196</c:v>
                </c:pt>
                <c:pt idx="4">
                  <c:v>190</c:v>
                </c:pt>
              </c:numCache>
            </c:numRef>
          </c:val>
          <c:extLst>
            <c:ext xmlns:c16="http://schemas.microsoft.com/office/drawing/2014/chart" uri="{C3380CC4-5D6E-409C-BE32-E72D297353CC}">
              <c16:uniqueId val="{00000005-1930-4195-9336-26A8301B5B46}"/>
            </c:ext>
          </c:extLst>
        </c:ser>
        <c:dLbls>
          <c:showLegendKey val="0"/>
          <c:showVal val="0"/>
          <c:showCatName val="0"/>
          <c:showSerName val="0"/>
          <c:showPercent val="0"/>
          <c:showBubbleSize val="0"/>
        </c:dLbls>
        <c:gapWidth val="40"/>
        <c:overlap val="100"/>
        <c:axId val="670273344"/>
        <c:axId val="1"/>
      </c:barChart>
      <c:lineChart>
        <c:grouping val="standard"/>
        <c:varyColors val="0"/>
        <c:ser>
          <c:idx val="1"/>
          <c:order val="1"/>
          <c:spPr>
            <a:ln w="25400" cmpd="sng" algn="ctr">
              <a:solidFill>
                <a:schemeClr val="accent3"/>
              </a:solidFill>
              <a:prstDash val="solid"/>
            </a:ln>
          </c:spPr>
          <c:marker>
            <c:symbol val="none"/>
          </c:marker>
          <c:dPt>
            <c:idx val="0"/>
            <c:marker>
              <c:symbol val="diamond"/>
              <c:size val="6"/>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6-1930-4195-9336-26A8301B5B46}"/>
              </c:ext>
            </c:extLst>
          </c:dPt>
          <c:dPt>
            <c:idx val="1"/>
            <c:marker>
              <c:symbol val="diamond"/>
              <c:size val="6"/>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7-1930-4195-9336-26A8301B5B46}"/>
              </c:ext>
            </c:extLst>
          </c:dPt>
          <c:dPt>
            <c:idx val="2"/>
            <c:marker>
              <c:symbol val="diamond"/>
              <c:size val="6"/>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8-1930-4195-9336-26A8301B5B46}"/>
              </c:ext>
            </c:extLst>
          </c:dPt>
          <c:dPt>
            <c:idx val="3"/>
            <c:marker>
              <c:symbol val="diamond"/>
              <c:size val="6"/>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9-1930-4195-9336-26A8301B5B46}"/>
              </c:ext>
            </c:extLst>
          </c:dPt>
          <c:dPt>
            <c:idx val="4"/>
            <c:marker>
              <c:symbol val="diamond"/>
              <c:size val="6"/>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A-1930-4195-9336-26A8301B5B46}"/>
              </c:ext>
            </c:extLst>
          </c:dPt>
          <c:dLbls>
            <c:dLbl>
              <c:idx val="0"/>
              <c:layout>
                <c:manualLayout>
                  <c:x val="0"/>
                  <c:y val="-6.1843640606767794E-2"/>
                </c:manualLayout>
              </c:layout>
              <c:numFmt formatCode="#,##0;&quot;-&quot;#,##0" sourceLinked="0"/>
              <c:spPr>
                <a:noFill/>
                <a:ln>
                  <a:noFill/>
                </a:ln>
              </c:spPr>
              <c:txPr>
                <a:bodyPr wrap="none"/>
                <a:lstStyle/>
                <a:p>
                  <a:pPr>
                    <a:defRPr sz="1000" kern="1200">
                      <a:solidFill>
                        <a:schemeClr val="accent3"/>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930-4195-9336-26A8301B5B46}"/>
                </c:ext>
              </c:extLst>
            </c:dLbl>
            <c:dLbl>
              <c:idx val="1"/>
              <c:layout>
                <c:manualLayout>
                  <c:x val="0"/>
                  <c:y val="-6.1843640606767794E-2"/>
                </c:manualLayout>
              </c:layout>
              <c:numFmt formatCode="#,##0;&quot;-&quot;#,##0" sourceLinked="0"/>
              <c:spPr>
                <a:noFill/>
                <a:ln>
                  <a:noFill/>
                </a:ln>
              </c:spPr>
              <c:txPr>
                <a:bodyPr wrap="none"/>
                <a:lstStyle/>
                <a:p>
                  <a:pPr>
                    <a:defRPr sz="1000" kern="1200">
                      <a:solidFill>
                        <a:schemeClr val="accent3"/>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930-4195-9336-26A8301B5B46}"/>
                </c:ext>
              </c:extLst>
            </c:dLbl>
            <c:dLbl>
              <c:idx val="2"/>
              <c:layout>
                <c:manualLayout>
                  <c:x val="0"/>
                  <c:y val="-6.1843640606767794E-2"/>
                </c:manualLayout>
              </c:layout>
              <c:numFmt formatCode="#,##0;&quot;-&quot;#,##0" sourceLinked="0"/>
              <c:spPr>
                <a:noFill/>
                <a:ln>
                  <a:noFill/>
                </a:ln>
              </c:spPr>
              <c:txPr>
                <a:bodyPr wrap="none"/>
                <a:lstStyle/>
                <a:p>
                  <a:pPr>
                    <a:defRPr sz="1000" kern="1200">
                      <a:solidFill>
                        <a:schemeClr val="accent3"/>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930-4195-9336-26A8301B5B46}"/>
                </c:ext>
              </c:extLst>
            </c:dLbl>
            <c:dLbl>
              <c:idx val="3"/>
              <c:layout>
                <c:manualLayout>
                  <c:x val="0"/>
                  <c:y val="-6.1843640606767794E-2"/>
                </c:manualLayout>
              </c:layout>
              <c:numFmt formatCode="#,##0;&quot;-&quot;#,##0" sourceLinked="0"/>
              <c:spPr>
                <a:noFill/>
                <a:ln>
                  <a:noFill/>
                </a:ln>
              </c:spPr>
              <c:txPr>
                <a:bodyPr wrap="none"/>
                <a:lstStyle/>
                <a:p>
                  <a:pPr>
                    <a:defRPr sz="1000" kern="1200">
                      <a:solidFill>
                        <a:schemeClr val="accent3"/>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930-4195-9336-26A8301B5B46}"/>
                </c:ext>
              </c:extLst>
            </c:dLbl>
            <c:dLbl>
              <c:idx val="4"/>
              <c:layout>
                <c:manualLayout>
                  <c:x val="0"/>
                  <c:y val="-6.1843640606767794E-2"/>
                </c:manualLayout>
              </c:layout>
              <c:numFmt formatCode="#,##0;&quot;-&quot;#,##0" sourceLinked="0"/>
              <c:spPr>
                <a:noFill/>
                <a:ln>
                  <a:noFill/>
                </a:ln>
              </c:spPr>
              <c:txPr>
                <a:bodyPr wrap="none"/>
                <a:lstStyle/>
                <a:p>
                  <a:pPr>
                    <a:defRPr sz="1000" kern="1200">
                      <a:solidFill>
                        <a:schemeClr val="accent3"/>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930-4195-9336-26A8301B5B4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25</c:v>
                </c:pt>
                <c:pt idx="1">
                  <c:v>123</c:v>
                </c:pt>
                <c:pt idx="2">
                  <c:v>125</c:v>
                </c:pt>
                <c:pt idx="3">
                  <c:v>125</c:v>
                </c:pt>
                <c:pt idx="4">
                  <c:v>121.17346938775511</c:v>
                </c:pt>
              </c:numCache>
            </c:numRef>
          </c:val>
          <c:smooth val="0"/>
          <c:extLst>
            <c:ext xmlns:c16="http://schemas.microsoft.com/office/drawing/2014/chart" uri="{C3380CC4-5D6E-409C-BE32-E72D297353CC}">
              <c16:uniqueId val="{0000000B-1930-4195-9336-26A8301B5B46}"/>
            </c:ext>
          </c:extLst>
        </c:ser>
        <c:dLbls>
          <c:showLegendKey val="0"/>
          <c:showVal val="0"/>
          <c:showCatName val="0"/>
          <c:showSerName val="0"/>
          <c:showPercent val="0"/>
          <c:showBubbleSize val="0"/>
        </c:dLbls>
        <c:marker val="1"/>
        <c:smooth val="0"/>
        <c:axId val="670273344"/>
        <c:axId val="1"/>
      </c:lineChart>
      <c:catAx>
        <c:axId val="670273344"/>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201"/>
          <c:min val="0"/>
        </c:scaling>
        <c:delete val="1"/>
        <c:axPos val="l"/>
        <c:numFmt formatCode="General" sourceLinked="1"/>
        <c:majorTickMark val="out"/>
        <c:minorTickMark val="none"/>
        <c:tickLblPos val="nextTo"/>
        <c:crossAx val="670273344"/>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179918746372606E-2"/>
          <c:y val="8.8473520249221185E-2"/>
          <c:w val="0.93964016250725479"/>
          <c:h val="0.82305295950155766"/>
        </c:manualLayout>
      </c:layout>
      <c:barChart>
        <c:barDir val="col"/>
        <c:grouping val="stacked"/>
        <c:varyColors val="0"/>
        <c:ser>
          <c:idx val="0"/>
          <c:order val="0"/>
          <c:spPr>
            <a:solidFill>
              <a:schemeClr val="accent4"/>
            </a:solidFill>
            <a:ln w="6350" cmpd="sng" algn="ctr">
              <a:solidFill>
                <a:schemeClr val="bg1"/>
              </a:solidFill>
              <a:prstDash val="solid"/>
            </a:ln>
          </c:spPr>
          <c:invertIfNegative val="0"/>
          <c:dPt>
            <c:idx val="5"/>
            <c:invertIfNegative val="0"/>
            <c:bubble3D val="0"/>
            <c:spPr>
              <a:solidFill>
                <a:schemeClr val="bg1"/>
              </a:solidFill>
              <a:ln>
                <a:noFill/>
              </a:ln>
            </c:spPr>
            <c:extLst>
              <c:ext xmlns:c16="http://schemas.microsoft.com/office/drawing/2014/chart" uri="{C3380CC4-5D6E-409C-BE32-E72D297353CC}">
                <c16:uniqueId val="{00000001-B881-44FC-AF9D-DA3F6974E6D7}"/>
              </c:ext>
            </c:extLst>
          </c:dPt>
          <c:dLbls>
            <c:dLbl>
              <c:idx val="0"/>
              <c:layout>
                <c:manualLayout>
                  <c:x val="0"/>
                  <c:y val="-1.869158878504673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81-44FC-AF9D-DA3F6974E6D7}"/>
                </c:ext>
              </c:extLst>
            </c:dLbl>
            <c:dLbl>
              <c:idx val="1"/>
              <c:layout>
                <c:manualLayout>
                  <c:x val="0"/>
                  <c:y val="-2.4922118380062306E-3"/>
                </c:manualLayout>
              </c:layout>
              <c:numFmt formatCode="#,##0;&quot;-&quot;#,##0" sourceLinked="0"/>
              <c:spPr>
                <a:noFill/>
                <a:ln>
                  <a:noFill/>
                </a:ln>
              </c:spPr>
              <c:txPr>
                <a:bodyPr wrap="none"/>
                <a:lstStyle/>
                <a:p>
                  <a:pPr>
                    <a:defRPr sz="1000" kern="1200">
                      <a:solidFill>
                        <a:schemeClr val="bg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81-44FC-AF9D-DA3F6974E6D7}"/>
                </c:ext>
              </c:extLst>
            </c:dLbl>
            <c:dLbl>
              <c:idx val="2"/>
              <c:layout>
                <c:manualLayout>
                  <c:x val="0"/>
                  <c:y val="-0.14143302180685358"/>
                </c:manualLayout>
              </c:layout>
              <c:numFmt formatCode="#,##0;&quot;-&quot;#,##0" sourceLinked="0"/>
              <c:spPr>
                <a:noFill/>
                <a:ln>
                  <a:noFill/>
                </a:ln>
              </c:spPr>
              <c:txPr>
                <a:bodyPr wrap="none"/>
                <a:lstStyle/>
                <a:p>
                  <a:pPr>
                    <a:defRPr sz="1000" b="1" kern="1200">
                      <a:solidFill>
                        <a:schemeClr val="tx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881-44FC-AF9D-DA3F6974E6D7}"/>
                </c:ext>
              </c:extLst>
            </c:dLbl>
            <c:dLbl>
              <c:idx val="3"/>
              <c:layout>
                <c:manualLayout>
                  <c:x val="0"/>
                  <c:y val="-2.4922118380062306E-3"/>
                </c:manualLayout>
              </c:layout>
              <c:numFmt formatCode="#,##0;&quot;-&quot;#,##0" sourceLinked="0"/>
              <c:spPr>
                <a:noFill/>
                <a:ln>
                  <a:noFill/>
                </a:ln>
              </c:spPr>
              <c:txPr>
                <a:bodyPr wrap="none"/>
                <a:lstStyle/>
                <a:p>
                  <a:pPr>
                    <a:defRPr sz="1000" kern="1200">
                      <a:solidFill>
                        <a:schemeClr val="bg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881-44FC-AF9D-DA3F6974E6D7}"/>
                </c:ext>
              </c:extLst>
            </c:dLbl>
            <c:dLbl>
              <c:idx val="4"/>
              <c:layout>
                <c:manualLayout>
                  <c:x val="0"/>
                  <c:y val="-1.869158878504673E-3"/>
                </c:manualLayout>
              </c:layout>
              <c:numFmt formatCode="#,##0;&quot;-&quot;#,##0" sourceLinked="0"/>
              <c:spPr>
                <a:noFill/>
                <a:ln>
                  <a:noFill/>
                </a:ln>
              </c:spPr>
              <c:txPr>
                <a:bodyPr wrap="none"/>
                <a:lstStyle/>
                <a:p>
                  <a:pPr>
                    <a:defRPr sz="1000" kern="1200">
                      <a:solidFill>
                        <a:schemeClr val="bg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881-44FC-AF9D-DA3F6974E6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c:v>
                </c:pt>
                <c:pt idx="1">
                  <c:v>10</c:v>
                </c:pt>
                <c:pt idx="2">
                  <c:v>3</c:v>
                </c:pt>
                <c:pt idx="3">
                  <c:v>7</c:v>
                </c:pt>
                <c:pt idx="4">
                  <c:v>3</c:v>
                </c:pt>
                <c:pt idx="5">
                  <c:v>5</c:v>
                </c:pt>
              </c:numCache>
            </c:numRef>
          </c:val>
          <c:extLst>
            <c:ext xmlns:c16="http://schemas.microsoft.com/office/drawing/2014/chart" uri="{C3380CC4-5D6E-409C-BE32-E72D297353CC}">
              <c16:uniqueId val="{00000007-B881-44FC-AF9D-DA3F6974E6D7}"/>
            </c:ext>
          </c:extLst>
        </c:ser>
        <c:ser>
          <c:idx val="1"/>
          <c:order val="1"/>
          <c:spPr>
            <a:solidFill>
              <a:schemeClr val="tx2"/>
            </a:solidFill>
            <a:ln w="6350" cmpd="sng" algn="ctr">
              <a:solidFill>
                <a:schemeClr val="bg1"/>
              </a:solidFill>
              <a:prstDash val="solid"/>
            </a:ln>
          </c:spPr>
          <c:invertIfNegative val="0"/>
          <c:dLbls>
            <c:dLbl>
              <c:idx val="0"/>
              <c:layout>
                <c:manualLayout>
                  <c:x val="0"/>
                  <c:y val="-1.869158878504673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881-44FC-AF9D-DA3F6974E6D7}"/>
                </c:ext>
              </c:extLst>
            </c:dLbl>
            <c:dLbl>
              <c:idx val="1"/>
              <c:layout>
                <c:manualLayout>
                  <c:x val="0"/>
                  <c:y val="-1.869158878504673E-3"/>
                </c:manualLayout>
              </c:layout>
              <c:numFmt formatCode="#,##0;&quot;-&quot;#,##0" sourceLinked="0"/>
              <c:spPr>
                <a:noFill/>
                <a:ln>
                  <a:noFill/>
                </a:ln>
              </c:spPr>
              <c:txPr>
                <a:bodyPr wrap="none"/>
                <a:lstStyle/>
                <a:p>
                  <a:pPr>
                    <a:defRPr sz="1000" kern="1200">
                      <a:solidFill>
                        <a:schemeClr val="bg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881-44FC-AF9D-DA3F6974E6D7}"/>
                </c:ext>
              </c:extLst>
            </c:dLbl>
            <c:dLbl>
              <c:idx val="3"/>
              <c:layout>
                <c:manualLayout>
                  <c:x val="0"/>
                  <c:y val="-1.869158878504673E-3"/>
                </c:manualLayout>
              </c:layout>
              <c:numFmt formatCode="#,##0;&quot;-&quot;#,##0" sourceLinked="0"/>
              <c:spPr>
                <a:noFill/>
                <a:ln>
                  <a:noFill/>
                </a:ln>
              </c:spPr>
              <c:txPr>
                <a:bodyPr wrap="none"/>
                <a:lstStyle/>
                <a:p>
                  <a:pPr>
                    <a:defRPr sz="1000" kern="1200">
                      <a:solidFill>
                        <a:schemeClr val="bg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881-44FC-AF9D-DA3F6974E6D7}"/>
                </c:ext>
              </c:extLst>
            </c:dLbl>
            <c:dLbl>
              <c:idx val="4"/>
              <c:layout>
                <c:manualLayout>
                  <c:x val="0"/>
                  <c:y val="-1.869158878504673E-3"/>
                </c:manualLayout>
              </c:layout>
              <c:numFmt formatCode="#,##0;&quot;-&quot;#,##0" sourceLinked="0"/>
              <c:spPr>
                <a:noFill/>
                <a:ln>
                  <a:noFill/>
                </a:ln>
              </c:spPr>
              <c:txPr>
                <a:bodyPr wrap="none"/>
                <a:lstStyle/>
                <a:p>
                  <a:pPr>
                    <a:defRPr sz="1000" kern="1200">
                      <a:solidFill>
                        <a:schemeClr val="bg1"/>
                      </a:solidFill>
                      <a:latin typeface="+mn-lt"/>
                      <a:ea typeface="+mn-ea"/>
                      <a:cs typeface="+mn-cs"/>
                      <a:sym typeface="Arial"/>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881-44FC-AF9D-DA3F6974E6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c:v>
                </c:pt>
                <c:pt idx="1">
                  <c:v>2</c:v>
                </c:pt>
                <c:pt idx="3">
                  <c:v>2</c:v>
                </c:pt>
                <c:pt idx="4">
                  <c:v>3</c:v>
                </c:pt>
              </c:numCache>
            </c:numRef>
          </c:val>
          <c:extLst>
            <c:ext xmlns:c16="http://schemas.microsoft.com/office/drawing/2014/chart" uri="{C3380CC4-5D6E-409C-BE32-E72D297353CC}">
              <c16:uniqueId val="{0000000C-B881-44FC-AF9D-DA3F6974E6D7}"/>
            </c:ext>
          </c:extLst>
        </c:ser>
        <c:dLbls>
          <c:showLegendKey val="0"/>
          <c:showVal val="0"/>
          <c:showCatName val="0"/>
          <c:showSerName val="0"/>
          <c:showPercent val="0"/>
          <c:showBubbleSize val="0"/>
        </c:dLbls>
        <c:gapWidth val="40"/>
        <c:overlap val="100"/>
        <c:axId val="214716175"/>
        <c:axId val="1"/>
      </c:barChart>
      <c:catAx>
        <c:axId val="214716175"/>
        <c:scaling>
          <c:orientation val="minMax"/>
        </c:scaling>
        <c:delete val="0"/>
        <c:axPos val="b"/>
        <c:majorGridlines>
          <c:spPr>
            <a:ln>
              <a:noFill/>
            </a:ln>
          </c:spPr>
        </c:majorGridlines>
        <c:majorTickMark val="none"/>
        <c:minorTickMark val="none"/>
        <c:tickLblPos val="none"/>
        <c:spPr>
          <a:ln w="6350" cmpd="sng" algn="ctr">
            <a:solidFill>
              <a:schemeClr val="tx1"/>
            </a:solidFill>
            <a:prstDash val="solid"/>
          </a:ln>
        </c:spPr>
        <c:crossAx val="1"/>
        <c:crosses val="min"/>
        <c:auto val="0"/>
        <c:lblAlgn val="ctr"/>
        <c:lblOffset val="100"/>
        <c:noMultiLvlLbl val="0"/>
      </c:catAx>
      <c:valAx>
        <c:axId val="1"/>
        <c:scaling>
          <c:orientation val="minMax"/>
          <c:max val="12"/>
          <c:min val="0"/>
        </c:scaling>
        <c:delete val="1"/>
        <c:axPos val="l"/>
        <c:numFmt formatCode="General" sourceLinked="1"/>
        <c:majorTickMark val="out"/>
        <c:minorTickMark val="none"/>
        <c:tickLblPos val="nextTo"/>
        <c:crossAx val="214716175"/>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421AE83E-E2C3-1C45-90AB-A9972DC40AF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dirty="0">
              <a:latin typeface="Arial" panose="020B0604020202020204" pitchFamily="34" charset="0"/>
            </a:endParaRPr>
          </a:p>
        </p:txBody>
      </p:sp>
      <p:sp>
        <p:nvSpPr>
          <p:cNvPr id="3" name="Segnaposto data 2">
            <a:extLst>
              <a:ext uri="{FF2B5EF4-FFF2-40B4-BE49-F238E27FC236}">
                <a16:creationId xmlns:a16="http://schemas.microsoft.com/office/drawing/2014/main" id="{CE4E7689-8BE8-5240-86D1-04704EEA2B3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5F9CD9E-A249-5448-85C4-E8CBCA802C8C}" type="datetimeFigureOut">
              <a:rPr lang="it-IT" smtClean="0">
                <a:latin typeface="Arial" panose="020B0604020202020204" pitchFamily="34" charset="0"/>
              </a:rPr>
              <a:t>10/05/2024</a:t>
            </a:fld>
            <a:endParaRPr lang="it-IT" dirty="0">
              <a:latin typeface="Arial" panose="020B0604020202020204" pitchFamily="34" charset="0"/>
            </a:endParaRPr>
          </a:p>
        </p:txBody>
      </p:sp>
      <p:sp>
        <p:nvSpPr>
          <p:cNvPr id="4" name="Segnaposto piè di pagina 3">
            <a:extLst>
              <a:ext uri="{FF2B5EF4-FFF2-40B4-BE49-F238E27FC236}">
                <a16:creationId xmlns:a16="http://schemas.microsoft.com/office/drawing/2014/main" id="{6DAB63E2-1558-9747-BF29-7A4CA7BAA5F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dirty="0">
              <a:latin typeface="Arial" panose="020B0604020202020204" pitchFamily="34" charset="0"/>
            </a:endParaRPr>
          </a:p>
        </p:txBody>
      </p:sp>
      <p:sp>
        <p:nvSpPr>
          <p:cNvPr id="5" name="Segnaposto numero diapositiva 4">
            <a:extLst>
              <a:ext uri="{FF2B5EF4-FFF2-40B4-BE49-F238E27FC236}">
                <a16:creationId xmlns:a16="http://schemas.microsoft.com/office/drawing/2014/main" id="{C0DBB98D-3E68-034D-B622-2C780F4CC9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CD4A41E-FC08-A648-A6F8-585894ABE67E}" type="slidenum">
              <a:rPr lang="it-IT" smtClean="0">
                <a:latin typeface="Arial" panose="020B0604020202020204" pitchFamily="34" charset="0"/>
              </a:rPr>
              <a:t>‹N›</a:t>
            </a:fld>
            <a:endParaRPr lang="it-IT" dirty="0">
              <a:latin typeface="Arial" panose="020B0604020202020204" pitchFamily="34" charset="0"/>
            </a:endParaRPr>
          </a:p>
        </p:txBody>
      </p:sp>
    </p:spTree>
    <p:extLst>
      <p:ext uri="{BB962C8B-B14F-4D97-AF65-F5344CB8AC3E}">
        <p14:creationId xmlns:p14="http://schemas.microsoft.com/office/powerpoint/2010/main" val="22767061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it-IT" dirty="0"/>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ACFA8DA2-65ED-084C-BBCB-EC2F11302EDE}" type="datetimeFigureOut">
              <a:rPr lang="it-IT" smtClean="0"/>
              <a:pPr/>
              <a:t>10/05/2024</a:t>
            </a:fld>
            <a:endParaRPr lang="it-IT" dirty="0"/>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dirty="0"/>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it-IT" dirty="0"/>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9262022E-B7D3-854B-9B6F-5DC8404EF630}" type="slidenum">
              <a:rPr lang="it-IT" smtClean="0"/>
              <a:pPr/>
              <a:t>‹N›</a:t>
            </a:fld>
            <a:endParaRPr lang="it-IT" dirty="0"/>
          </a:p>
        </p:txBody>
      </p:sp>
    </p:spTree>
    <p:extLst>
      <p:ext uri="{BB962C8B-B14F-4D97-AF65-F5344CB8AC3E}">
        <p14:creationId xmlns:p14="http://schemas.microsoft.com/office/powerpoint/2010/main" val="343326962"/>
      </p:ext>
    </p:extLst>
  </p:cSld>
  <p:clrMap bg1="lt1" tx1="dk1" bg2="lt2" tx2="dk2" accent1="accent1" accent2="accent2" accent3="accent3" accent4="accent4" accent5="accent5" accent6="accent6" hlink="hlink" folHlink="folHlink"/>
  <p:notesStyle>
    <a:lvl1pPr marL="0" algn="l" defTabSz="685800" rtl="0" eaLnBrk="1" latinLnBrk="0" hangingPunct="1">
      <a:defRPr sz="900" b="0" i="0" kern="1200">
        <a:solidFill>
          <a:schemeClr val="tx1"/>
        </a:solidFill>
        <a:latin typeface="Arial" panose="020B0604020202020204" pitchFamily="34" charset="0"/>
        <a:ea typeface="+mn-ea"/>
        <a:cs typeface="+mn-cs"/>
      </a:defRPr>
    </a:lvl1pPr>
    <a:lvl2pPr marL="342900" algn="l" defTabSz="685800" rtl="0" eaLnBrk="1" latinLnBrk="0" hangingPunct="1">
      <a:defRPr sz="900" b="0" i="0" kern="1200">
        <a:solidFill>
          <a:schemeClr val="tx1"/>
        </a:solidFill>
        <a:latin typeface="Arial" panose="020B0604020202020204" pitchFamily="34" charset="0"/>
        <a:ea typeface="+mn-ea"/>
        <a:cs typeface="+mn-cs"/>
      </a:defRPr>
    </a:lvl2pPr>
    <a:lvl3pPr marL="685800" algn="l" defTabSz="685800" rtl="0" eaLnBrk="1" latinLnBrk="0" hangingPunct="1">
      <a:defRPr sz="900" b="0" i="0" kern="1200">
        <a:solidFill>
          <a:schemeClr val="tx1"/>
        </a:solidFill>
        <a:latin typeface="Arial" panose="020B0604020202020204" pitchFamily="34" charset="0"/>
        <a:ea typeface="+mn-ea"/>
        <a:cs typeface="+mn-cs"/>
      </a:defRPr>
    </a:lvl3pPr>
    <a:lvl4pPr marL="1028700" algn="l" defTabSz="685800" rtl="0" eaLnBrk="1" latinLnBrk="0" hangingPunct="1">
      <a:defRPr sz="900" b="0" i="0" kern="1200">
        <a:solidFill>
          <a:schemeClr val="tx1"/>
        </a:solidFill>
        <a:latin typeface="Arial" panose="020B0604020202020204" pitchFamily="34" charset="0"/>
        <a:ea typeface="+mn-ea"/>
        <a:cs typeface="+mn-cs"/>
      </a:defRPr>
    </a:lvl4pPr>
    <a:lvl5pPr marL="1371600" algn="l" defTabSz="685800" rtl="0" eaLnBrk="1" latinLnBrk="0" hangingPunct="1">
      <a:defRPr sz="900" b="0" i="0" kern="1200">
        <a:solidFill>
          <a:schemeClr val="tx1"/>
        </a:solidFill>
        <a:latin typeface="Arial" panose="020B0604020202020204" pitchFamily="34" charset="0"/>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9262022E-B7D3-854B-9B6F-5DC8404EF630}" type="slidenum">
              <a:rPr lang="it-IT" smtClean="0"/>
              <a:pPr/>
              <a:t>6</a:t>
            </a:fld>
            <a:endParaRPr lang="it-IT" dirty="0"/>
          </a:p>
        </p:txBody>
      </p:sp>
    </p:spTree>
    <p:extLst>
      <p:ext uri="{BB962C8B-B14F-4D97-AF65-F5344CB8AC3E}">
        <p14:creationId xmlns:p14="http://schemas.microsoft.com/office/powerpoint/2010/main" val="21694326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9262022E-B7D3-854B-9B6F-5DC8404EF630}" type="slidenum">
              <a:rPr lang="it-IT" smtClean="0"/>
              <a:pPr/>
              <a:t>17</a:t>
            </a:fld>
            <a:endParaRPr lang="it-IT" dirty="0"/>
          </a:p>
        </p:txBody>
      </p:sp>
    </p:spTree>
    <p:extLst>
      <p:ext uri="{BB962C8B-B14F-4D97-AF65-F5344CB8AC3E}">
        <p14:creationId xmlns:p14="http://schemas.microsoft.com/office/powerpoint/2010/main" val="13674863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9262022E-B7D3-854B-9B6F-5DC8404EF630}" type="slidenum">
              <a:rPr lang="it-IT" smtClean="0"/>
              <a:pPr/>
              <a:t>18</a:t>
            </a:fld>
            <a:endParaRPr lang="it-IT" dirty="0"/>
          </a:p>
        </p:txBody>
      </p:sp>
    </p:spTree>
    <p:extLst>
      <p:ext uri="{BB962C8B-B14F-4D97-AF65-F5344CB8AC3E}">
        <p14:creationId xmlns:p14="http://schemas.microsoft.com/office/powerpoint/2010/main" val="34746172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9262022E-B7D3-854B-9B6F-5DC8404EF630}" type="slidenum">
              <a:rPr lang="it-IT" smtClean="0"/>
              <a:pPr/>
              <a:t>37</a:t>
            </a:fld>
            <a:endParaRPr lang="it-IT" dirty="0"/>
          </a:p>
        </p:txBody>
      </p:sp>
    </p:spTree>
    <p:extLst>
      <p:ext uri="{BB962C8B-B14F-4D97-AF65-F5344CB8AC3E}">
        <p14:creationId xmlns:p14="http://schemas.microsoft.com/office/powerpoint/2010/main" val="30932655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9262022E-B7D3-854B-9B6F-5DC8404EF630}" type="slidenum">
              <a:rPr lang="it-IT" smtClean="0"/>
              <a:pPr/>
              <a:t>7</a:t>
            </a:fld>
            <a:endParaRPr lang="it-IT" dirty="0"/>
          </a:p>
        </p:txBody>
      </p:sp>
    </p:spTree>
    <p:extLst>
      <p:ext uri="{BB962C8B-B14F-4D97-AF65-F5344CB8AC3E}">
        <p14:creationId xmlns:p14="http://schemas.microsoft.com/office/powerpoint/2010/main" val="44310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9262022E-B7D3-854B-9B6F-5DC8404EF630}" type="slidenum">
              <a:rPr lang="it-IT" smtClean="0"/>
              <a:pPr/>
              <a:t>8</a:t>
            </a:fld>
            <a:endParaRPr lang="it-IT" dirty="0"/>
          </a:p>
        </p:txBody>
      </p:sp>
    </p:spTree>
    <p:extLst>
      <p:ext uri="{BB962C8B-B14F-4D97-AF65-F5344CB8AC3E}">
        <p14:creationId xmlns:p14="http://schemas.microsoft.com/office/powerpoint/2010/main" val="1224598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9262022E-B7D3-854B-9B6F-5DC8404EF630}" type="slidenum">
              <a:rPr lang="it-IT" smtClean="0"/>
              <a:pPr/>
              <a:t>9</a:t>
            </a:fld>
            <a:endParaRPr lang="it-IT" dirty="0"/>
          </a:p>
        </p:txBody>
      </p:sp>
    </p:spTree>
    <p:extLst>
      <p:ext uri="{BB962C8B-B14F-4D97-AF65-F5344CB8AC3E}">
        <p14:creationId xmlns:p14="http://schemas.microsoft.com/office/powerpoint/2010/main" val="3534589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9262022E-B7D3-854B-9B6F-5DC8404EF630}" type="slidenum">
              <a:rPr lang="it-IT" smtClean="0"/>
              <a:pPr/>
              <a:t>10</a:t>
            </a:fld>
            <a:endParaRPr lang="it-IT" dirty="0"/>
          </a:p>
        </p:txBody>
      </p:sp>
    </p:spTree>
    <p:extLst>
      <p:ext uri="{BB962C8B-B14F-4D97-AF65-F5344CB8AC3E}">
        <p14:creationId xmlns:p14="http://schemas.microsoft.com/office/powerpoint/2010/main" val="18695530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9262022E-B7D3-854B-9B6F-5DC8404EF630}" type="slidenum">
              <a:rPr lang="it-IT" smtClean="0"/>
              <a:pPr/>
              <a:t>11</a:t>
            </a:fld>
            <a:endParaRPr lang="it-IT" dirty="0"/>
          </a:p>
        </p:txBody>
      </p:sp>
    </p:spTree>
    <p:extLst>
      <p:ext uri="{BB962C8B-B14F-4D97-AF65-F5344CB8AC3E}">
        <p14:creationId xmlns:p14="http://schemas.microsoft.com/office/powerpoint/2010/main" val="1316795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9262022E-B7D3-854B-9B6F-5DC8404EF630}" type="slidenum">
              <a:rPr lang="it-IT" smtClean="0"/>
              <a:pPr/>
              <a:t>12</a:t>
            </a:fld>
            <a:endParaRPr lang="it-IT" dirty="0"/>
          </a:p>
        </p:txBody>
      </p:sp>
    </p:spTree>
    <p:extLst>
      <p:ext uri="{BB962C8B-B14F-4D97-AF65-F5344CB8AC3E}">
        <p14:creationId xmlns:p14="http://schemas.microsoft.com/office/powerpoint/2010/main" val="2762781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9262022E-B7D3-854B-9B6F-5DC8404EF630}" type="slidenum">
              <a:rPr lang="it-IT" smtClean="0"/>
              <a:pPr/>
              <a:t>15</a:t>
            </a:fld>
            <a:endParaRPr lang="it-IT" dirty="0"/>
          </a:p>
        </p:txBody>
      </p:sp>
    </p:spTree>
    <p:extLst>
      <p:ext uri="{BB962C8B-B14F-4D97-AF65-F5344CB8AC3E}">
        <p14:creationId xmlns:p14="http://schemas.microsoft.com/office/powerpoint/2010/main" val="6036857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9262022E-B7D3-854B-9B6F-5DC8404EF630}" type="slidenum">
              <a:rPr lang="it-IT" smtClean="0"/>
              <a:pPr/>
              <a:t>16</a:t>
            </a:fld>
            <a:endParaRPr lang="it-IT" dirty="0"/>
          </a:p>
        </p:txBody>
      </p:sp>
    </p:spTree>
    <p:extLst>
      <p:ext uri="{BB962C8B-B14F-4D97-AF65-F5344CB8AC3E}">
        <p14:creationId xmlns:p14="http://schemas.microsoft.com/office/powerpoint/2010/main" val="104922194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jpg"/><Relationship Id="rId7" Type="http://schemas.openxmlformats.org/officeDocument/2006/relationships/image" Target="../media/image11.png"/><Relationship Id="rId2" Type="http://schemas.openxmlformats.org/officeDocument/2006/relationships/image" Target="../media/image1.emf"/><Relationship Id="rId1" Type="http://schemas.openxmlformats.org/officeDocument/2006/relationships/slideMaster" Target="../slideMasters/slideMaster1.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9.emf"/><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5.emf"/><Relationship Id="rId4"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emf"/><Relationship Id="rId7" Type="http://schemas.openxmlformats.org/officeDocument/2006/relationships/image" Target="../media/image15.emf"/><Relationship Id="rId2" Type="http://schemas.openxmlformats.org/officeDocument/2006/relationships/image" Target="../media/image8.jp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1.png"/><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olo e contenuto">
    <p:bg>
      <p:bgPr>
        <a:blipFill dpi="0" rotWithShape="1">
          <a:blip r:embed="rId2">
            <a:alphaModFix amt="0"/>
            <a:lum/>
          </a:blip>
          <a:srcRect/>
          <a:stretch>
            <a:fillRect/>
          </a:stretch>
        </a:blipFill>
        <a:effectLst/>
      </p:bgPr>
    </p:bg>
    <p:spTree>
      <p:nvGrpSpPr>
        <p:cNvPr id="1" name=""/>
        <p:cNvGrpSpPr/>
        <p:nvPr/>
      </p:nvGrpSpPr>
      <p:grpSpPr>
        <a:xfrm>
          <a:off x="0" y="0"/>
          <a:ext cx="0" cy="0"/>
          <a:chOff x="0" y="0"/>
          <a:chExt cx="0" cy="0"/>
        </a:xfrm>
      </p:grpSpPr>
      <p:sp>
        <p:nvSpPr>
          <p:cNvPr id="26" name="Rettangolo 25">
            <a:extLst>
              <a:ext uri="{FF2B5EF4-FFF2-40B4-BE49-F238E27FC236}">
                <a16:creationId xmlns:a16="http://schemas.microsoft.com/office/drawing/2014/main" id="{86E29CBD-EA49-DA9F-45D3-82D3CEBAA645}"/>
              </a:ext>
            </a:extLst>
          </p:cNvPr>
          <p:cNvSpPr/>
          <p:nvPr userDrawn="1"/>
        </p:nvSpPr>
        <p:spPr>
          <a:xfrm>
            <a:off x="4209534" y="0"/>
            <a:ext cx="4934465"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4" name="Immagine 13">
            <a:extLst>
              <a:ext uri="{FF2B5EF4-FFF2-40B4-BE49-F238E27FC236}">
                <a16:creationId xmlns:a16="http://schemas.microsoft.com/office/drawing/2014/main" id="{DE79B3BB-C555-FB23-7C0C-019CA05AD4A9}"/>
              </a:ext>
            </a:extLst>
          </p:cNvPr>
          <p:cNvPicPr>
            <a:picLocks noChangeAspect="1"/>
          </p:cNvPicPr>
          <p:nvPr userDrawn="1"/>
        </p:nvPicPr>
        <p:blipFill rotWithShape="1">
          <a:blip r:embed="rId3"/>
          <a:srcRect t="35839" r="6307" b="20871"/>
          <a:stretch/>
        </p:blipFill>
        <p:spPr>
          <a:xfrm rot="16200000">
            <a:off x="-465931" y="465930"/>
            <a:ext cx="5143500" cy="4211637"/>
          </a:xfrm>
          <a:prstGeom prst="rect">
            <a:avLst/>
          </a:prstGeom>
        </p:spPr>
      </p:pic>
      <p:pic>
        <p:nvPicPr>
          <p:cNvPr id="15" name="Immagine 14">
            <a:extLst>
              <a:ext uri="{FF2B5EF4-FFF2-40B4-BE49-F238E27FC236}">
                <a16:creationId xmlns:a16="http://schemas.microsoft.com/office/drawing/2014/main" id="{F574CB83-4D81-47B9-4CFD-FF8E90E34912}"/>
              </a:ext>
            </a:extLst>
          </p:cNvPr>
          <p:cNvPicPr>
            <a:picLocks noChangeAspect="1"/>
          </p:cNvPicPr>
          <p:nvPr userDrawn="1"/>
        </p:nvPicPr>
        <p:blipFill>
          <a:blip r:embed="rId4"/>
          <a:stretch>
            <a:fillRect/>
          </a:stretch>
        </p:blipFill>
        <p:spPr>
          <a:xfrm>
            <a:off x="4609204" y="221742"/>
            <a:ext cx="1719479" cy="953915"/>
          </a:xfrm>
          <a:prstGeom prst="rect">
            <a:avLst/>
          </a:prstGeom>
        </p:spPr>
      </p:pic>
      <p:pic>
        <p:nvPicPr>
          <p:cNvPr id="16" name="Immagine 15">
            <a:extLst>
              <a:ext uri="{FF2B5EF4-FFF2-40B4-BE49-F238E27FC236}">
                <a16:creationId xmlns:a16="http://schemas.microsoft.com/office/drawing/2014/main" id="{82751FF5-1466-D314-27EF-3DBB76032514}"/>
              </a:ext>
            </a:extLst>
          </p:cNvPr>
          <p:cNvPicPr>
            <a:picLocks noChangeAspect="1"/>
          </p:cNvPicPr>
          <p:nvPr userDrawn="1"/>
        </p:nvPicPr>
        <p:blipFill rotWithShape="1">
          <a:blip r:embed="rId5"/>
          <a:srcRect l="-5445" t="-4877" r="50000" b="-2635"/>
          <a:stretch/>
        </p:blipFill>
        <p:spPr>
          <a:xfrm>
            <a:off x="1571940" y="100029"/>
            <a:ext cx="2637594" cy="5143501"/>
          </a:xfrm>
          <a:prstGeom prst="rect">
            <a:avLst/>
          </a:prstGeom>
        </p:spPr>
      </p:pic>
      <p:pic>
        <p:nvPicPr>
          <p:cNvPr id="19" name="Immagine 18">
            <a:extLst>
              <a:ext uri="{FF2B5EF4-FFF2-40B4-BE49-F238E27FC236}">
                <a16:creationId xmlns:a16="http://schemas.microsoft.com/office/drawing/2014/main" id="{8B83187B-E546-04F7-F7F6-5671C9855719}"/>
              </a:ext>
            </a:extLst>
          </p:cNvPr>
          <p:cNvPicPr>
            <a:picLocks noChangeAspect="1"/>
          </p:cNvPicPr>
          <p:nvPr userDrawn="1"/>
        </p:nvPicPr>
        <p:blipFill rotWithShape="1">
          <a:blip r:embed="rId6"/>
          <a:srcRect t="79197"/>
          <a:stretch/>
        </p:blipFill>
        <p:spPr>
          <a:xfrm>
            <a:off x="250825" y="1009566"/>
            <a:ext cx="1132993" cy="195985"/>
          </a:xfrm>
          <a:prstGeom prst="rect">
            <a:avLst/>
          </a:prstGeom>
        </p:spPr>
      </p:pic>
      <p:sp>
        <p:nvSpPr>
          <p:cNvPr id="20" name="Segnaposto testo 4">
            <a:extLst>
              <a:ext uri="{FF2B5EF4-FFF2-40B4-BE49-F238E27FC236}">
                <a16:creationId xmlns:a16="http://schemas.microsoft.com/office/drawing/2014/main" id="{395AB0EC-36F7-05DD-4C10-27652614AF7E}"/>
              </a:ext>
            </a:extLst>
          </p:cNvPr>
          <p:cNvSpPr>
            <a:spLocks noGrp="1"/>
          </p:cNvSpPr>
          <p:nvPr>
            <p:ph type="body" sz="quarter" idx="10"/>
          </p:nvPr>
        </p:nvSpPr>
        <p:spPr>
          <a:xfrm>
            <a:off x="4568829" y="1600200"/>
            <a:ext cx="4324346" cy="1700349"/>
          </a:xfrm>
        </p:spPr>
        <p:txBody>
          <a:bodyPr lIns="0" tIns="0" rIns="0" bIns="0"/>
          <a:lstStyle>
            <a:lvl1pPr marL="0" indent="0">
              <a:lnSpc>
                <a:spcPts val="6200"/>
              </a:lnSpc>
              <a:spcBef>
                <a:spcPts val="0"/>
              </a:spcBef>
              <a:buNone/>
              <a:defRPr sz="6000" b="1" spc="-200" baseline="0">
                <a:solidFill>
                  <a:srgbClr val="1D71B8"/>
                </a:solidFill>
              </a:defRPr>
            </a:lvl1pPr>
            <a:lvl2pPr marL="342900" indent="0">
              <a:buNone/>
              <a:defRPr sz="7000" b="1" spc="-200" baseline="0">
                <a:solidFill>
                  <a:srgbClr val="1D71B8"/>
                </a:solidFill>
              </a:defRPr>
            </a:lvl2pPr>
            <a:lvl3pPr marL="685800" indent="0">
              <a:buNone/>
              <a:defRPr sz="7000" b="1" spc="-200" baseline="0">
                <a:solidFill>
                  <a:srgbClr val="1D71B8"/>
                </a:solidFill>
              </a:defRPr>
            </a:lvl3pPr>
            <a:lvl4pPr marL="1028700" indent="0">
              <a:buNone/>
              <a:defRPr sz="7000" b="1" spc="-200" baseline="0">
                <a:solidFill>
                  <a:srgbClr val="1D71B8"/>
                </a:solidFill>
              </a:defRPr>
            </a:lvl4pPr>
            <a:lvl5pPr marL="1371600" indent="0">
              <a:buNone/>
              <a:defRPr sz="7000" b="1" spc="-200" baseline="0">
                <a:solidFill>
                  <a:srgbClr val="1D71B8"/>
                </a:solidFill>
              </a:defRPr>
            </a:lvl5pPr>
          </a:lstStyle>
          <a:p>
            <a:pPr lvl="0"/>
            <a:r>
              <a:rPr lang="it-IT" dirty="0"/>
              <a:t>Fare clic per modificare </a:t>
            </a:r>
          </a:p>
        </p:txBody>
      </p:sp>
      <p:pic>
        <p:nvPicPr>
          <p:cNvPr id="22" name="Immagine 21" descr="Immagine che contiene testo, Carattere, Elementi grafici, grafica&#10;&#10;Descrizione generata automaticamente">
            <a:extLst>
              <a:ext uri="{FF2B5EF4-FFF2-40B4-BE49-F238E27FC236}">
                <a16:creationId xmlns:a16="http://schemas.microsoft.com/office/drawing/2014/main" id="{D7AD0962-9258-26AA-829E-1532BA7FE9D4}"/>
              </a:ext>
            </a:extLst>
          </p:cNvPr>
          <p:cNvPicPr>
            <a:picLocks noChangeAspect="1"/>
          </p:cNvPicPr>
          <p:nvPr userDrawn="1"/>
        </p:nvPicPr>
        <p:blipFill>
          <a:blip r:embed="rId7"/>
          <a:stretch>
            <a:fillRect/>
          </a:stretch>
        </p:blipFill>
        <p:spPr>
          <a:xfrm>
            <a:off x="214668" y="4383773"/>
            <a:ext cx="733600" cy="733600"/>
          </a:xfrm>
          <a:prstGeom prst="rect">
            <a:avLst/>
          </a:prstGeom>
        </p:spPr>
      </p:pic>
      <p:sp>
        <p:nvSpPr>
          <p:cNvPr id="24" name="Text Placeholder 3">
            <a:extLst>
              <a:ext uri="{FF2B5EF4-FFF2-40B4-BE49-F238E27FC236}">
                <a16:creationId xmlns:a16="http://schemas.microsoft.com/office/drawing/2014/main" id="{319F6892-8BF4-FD60-96C8-75C427510760}"/>
              </a:ext>
            </a:extLst>
          </p:cNvPr>
          <p:cNvSpPr>
            <a:spLocks noGrp="1"/>
          </p:cNvSpPr>
          <p:nvPr>
            <p:ph type="body" sz="half" idx="2" hasCustomPrompt="1"/>
          </p:nvPr>
        </p:nvSpPr>
        <p:spPr>
          <a:xfrm>
            <a:off x="162170" y="4192238"/>
            <a:ext cx="1242560" cy="275259"/>
          </a:xfrm>
        </p:spPr>
        <p:txBody>
          <a:bodyPr/>
          <a:lstStyle>
            <a:lvl1pPr marL="0" indent="0">
              <a:lnSpc>
                <a:spcPts val="800"/>
              </a:lnSpc>
              <a:spcBef>
                <a:spcPts val="0"/>
              </a:spcBef>
              <a:buNone/>
              <a:defRPr sz="700" b="0" i="0" spc="50" baseline="0">
                <a:solidFill>
                  <a:schemeClr val="bg1"/>
                </a:solidFill>
                <a:latin typeface="Arial" panose="020B0604020202020204" pitchFamily="34" charset="0"/>
                <a:cs typeface="Arial" panose="020B0604020202020204" pitchFamily="34"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it-IT" dirty="0"/>
              <a:t>CONFERENCE </a:t>
            </a:r>
          </a:p>
          <a:p>
            <a:pPr lvl="0"/>
            <a:r>
              <a:rPr lang="it-IT" dirty="0"/>
              <a:t>ORGANIZERS</a:t>
            </a:r>
          </a:p>
        </p:txBody>
      </p:sp>
      <p:cxnSp>
        <p:nvCxnSpPr>
          <p:cNvPr id="25" name="Connettore 1 24">
            <a:extLst>
              <a:ext uri="{FF2B5EF4-FFF2-40B4-BE49-F238E27FC236}">
                <a16:creationId xmlns:a16="http://schemas.microsoft.com/office/drawing/2014/main" id="{B4A17999-F0CD-29CE-8ED0-56CAC0491F22}"/>
              </a:ext>
            </a:extLst>
          </p:cNvPr>
          <p:cNvCxnSpPr>
            <a:cxnSpLocks/>
          </p:cNvCxnSpPr>
          <p:nvPr userDrawn="1"/>
        </p:nvCxnSpPr>
        <p:spPr>
          <a:xfrm>
            <a:off x="250825" y="4469509"/>
            <a:ext cx="663575"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Segnaposto testo 28">
            <a:extLst>
              <a:ext uri="{FF2B5EF4-FFF2-40B4-BE49-F238E27FC236}">
                <a16:creationId xmlns:a16="http://schemas.microsoft.com/office/drawing/2014/main" id="{BC9C233E-AE1B-3061-ED80-EFE7EF5D0291}"/>
              </a:ext>
            </a:extLst>
          </p:cNvPr>
          <p:cNvSpPr>
            <a:spLocks noGrp="1"/>
          </p:cNvSpPr>
          <p:nvPr>
            <p:ph type="body" sz="quarter" idx="11"/>
          </p:nvPr>
        </p:nvSpPr>
        <p:spPr>
          <a:xfrm>
            <a:off x="4608513" y="3526972"/>
            <a:ext cx="4284662" cy="1132342"/>
          </a:xfrm>
        </p:spPr>
        <p:txBody>
          <a:bodyPr lIns="0" tIns="0" rIns="0" bIns="0"/>
          <a:lstStyle>
            <a:lvl1pPr marL="0" indent="0">
              <a:buNone/>
              <a:defRPr sz="3000" b="1" i="0">
                <a:latin typeface="DM Sans" pitchFamily="2" charset="77"/>
              </a:defRPr>
            </a:lvl1pPr>
            <a:lvl2pPr marL="342900" indent="0">
              <a:buNone/>
              <a:defRPr sz="1500" b="1" i="0">
                <a:latin typeface="DM Sans" pitchFamily="2" charset="77"/>
              </a:defRPr>
            </a:lvl2pPr>
            <a:lvl3pPr marL="685800" indent="0">
              <a:buNone/>
              <a:defRPr sz="1500" b="1" i="0">
                <a:latin typeface="DM Sans" pitchFamily="2" charset="77"/>
              </a:defRPr>
            </a:lvl3pPr>
            <a:lvl4pPr marL="1028700" indent="0">
              <a:buNone/>
              <a:defRPr sz="1500" b="1" i="0">
                <a:latin typeface="DM Sans" pitchFamily="2" charset="77"/>
              </a:defRPr>
            </a:lvl4pPr>
            <a:lvl5pPr marL="1371600" indent="0">
              <a:buNone/>
              <a:defRPr sz="1500" b="1" i="0">
                <a:latin typeface="DM Sans" pitchFamily="2" charset="77"/>
              </a:defRPr>
            </a:lvl5pPr>
          </a:lstStyle>
          <a:p>
            <a:pPr lvl="0"/>
            <a:r>
              <a:rPr lang="it-IT" dirty="0"/>
              <a:t>Fare clic per modificare gli stili del testo dello schema</a:t>
            </a:r>
          </a:p>
        </p:txBody>
      </p:sp>
      <p:pic>
        <p:nvPicPr>
          <p:cNvPr id="2" name="Immagine 1">
            <a:extLst>
              <a:ext uri="{FF2B5EF4-FFF2-40B4-BE49-F238E27FC236}">
                <a16:creationId xmlns:a16="http://schemas.microsoft.com/office/drawing/2014/main" id="{3BD1376E-15E7-8D9A-684F-BA599196EC59}"/>
              </a:ext>
            </a:extLst>
          </p:cNvPr>
          <p:cNvPicPr>
            <a:picLocks noChangeAspect="1"/>
          </p:cNvPicPr>
          <p:nvPr userDrawn="1"/>
        </p:nvPicPr>
        <p:blipFill rotWithShape="1">
          <a:blip r:embed="rId6"/>
          <a:srcRect b="82881"/>
          <a:stretch/>
        </p:blipFill>
        <p:spPr>
          <a:xfrm>
            <a:off x="250825" y="229248"/>
            <a:ext cx="1132993" cy="161278"/>
          </a:xfrm>
          <a:prstGeom prst="rect">
            <a:avLst/>
          </a:prstGeom>
        </p:spPr>
      </p:pic>
      <p:pic>
        <p:nvPicPr>
          <p:cNvPr id="4" name="Immagine 3" descr="Immagine che contiene Carattere, testo, Elementi grafici, logo&#10;&#10;Descrizione generata automaticamente">
            <a:extLst>
              <a:ext uri="{FF2B5EF4-FFF2-40B4-BE49-F238E27FC236}">
                <a16:creationId xmlns:a16="http://schemas.microsoft.com/office/drawing/2014/main" id="{C4FA8FA0-3B6F-79D6-DE82-224822649AF0}"/>
              </a:ext>
            </a:extLst>
          </p:cNvPr>
          <p:cNvPicPr>
            <a:picLocks noChangeAspect="1"/>
          </p:cNvPicPr>
          <p:nvPr userDrawn="1"/>
        </p:nvPicPr>
        <p:blipFill>
          <a:blip r:embed="rId8"/>
          <a:stretch>
            <a:fillRect/>
          </a:stretch>
        </p:blipFill>
        <p:spPr>
          <a:xfrm>
            <a:off x="364542" y="389401"/>
            <a:ext cx="894942" cy="629774"/>
          </a:xfrm>
          <a:prstGeom prst="rect">
            <a:avLst/>
          </a:prstGeom>
        </p:spPr>
      </p:pic>
    </p:spTree>
    <p:extLst>
      <p:ext uri="{BB962C8B-B14F-4D97-AF65-F5344CB8AC3E}">
        <p14:creationId xmlns:p14="http://schemas.microsoft.com/office/powerpoint/2010/main" val="30367620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contatti">
    <p:bg>
      <p:bgPr>
        <a:solidFill>
          <a:srgbClr val="0C1330"/>
        </a:solidFill>
        <a:effectLst/>
      </p:bgPr>
    </p:bg>
    <p:spTree>
      <p:nvGrpSpPr>
        <p:cNvPr id="1" name=""/>
        <p:cNvGrpSpPr/>
        <p:nvPr/>
      </p:nvGrpSpPr>
      <p:grpSpPr>
        <a:xfrm>
          <a:off x="0" y="0"/>
          <a:ext cx="0" cy="0"/>
          <a:chOff x="0" y="0"/>
          <a:chExt cx="0" cy="0"/>
        </a:xfrm>
      </p:grpSpPr>
      <p:pic>
        <p:nvPicPr>
          <p:cNvPr id="2" name="Immagine 1">
            <a:extLst>
              <a:ext uri="{FF2B5EF4-FFF2-40B4-BE49-F238E27FC236}">
                <a16:creationId xmlns:a16="http://schemas.microsoft.com/office/drawing/2014/main" id="{EC6C75C5-5366-CEFC-03F8-73A4AA96FD8F}"/>
              </a:ext>
            </a:extLst>
          </p:cNvPr>
          <p:cNvPicPr>
            <a:picLocks noChangeAspect="1"/>
          </p:cNvPicPr>
          <p:nvPr userDrawn="1"/>
        </p:nvPicPr>
        <p:blipFill>
          <a:blip r:embed="rId2"/>
          <a:srcRect/>
          <a:stretch/>
        </p:blipFill>
        <p:spPr>
          <a:xfrm>
            <a:off x="257175" y="234950"/>
            <a:ext cx="1060323" cy="588235"/>
          </a:xfrm>
          <a:prstGeom prst="rect">
            <a:avLst/>
          </a:prstGeom>
        </p:spPr>
      </p:pic>
      <p:pic>
        <p:nvPicPr>
          <p:cNvPr id="3" name="Immagine 2">
            <a:extLst>
              <a:ext uri="{FF2B5EF4-FFF2-40B4-BE49-F238E27FC236}">
                <a16:creationId xmlns:a16="http://schemas.microsoft.com/office/drawing/2014/main" id="{EAB831CC-E29C-6CD1-4336-2FF507F75F51}"/>
              </a:ext>
            </a:extLst>
          </p:cNvPr>
          <p:cNvPicPr>
            <a:picLocks noChangeAspect="1"/>
          </p:cNvPicPr>
          <p:nvPr userDrawn="1"/>
        </p:nvPicPr>
        <p:blipFill rotWithShape="1">
          <a:blip r:embed="rId3"/>
          <a:srcRect t="-14861" r="6307" b="20872"/>
          <a:stretch/>
        </p:blipFill>
        <p:spPr>
          <a:xfrm rot="16200000">
            <a:off x="2000251" y="-2000253"/>
            <a:ext cx="5143500" cy="9144003"/>
          </a:xfrm>
          <a:prstGeom prst="rect">
            <a:avLst/>
          </a:prstGeom>
        </p:spPr>
      </p:pic>
    </p:spTree>
    <p:extLst>
      <p:ext uri="{BB962C8B-B14F-4D97-AF65-F5344CB8AC3E}">
        <p14:creationId xmlns:p14="http://schemas.microsoft.com/office/powerpoint/2010/main" val="31320985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250825" y="1166813"/>
            <a:ext cx="5726113" cy="1790700"/>
          </a:xfrm>
        </p:spPr>
        <p:txBody>
          <a:bodyPr lIns="0" tIns="0" rIns="0" bIns="0" anchor="t" anchorCtr="0"/>
          <a:lstStyle>
            <a:lvl1pPr algn="l">
              <a:lnSpc>
                <a:spcPts val="4700"/>
              </a:lnSpc>
              <a:defRPr sz="4500" b="1">
                <a:solidFill>
                  <a:schemeClr val="tx1"/>
                </a:solidFill>
              </a:defRPr>
            </a:lvl1pPr>
          </a:lstStyle>
          <a:p>
            <a:r>
              <a:rPr lang="it-IT" dirty="0"/>
              <a:t>Fare clic per modificare lo stile del titolo</a:t>
            </a:r>
            <a:endParaRPr lang="en-US" dirty="0"/>
          </a:p>
        </p:txBody>
      </p:sp>
      <p:sp>
        <p:nvSpPr>
          <p:cNvPr id="3" name="Subtitle 2"/>
          <p:cNvSpPr>
            <a:spLocks noGrp="1"/>
          </p:cNvSpPr>
          <p:nvPr>
            <p:ph type="subTitle" idx="1"/>
          </p:nvPr>
        </p:nvSpPr>
        <p:spPr>
          <a:xfrm>
            <a:off x="250825" y="3077970"/>
            <a:ext cx="5726113" cy="1509905"/>
          </a:xfrm>
        </p:spPr>
        <p:txBody>
          <a:bodyPr lIns="0" tIns="0" rIns="0" bIns="0" anchor="t" anchorCtr="0"/>
          <a:lstStyle>
            <a:lvl1pPr marL="0" indent="0" algn="l">
              <a:buNone/>
              <a:defRPr sz="16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it-IT" dirty="0"/>
              <a:t>Fare clic per modificare lo stile del sottotitolo dello schema</a:t>
            </a:r>
            <a:endParaRPr lang="en-US" dirty="0"/>
          </a:p>
        </p:txBody>
      </p:sp>
      <p:sp>
        <p:nvSpPr>
          <p:cNvPr id="8" name="Segnaposto immagine 7">
            <a:extLst>
              <a:ext uri="{FF2B5EF4-FFF2-40B4-BE49-F238E27FC236}">
                <a16:creationId xmlns:a16="http://schemas.microsoft.com/office/drawing/2014/main" id="{7EFFE9D8-6B31-D400-338E-DA7E89F26193}"/>
              </a:ext>
            </a:extLst>
          </p:cNvPr>
          <p:cNvSpPr>
            <a:spLocks noGrp="1"/>
          </p:cNvSpPr>
          <p:nvPr>
            <p:ph type="pic" sz="quarter" idx="10"/>
          </p:nvPr>
        </p:nvSpPr>
        <p:spPr>
          <a:xfrm>
            <a:off x="6086475" y="0"/>
            <a:ext cx="3057525" cy="5143500"/>
          </a:xfrm>
        </p:spPr>
        <p:txBody>
          <a:bodyPr/>
          <a:lstStyle/>
          <a:p>
            <a:endParaRPr lang="it-IT" dirty="0"/>
          </a:p>
        </p:txBody>
      </p:sp>
    </p:spTree>
    <p:extLst>
      <p:ext uri="{BB962C8B-B14F-4D97-AF65-F5344CB8AC3E}">
        <p14:creationId xmlns:p14="http://schemas.microsoft.com/office/powerpoint/2010/main" val="4215387899"/>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estazione sezione">
    <p:bg>
      <p:bgPr>
        <a:solidFill>
          <a:srgbClr val="1D71B8"/>
        </a:solidFill>
        <a:effectLst/>
      </p:bgPr>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1FB50CA6-171D-1B0C-20B6-4CD28D8D280E}"/>
              </a:ext>
            </a:extLst>
          </p:cNvPr>
          <p:cNvSpPr/>
          <p:nvPr userDrawn="1"/>
        </p:nvSpPr>
        <p:spPr>
          <a:xfrm>
            <a:off x="0" y="0"/>
            <a:ext cx="9143999" cy="5143500"/>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Title 1"/>
          <p:cNvSpPr>
            <a:spLocks noGrp="1"/>
          </p:cNvSpPr>
          <p:nvPr>
            <p:ph type="title" hasCustomPrompt="1"/>
          </p:nvPr>
        </p:nvSpPr>
        <p:spPr>
          <a:xfrm>
            <a:off x="250825" y="1166813"/>
            <a:ext cx="5726113" cy="1622261"/>
          </a:xfrm>
        </p:spPr>
        <p:txBody>
          <a:bodyPr lIns="0" tIns="0" rIns="0" bIns="0" anchor="t" anchorCtr="0"/>
          <a:lstStyle>
            <a:lvl1pPr>
              <a:lnSpc>
                <a:spcPts val="4700"/>
              </a:lnSpc>
              <a:defRPr sz="4500" b="1">
                <a:solidFill>
                  <a:schemeClr val="bg1"/>
                </a:solidFill>
              </a:defRPr>
            </a:lvl1pPr>
          </a:lstStyle>
          <a:p>
            <a:r>
              <a:rPr lang="it-IT" dirty="0"/>
              <a:t>Inserisci qui</a:t>
            </a:r>
            <a:br>
              <a:rPr lang="it-IT" dirty="0"/>
            </a:br>
            <a:r>
              <a:rPr lang="it-IT" dirty="0"/>
              <a:t>il titolo</a:t>
            </a:r>
            <a:endParaRPr lang="en-US" dirty="0"/>
          </a:p>
        </p:txBody>
      </p:sp>
      <p:sp>
        <p:nvSpPr>
          <p:cNvPr id="3" name="Text Placeholder 2"/>
          <p:cNvSpPr>
            <a:spLocks noGrp="1"/>
          </p:cNvSpPr>
          <p:nvPr>
            <p:ph type="body" idx="1" hasCustomPrompt="1"/>
          </p:nvPr>
        </p:nvSpPr>
        <p:spPr>
          <a:xfrm>
            <a:off x="250825" y="2392363"/>
            <a:ext cx="5726113" cy="847226"/>
          </a:xfrm>
        </p:spPr>
        <p:txBody>
          <a:bodyPr lIns="0" tIns="0" rIns="0" bIns="0"/>
          <a:lstStyle>
            <a:lvl1pPr marL="0" indent="0">
              <a:spcBef>
                <a:spcPts val="0"/>
              </a:spcBef>
              <a:buNone/>
              <a:defRPr sz="20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it-IT" dirty="0"/>
              <a:t>Inserisci qui </a:t>
            </a:r>
          </a:p>
          <a:p>
            <a:pPr lvl="0"/>
            <a:r>
              <a:rPr lang="it-IT" dirty="0"/>
              <a:t>il sottotitolo</a:t>
            </a:r>
          </a:p>
        </p:txBody>
      </p:sp>
      <p:sp>
        <p:nvSpPr>
          <p:cNvPr id="5" name="Footer Placeholder 4"/>
          <p:cNvSpPr>
            <a:spLocks noGrp="1"/>
          </p:cNvSpPr>
          <p:nvPr>
            <p:ph type="ftr" sz="quarter" idx="11"/>
          </p:nvPr>
        </p:nvSpPr>
        <p:spPr>
          <a:xfrm>
            <a:off x="250825" y="3431276"/>
            <a:ext cx="1066673" cy="273844"/>
          </a:xfrm>
          <a:prstGeom prst="rect">
            <a:avLst/>
          </a:prstGeom>
        </p:spPr>
        <p:txBody>
          <a:bodyPr lIns="0" tIns="0" rIns="0" bIns="0" anchor="t" anchorCtr="0"/>
          <a:lstStyle>
            <a:lvl1pPr algn="l">
              <a:defRPr sz="1400" b="1">
                <a:solidFill>
                  <a:schemeClr val="bg1"/>
                </a:solidFill>
                <a:latin typeface="Arial" panose="020B0604020202020204" pitchFamily="34" charset="0"/>
                <a:cs typeface="Arial" panose="020B0604020202020204" pitchFamily="34" charset="0"/>
              </a:defRPr>
            </a:lvl1pPr>
          </a:lstStyle>
          <a:p>
            <a:r>
              <a:rPr lang="it-IT" dirty="0"/>
              <a:t>RELATORE: </a:t>
            </a:r>
          </a:p>
        </p:txBody>
      </p:sp>
      <p:pic>
        <p:nvPicPr>
          <p:cNvPr id="7" name="Immagine 6">
            <a:extLst>
              <a:ext uri="{FF2B5EF4-FFF2-40B4-BE49-F238E27FC236}">
                <a16:creationId xmlns:a16="http://schemas.microsoft.com/office/drawing/2014/main" id="{B82B7AD0-0626-23F8-0A8E-CCF8B713342F}"/>
              </a:ext>
            </a:extLst>
          </p:cNvPr>
          <p:cNvPicPr>
            <a:picLocks noChangeAspect="1"/>
          </p:cNvPicPr>
          <p:nvPr userDrawn="1"/>
        </p:nvPicPr>
        <p:blipFill rotWithShape="1">
          <a:blip r:embed="rId2"/>
          <a:srcRect l="-5445" t="-4877" r="50000" b="-2635"/>
          <a:stretch/>
        </p:blipFill>
        <p:spPr>
          <a:xfrm>
            <a:off x="6740434" y="-1570"/>
            <a:ext cx="2403566" cy="4687129"/>
          </a:xfrm>
          <a:prstGeom prst="rect">
            <a:avLst/>
          </a:prstGeom>
        </p:spPr>
      </p:pic>
      <p:pic>
        <p:nvPicPr>
          <p:cNvPr id="9" name="Immagine 8">
            <a:extLst>
              <a:ext uri="{FF2B5EF4-FFF2-40B4-BE49-F238E27FC236}">
                <a16:creationId xmlns:a16="http://schemas.microsoft.com/office/drawing/2014/main" id="{94AF6C38-DF9B-B8CA-2F9C-571CD3435E44}"/>
              </a:ext>
            </a:extLst>
          </p:cNvPr>
          <p:cNvPicPr>
            <a:picLocks noChangeAspect="1"/>
          </p:cNvPicPr>
          <p:nvPr userDrawn="1"/>
        </p:nvPicPr>
        <p:blipFill>
          <a:blip r:embed="rId3"/>
          <a:srcRect/>
          <a:stretch/>
        </p:blipFill>
        <p:spPr>
          <a:xfrm>
            <a:off x="257175" y="234950"/>
            <a:ext cx="1060323" cy="588235"/>
          </a:xfrm>
          <a:prstGeom prst="rect">
            <a:avLst/>
          </a:prstGeom>
        </p:spPr>
      </p:pic>
      <p:sp>
        <p:nvSpPr>
          <p:cNvPr id="6" name="Segnaposto testo 5">
            <a:extLst>
              <a:ext uri="{FF2B5EF4-FFF2-40B4-BE49-F238E27FC236}">
                <a16:creationId xmlns:a16="http://schemas.microsoft.com/office/drawing/2014/main" id="{D669448E-5594-9860-55D3-BFD7CF0F58D3}"/>
              </a:ext>
            </a:extLst>
          </p:cNvPr>
          <p:cNvSpPr>
            <a:spLocks noGrp="1"/>
          </p:cNvSpPr>
          <p:nvPr>
            <p:ph type="body" sz="quarter" idx="13"/>
          </p:nvPr>
        </p:nvSpPr>
        <p:spPr>
          <a:xfrm>
            <a:off x="1444612" y="3431822"/>
            <a:ext cx="4832350" cy="564445"/>
          </a:xfrm>
        </p:spPr>
        <p:txBody>
          <a:bodyPr lIns="0" tIns="0" rIns="0" bIns="0" anchor="t" anchorCtr="0"/>
          <a:lstStyle>
            <a:lvl1pPr marL="0" indent="0">
              <a:buNone/>
              <a:defRPr sz="1400" b="0">
                <a:solidFill>
                  <a:schemeClr val="bg1"/>
                </a:solidFill>
              </a:defRPr>
            </a:lvl1pPr>
            <a:lvl2pPr marL="342900" indent="0">
              <a:buNone/>
              <a:defRPr sz="1400" b="0">
                <a:solidFill>
                  <a:schemeClr val="bg1"/>
                </a:solidFill>
              </a:defRPr>
            </a:lvl2pPr>
            <a:lvl3pPr marL="685800" indent="0">
              <a:buNone/>
              <a:defRPr sz="1400" b="0">
                <a:solidFill>
                  <a:schemeClr val="bg1"/>
                </a:solidFill>
              </a:defRPr>
            </a:lvl3pPr>
            <a:lvl4pPr marL="1028700" indent="0">
              <a:buNone/>
              <a:defRPr sz="1500" b="0">
                <a:solidFill>
                  <a:schemeClr val="bg1"/>
                </a:solidFill>
              </a:defRPr>
            </a:lvl4pPr>
            <a:lvl5pPr marL="1371600" indent="0">
              <a:buNone/>
              <a:defRPr sz="1500" b="0">
                <a:solidFill>
                  <a:schemeClr val="bg1"/>
                </a:solidFill>
              </a:defRPr>
            </a:lvl5pPr>
          </a:lstStyle>
          <a:p>
            <a:pPr lvl="0"/>
            <a:r>
              <a:rPr lang="it-IT" dirty="0"/>
              <a:t>Fare clic per modificare gli stili del testo dello schema</a:t>
            </a:r>
          </a:p>
        </p:txBody>
      </p:sp>
      <p:grpSp>
        <p:nvGrpSpPr>
          <p:cNvPr id="20" name="Gruppo 19">
            <a:extLst>
              <a:ext uri="{FF2B5EF4-FFF2-40B4-BE49-F238E27FC236}">
                <a16:creationId xmlns:a16="http://schemas.microsoft.com/office/drawing/2014/main" id="{6751285E-2776-E860-25FE-86B2E0F4B477}"/>
              </a:ext>
            </a:extLst>
          </p:cNvPr>
          <p:cNvGrpSpPr/>
          <p:nvPr userDrawn="1"/>
        </p:nvGrpSpPr>
        <p:grpSpPr>
          <a:xfrm>
            <a:off x="162000" y="4687199"/>
            <a:ext cx="2856010" cy="375011"/>
            <a:chOff x="162000" y="4686820"/>
            <a:chExt cx="2856010" cy="375011"/>
          </a:xfrm>
        </p:grpSpPr>
        <p:sp>
          <p:nvSpPr>
            <p:cNvPr id="11" name="Text Placeholder 3">
              <a:extLst>
                <a:ext uri="{FF2B5EF4-FFF2-40B4-BE49-F238E27FC236}">
                  <a16:creationId xmlns:a16="http://schemas.microsoft.com/office/drawing/2014/main" id="{DC3B697B-6102-2826-48F8-0E8D970FCB75}"/>
                </a:ext>
              </a:extLst>
            </p:cNvPr>
            <p:cNvSpPr txBox="1">
              <a:spLocks/>
            </p:cNvSpPr>
            <p:nvPr userDrawn="1"/>
          </p:nvSpPr>
          <p:spPr>
            <a:xfrm>
              <a:off x="162000" y="4730021"/>
              <a:ext cx="780752" cy="201461"/>
            </a:xfrm>
            <a:prstGeom prst="rect">
              <a:avLst/>
            </a:prstGeom>
          </p:spPr>
          <p:txBody>
            <a:bodyPr/>
            <a:lstStyle>
              <a:lvl1pPr marL="0" indent="0" algn="l" defTabSz="685800" rtl="0" eaLnBrk="1" latinLnBrk="0" hangingPunct="1">
                <a:lnSpc>
                  <a:spcPts val="800"/>
                </a:lnSpc>
                <a:spcBef>
                  <a:spcPts val="0"/>
                </a:spcBef>
                <a:buFont typeface="Arial" panose="020B0604020202020204" pitchFamily="34" charset="0"/>
                <a:buNone/>
                <a:defRPr sz="600" b="0" i="0" kern="1200" spc="50" baseline="0">
                  <a:solidFill>
                    <a:schemeClr val="tx1"/>
                  </a:solidFill>
                  <a:latin typeface="Arial" panose="020B0604020202020204" pitchFamily="34" charset="0"/>
                  <a:ea typeface="+mn-ea"/>
                  <a:cs typeface="Arial" panose="020B0604020202020204"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050" b="0" i="0" kern="1200">
                  <a:solidFill>
                    <a:schemeClr val="tx1"/>
                  </a:solidFill>
                  <a:latin typeface="Arial" panose="020B0604020202020204"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900" b="0" i="0" kern="1200">
                  <a:solidFill>
                    <a:schemeClr val="tx1"/>
                  </a:solidFill>
                  <a:latin typeface="Arial" panose="020B0604020202020204"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750" b="0" i="0" kern="1200">
                  <a:solidFill>
                    <a:schemeClr val="tx1"/>
                  </a:solidFill>
                  <a:latin typeface="Arial" panose="020B0604020202020204"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750" b="0" i="0" kern="1200">
                  <a:solidFill>
                    <a:schemeClr val="tx1"/>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it-IT" dirty="0">
                  <a:solidFill>
                    <a:schemeClr val="bg1"/>
                  </a:solidFill>
                </a:rPr>
                <a:t>ORGANIZERS</a:t>
              </a:r>
            </a:p>
          </p:txBody>
        </p:sp>
        <p:pic>
          <p:nvPicPr>
            <p:cNvPr id="12" name="Immagine 11">
              <a:extLst>
                <a:ext uri="{FF2B5EF4-FFF2-40B4-BE49-F238E27FC236}">
                  <a16:creationId xmlns:a16="http://schemas.microsoft.com/office/drawing/2014/main" id="{638C45ED-DBAC-B6A2-3918-597F5F195393}"/>
                </a:ext>
              </a:extLst>
            </p:cNvPr>
            <p:cNvPicPr>
              <a:picLocks noChangeAspect="1"/>
            </p:cNvPicPr>
            <p:nvPr userDrawn="1"/>
          </p:nvPicPr>
          <p:blipFill>
            <a:blip r:embed="rId4"/>
            <a:srcRect/>
            <a:stretch/>
          </p:blipFill>
          <p:spPr>
            <a:xfrm>
              <a:off x="1018800" y="4686820"/>
              <a:ext cx="1015200" cy="375011"/>
            </a:xfrm>
            <a:prstGeom prst="rect">
              <a:avLst/>
            </a:prstGeom>
          </p:spPr>
        </p:pic>
        <p:pic>
          <p:nvPicPr>
            <p:cNvPr id="13" name="Immagine 12">
              <a:extLst>
                <a:ext uri="{FF2B5EF4-FFF2-40B4-BE49-F238E27FC236}">
                  <a16:creationId xmlns:a16="http://schemas.microsoft.com/office/drawing/2014/main" id="{E9CFDD58-8FB9-7E5F-8CF8-39E1D51FD112}"/>
                </a:ext>
              </a:extLst>
            </p:cNvPr>
            <p:cNvPicPr>
              <a:picLocks noChangeAspect="1"/>
            </p:cNvPicPr>
            <p:nvPr userDrawn="1"/>
          </p:nvPicPr>
          <p:blipFill>
            <a:blip r:embed="rId5"/>
            <a:srcRect/>
            <a:stretch/>
          </p:blipFill>
          <p:spPr>
            <a:xfrm>
              <a:off x="2091600" y="4863221"/>
              <a:ext cx="926410" cy="130905"/>
            </a:xfrm>
            <a:prstGeom prst="rect">
              <a:avLst/>
            </a:prstGeom>
          </p:spPr>
        </p:pic>
      </p:grpSp>
      <p:cxnSp>
        <p:nvCxnSpPr>
          <p:cNvPr id="14" name="Connettore 1 13">
            <a:extLst>
              <a:ext uri="{FF2B5EF4-FFF2-40B4-BE49-F238E27FC236}">
                <a16:creationId xmlns:a16="http://schemas.microsoft.com/office/drawing/2014/main" id="{FD87239A-938A-8860-6B71-B9E06635FEB5}"/>
              </a:ext>
            </a:extLst>
          </p:cNvPr>
          <p:cNvCxnSpPr>
            <a:cxnSpLocks/>
          </p:cNvCxnSpPr>
          <p:nvPr userDrawn="1"/>
        </p:nvCxnSpPr>
        <p:spPr>
          <a:xfrm>
            <a:off x="250825" y="4663962"/>
            <a:ext cx="86423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2" name="Gruppo 21">
            <a:extLst>
              <a:ext uri="{FF2B5EF4-FFF2-40B4-BE49-F238E27FC236}">
                <a16:creationId xmlns:a16="http://schemas.microsoft.com/office/drawing/2014/main" id="{0286B607-AD60-27D5-A9EA-0E192BB768E9}"/>
              </a:ext>
            </a:extLst>
          </p:cNvPr>
          <p:cNvGrpSpPr/>
          <p:nvPr userDrawn="1"/>
        </p:nvGrpSpPr>
        <p:grpSpPr>
          <a:xfrm>
            <a:off x="6872317" y="4657725"/>
            <a:ext cx="2052123" cy="523874"/>
            <a:chOff x="6872317" y="4657725"/>
            <a:chExt cx="2052123" cy="523874"/>
          </a:xfrm>
        </p:grpSpPr>
        <p:sp>
          <p:nvSpPr>
            <p:cNvPr id="10" name="Text Placeholder 3">
              <a:extLst>
                <a:ext uri="{FF2B5EF4-FFF2-40B4-BE49-F238E27FC236}">
                  <a16:creationId xmlns:a16="http://schemas.microsoft.com/office/drawing/2014/main" id="{75DFF8FC-D9A8-C31D-2BD0-3A77FA7F58DF}"/>
                </a:ext>
              </a:extLst>
            </p:cNvPr>
            <p:cNvSpPr txBox="1">
              <a:spLocks/>
            </p:cNvSpPr>
            <p:nvPr userDrawn="1"/>
          </p:nvSpPr>
          <p:spPr>
            <a:xfrm>
              <a:off x="6872317" y="4728614"/>
              <a:ext cx="1559540" cy="201461"/>
            </a:xfrm>
            <a:prstGeom prst="rect">
              <a:avLst/>
            </a:prstGeom>
          </p:spPr>
          <p:txBody>
            <a:bodyPr/>
            <a:lstStyle>
              <a:lvl1pPr marL="0" indent="0" algn="r" defTabSz="685800" rtl="0" eaLnBrk="1" latinLnBrk="0" hangingPunct="1">
                <a:lnSpc>
                  <a:spcPts val="800"/>
                </a:lnSpc>
                <a:spcBef>
                  <a:spcPts val="0"/>
                </a:spcBef>
                <a:buFont typeface="Arial" panose="020B0604020202020204" pitchFamily="34" charset="0"/>
                <a:buNone/>
                <a:defRPr sz="600" b="0" i="0" kern="1200" spc="50" baseline="0">
                  <a:solidFill>
                    <a:schemeClr val="tx1"/>
                  </a:solidFill>
                  <a:latin typeface="Arial" panose="020B0604020202020204" pitchFamily="34" charset="0"/>
                  <a:ea typeface="+mn-ea"/>
                  <a:cs typeface="Arial" panose="020B0604020202020204"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050" b="0" i="0" kern="1200">
                  <a:solidFill>
                    <a:schemeClr val="tx1"/>
                  </a:solidFill>
                  <a:latin typeface="Arial" panose="020B0604020202020204"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900" b="0" i="0" kern="1200">
                  <a:solidFill>
                    <a:schemeClr val="tx1"/>
                  </a:solidFill>
                  <a:latin typeface="Arial" panose="020B0604020202020204"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750" b="0" i="0" kern="1200">
                  <a:solidFill>
                    <a:schemeClr val="tx1"/>
                  </a:solidFill>
                  <a:latin typeface="Arial" panose="020B0604020202020204"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750" b="0" i="0" kern="1200">
                  <a:solidFill>
                    <a:schemeClr val="tx1"/>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it-IT" dirty="0">
                  <a:solidFill>
                    <a:schemeClr val="bg1"/>
                  </a:solidFill>
                </a:rPr>
                <a:t>CONFERENCE ORGANIZERS</a:t>
              </a:r>
            </a:p>
          </p:txBody>
        </p:sp>
        <p:pic>
          <p:nvPicPr>
            <p:cNvPr id="18" name="Immagine 17" descr="Immagine che contiene testo, Carattere, Elementi grafici, grafica&#10;&#10;Descrizione generata automaticamente">
              <a:extLst>
                <a:ext uri="{FF2B5EF4-FFF2-40B4-BE49-F238E27FC236}">
                  <a16:creationId xmlns:a16="http://schemas.microsoft.com/office/drawing/2014/main" id="{46F0F6D3-FD02-18F5-9D3E-A73F4BF1FB96}"/>
                </a:ext>
              </a:extLst>
            </p:cNvPr>
            <p:cNvPicPr>
              <a:picLocks noChangeAspect="1"/>
            </p:cNvPicPr>
            <p:nvPr userDrawn="1"/>
          </p:nvPicPr>
          <p:blipFill>
            <a:blip r:embed="rId6"/>
            <a:stretch>
              <a:fillRect/>
            </a:stretch>
          </p:blipFill>
          <p:spPr>
            <a:xfrm>
              <a:off x="8400566" y="4657725"/>
              <a:ext cx="523874" cy="523874"/>
            </a:xfrm>
            <a:prstGeom prst="rect">
              <a:avLst/>
            </a:prstGeom>
          </p:spPr>
        </p:pic>
      </p:grpSp>
    </p:spTree>
    <p:extLst>
      <p:ext uri="{BB962C8B-B14F-4D97-AF65-F5344CB8AC3E}">
        <p14:creationId xmlns:p14="http://schemas.microsoft.com/office/powerpoint/2010/main" val="34039022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estazione sezione">
    <p:bg>
      <p:bgPr>
        <a:solidFill>
          <a:srgbClr val="1D71B8"/>
        </a:solidFill>
        <a:effectLst/>
      </p:bgPr>
    </p:bg>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B1D272DA-8263-DF84-872F-CD0BB90D3D9E}"/>
              </a:ext>
            </a:extLst>
          </p:cNvPr>
          <p:cNvPicPr>
            <a:picLocks noChangeAspect="1"/>
          </p:cNvPicPr>
          <p:nvPr userDrawn="1"/>
        </p:nvPicPr>
        <p:blipFill rotWithShape="1">
          <a:blip r:embed="rId2"/>
          <a:srcRect t="42888" b="3962"/>
          <a:stretch/>
        </p:blipFill>
        <p:spPr>
          <a:xfrm flipH="1">
            <a:off x="0" y="135270"/>
            <a:ext cx="9144000" cy="5143500"/>
          </a:xfrm>
          <a:prstGeom prst="rect">
            <a:avLst/>
          </a:prstGeom>
        </p:spPr>
      </p:pic>
      <p:sp>
        <p:nvSpPr>
          <p:cNvPr id="2" name="Title 1"/>
          <p:cNvSpPr>
            <a:spLocks noGrp="1"/>
          </p:cNvSpPr>
          <p:nvPr>
            <p:ph type="title" hasCustomPrompt="1"/>
          </p:nvPr>
        </p:nvSpPr>
        <p:spPr>
          <a:xfrm>
            <a:off x="250825" y="1166813"/>
            <a:ext cx="5726113" cy="1622261"/>
          </a:xfrm>
        </p:spPr>
        <p:txBody>
          <a:bodyPr lIns="0" tIns="0" rIns="0" bIns="0" anchor="t" anchorCtr="0"/>
          <a:lstStyle>
            <a:lvl1pPr>
              <a:lnSpc>
                <a:spcPts val="4700"/>
              </a:lnSpc>
              <a:defRPr sz="4500" b="1">
                <a:solidFill>
                  <a:schemeClr val="bg1"/>
                </a:solidFill>
              </a:defRPr>
            </a:lvl1pPr>
          </a:lstStyle>
          <a:p>
            <a:r>
              <a:rPr lang="it-IT" dirty="0"/>
              <a:t>Inserisci qui</a:t>
            </a:r>
            <a:br>
              <a:rPr lang="it-IT" dirty="0"/>
            </a:br>
            <a:r>
              <a:rPr lang="it-IT" dirty="0"/>
              <a:t>il titolo</a:t>
            </a:r>
            <a:endParaRPr lang="en-US" dirty="0"/>
          </a:p>
        </p:txBody>
      </p:sp>
      <p:sp>
        <p:nvSpPr>
          <p:cNvPr id="3" name="Text Placeholder 2"/>
          <p:cNvSpPr>
            <a:spLocks noGrp="1"/>
          </p:cNvSpPr>
          <p:nvPr>
            <p:ph type="body" idx="1" hasCustomPrompt="1"/>
          </p:nvPr>
        </p:nvSpPr>
        <p:spPr>
          <a:xfrm>
            <a:off x="250825" y="2392363"/>
            <a:ext cx="5726113" cy="847226"/>
          </a:xfrm>
        </p:spPr>
        <p:txBody>
          <a:bodyPr lIns="0" tIns="0" rIns="0" bIns="0"/>
          <a:lstStyle>
            <a:lvl1pPr marL="0" indent="0">
              <a:spcBef>
                <a:spcPts val="0"/>
              </a:spcBef>
              <a:buNone/>
              <a:defRPr sz="20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it-IT" dirty="0"/>
              <a:t>Inserisci qui </a:t>
            </a:r>
          </a:p>
          <a:p>
            <a:pPr lvl="0"/>
            <a:r>
              <a:rPr lang="it-IT" dirty="0"/>
              <a:t>il sottotitolo</a:t>
            </a:r>
          </a:p>
        </p:txBody>
      </p:sp>
      <p:sp>
        <p:nvSpPr>
          <p:cNvPr id="5" name="Footer Placeholder 4"/>
          <p:cNvSpPr>
            <a:spLocks noGrp="1"/>
          </p:cNvSpPr>
          <p:nvPr>
            <p:ph type="ftr" sz="quarter" idx="11"/>
          </p:nvPr>
        </p:nvSpPr>
        <p:spPr>
          <a:xfrm>
            <a:off x="250825" y="3431276"/>
            <a:ext cx="1066673" cy="273844"/>
          </a:xfrm>
          <a:prstGeom prst="rect">
            <a:avLst/>
          </a:prstGeom>
        </p:spPr>
        <p:txBody>
          <a:bodyPr lIns="0" tIns="0" rIns="0" bIns="0" anchor="t" anchorCtr="0"/>
          <a:lstStyle>
            <a:lvl1pPr algn="l">
              <a:defRPr sz="1400" b="1">
                <a:solidFill>
                  <a:schemeClr val="bg1"/>
                </a:solidFill>
                <a:latin typeface="Arial" panose="020B0604020202020204" pitchFamily="34" charset="0"/>
                <a:cs typeface="Arial" panose="020B0604020202020204" pitchFamily="34" charset="0"/>
              </a:defRPr>
            </a:lvl1pPr>
          </a:lstStyle>
          <a:p>
            <a:r>
              <a:rPr lang="it-IT" dirty="0"/>
              <a:t>RELATORE: </a:t>
            </a:r>
          </a:p>
        </p:txBody>
      </p:sp>
      <p:pic>
        <p:nvPicPr>
          <p:cNvPr id="7" name="Immagine 6">
            <a:extLst>
              <a:ext uri="{FF2B5EF4-FFF2-40B4-BE49-F238E27FC236}">
                <a16:creationId xmlns:a16="http://schemas.microsoft.com/office/drawing/2014/main" id="{B82B7AD0-0626-23F8-0A8E-CCF8B713342F}"/>
              </a:ext>
            </a:extLst>
          </p:cNvPr>
          <p:cNvPicPr>
            <a:picLocks noChangeAspect="1"/>
          </p:cNvPicPr>
          <p:nvPr userDrawn="1"/>
        </p:nvPicPr>
        <p:blipFill rotWithShape="1">
          <a:blip r:embed="rId3"/>
          <a:srcRect l="-5445" t="-4877" r="50000" b="-2635"/>
          <a:stretch/>
        </p:blipFill>
        <p:spPr>
          <a:xfrm>
            <a:off x="6740434" y="-1570"/>
            <a:ext cx="2403566" cy="4687129"/>
          </a:xfrm>
          <a:prstGeom prst="rect">
            <a:avLst/>
          </a:prstGeom>
        </p:spPr>
      </p:pic>
      <p:pic>
        <p:nvPicPr>
          <p:cNvPr id="9" name="Immagine 8">
            <a:extLst>
              <a:ext uri="{FF2B5EF4-FFF2-40B4-BE49-F238E27FC236}">
                <a16:creationId xmlns:a16="http://schemas.microsoft.com/office/drawing/2014/main" id="{94AF6C38-DF9B-B8CA-2F9C-571CD3435E44}"/>
              </a:ext>
            </a:extLst>
          </p:cNvPr>
          <p:cNvPicPr>
            <a:picLocks noChangeAspect="1"/>
          </p:cNvPicPr>
          <p:nvPr userDrawn="1"/>
        </p:nvPicPr>
        <p:blipFill>
          <a:blip r:embed="rId4"/>
          <a:srcRect/>
          <a:stretch/>
        </p:blipFill>
        <p:spPr>
          <a:xfrm>
            <a:off x="257175" y="234950"/>
            <a:ext cx="1060323" cy="588235"/>
          </a:xfrm>
          <a:prstGeom prst="rect">
            <a:avLst/>
          </a:prstGeom>
        </p:spPr>
      </p:pic>
      <p:sp>
        <p:nvSpPr>
          <p:cNvPr id="6" name="Segnaposto testo 5">
            <a:extLst>
              <a:ext uri="{FF2B5EF4-FFF2-40B4-BE49-F238E27FC236}">
                <a16:creationId xmlns:a16="http://schemas.microsoft.com/office/drawing/2014/main" id="{D669448E-5594-9860-55D3-BFD7CF0F58D3}"/>
              </a:ext>
            </a:extLst>
          </p:cNvPr>
          <p:cNvSpPr>
            <a:spLocks noGrp="1"/>
          </p:cNvSpPr>
          <p:nvPr>
            <p:ph type="body" sz="quarter" idx="13"/>
          </p:nvPr>
        </p:nvSpPr>
        <p:spPr>
          <a:xfrm>
            <a:off x="1444612" y="3431822"/>
            <a:ext cx="4832350" cy="564445"/>
          </a:xfrm>
        </p:spPr>
        <p:txBody>
          <a:bodyPr lIns="0" tIns="0" rIns="0" bIns="0" anchor="t" anchorCtr="0"/>
          <a:lstStyle>
            <a:lvl1pPr marL="0" indent="0">
              <a:buNone/>
              <a:defRPr sz="1400" b="0">
                <a:solidFill>
                  <a:schemeClr val="bg1"/>
                </a:solidFill>
              </a:defRPr>
            </a:lvl1pPr>
            <a:lvl2pPr marL="342900" indent="0">
              <a:buNone/>
              <a:defRPr sz="1400" b="0">
                <a:solidFill>
                  <a:schemeClr val="bg1"/>
                </a:solidFill>
              </a:defRPr>
            </a:lvl2pPr>
            <a:lvl3pPr marL="685800" indent="0">
              <a:buNone/>
              <a:defRPr sz="1400" b="0">
                <a:solidFill>
                  <a:schemeClr val="bg1"/>
                </a:solidFill>
              </a:defRPr>
            </a:lvl3pPr>
            <a:lvl4pPr marL="1028700" indent="0">
              <a:buNone/>
              <a:defRPr sz="1500" b="0">
                <a:solidFill>
                  <a:schemeClr val="bg1"/>
                </a:solidFill>
              </a:defRPr>
            </a:lvl4pPr>
            <a:lvl5pPr marL="1371600" indent="0">
              <a:buNone/>
              <a:defRPr sz="1500" b="0">
                <a:solidFill>
                  <a:schemeClr val="bg1"/>
                </a:solidFill>
              </a:defRPr>
            </a:lvl5pPr>
          </a:lstStyle>
          <a:p>
            <a:pPr lvl="0"/>
            <a:r>
              <a:rPr lang="it-IT" dirty="0"/>
              <a:t>Fare clic per modificare gli stili del testo dello schema</a:t>
            </a:r>
          </a:p>
        </p:txBody>
      </p:sp>
      <p:cxnSp>
        <p:nvCxnSpPr>
          <p:cNvPr id="14" name="Connettore 1 13">
            <a:extLst>
              <a:ext uri="{FF2B5EF4-FFF2-40B4-BE49-F238E27FC236}">
                <a16:creationId xmlns:a16="http://schemas.microsoft.com/office/drawing/2014/main" id="{FD87239A-938A-8860-6B71-B9E06635FEB5}"/>
              </a:ext>
            </a:extLst>
          </p:cNvPr>
          <p:cNvCxnSpPr>
            <a:cxnSpLocks/>
          </p:cNvCxnSpPr>
          <p:nvPr userDrawn="1"/>
        </p:nvCxnSpPr>
        <p:spPr>
          <a:xfrm>
            <a:off x="250825" y="4663962"/>
            <a:ext cx="86423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2" name="Gruppo 21">
            <a:extLst>
              <a:ext uri="{FF2B5EF4-FFF2-40B4-BE49-F238E27FC236}">
                <a16:creationId xmlns:a16="http://schemas.microsoft.com/office/drawing/2014/main" id="{0286B607-AD60-27D5-A9EA-0E192BB768E9}"/>
              </a:ext>
            </a:extLst>
          </p:cNvPr>
          <p:cNvGrpSpPr/>
          <p:nvPr userDrawn="1"/>
        </p:nvGrpSpPr>
        <p:grpSpPr>
          <a:xfrm>
            <a:off x="6872317" y="4657725"/>
            <a:ext cx="2052123" cy="523874"/>
            <a:chOff x="6872317" y="4657725"/>
            <a:chExt cx="2052123" cy="523874"/>
          </a:xfrm>
        </p:grpSpPr>
        <p:sp>
          <p:nvSpPr>
            <p:cNvPr id="10" name="Text Placeholder 3">
              <a:extLst>
                <a:ext uri="{FF2B5EF4-FFF2-40B4-BE49-F238E27FC236}">
                  <a16:creationId xmlns:a16="http://schemas.microsoft.com/office/drawing/2014/main" id="{75DFF8FC-D9A8-C31D-2BD0-3A77FA7F58DF}"/>
                </a:ext>
              </a:extLst>
            </p:cNvPr>
            <p:cNvSpPr txBox="1">
              <a:spLocks/>
            </p:cNvSpPr>
            <p:nvPr userDrawn="1"/>
          </p:nvSpPr>
          <p:spPr>
            <a:xfrm>
              <a:off x="6872317" y="4728614"/>
              <a:ext cx="1559540" cy="201461"/>
            </a:xfrm>
            <a:prstGeom prst="rect">
              <a:avLst/>
            </a:prstGeom>
          </p:spPr>
          <p:txBody>
            <a:bodyPr/>
            <a:lstStyle>
              <a:lvl1pPr marL="0" indent="0" algn="r" defTabSz="685800" rtl="0" eaLnBrk="1" latinLnBrk="0" hangingPunct="1">
                <a:lnSpc>
                  <a:spcPts val="800"/>
                </a:lnSpc>
                <a:spcBef>
                  <a:spcPts val="0"/>
                </a:spcBef>
                <a:buFont typeface="Arial" panose="020B0604020202020204" pitchFamily="34" charset="0"/>
                <a:buNone/>
                <a:defRPr sz="600" b="0" i="0" kern="1200" spc="50" baseline="0">
                  <a:solidFill>
                    <a:schemeClr val="tx1"/>
                  </a:solidFill>
                  <a:latin typeface="Arial" panose="020B0604020202020204" pitchFamily="34" charset="0"/>
                  <a:ea typeface="+mn-ea"/>
                  <a:cs typeface="Arial" panose="020B0604020202020204"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050" b="0" i="0" kern="1200">
                  <a:solidFill>
                    <a:schemeClr val="tx1"/>
                  </a:solidFill>
                  <a:latin typeface="Arial" panose="020B0604020202020204"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900" b="0" i="0" kern="1200">
                  <a:solidFill>
                    <a:schemeClr val="tx1"/>
                  </a:solidFill>
                  <a:latin typeface="Arial" panose="020B0604020202020204"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750" b="0" i="0" kern="1200">
                  <a:solidFill>
                    <a:schemeClr val="tx1"/>
                  </a:solidFill>
                  <a:latin typeface="Arial" panose="020B0604020202020204"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750" b="0" i="0" kern="1200">
                  <a:solidFill>
                    <a:schemeClr val="tx1"/>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it-IT" dirty="0">
                  <a:solidFill>
                    <a:schemeClr val="bg1"/>
                  </a:solidFill>
                </a:rPr>
                <a:t>CONFERENCE ORGANIZERS</a:t>
              </a:r>
            </a:p>
          </p:txBody>
        </p:sp>
        <p:pic>
          <p:nvPicPr>
            <p:cNvPr id="18" name="Immagine 17" descr="Immagine che contiene testo, Carattere, Elementi grafici, grafica&#10;&#10;Descrizione generata automaticamente">
              <a:extLst>
                <a:ext uri="{FF2B5EF4-FFF2-40B4-BE49-F238E27FC236}">
                  <a16:creationId xmlns:a16="http://schemas.microsoft.com/office/drawing/2014/main" id="{46F0F6D3-FD02-18F5-9D3E-A73F4BF1FB96}"/>
                </a:ext>
              </a:extLst>
            </p:cNvPr>
            <p:cNvPicPr>
              <a:picLocks noChangeAspect="1"/>
            </p:cNvPicPr>
            <p:nvPr userDrawn="1"/>
          </p:nvPicPr>
          <p:blipFill>
            <a:blip r:embed="rId5"/>
            <a:stretch>
              <a:fillRect/>
            </a:stretch>
          </p:blipFill>
          <p:spPr>
            <a:xfrm>
              <a:off x="8400566" y="4657725"/>
              <a:ext cx="523874" cy="523874"/>
            </a:xfrm>
            <a:prstGeom prst="rect">
              <a:avLst/>
            </a:prstGeom>
          </p:spPr>
        </p:pic>
      </p:grpSp>
      <p:grpSp>
        <p:nvGrpSpPr>
          <p:cNvPr id="25" name="Gruppo 24">
            <a:extLst>
              <a:ext uri="{FF2B5EF4-FFF2-40B4-BE49-F238E27FC236}">
                <a16:creationId xmlns:a16="http://schemas.microsoft.com/office/drawing/2014/main" id="{19ECD101-A212-2EC2-7ED9-FC3ABEEB5413}"/>
              </a:ext>
            </a:extLst>
          </p:cNvPr>
          <p:cNvGrpSpPr/>
          <p:nvPr userDrawn="1"/>
        </p:nvGrpSpPr>
        <p:grpSpPr>
          <a:xfrm>
            <a:off x="160207" y="4687199"/>
            <a:ext cx="2858274" cy="375637"/>
            <a:chOff x="160207" y="4686820"/>
            <a:chExt cx="2858274" cy="375637"/>
          </a:xfrm>
        </p:grpSpPr>
        <p:sp>
          <p:nvSpPr>
            <p:cNvPr id="26" name="Text Placeholder 3">
              <a:extLst>
                <a:ext uri="{FF2B5EF4-FFF2-40B4-BE49-F238E27FC236}">
                  <a16:creationId xmlns:a16="http://schemas.microsoft.com/office/drawing/2014/main" id="{C434CDE9-1BA4-DE23-4F70-B6DE0E0D26D8}"/>
                </a:ext>
              </a:extLst>
            </p:cNvPr>
            <p:cNvSpPr txBox="1">
              <a:spLocks/>
            </p:cNvSpPr>
            <p:nvPr userDrawn="1"/>
          </p:nvSpPr>
          <p:spPr>
            <a:xfrm>
              <a:off x="160207" y="4728614"/>
              <a:ext cx="780752" cy="201461"/>
            </a:xfrm>
            <a:prstGeom prst="rect">
              <a:avLst/>
            </a:prstGeom>
          </p:spPr>
          <p:txBody>
            <a:bodyPr/>
            <a:lstStyle>
              <a:lvl1pPr marL="0" indent="0" algn="l" defTabSz="685800" rtl="0" eaLnBrk="1" latinLnBrk="0" hangingPunct="1">
                <a:lnSpc>
                  <a:spcPts val="800"/>
                </a:lnSpc>
                <a:spcBef>
                  <a:spcPts val="0"/>
                </a:spcBef>
                <a:buFont typeface="Arial" panose="020B0604020202020204" pitchFamily="34" charset="0"/>
                <a:buNone/>
                <a:defRPr sz="600" b="0" i="0" kern="1200" spc="50" baseline="0">
                  <a:solidFill>
                    <a:schemeClr val="tx1"/>
                  </a:solidFill>
                  <a:latin typeface="Arial" panose="020B0604020202020204" pitchFamily="34" charset="0"/>
                  <a:ea typeface="+mn-ea"/>
                  <a:cs typeface="Arial" panose="020B0604020202020204"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050" b="0" i="0" kern="1200">
                  <a:solidFill>
                    <a:schemeClr val="tx1"/>
                  </a:solidFill>
                  <a:latin typeface="Arial" panose="020B0604020202020204"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900" b="0" i="0" kern="1200">
                  <a:solidFill>
                    <a:schemeClr val="tx1"/>
                  </a:solidFill>
                  <a:latin typeface="Arial" panose="020B0604020202020204"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750" b="0" i="0" kern="1200">
                  <a:solidFill>
                    <a:schemeClr val="tx1"/>
                  </a:solidFill>
                  <a:latin typeface="Arial" panose="020B0604020202020204"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750" b="0" i="0" kern="1200">
                  <a:solidFill>
                    <a:schemeClr val="tx1"/>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it-IT" dirty="0">
                  <a:solidFill>
                    <a:schemeClr val="bg1"/>
                  </a:solidFill>
                </a:rPr>
                <a:t>ORGANIZERS</a:t>
              </a:r>
            </a:p>
          </p:txBody>
        </p:sp>
        <p:pic>
          <p:nvPicPr>
            <p:cNvPr id="27" name="Immagine 26">
              <a:extLst>
                <a:ext uri="{FF2B5EF4-FFF2-40B4-BE49-F238E27FC236}">
                  <a16:creationId xmlns:a16="http://schemas.microsoft.com/office/drawing/2014/main" id="{358A30AA-C731-B8E5-2AA5-1B355DC92AEB}"/>
                </a:ext>
              </a:extLst>
            </p:cNvPr>
            <p:cNvPicPr>
              <a:picLocks noChangeAspect="1"/>
            </p:cNvPicPr>
            <p:nvPr userDrawn="1"/>
          </p:nvPicPr>
          <p:blipFill>
            <a:blip r:embed="rId6"/>
            <a:srcRect/>
            <a:stretch/>
          </p:blipFill>
          <p:spPr>
            <a:xfrm>
              <a:off x="1017841" y="4686820"/>
              <a:ext cx="1016895" cy="375637"/>
            </a:xfrm>
            <a:prstGeom prst="rect">
              <a:avLst/>
            </a:prstGeom>
          </p:spPr>
        </p:pic>
        <p:pic>
          <p:nvPicPr>
            <p:cNvPr id="28" name="Immagine 27">
              <a:extLst>
                <a:ext uri="{FF2B5EF4-FFF2-40B4-BE49-F238E27FC236}">
                  <a16:creationId xmlns:a16="http://schemas.microsoft.com/office/drawing/2014/main" id="{682BE03C-D18F-AA8A-2358-92E4524463A0}"/>
                </a:ext>
              </a:extLst>
            </p:cNvPr>
            <p:cNvPicPr>
              <a:picLocks noChangeAspect="1"/>
            </p:cNvPicPr>
            <p:nvPr userDrawn="1"/>
          </p:nvPicPr>
          <p:blipFill>
            <a:blip r:embed="rId7"/>
            <a:srcRect/>
            <a:stretch/>
          </p:blipFill>
          <p:spPr>
            <a:xfrm>
              <a:off x="2092071" y="4861789"/>
              <a:ext cx="926410" cy="130905"/>
            </a:xfrm>
            <a:prstGeom prst="rect">
              <a:avLst/>
            </a:prstGeom>
          </p:spPr>
        </p:pic>
      </p:grpSp>
    </p:spTree>
    <p:extLst>
      <p:ext uri="{BB962C8B-B14F-4D97-AF65-F5344CB8AC3E}">
        <p14:creationId xmlns:p14="http://schemas.microsoft.com/office/powerpoint/2010/main" val="7821470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a:xfrm>
            <a:off x="250825" y="1166813"/>
            <a:ext cx="5726113" cy="1101725"/>
          </a:xfrm>
        </p:spPr>
        <p:txBody>
          <a:bodyPr lIns="0" tIns="0" rIns="0" bIns="0" anchor="t" anchorCtr="0"/>
          <a:lstStyle>
            <a:lvl1pPr>
              <a:lnSpc>
                <a:spcPts val="4700"/>
              </a:lnSpc>
              <a:defRPr sz="4500" b="1">
                <a:solidFill>
                  <a:schemeClr val="tx1"/>
                </a:solidFill>
              </a:defRPr>
            </a:lvl1pPr>
          </a:lstStyle>
          <a:p>
            <a:r>
              <a:rPr lang="it-IT" dirty="0"/>
              <a:t>Fare clic per modificare lo</a:t>
            </a:r>
            <a:endParaRPr lang="en-US" dirty="0"/>
          </a:p>
        </p:txBody>
      </p:sp>
      <p:sp>
        <p:nvSpPr>
          <p:cNvPr id="3" name="Content Placeholder 2"/>
          <p:cNvSpPr>
            <a:spLocks noGrp="1"/>
          </p:cNvSpPr>
          <p:nvPr>
            <p:ph sz="half" idx="1"/>
          </p:nvPr>
        </p:nvSpPr>
        <p:spPr>
          <a:xfrm>
            <a:off x="250825" y="2392364"/>
            <a:ext cx="3532281" cy="2195512"/>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4" name="Content Placeholder 3"/>
          <p:cNvSpPr>
            <a:spLocks noGrp="1"/>
          </p:cNvSpPr>
          <p:nvPr>
            <p:ph sz="half" idx="2"/>
          </p:nvPr>
        </p:nvSpPr>
        <p:spPr>
          <a:xfrm>
            <a:off x="3890682" y="2392364"/>
            <a:ext cx="3532281" cy="2195512"/>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Tree>
    <p:extLst>
      <p:ext uri="{BB962C8B-B14F-4D97-AF65-F5344CB8AC3E}">
        <p14:creationId xmlns:p14="http://schemas.microsoft.com/office/powerpoint/2010/main" val="668543716"/>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ue contenuti">
    <p:spTree>
      <p:nvGrpSpPr>
        <p:cNvPr id="1" name=""/>
        <p:cNvGrpSpPr/>
        <p:nvPr/>
      </p:nvGrpSpPr>
      <p:grpSpPr>
        <a:xfrm>
          <a:off x="0" y="0"/>
          <a:ext cx="0" cy="0"/>
          <a:chOff x="0" y="0"/>
          <a:chExt cx="0" cy="0"/>
        </a:xfrm>
      </p:grpSpPr>
      <p:sp>
        <p:nvSpPr>
          <p:cNvPr id="2" name="Title 1"/>
          <p:cNvSpPr>
            <a:spLocks noGrp="1"/>
          </p:cNvSpPr>
          <p:nvPr>
            <p:ph type="title"/>
          </p:nvPr>
        </p:nvSpPr>
        <p:spPr>
          <a:xfrm>
            <a:off x="250825" y="1166813"/>
            <a:ext cx="5726113" cy="1101725"/>
          </a:xfrm>
        </p:spPr>
        <p:txBody>
          <a:bodyPr lIns="0" tIns="0" rIns="0" bIns="0" anchor="t" anchorCtr="0"/>
          <a:lstStyle>
            <a:lvl1pPr>
              <a:lnSpc>
                <a:spcPts val="4700"/>
              </a:lnSpc>
              <a:defRPr sz="4500" b="1">
                <a:solidFill>
                  <a:schemeClr val="tx1"/>
                </a:solidFill>
              </a:defRPr>
            </a:lvl1pPr>
          </a:lstStyle>
          <a:p>
            <a:r>
              <a:rPr lang="it-IT" dirty="0"/>
              <a:t>Fare clic per modificare lo</a:t>
            </a:r>
            <a:endParaRPr lang="en-US" dirty="0"/>
          </a:p>
        </p:txBody>
      </p:sp>
      <p:sp>
        <p:nvSpPr>
          <p:cNvPr id="3" name="Content Placeholder 2"/>
          <p:cNvSpPr>
            <a:spLocks noGrp="1"/>
          </p:cNvSpPr>
          <p:nvPr>
            <p:ph sz="half" idx="1"/>
          </p:nvPr>
        </p:nvSpPr>
        <p:spPr>
          <a:xfrm>
            <a:off x="250825" y="2392363"/>
            <a:ext cx="4357688" cy="2195511"/>
          </a:xfrm>
        </p:spPr>
        <p:txBody>
          <a:bodyPr lIns="0" tIns="0" rIns="0" b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egnaposto immagine 5">
            <a:extLst>
              <a:ext uri="{FF2B5EF4-FFF2-40B4-BE49-F238E27FC236}">
                <a16:creationId xmlns:a16="http://schemas.microsoft.com/office/drawing/2014/main" id="{C7C55CBD-22BD-80BB-B90C-CBED35E16A07}"/>
              </a:ext>
            </a:extLst>
          </p:cNvPr>
          <p:cNvSpPr>
            <a:spLocks noGrp="1"/>
          </p:cNvSpPr>
          <p:nvPr>
            <p:ph type="pic" sz="quarter" idx="10"/>
          </p:nvPr>
        </p:nvSpPr>
        <p:spPr>
          <a:xfrm>
            <a:off x="5343525" y="0"/>
            <a:ext cx="3800475" cy="5143500"/>
          </a:xfrm>
        </p:spPr>
        <p:txBody>
          <a:bodyPr/>
          <a:lstStyle/>
          <a:p>
            <a:endParaRPr lang="it-IT"/>
          </a:p>
        </p:txBody>
      </p:sp>
    </p:spTree>
    <p:extLst>
      <p:ext uri="{BB962C8B-B14F-4D97-AF65-F5344CB8AC3E}">
        <p14:creationId xmlns:p14="http://schemas.microsoft.com/office/powerpoint/2010/main" val="892509113"/>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to in alto + 3 colonne testo">
    <p:spTree>
      <p:nvGrpSpPr>
        <p:cNvPr id="1" name=""/>
        <p:cNvGrpSpPr/>
        <p:nvPr/>
      </p:nvGrpSpPr>
      <p:grpSpPr>
        <a:xfrm>
          <a:off x="0" y="0"/>
          <a:ext cx="0" cy="0"/>
          <a:chOff x="0" y="0"/>
          <a:chExt cx="0" cy="0"/>
        </a:xfrm>
      </p:grpSpPr>
      <p:sp>
        <p:nvSpPr>
          <p:cNvPr id="6" name="Segnaposto immagine 5">
            <a:extLst>
              <a:ext uri="{FF2B5EF4-FFF2-40B4-BE49-F238E27FC236}">
                <a16:creationId xmlns:a16="http://schemas.microsoft.com/office/drawing/2014/main" id="{C7C55CBD-22BD-80BB-B90C-CBED35E16A07}"/>
              </a:ext>
            </a:extLst>
          </p:cNvPr>
          <p:cNvSpPr>
            <a:spLocks noGrp="1"/>
          </p:cNvSpPr>
          <p:nvPr>
            <p:ph type="pic" sz="quarter" idx="10"/>
          </p:nvPr>
        </p:nvSpPr>
        <p:spPr>
          <a:xfrm>
            <a:off x="1" y="0"/>
            <a:ext cx="9144000" cy="2139950"/>
          </a:xfrm>
        </p:spPr>
        <p:txBody>
          <a:bodyPr/>
          <a:lstStyle/>
          <a:p>
            <a:endParaRPr lang="it-IT"/>
          </a:p>
        </p:txBody>
      </p:sp>
      <p:sp>
        <p:nvSpPr>
          <p:cNvPr id="2" name="Title 1"/>
          <p:cNvSpPr>
            <a:spLocks noGrp="1"/>
          </p:cNvSpPr>
          <p:nvPr>
            <p:ph type="title"/>
          </p:nvPr>
        </p:nvSpPr>
        <p:spPr>
          <a:xfrm>
            <a:off x="250825" y="1166813"/>
            <a:ext cx="8642350" cy="973137"/>
          </a:xfrm>
        </p:spPr>
        <p:txBody>
          <a:bodyPr lIns="0" tIns="0" rIns="0" bIns="0" anchor="t" anchorCtr="0"/>
          <a:lstStyle>
            <a:lvl1pPr>
              <a:lnSpc>
                <a:spcPts val="4700"/>
              </a:lnSpc>
              <a:defRPr sz="4500" b="1">
                <a:solidFill>
                  <a:schemeClr val="tx1"/>
                </a:solidFill>
              </a:defRPr>
            </a:lvl1pPr>
          </a:lstStyle>
          <a:p>
            <a:r>
              <a:rPr lang="it-IT" dirty="0"/>
              <a:t>Fare clic per modificare lo</a:t>
            </a:r>
            <a:endParaRPr lang="en-US" dirty="0"/>
          </a:p>
        </p:txBody>
      </p:sp>
      <p:sp>
        <p:nvSpPr>
          <p:cNvPr id="8" name="Segnaposto testo 7">
            <a:extLst>
              <a:ext uri="{FF2B5EF4-FFF2-40B4-BE49-F238E27FC236}">
                <a16:creationId xmlns:a16="http://schemas.microsoft.com/office/drawing/2014/main" id="{763AC3AB-91B4-49E8-DA78-78FA98108D35}"/>
              </a:ext>
            </a:extLst>
          </p:cNvPr>
          <p:cNvSpPr>
            <a:spLocks noGrp="1"/>
          </p:cNvSpPr>
          <p:nvPr>
            <p:ph type="body" sz="quarter" idx="20"/>
          </p:nvPr>
        </p:nvSpPr>
        <p:spPr>
          <a:xfrm>
            <a:off x="719138" y="2392363"/>
            <a:ext cx="7705725" cy="2195512"/>
          </a:xfrm>
        </p:spPr>
        <p:txBody>
          <a:bodyPr lIns="0" tIns="0" rIns="0" bIns="0" numCol="3"/>
          <a:lstStyle>
            <a:lvl1pPr marL="0" indent="0" algn="l">
              <a:buFont typeface="Arial" panose="020B0604020202020204" pitchFamily="34" charset="0"/>
              <a:buNone/>
              <a:defRPr sz="1100"/>
            </a:lvl1pPr>
            <a:lvl2pPr marL="342900" indent="0" algn="l">
              <a:buFont typeface="Arial" panose="020B0604020202020204" pitchFamily="34" charset="0"/>
              <a:buNone/>
              <a:defRPr sz="1100"/>
            </a:lvl2pPr>
            <a:lvl3pPr marL="685800" indent="0" algn="l">
              <a:buFont typeface="Arial" panose="020B0604020202020204" pitchFamily="34" charset="0"/>
              <a:buNone/>
              <a:defRPr sz="1400"/>
            </a:lvl3pPr>
            <a:lvl4pPr marL="1028700" indent="0" algn="l">
              <a:buFont typeface="Arial" panose="020B0604020202020204" pitchFamily="34" charset="0"/>
              <a:buNone/>
              <a:defRPr sz="1400"/>
            </a:lvl4pPr>
            <a:lvl5pPr marL="1371600" indent="0" algn="l">
              <a:buFont typeface="Arial" panose="020B0604020202020204" pitchFamily="34" charset="0"/>
              <a:buNone/>
              <a:defRPr sz="1400"/>
            </a:lvl5pPr>
          </a:lstStyle>
          <a:p>
            <a:pPr lvl="0"/>
            <a:r>
              <a:rPr lang="it-IT" dirty="0"/>
              <a:t>Fare clic per modificare gli stili del testo dello schema</a:t>
            </a:r>
          </a:p>
        </p:txBody>
      </p:sp>
    </p:spTree>
    <p:extLst>
      <p:ext uri="{BB962C8B-B14F-4D97-AF65-F5344CB8AC3E}">
        <p14:creationId xmlns:p14="http://schemas.microsoft.com/office/powerpoint/2010/main" val="264514580"/>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571688075"/>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7" name="Segnaposto immagine 6">
            <a:extLst>
              <a:ext uri="{FF2B5EF4-FFF2-40B4-BE49-F238E27FC236}">
                <a16:creationId xmlns:a16="http://schemas.microsoft.com/office/drawing/2014/main" id="{A39F28F3-FD7C-B812-D0B7-8A73DEB1FCB2}"/>
              </a:ext>
            </a:extLst>
          </p:cNvPr>
          <p:cNvSpPr>
            <a:spLocks noGrp="1"/>
          </p:cNvSpPr>
          <p:nvPr>
            <p:ph type="pic" sz="quarter" idx="10"/>
          </p:nvPr>
        </p:nvSpPr>
        <p:spPr>
          <a:xfrm>
            <a:off x="0" y="0"/>
            <a:ext cx="9144000" cy="5143500"/>
          </a:xfrm>
          <a:solidFill>
            <a:srgbClr val="1D71B8">
              <a:alpha val="15000"/>
            </a:srgbClr>
          </a:solidFill>
        </p:spPr>
        <p:txBody>
          <a:bodyPr/>
          <a:lstStyle/>
          <a:p>
            <a:endParaRPr lang="it-IT" dirty="0"/>
          </a:p>
        </p:txBody>
      </p:sp>
      <p:sp>
        <p:nvSpPr>
          <p:cNvPr id="2" name="Title 1"/>
          <p:cNvSpPr>
            <a:spLocks noGrp="1"/>
          </p:cNvSpPr>
          <p:nvPr>
            <p:ph type="title"/>
          </p:nvPr>
        </p:nvSpPr>
        <p:spPr>
          <a:xfrm>
            <a:off x="250825" y="1166813"/>
            <a:ext cx="3960813" cy="3421062"/>
          </a:xfrm>
        </p:spPr>
        <p:txBody>
          <a:bodyPr lIns="0" tIns="0" rIns="0" bIns="0" anchor="t" anchorCtr="0"/>
          <a:lstStyle>
            <a:lvl1pPr>
              <a:defRPr sz="2000"/>
            </a:lvl1pPr>
          </a:lstStyle>
          <a:p>
            <a:r>
              <a:rPr lang="it-IT" dirty="0"/>
              <a:t>Fare clic per modificare lo stile del titolo dello schema</a:t>
            </a:r>
            <a:endParaRPr lang="en-US" dirty="0"/>
          </a:p>
        </p:txBody>
      </p:sp>
    </p:spTree>
    <p:extLst>
      <p:ext uri="{BB962C8B-B14F-4D97-AF65-F5344CB8AC3E}">
        <p14:creationId xmlns:p14="http://schemas.microsoft.com/office/powerpoint/2010/main" val="28024512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18" Type="http://schemas.openxmlformats.org/officeDocument/2006/relationships/image" Target="../media/image7.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17" Type="http://schemas.openxmlformats.org/officeDocument/2006/relationships/image" Target="../media/image6.png"/><Relationship Id="rId2" Type="http://schemas.openxmlformats.org/officeDocument/2006/relationships/slideLayout" Target="../slideLayouts/slideLayout2.xml"/><Relationship Id="rId16" Type="http://schemas.openxmlformats.org/officeDocument/2006/relationships/image" Target="../media/image5.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alphaModFix amt="0"/>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0825" y="1166813"/>
            <a:ext cx="8642350" cy="973137"/>
          </a:xfrm>
          <a:prstGeom prst="rect">
            <a:avLst/>
          </a:prstGeom>
        </p:spPr>
        <p:txBody>
          <a:bodyPr vert="horz" lIns="91440" tIns="45720" rIns="91440" bIns="45720" rtlCol="0" anchor="ctr">
            <a:noAutofit/>
          </a:bodyPr>
          <a:lstStyle/>
          <a:p>
            <a:r>
              <a:rPr lang="it-IT" dirty="0"/>
              <a:t>Fare clic per modificare lo stile del titolo dello schema</a:t>
            </a:r>
            <a:endParaRPr lang="en-US" dirty="0"/>
          </a:p>
        </p:txBody>
      </p:sp>
      <p:sp>
        <p:nvSpPr>
          <p:cNvPr id="3" name="Text Placeholder 2"/>
          <p:cNvSpPr>
            <a:spLocks noGrp="1"/>
          </p:cNvSpPr>
          <p:nvPr>
            <p:ph type="body" idx="1"/>
          </p:nvPr>
        </p:nvSpPr>
        <p:spPr>
          <a:xfrm>
            <a:off x="250825" y="2392364"/>
            <a:ext cx="8642350" cy="2195512"/>
          </a:xfrm>
          <a:prstGeom prst="rect">
            <a:avLst/>
          </a:prstGeom>
        </p:spPr>
        <p:txBody>
          <a:bodyPr vert="horz" lIns="91440" tIns="45720" rIns="91440" bIns="45720" rtlCol="0">
            <a:noAutofit/>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pic>
        <p:nvPicPr>
          <p:cNvPr id="12" name="Immagine 11">
            <a:extLst>
              <a:ext uri="{FF2B5EF4-FFF2-40B4-BE49-F238E27FC236}">
                <a16:creationId xmlns:a16="http://schemas.microsoft.com/office/drawing/2014/main" id="{82117792-2883-2FFA-E9B8-ADDDF7585FBF}"/>
              </a:ext>
            </a:extLst>
          </p:cNvPr>
          <p:cNvPicPr>
            <a:picLocks noChangeAspect="1"/>
          </p:cNvPicPr>
          <p:nvPr userDrawn="1"/>
        </p:nvPicPr>
        <p:blipFill>
          <a:blip r:embed="rId13"/>
          <a:stretch>
            <a:fillRect/>
          </a:stretch>
        </p:blipFill>
        <p:spPr>
          <a:xfrm>
            <a:off x="250825" y="243614"/>
            <a:ext cx="1060323" cy="588236"/>
          </a:xfrm>
          <a:prstGeom prst="rect">
            <a:avLst/>
          </a:prstGeom>
        </p:spPr>
      </p:pic>
      <p:grpSp>
        <p:nvGrpSpPr>
          <p:cNvPr id="18" name="Gruppo 17">
            <a:extLst>
              <a:ext uri="{FF2B5EF4-FFF2-40B4-BE49-F238E27FC236}">
                <a16:creationId xmlns:a16="http://schemas.microsoft.com/office/drawing/2014/main" id="{1C059A17-1475-2C1B-2FFC-14CD1CD7459C}"/>
              </a:ext>
            </a:extLst>
          </p:cNvPr>
          <p:cNvGrpSpPr/>
          <p:nvPr userDrawn="1"/>
        </p:nvGrpSpPr>
        <p:grpSpPr>
          <a:xfrm>
            <a:off x="6872317" y="4650906"/>
            <a:ext cx="2055759" cy="530952"/>
            <a:chOff x="6872317" y="4650906"/>
            <a:chExt cx="2055759" cy="530952"/>
          </a:xfrm>
        </p:grpSpPr>
        <p:pic>
          <p:nvPicPr>
            <p:cNvPr id="6" name="Immagine 5">
              <a:extLst>
                <a:ext uri="{FF2B5EF4-FFF2-40B4-BE49-F238E27FC236}">
                  <a16:creationId xmlns:a16="http://schemas.microsoft.com/office/drawing/2014/main" id="{CCF301EB-9C92-A6B4-2A4A-F1C081D07DDE}"/>
                </a:ext>
              </a:extLst>
            </p:cNvPr>
            <p:cNvPicPr>
              <a:picLocks noChangeAspect="1"/>
            </p:cNvPicPr>
            <p:nvPr userDrawn="1"/>
          </p:nvPicPr>
          <p:blipFill>
            <a:blip r:embed="rId14"/>
            <a:srcRect/>
            <a:stretch/>
          </p:blipFill>
          <p:spPr>
            <a:xfrm>
              <a:off x="8397124" y="4650906"/>
              <a:ext cx="530952" cy="530952"/>
            </a:xfrm>
            <a:prstGeom prst="rect">
              <a:avLst/>
            </a:prstGeom>
          </p:spPr>
        </p:pic>
        <p:sp>
          <p:nvSpPr>
            <p:cNvPr id="7" name="Text Placeholder 3">
              <a:extLst>
                <a:ext uri="{FF2B5EF4-FFF2-40B4-BE49-F238E27FC236}">
                  <a16:creationId xmlns:a16="http://schemas.microsoft.com/office/drawing/2014/main" id="{29C50DCD-E480-C68B-4159-CA02D766BF8F}"/>
                </a:ext>
              </a:extLst>
            </p:cNvPr>
            <p:cNvSpPr txBox="1">
              <a:spLocks/>
            </p:cNvSpPr>
            <p:nvPr userDrawn="1"/>
          </p:nvSpPr>
          <p:spPr>
            <a:xfrm>
              <a:off x="6872317" y="4728614"/>
              <a:ext cx="1559540" cy="201461"/>
            </a:xfrm>
            <a:prstGeom prst="rect">
              <a:avLst/>
            </a:prstGeom>
          </p:spPr>
          <p:txBody>
            <a:bodyPr/>
            <a:lstStyle>
              <a:lvl1pPr marL="0" indent="0" algn="r" defTabSz="685800" rtl="0" eaLnBrk="1" latinLnBrk="0" hangingPunct="1">
                <a:lnSpc>
                  <a:spcPts val="800"/>
                </a:lnSpc>
                <a:spcBef>
                  <a:spcPts val="0"/>
                </a:spcBef>
                <a:buFont typeface="Arial" panose="020B0604020202020204" pitchFamily="34" charset="0"/>
                <a:buNone/>
                <a:defRPr sz="600" b="0" i="0" kern="1200" spc="50" baseline="0">
                  <a:solidFill>
                    <a:schemeClr val="tx1"/>
                  </a:solidFill>
                  <a:latin typeface="Arial" panose="020B0604020202020204" pitchFamily="34" charset="0"/>
                  <a:ea typeface="+mn-ea"/>
                  <a:cs typeface="Arial" panose="020B0604020202020204"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050" b="0" i="0" kern="1200">
                  <a:solidFill>
                    <a:schemeClr val="tx1"/>
                  </a:solidFill>
                  <a:latin typeface="Arial" panose="020B0604020202020204"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900" b="0" i="0" kern="1200">
                  <a:solidFill>
                    <a:schemeClr val="tx1"/>
                  </a:solidFill>
                  <a:latin typeface="Arial" panose="020B0604020202020204"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750" b="0" i="0" kern="1200">
                  <a:solidFill>
                    <a:schemeClr val="tx1"/>
                  </a:solidFill>
                  <a:latin typeface="Arial" panose="020B0604020202020204"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750" b="0" i="0" kern="1200">
                  <a:solidFill>
                    <a:schemeClr val="tx1"/>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it-IT"/>
                <a:t>CONFERENCE ORGANIZERS</a:t>
              </a:r>
              <a:endParaRPr lang="it-IT" dirty="0"/>
            </a:p>
          </p:txBody>
        </p:sp>
      </p:grpSp>
      <p:grpSp>
        <p:nvGrpSpPr>
          <p:cNvPr id="17" name="Gruppo 16">
            <a:extLst>
              <a:ext uri="{FF2B5EF4-FFF2-40B4-BE49-F238E27FC236}">
                <a16:creationId xmlns:a16="http://schemas.microsoft.com/office/drawing/2014/main" id="{BEF16EAC-A3F7-F820-9B86-08CC1F6B3CE1}"/>
              </a:ext>
            </a:extLst>
          </p:cNvPr>
          <p:cNvGrpSpPr/>
          <p:nvPr userDrawn="1"/>
        </p:nvGrpSpPr>
        <p:grpSpPr>
          <a:xfrm>
            <a:off x="160207" y="4687200"/>
            <a:ext cx="2857803" cy="375011"/>
            <a:chOff x="160207" y="4702709"/>
            <a:chExt cx="2857803" cy="375011"/>
          </a:xfrm>
        </p:grpSpPr>
        <p:sp>
          <p:nvSpPr>
            <p:cNvPr id="8" name="Text Placeholder 3">
              <a:extLst>
                <a:ext uri="{FF2B5EF4-FFF2-40B4-BE49-F238E27FC236}">
                  <a16:creationId xmlns:a16="http://schemas.microsoft.com/office/drawing/2014/main" id="{7162E242-C8D3-7964-A88C-3D57D5C0C795}"/>
                </a:ext>
              </a:extLst>
            </p:cNvPr>
            <p:cNvSpPr txBox="1">
              <a:spLocks/>
            </p:cNvSpPr>
            <p:nvPr userDrawn="1"/>
          </p:nvSpPr>
          <p:spPr>
            <a:xfrm>
              <a:off x="160207" y="4745909"/>
              <a:ext cx="1429696" cy="201461"/>
            </a:xfrm>
            <a:prstGeom prst="rect">
              <a:avLst/>
            </a:prstGeom>
          </p:spPr>
          <p:txBody>
            <a:bodyPr/>
            <a:lstStyle>
              <a:lvl1pPr marL="0" indent="0" algn="l" defTabSz="685800" rtl="0" eaLnBrk="1" latinLnBrk="0" hangingPunct="1">
                <a:lnSpc>
                  <a:spcPts val="800"/>
                </a:lnSpc>
                <a:spcBef>
                  <a:spcPts val="0"/>
                </a:spcBef>
                <a:buFont typeface="Arial" panose="020B0604020202020204" pitchFamily="34" charset="0"/>
                <a:buNone/>
                <a:defRPr sz="600" b="0" i="0" kern="1200" spc="50" baseline="0">
                  <a:solidFill>
                    <a:schemeClr val="tx1"/>
                  </a:solidFill>
                  <a:latin typeface="Arial" panose="020B0604020202020204" pitchFamily="34" charset="0"/>
                  <a:ea typeface="+mn-ea"/>
                  <a:cs typeface="Arial" panose="020B0604020202020204"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050" b="0" i="0" kern="1200">
                  <a:solidFill>
                    <a:schemeClr val="tx1"/>
                  </a:solidFill>
                  <a:latin typeface="Arial" panose="020B0604020202020204"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900" b="0" i="0" kern="1200">
                  <a:solidFill>
                    <a:schemeClr val="tx1"/>
                  </a:solidFill>
                  <a:latin typeface="Arial" panose="020B0604020202020204"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750" b="0" i="0" kern="1200">
                  <a:solidFill>
                    <a:schemeClr val="tx1"/>
                  </a:solidFill>
                  <a:latin typeface="Arial" panose="020B0604020202020204"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750" b="0" i="0" kern="1200">
                  <a:solidFill>
                    <a:schemeClr val="tx1"/>
                  </a:solidFill>
                  <a:latin typeface="Arial" panose="020B0604020202020204" pitchFamily="34" charset="0"/>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750" kern="1200">
                  <a:solidFill>
                    <a:schemeClr val="tx1"/>
                  </a:solidFill>
                  <a:latin typeface="+mn-lt"/>
                  <a:ea typeface="+mn-ea"/>
                  <a:cs typeface="+mn-cs"/>
                </a:defRPr>
              </a:lvl9pPr>
            </a:lstStyle>
            <a:p>
              <a:r>
                <a:rPr lang="it-IT" dirty="0"/>
                <a:t>ORGANIZERS</a:t>
              </a:r>
            </a:p>
          </p:txBody>
        </p:sp>
        <p:pic>
          <p:nvPicPr>
            <p:cNvPr id="9" name="Immagine 8">
              <a:extLst>
                <a:ext uri="{FF2B5EF4-FFF2-40B4-BE49-F238E27FC236}">
                  <a16:creationId xmlns:a16="http://schemas.microsoft.com/office/drawing/2014/main" id="{055698CF-98FE-F4CC-921A-0D0ABE57CCB2}"/>
                </a:ext>
              </a:extLst>
            </p:cNvPr>
            <p:cNvPicPr>
              <a:picLocks noChangeAspect="1"/>
            </p:cNvPicPr>
            <p:nvPr userDrawn="1"/>
          </p:nvPicPr>
          <p:blipFill>
            <a:blip r:embed="rId15"/>
            <a:srcRect/>
            <a:stretch/>
          </p:blipFill>
          <p:spPr>
            <a:xfrm>
              <a:off x="1018800" y="4702709"/>
              <a:ext cx="1015200" cy="375011"/>
            </a:xfrm>
            <a:prstGeom prst="rect">
              <a:avLst/>
            </a:prstGeom>
          </p:spPr>
        </p:pic>
        <p:pic>
          <p:nvPicPr>
            <p:cNvPr id="10" name="Immagine 9">
              <a:extLst>
                <a:ext uri="{FF2B5EF4-FFF2-40B4-BE49-F238E27FC236}">
                  <a16:creationId xmlns:a16="http://schemas.microsoft.com/office/drawing/2014/main" id="{C771EA30-CB2F-CBDE-0581-EA1E86A4F809}"/>
                </a:ext>
              </a:extLst>
            </p:cNvPr>
            <p:cNvPicPr>
              <a:picLocks noChangeAspect="1"/>
            </p:cNvPicPr>
            <p:nvPr userDrawn="1"/>
          </p:nvPicPr>
          <p:blipFill>
            <a:blip r:embed="rId16"/>
            <a:stretch>
              <a:fillRect/>
            </a:stretch>
          </p:blipFill>
          <p:spPr>
            <a:xfrm>
              <a:off x="2091600" y="4702709"/>
              <a:ext cx="926410" cy="367255"/>
            </a:xfrm>
            <a:prstGeom prst="rect">
              <a:avLst/>
            </a:prstGeom>
          </p:spPr>
        </p:pic>
      </p:grpSp>
      <p:cxnSp>
        <p:nvCxnSpPr>
          <p:cNvPr id="13" name="Connettore 1 12">
            <a:extLst>
              <a:ext uri="{FF2B5EF4-FFF2-40B4-BE49-F238E27FC236}">
                <a16:creationId xmlns:a16="http://schemas.microsoft.com/office/drawing/2014/main" id="{F22FD1F9-807C-C0B9-7E15-7E27305A0CE5}"/>
              </a:ext>
            </a:extLst>
          </p:cNvPr>
          <p:cNvCxnSpPr>
            <a:cxnSpLocks/>
          </p:cNvCxnSpPr>
          <p:nvPr userDrawn="1"/>
        </p:nvCxnSpPr>
        <p:spPr>
          <a:xfrm>
            <a:off x="250825" y="4659313"/>
            <a:ext cx="86423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4" name="RbWordmark">
            <a:extLst>
              <a:ext uri="{FF2B5EF4-FFF2-40B4-BE49-F238E27FC236}">
                <a16:creationId xmlns:a16="http://schemas.microsoft.com/office/drawing/2014/main" id="{2414735F-C654-0F02-93EF-301FCE1B94F4}"/>
              </a:ext>
            </a:extLst>
          </p:cNvPr>
          <p:cNvPicPr/>
          <p:nvPr userDrawn="1"/>
        </p:nvPicPr>
        <p:blipFill>
          <a:blip r:embed="rId17">
            <a:extLst>
              <a:ext uri="{96DAC541-7B7A-43D3-8B79-37D633B846F1}">
                <asvg:svgBlip xmlns:asvg="http://schemas.microsoft.com/office/drawing/2016/SVG/main" r:embed="rId18"/>
              </a:ext>
            </a:extLst>
          </a:blip>
          <a:srcRect/>
          <a:stretch/>
        </p:blipFill>
        <p:spPr>
          <a:xfrm>
            <a:off x="8362223" y="245902"/>
            <a:ext cx="530952" cy="309722"/>
          </a:xfrm>
          <a:prstGeom prst="rect">
            <a:avLst/>
          </a:prstGeom>
        </p:spPr>
      </p:pic>
    </p:spTree>
    <p:extLst>
      <p:ext uri="{BB962C8B-B14F-4D97-AF65-F5344CB8AC3E}">
        <p14:creationId xmlns:p14="http://schemas.microsoft.com/office/powerpoint/2010/main" val="1449198067"/>
      </p:ext>
    </p:extLst>
  </p:cSld>
  <p:clrMap bg1="lt1" tx1="dk1" bg2="lt2" tx2="dk2" accent1="accent1" accent2="accent2" accent3="accent3" accent4="accent4" accent5="accent5" accent6="accent6" hlink="hlink" folHlink="folHlink"/>
  <p:sldLayoutIdLst>
    <p:sldLayoutId id="2147483679" r:id="rId1"/>
    <p:sldLayoutId id="2147483678" r:id="rId2"/>
    <p:sldLayoutId id="2147483680" r:id="rId3"/>
    <p:sldLayoutId id="2147483701" r:id="rId4"/>
    <p:sldLayoutId id="2147483681" r:id="rId5"/>
    <p:sldLayoutId id="2147483699" r:id="rId6"/>
    <p:sldLayoutId id="2147483700" r:id="rId7"/>
    <p:sldLayoutId id="2147483684" r:id="rId8"/>
    <p:sldLayoutId id="2147483683" r:id="rId9"/>
    <p:sldLayoutId id="2147483702" r:id="rId10"/>
  </p:sldLayoutIdLst>
  <p:hf hdr="0"/>
  <p:txStyles>
    <p:title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7" userDrawn="1">
          <p15:clr>
            <a:srgbClr val="F26B43"/>
          </p15:clr>
        </p15:guide>
        <p15:guide id="3" pos="158" userDrawn="1">
          <p15:clr>
            <a:srgbClr val="F26B43"/>
          </p15:clr>
        </p15:guide>
        <p15:guide id="4" pos="5602" userDrawn="1">
          <p15:clr>
            <a:srgbClr val="F26B43"/>
          </p15:clr>
        </p15:guide>
        <p15:guide id="5" orient="horz" pos="146" userDrawn="1">
          <p15:clr>
            <a:srgbClr val="F26B43"/>
          </p15:clr>
        </p15:guide>
        <p15:guide id="6" orient="horz" pos="3094" userDrawn="1">
          <p15:clr>
            <a:srgbClr val="F26B43"/>
          </p15:clr>
        </p15:guide>
        <p15:guide id="7" pos="2653" userDrawn="1">
          <p15:clr>
            <a:srgbClr val="F26B43"/>
          </p15:clr>
        </p15:guide>
        <p15:guide id="8" orient="horz" pos="1348" userDrawn="1">
          <p15:clr>
            <a:srgbClr val="F26B43"/>
          </p15:clr>
        </p15:guide>
        <p15:guide id="9" pos="3765" userDrawn="1">
          <p15:clr>
            <a:srgbClr val="F26B43"/>
          </p15:clr>
        </p15:guide>
        <p15:guide id="10" orient="horz" pos="531" userDrawn="1">
          <p15:clr>
            <a:srgbClr val="F26B43"/>
          </p15:clr>
        </p15:guide>
        <p15:guide id="12" pos="2903" userDrawn="1">
          <p15:clr>
            <a:srgbClr val="F26B43"/>
          </p15:clr>
        </p15:guide>
        <p15:guide id="13" orient="horz" pos="735" userDrawn="1">
          <p15:clr>
            <a:srgbClr val="F26B43"/>
          </p15:clr>
        </p15:guide>
        <p15:guide id="16" orient="horz" pos="2890" userDrawn="1">
          <p15:clr>
            <a:srgbClr val="F26B43"/>
          </p15:clr>
        </p15:guide>
        <p15:guide id="17" orient="horz" pos="2935" userDrawn="1">
          <p15:clr>
            <a:srgbClr val="F26B43"/>
          </p15:clr>
        </p15:guide>
        <p15:guide id="18" pos="453" userDrawn="1">
          <p15:clr>
            <a:srgbClr val="F26B43"/>
          </p15:clr>
        </p15:guide>
        <p15:guide id="19" pos="5307" userDrawn="1">
          <p15:clr>
            <a:srgbClr val="F26B43"/>
          </p15:clr>
        </p15:guide>
        <p15:guide id="20" orient="horz" pos="100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tags" Target="../tags/tag243.xml"/><Relationship Id="rId18" Type="http://schemas.openxmlformats.org/officeDocument/2006/relationships/tags" Target="../tags/tag248.xml"/><Relationship Id="rId26" Type="http://schemas.openxmlformats.org/officeDocument/2006/relationships/tags" Target="../tags/tag256.xml"/><Relationship Id="rId39" Type="http://schemas.openxmlformats.org/officeDocument/2006/relationships/image" Target="../media/image21.svg"/><Relationship Id="rId21" Type="http://schemas.openxmlformats.org/officeDocument/2006/relationships/tags" Target="../tags/tag251.xml"/><Relationship Id="rId34" Type="http://schemas.openxmlformats.org/officeDocument/2006/relationships/image" Target="../media/image16.png"/><Relationship Id="rId42" Type="http://schemas.openxmlformats.org/officeDocument/2006/relationships/image" Target="../media/image24.png"/><Relationship Id="rId7" Type="http://schemas.openxmlformats.org/officeDocument/2006/relationships/tags" Target="../tags/tag237.xml"/><Relationship Id="rId2" Type="http://schemas.openxmlformats.org/officeDocument/2006/relationships/tags" Target="../tags/tag232.xml"/><Relationship Id="rId16" Type="http://schemas.openxmlformats.org/officeDocument/2006/relationships/tags" Target="../tags/tag246.xml"/><Relationship Id="rId20" Type="http://schemas.openxmlformats.org/officeDocument/2006/relationships/tags" Target="../tags/tag250.xml"/><Relationship Id="rId29" Type="http://schemas.openxmlformats.org/officeDocument/2006/relationships/tags" Target="../tags/tag259.xml"/><Relationship Id="rId41" Type="http://schemas.openxmlformats.org/officeDocument/2006/relationships/image" Target="../media/image23.svg"/><Relationship Id="rId1" Type="http://schemas.openxmlformats.org/officeDocument/2006/relationships/tags" Target="../tags/tag231.xml"/><Relationship Id="rId6" Type="http://schemas.openxmlformats.org/officeDocument/2006/relationships/tags" Target="../tags/tag236.xml"/><Relationship Id="rId11" Type="http://schemas.openxmlformats.org/officeDocument/2006/relationships/tags" Target="../tags/tag241.xml"/><Relationship Id="rId24" Type="http://schemas.openxmlformats.org/officeDocument/2006/relationships/tags" Target="../tags/tag254.xml"/><Relationship Id="rId32" Type="http://schemas.openxmlformats.org/officeDocument/2006/relationships/chart" Target="../charts/chart11.xml"/><Relationship Id="rId37" Type="http://schemas.openxmlformats.org/officeDocument/2006/relationships/image" Target="../media/image19.svg"/><Relationship Id="rId40" Type="http://schemas.openxmlformats.org/officeDocument/2006/relationships/image" Target="../media/image22.png"/><Relationship Id="rId5" Type="http://schemas.openxmlformats.org/officeDocument/2006/relationships/tags" Target="../tags/tag235.xml"/><Relationship Id="rId15" Type="http://schemas.openxmlformats.org/officeDocument/2006/relationships/tags" Target="../tags/tag245.xml"/><Relationship Id="rId23" Type="http://schemas.openxmlformats.org/officeDocument/2006/relationships/tags" Target="../tags/tag253.xml"/><Relationship Id="rId28" Type="http://schemas.openxmlformats.org/officeDocument/2006/relationships/tags" Target="../tags/tag258.xml"/><Relationship Id="rId36" Type="http://schemas.openxmlformats.org/officeDocument/2006/relationships/image" Target="../media/image18.png"/><Relationship Id="rId10" Type="http://schemas.openxmlformats.org/officeDocument/2006/relationships/tags" Target="../tags/tag240.xml"/><Relationship Id="rId19" Type="http://schemas.openxmlformats.org/officeDocument/2006/relationships/tags" Target="../tags/tag249.xml"/><Relationship Id="rId31" Type="http://schemas.openxmlformats.org/officeDocument/2006/relationships/notesSlide" Target="../notesSlides/notesSlide5.xml"/><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tags" Target="../tags/tag244.xml"/><Relationship Id="rId22" Type="http://schemas.openxmlformats.org/officeDocument/2006/relationships/tags" Target="../tags/tag252.xml"/><Relationship Id="rId27" Type="http://schemas.openxmlformats.org/officeDocument/2006/relationships/tags" Target="../tags/tag257.xml"/><Relationship Id="rId30" Type="http://schemas.openxmlformats.org/officeDocument/2006/relationships/slideLayout" Target="../slideLayouts/slideLayout5.xml"/><Relationship Id="rId35" Type="http://schemas.openxmlformats.org/officeDocument/2006/relationships/image" Target="../media/image17.svg"/><Relationship Id="rId43" Type="http://schemas.openxmlformats.org/officeDocument/2006/relationships/image" Target="../media/image25.svg"/><Relationship Id="rId8" Type="http://schemas.openxmlformats.org/officeDocument/2006/relationships/tags" Target="../tags/tag238.xml"/><Relationship Id="rId3" Type="http://schemas.openxmlformats.org/officeDocument/2006/relationships/tags" Target="../tags/tag233.xml"/><Relationship Id="rId12" Type="http://schemas.openxmlformats.org/officeDocument/2006/relationships/tags" Target="../tags/tag242.xml"/><Relationship Id="rId17" Type="http://schemas.openxmlformats.org/officeDocument/2006/relationships/tags" Target="../tags/tag247.xml"/><Relationship Id="rId25" Type="http://schemas.openxmlformats.org/officeDocument/2006/relationships/tags" Target="../tags/tag255.xml"/><Relationship Id="rId33" Type="http://schemas.openxmlformats.org/officeDocument/2006/relationships/chart" Target="../charts/chart12.xml"/><Relationship Id="rId38" Type="http://schemas.openxmlformats.org/officeDocument/2006/relationships/image" Target="../media/image20.png"/></Relationships>
</file>

<file path=ppt/slides/_rels/slide11.xml.rels><?xml version="1.0" encoding="UTF-8" standalone="yes"?>
<Relationships xmlns="http://schemas.openxmlformats.org/package/2006/relationships"><Relationship Id="rId13" Type="http://schemas.openxmlformats.org/officeDocument/2006/relationships/tags" Target="../tags/tag272.xml"/><Relationship Id="rId18" Type="http://schemas.openxmlformats.org/officeDocument/2006/relationships/tags" Target="../tags/tag277.xml"/><Relationship Id="rId26" Type="http://schemas.openxmlformats.org/officeDocument/2006/relationships/tags" Target="../tags/tag285.xml"/><Relationship Id="rId39" Type="http://schemas.openxmlformats.org/officeDocument/2006/relationships/image" Target="../media/image21.svg"/><Relationship Id="rId21" Type="http://schemas.openxmlformats.org/officeDocument/2006/relationships/tags" Target="../tags/tag280.xml"/><Relationship Id="rId34" Type="http://schemas.openxmlformats.org/officeDocument/2006/relationships/image" Target="../media/image16.png"/><Relationship Id="rId42" Type="http://schemas.openxmlformats.org/officeDocument/2006/relationships/image" Target="../media/image24.png"/><Relationship Id="rId7" Type="http://schemas.openxmlformats.org/officeDocument/2006/relationships/tags" Target="../tags/tag266.xml"/><Relationship Id="rId2" Type="http://schemas.openxmlformats.org/officeDocument/2006/relationships/tags" Target="../tags/tag261.xml"/><Relationship Id="rId16" Type="http://schemas.openxmlformats.org/officeDocument/2006/relationships/tags" Target="../tags/tag275.xml"/><Relationship Id="rId20" Type="http://schemas.openxmlformats.org/officeDocument/2006/relationships/tags" Target="../tags/tag279.xml"/><Relationship Id="rId29" Type="http://schemas.openxmlformats.org/officeDocument/2006/relationships/tags" Target="../tags/tag288.xml"/><Relationship Id="rId41" Type="http://schemas.openxmlformats.org/officeDocument/2006/relationships/image" Target="../media/image23.svg"/><Relationship Id="rId1" Type="http://schemas.openxmlformats.org/officeDocument/2006/relationships/tags" Target="../tags/tag260.xml"/><Relationship Id="rId6" Type="http://schemas.openxmlformats.org/officeDocument/2006/relationships/tags" Target="../tags/tag265.xml"/><Relationship Id="rId11" Type="http://schemas.openxmlformats.org/officeDocument/2006/relationships/tags" Target="../tags/tag270.xml"/><Relationship Id="rId24" Type="http://schemas.openxmlformats.org/officeDocument/2006/relationships/tags" Target="../tags/tag283.xml"/><Relationship Id="rId32" Type="http://schemas.openxmlformats.org/officeDocument/2006/relationships/chart" Target="../charts/chart13.xml"/><Relationship Id="rId37" Type="http://schemas.openxmlformats.org/officeDocument/2006/relationships/image" Target="../media/image19.svg"/><Relationship Id="rId40" Type="http://schemas.openxmlformats.org/officeDocument/2006/relationships/image" Target="../media/image22.png"/><Relationship Id="rId5" Type="http://schemas.openxmlformats.org/officeDocument/2006/relationships/tags" Target="../tags/tag264.xml"/><Relationship Id="rId15" Type="http://schemas.openxmlformats.org/officeDocument/2006/relationships/tags" Target="../tags/tag274.xml"/><Relationship Id="rId23" Type="http://schemas.openxmlformats.org/officeDocument/2006/relationships/tags" Target="../tags/tag282.xml"/><Relationship Id="rId28" Type="http://schemas.openxmlformats.org/officeDocument/2006/relationships/tags" Target="../tags/tag287.xml"/><Relationship Id="rId36" Type="http://schemas.openxmlformats.org/officeDocument/2006/relationships/image" Target="../media/image18.png"/><Relationship Id="rId10" Type="http://schemas.openxmlformats.org/officeDocument/2006/relationships/tags" Target="../tags/tag269.xml"/><Relationship Id="rId19" Type="http://schemas.openxmlformats.org/officeDocument/2006/relationships/tags" Target="../tags/tag278.xml"/><Relationship Id="rId31" Type="http://schemas.openxmlformats.org/officeDocument/2006/relationships/notesSlide" Target="../notesSlides/notesSlide6.xml"/><Relationship Id="rId4" Type="http://schemas.openxmlformats.org/officeDocument/2006/relationships/tags" Target="../tags/tag263.xml"/><Relationship Id="rId9" Type="http://schemas.openxmlformats.org/officeDocument/2006/relationships/tags" Target="../tags/tag268.xml"/><Relationship Id="rId14" Type="http://schemas.openxmlformats.org/officeDocument/2006/relationships/tags" Target="../tags/tag273.xml"/><Relationship Id="rId22" Type="http://schemas.openxmlformats.org/officeDocument/2006/relationships/tags" Target="../tags/tag281.xml"/><Relationship Id="rId27" Type="http://schemas.openxmlformats.org/officeDocument/2006/relationships/tags" Target="../tags/tag286.xml"/><Relationship Id="rId30" Type="http://schemas.openxmlformats.org/officeDocument/2006/relationships/slideLayout" Target="../slideLayouts/slideLayout5.xml"/><Relationship Id="rId35" Type="http://schemas.openxmlformats.org/officeDocument/2006/relationships/image" Target="../media/image17.svg"/><Relationship Id="rId43" Type="http://schemas.openxmlformats.org/officeDocument/2006/relationships/image" Target="../media/image25.svg"/><Relationship Id="rId8" Type="http://schemas.openxmlformats.org/officeDocument/2006/relationships/tags" Target="../tags/tag267.xml"/><Relationship Id="rId3" Type="http://schemas.openxmlformats.org/officeDocument/2006/relationships/tags" Target="../tags/tag262.xml"/><Relationship Id="rId12" Type="http://schemas.openxmlformats.org/officeDocument/2006/relationships/tags" Target="../tags/tag271.xml"/><Relationship Id="rId17" Type="http://schemas.openxmlformats.org/officeDocument/2006/relationships/tags" Target="../tags/tag276.xml"/><Relationship Id="rId25" Type="http://schemas.openxmlformats.org/officeDocument/2006/relationships/tags" Target="../tags/tag284.xml"/><Relationship Id="rId33" Type="http://schemas.openxmlformats.org/officeDocument/2006/relationships/chart" Target="../charts/chart14.xml"/><Relationship Id="rId38" Type="http://schemas.openxmlformats.org/officeDocument/2006/relationships/image" Target="../media/image20.png"/></Relationships>
</file>

<file path=ppt/slides/_rels/slide12.xml.rels><?xml version="1.0" encoding="UTF-8" standalone="yes"?>
<Relationships xmlns="http://schemas.openxmlformats.org/package/2006/relationships"><Relationship Id="rId13" Type="http://schemas.openxmlformats.org/officeDocument/2006/relationships/tags" Target="../tags/tag301.xml"/><Relationship Id="rId18" Type="http://schemas.openxmlformats.org/officeDocument/2006/relationships/tags" Target="../tags/tag306.xml"/><Relationship Id="rId26" Type="http://schemas.openxmlformats.org/officeDocument/2006/relationships/tags" Target="../tags/tag314.xml"/><Relationship Id="rId39" Type="http://schemas.openxmlformats.org/officeDocument/2006/relationships/tags" Target="../tags/tag327.xml"/><Relationship Id="rId21" Type="http://schemas.openxmlformats.org/officeDocument/2006/relationships/tags" Target="../tags/tag309.xml"/><Relationship Id="rId34" Type="http://schemas.openxmlformats.org/officeDocument/2006/relationships/tags" Target="../tags/tag322.xml"/><Relationship Id="rId42" Type="http://schemas.openxmlformats.org/officeDocument/2006/relationships/tags" Target="../tags/tag330.xml"/><Relationship Id="rId47" Type="http://schemas.openxmlformats.org/officeDocument/2006/relationships/chart" Target="../charts/chart16.xml"/><Relationship Id="rId7" Type="http://schemas.openxmlformats.org/officeDocument/2006/relationships/tags" Target="../tags/tag295.xml"/><Relationship Id="rId2" Type="http://schemas.openxmlformats.org/officeDocument/2006/relationships/tags" Target="../tags/tag290.xml"/><Relationship Id="rId16" Type="http://schemas.openxmlformats.org/officeDocument/2006/relationships/tags" Target="../tags/tag304.xml"/><Relationship Id="rId29" Type="http://schemas.openxmlformats.org/officeDocument/2006/relationships/tags" Target="../tags/tag317.xml"/><Relationship Id="rId1" Type="http://schemas.openxmlformats.org/officeDocument/2006/relationships/tags" Target="../tags/tag289.xml"/><Relationship Id="rId6" Type="http://schemas.openxmlformats.org/officeDocument/2006/relationships/tags" Target="../tags/tag294.xml"/><Relationship Id="rId11" Type="http://schemas.openxmlformats.org/officeDocument/2006/relationships/tags" Target="../tags/tag299.xml"/><Relationship Id="rId24" Type="http://schemas.openxmlformats.org/officeDocument/2006/relationships/tags" Target="../tags/tag312.xml"/><Relationship Id="rId32" Type="http://schemas.openxmlformats.org/officeDocument/2006/relationships/tags" Target="../tags/tag320.xml"/><Relationship Id="rId37" Type="http://schemas.openxmlformats.org/officeDocument/2006/relationships/tags" Target="../tags/tag325.xml"/><Relationship Id="rId40" Type="http://schemas.openxmlformats.org/officeDocument/2006/relationships/tags" Target="../tags/tag328.xml"/><Relationship Id="rId45" Type="http://schemas.openxmlformats.org/officeDocument/2006/relationships/notesSlide" Target="../notesSlides/notesSlide7.xml"/><Relationship Id="rId5" Type="http://schemas.openxmlformats.org/officeDocument/2006/relationships/tags" Target="../tags/tag293.xml"/><Relationship Id="rId15" Type="http://schemas.openxmlformats.org/officeDocument/2006/relationships/tags" Target="../tags/tag303.xml"/><Relationship Id="rId23" Type="http://schemas.openxmlformats.org/officeDocument/2006/relationships/tags" Target="../tags/tag311.xml"/><Relationship Id="rId28" Type="http://schemas.openxmlformats.org/officeDocument/2006/relationships/tags" Target="../tags/tag316.xml"/><Relationship Id="rId36" Type="http://schemas.openxmlformats.org/officeDocument/2006/relationships/tags" Target="../tags/tag324.xml"/><Relationship Id="rId10" Type="http://schemas.openxmlformats.org/officeDocument/2006/relationships/tags" Target="../tags/tag298.xml"/><Relationship Id="rId19" Type="http://schemas.openxmlformats.org/officeDocument/2006/relationships/tags" Target="../tags/tag307.xml"/><Relationship Id="rId31" Type="http://schemas.openxmlformats.org/officeDocument/2006/relationships/tags" Target="../tags/tag319.xml"/><Relationship Id="rId44" Type="http://schemas.openxmlformats.org/officeDocument/2006/relationships/slideLayout" Target="../slideLayouts/slideLayout5.xml"/><Relationship Id="rId4" Type="http://schemas.openxmlformats.org/officeDocument/2006/relationships/tags" Target="../tags/tag292.xml"/><Relationship Id="rId9" Type="http://schemas.openxmlformats.org/officeDocument/2006/relationships/tags" Target="../tags/tag297.xml"/><Relationship Id="rId14" Type="http://schemas.openxmlformats.org/officeDocument/2006/relationships/tags" Target="../tags/tag302.xml"/><Relationship Id="rId22" Type="http://schemas.openxmlformats.org/officeDocument/2006/relationships/tags" Target="../tags/tag310.xml"/><Relationship Id="rId27" Type="http://schemas.openxmlformats.org/officeDocument/2006/relationships/tags" Target="../tags/tag315.xml"/><Relationship Id="rId30" Type="http://schemas.openxmlformats.org/officeDocument/2006/relationships/tags" Target="../tags/tag318.xml"/><Relationship Id="rId35" Type="http://schemas.openxmlformats.org/officeDocument/2006/relationships/tags" Target="../tags/tag323.xml"/><Relationship Id="rId43" Type="http://schemas.openxmlformats.org/officeDocument/2006/relationships/tags" Target="../tags/tag331.xml"/><Relationship Id="rId8" Type="http://schemas.openxmlformats.org/officeDocument/2006/relationships/tags" Target="../tags/tag296.xml"/><Relationship Id="rId3" Type="http://schemas.openxmlformats.org/officeDocument/2006/relationships/tags" Target="../tags/tag291.xml"/><Relationship Id="rId12" Type="http://schemas.openxmlformats.org/officeDocument/2006/relationships/tags" Target="../tags/tag300.xml"/><Relationship Id="rId17" Type="http://schemas.openxmlformats.org/officeDocument/2006/relationships/tags" Target="../tags/tag305.xml"/><Relationship Id="rId25" Type="http://schemas.openxmlformats.org/officeDocument/2006/relationships/tags" Target="../tags/tag313.xml"/><Relationship Id="rId33" Type="http://schemas.openxmlformats.org/officeDocument/2006/relationships/tags" Target="../tags/tag321.xml"/><Relationship Id="rId38" Type="http://schemas.openxmlformats.org/officeDocument/2006/relationships/tags" Target="../tags/tag326.xml"/><Relationship Id="rId46" Type="http://schemas.openxmlformats.org/officeDocument/2006/relationships/chart" Target="../charts/chart15.xml"/><Relationship Id="rId20" Type="http://schemas.openxmlformats.org/officeDocument/2006/relationships/tags" Target="../tags/tag308.xml"/><Relationship Id="rId41" Type="http://schemas.openxmlformats.org/officeDocument/2006/relationships/tags" Target="../tags/tag32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8.xml"/><Relationship Id="rId5" Type="http://schemas.openxmlformats.org/officeDocument/2006/relationships/image" Target="../media/image29.png"/><Relationship Id="rId4" Type="http://schemas.openxmlformats.org/officeDocument/2006/relationships/image" Target="../media/image28.jpeg"/></Relationships>
</file>

<file path=ppt/slides/_rels/slide15.xml.rels><?xml version="1.0" encoding="UTF-8" standalone="yes"?>
<Relationships xmlns="http://schemas.openxmlformats.org/package/2006/relationships"><Relationship Id="rId13" Type="http://schemas.openxmlformats.org/officeDocument/2006/relationships/tags" Target="../tags/tag344.xml"/><Relationship Id="rId18" Type="http://schemas.openxmlformats.org/officeDocument/2006/relationships/tags" Target="../tags/tag349.xml"/><Relationship Id="rId26" Type="http://schemas.openxmlformats.org/officeDocument/2006/relationships/tags" Target="../tags/tag357.xml"/><Relationship Id="rId39" Type="http://schemas.openxmlformats.org/officeDocument/2006/relationships/notesSlide" Target="../notesSlides/notesSlide8.xml"/><Relationship Id="rId21" Type="http://schemas.openxmlformats.org/officeDocument/2006/relationships/tags" Target="../tags/tag352.xml"/><Relationship Id="rId34" Type="http://schemas.openxmlformats.org/officeDocument/2006/relationships/tags" Target="../tags/tag365.xml"/><Relationship Id="rId7" Type="http://schemas.openxmlformats.org/officeDocument/2006/relationships/tags" Target="../tags/tag338.xml"/><Relationship Id="rId12" Type="http://schemas.openxmlformats.org/officeDocument/2006/relationships/tags" Target="../tags/tag343.xml"/><Relationship Id="rId17" Type="http://schemas.openxmlformats.org/officeDocument/2006/relationships/tags" Target="../tags/tag348.xml"/><Relationship Id="rId25" Type="http://schemas.openxmlformats.org/officeDocument/2006/relationships/tags" Target="../tags/tag356.xml"/><Relationship Id="rId33" Type="http://schemas.openxmlformats.org/officeDocument/2006/relationships/tags" Target="../tags/tag364.xml"/><Relationship Id="rId38" Type="http://schemas.openxmlformats.org/officeDocument/2006/relationships/slideLayout" Target="../slideLayouts/slideLayout8.xml"/><Relationship Id="rId2" Type="http://schemas.openxmlformats.org/officeDocument/2006/relationships/tags" Target="../tags/tag333.xml"/><Relationship Id="rId16" Type="http://schemas.openxmlformats.org/officeDocument/2006/relationships/tags" Target="../tags/tag347.xml"/><Relationship Id="rId20" Type="http://schemas.openxmlformats.org/officeDocument/2006/relationships/tags" Target="../tags/tag351.xml"/><Relationship Id="rId29" Type="http://schemas.openxmlformats.org/officeDocument/2006/relationships/tags" Target="../tags/tag360.xml"/><Relationship Id="rId1" Type="http://schemas.openxmlformats.org/officeDocument/2006/relationships/tags" Target="../tags/tag332.xml"/><Relationship Id="rId6" Type="http://schemas.openxmlformats.org/officeDocument/2006/relationships/tags" Target="../tags/tag337.xml"/><Relationship Id="rId11" Type="http://schemas.openxmlformats.org/officeDocument/2006/relationships/tags" Target="../tags/tag342.xml"/><Relationship Id="rId24" Type="http://schemas.openxmlformats.org/officeDocument/2006/relationships/tags" Target="../tags/tag355.xml"/><Relationship Id="rId32" Type="http://schemas.openxmlformats.org/officeDocument/2006/relationships/tags" Target="../tags/tag363.xml"/><Relationship Id="rId37" Type="http://schemas.openxmlformats.org/officeDocument/2006/relationships/tags" Target="../tags/tag368.xml"/><Relationship Id="rId40" Type="http://schemas.openxmlformats.org/officeDocument/2006/relationships/chart" Target="../charts/chart17.xml"/><Relationship Id="rId5" Type="http://schemas.openxmlformats.org/officeDocument/2006/relationships/tags" Target="../tags/tag336.xml"/><Relationship Id="rId15" Type="http://schemas.openxmlformats.org/officeDocument/2006/relationships/tags" Target="../tags/tag346.xml"/><Relationship Id="rId23" Type="http://schemas.openxmlformats.org/officeDocument/2006/relationships/tags" Target="../tags/tag354.xml"/><Relationship Id="rId28" Type="http://schemas.openxmlformats.org/officeDocument/2006/relationships/tags" Target="../tags/tag359.xml"/><Relationship Id="rId36" Type="http://schemas.openxmlformats.org/officeDocument/2006/relationships/tags" Target="../tags/tag367.xml"/><Relationship Id="rId10" Type="http://schemas.openxmlformats.org/officeDocument/2006/relationships/tags" Target="../tags/tag341.xml"/><Relationship Id="rId19" Type="http://schemas.openxmlformats.org/officeDocument/2006/relationships/tags" Target="../tags/tag350.xml"/><Relationship Id="rId31" Type="http://schemas.openxmlformats.org/officeDocument/2006/relationships/tags" Target="../tags/tag362.xml"/><Relationship Id="rId4" Type="http://schemas.openxmlformats.org/officeDocument/2006/relationships/tags" Target="../tags/tag335.xml"/><Relationship Id="rId9" Type="http://schemas.openxmlformats.org/officeDocument/2006/relationships/tags" Target="../tags/tag340.xml"/><Relationship Id="rId14" Type="http://schemas.openxmlformats.org/officeDocument/2006/relationships/tags" Target="../tags/tag345.xml"/><Relationship Id="rId22" Type="http://schemas.openxmlformats.org/officeDocument/2006/relationships/tags" Target="../tags/tag353.xml"/><Relationship Id="rId27" Type="http://schemas.openxmlformats.org/officeDocument/2006/relationships/tags" Target="../tags/tag358.xml"/><Relationship Id="rId30" Type="http://schemas.openxmlformats.org/officeDocument/2006/relationships/tags" Target="../tags/tag361.xml"/><Relationship Id="rId35" Type="http://schemas.openxmlformats.org/officeDocument/2006/relationships/tags" Target="../tags/tag366.xml"/><Relationship Id="rId8" Type="http://schemas.openxmlformats.org/officeDocument/2006/relationships/tags" Target="../tags/tag339.xml"/><Relationship Id="rId3" Type="http://schemas.openxmlformats.org/officeDocument/2006/relationships/tags" Target="../tags/tag334.xml"/></Relationships>
</file>

<file path=ppt/slides/_rels/slide16.xml.rels><?xml version="1.0" encoding="UTF-8" standalone="yes"?>
<Relationships xmlns="http://schemas.openxmlformats.org/package/2006/relationships"><Relationship Id="rId13" Type="http://schemas.openxmlformats.org/officeDocument/2006/relationships/tags" Target="../tags/tag381.xml"/><Relationship Id="rId18" Type="http://schemas.openxmlformats.org/officeDocument/2006/relationships/tags" Target="../tags/tag386.xml"/><Relationship Id="rId26" Type="http://schemas.openxmlformats.org/officeDocument/2006/relationships/tags" Target="../tags/tag394.xml"/><Relationship Id="rId39" Type="http://schemas.openxmlformats.org/officeDocument/2006/relationships/image" Target="../media/image30.png"/><Relationship Id="rId21" Type="http://schemas.openxmlformats.org/officeDocument/2006/relationships/tags" Target="../tags/tag389.xml"/><Relationship Id="rId34" Type="http://schemas.openxmlformats.org/officeDocument/2006/relationships/tags" Target="../tags/tag402.xml"/><Relationship Id="rId42" Type="http://schemas.openxmlformats.org/officeDocument/2006/relationships/image" Target="../media/image33.jpeg"/><Relationship Id="rId47" Type="http://schemas.openxmlformats.org/officeDocument/2006/relationships/chart" Target="../charts/chart22.xml"/><Relationship Id="rId7" Type="http://schemas.openxmlformats.org/officeDocument/2006/relationships/tags" Target="../tags/tag375.xml"/><Relationship Id="rId2" Type="http://schemas.openxmlformats.org/officeDocument/2006/relationships/tags" Target="../tags/tag370.xml"/><Relationship Id="rId16" Type="http://schemas.openxmlformats.org/officeDocument/2006/relationships/tags" Target="../tags/tag384.xml"/><Relationship Id="rId29" Type="http://schemas.openxmlformats.org/officeDocument/2006/relationships/tags" Target="../tags/tag397.xml"/><Relationship Id="rId1" Type="http://schemas.openxmlformats.org/officeDocument/2006/relationships/tags" Target="../tags/tag369.xml"/><Relationship Id="rId6" Type="http://schemas.openxmlformats.org/officeDocument/2006/relationships/tags" Target="../tags/tag374.xml"/><Relationship Id="rId11" Type="http://schemas.openxmlformats.org/officeDocument/2006/relationships/tags" Target="../tags/tag379.xml"/><Relationship Id="rId24" Type="http://schemas.openxmlformats.org/officeDocument/2006/relationships/tags" Target="../tags/tag392.xml"/><Relationship Id="rId32" Type="http://schemas.openxmlformats.org/officeDocument/2006/relationships/tags" Target="../tags/tag400.xml"/><Relationship Id="rId37" Type="http://schemas.openxmlformats.org/officeDocument/2006/relationships/notesSlide" Target="../notesSlides/notesSlide9.xml"/><Relationship Id="rId40" Type="http://schemas.openxmlformats.org/officeDocument/2006/relationships/image" Target="../media/image31.jpeg"/><Relationship Id="rId45" Type="http://schemas.openxmlformats.org/officeDocument/2006/relationships/chart" Target="../charts/chart20.xml"/><Relationship Id="rId5" Type="http://schemas.openxmlformats.org/officeDocument/2006/relationships/tags" Target="../tags/tag373.xml"/><Relationship Id="rId15" Type="http://schemas.openxmlformats.org/officeDocument/2006/relationships/tags" Target="../tags/tag383.xml"/><Relationship Id="rId23" Type="http://schemas.openxmlformats.org/officeDocument/2006/relationships/tags" Target="../tags/tag391.xml"/><Relationship Id="rId28" Type="http://schemas.openxmlformats.org/officeDocument/2006/relationships/tags" Target="../tags/tag396.xml"/><Relationship Id="rId36" Type="http://schemas.openxmlformats.org/officeDocument/2006/relationships/slideLayout" Target="../slideLayouts/slideLayout8.xml"/><Relationship Id="rId10" Type="http://schemas.openxmlformats.org/officeDocument/2006/relationships/tags" Target="../tags/tag378.xml"/><Relationship Id="rId19" Type="http://schemas.openxmlformats.org/officeDocument/2006/relationships/tags" Target="../tags/tag387.xml"/><Relationship Id="rId31" Type="http://schemas.openxmlformats.org/officeDocument/2006/relationships/tags" Target="../tags/tag399.xml"/><Relationship Id="rId44" Type="http://schemas.openxmlformats.org/officeDocument/2006/relationships/chart" Target="../charts/chart19.xml"/><Relationship Id="rId4" Type="http://schemas.openxmlformats.org/officeDocument/2006/relationships/tags" Target="../tags/tag372.xml"/><Relationship Id="rId9" Type="http://schemas.openxmlformats.org/officeDocument/2006/relationships/tags" Target="../tags/tag377.xml"/><Relationship Id="rId14" Type="http://schemas.openxmlformats.org/officeDocument/2006/relationships/tags" Target="../tags/tag382.xml"/><Relationship Id="rId22" Type="http://schemas.openxmlformats.org/officeDocument/2006/relationships/tags" Target="../tags/tag390.xml"/><Relationship Id="rId27" Type="http://schemas.openxmlformats.org/officeDocument/2006/relationships/tags" Target="../tags/tag395.xml"/><Relationship Id="rId30" Type="http://schemas.openxmlformats.org/officeDocument/2006/relationships/tags" Target="../tags/tag398.xml"/><Relationship Id="rId35" Type="http://schemas.openxmlformats.org/officeDocument/2006/relationships/tags" Target="../tags/tag403.xml"/><Relationship Id="rId43" Type="http://schemas.openxmlformats.org/officeDocument/2006/relationships/image" Target="../media/image34.jpeg"/><Relationship Id="rId8" Type="http://schemas.openxmlformats.org/officeDocument/2006/relationships/tags" Target="../tags/tag376.xml"/><Relationship Id="rId3" Type="http://schemas.openxmlformats.org/officeDocument/2006/relationships/tags" Target="../tags/tag371.xml"/><Relationship Id="rId12" Type="http://schemas.openxmlformats.org/officeDocument/2006/relationships/tags" Target="../tags/tag380.xml"/><Relationship Id="rId17" Type="http://schemas.openxmlformats.org/officeDocument/2006/relationships/tags" Target="../tags/tag385.xml"/><Relationship Id="rId25" Type="http://schemas.openxmlformats.org/officeDocument/2006/relationships/tags" Target="../tags/tag393.xml"/><Relationship Id="rId33" Type="http://schemas.openxmlformats.org/officeDocument/2006/relationships/tags" Target="../tags/tag401.xml"/><Relationship Id="rId38" Type="http://schemas.openxmlformats.org/officeDocument/2006/relationships/chart" Target="../charts/chart18.xml"/><Relationship Id="rId46" Type="http://schemas.openxmlformats.org/officeDocument/2006/relationships/chart" Target="../charts/chart21.xml"/><Relationship Id="rId20" Type="http://schemas.openxmlformats.org/officeDocument/2006/relationships/tags" Target="../tags/tag388.xml"/><Relationship Id="rId41" Type="http://schemas.openxmlformats.org/officeDocument/2006/relationships/image" Target="../media/image32.jpeg"/></Relationships>
</file>

<file path=ppt/slides/_rels/slide17.xml.rels><?xml version="1.0" encoding="UTF-8" standalone="yes"?>
<Relationships xmlns="http://schemas.openxmlformats.org/package/2006/relationships"><Relationship Id="rId26" Type="http://schemas.openxmlformats.org/officeDocument/2006/relationships/tags" Target="../tags/tag429.xml"/><Relationship Id="rId21" Type="http://schemas.openxmlformats.org/officeDocument/2006/relationships/tags" Target="../tags/tag424.xml"/><Relationship Id="rId34" Type="http://schemas.openxmlformats.org/officeDocument/2006/relationships/tags" Target="../tags/tag437.xml"/><Relationship Id="rId42" Type="http://schemas.openxmlformats.org/officeDocument/2006/relationships/tags" Target="../tags/tag445.xml"/><Relationship Id="rId47" Type="http://schemas.openxmlformats.org/officeDocument/2006/relationships/tags" Target="../tags/tag450.xml"/><Relationship Id="rId50" Type="http://schemas.openxmlformats.org/officeDocument/2006/relationships/tags" Target="../tags/tag453.xml"/><Relationship Id="rId55" Type="http://schemas.openxmlformats.org/officeDocument/2006/relationships/tags" Target="../tags/tag458.xml"/><Relationship Id="rId63" Type="http://schemas.openxmlformats.org/officeDocument/2006/relationships/chart" Target="../charts/chart23.xml"/><Relationship Id="rId7" Type="http://schemas.openxmlformats.org/officeDocument/2006/relationships/tags" Target="../tags/tag410.xml"/><Relationship Id="rId2" Type="http://schemas.openxmlformats.org/officeDocument/2006/relationships/tags" Target="../tags/tag405.xml"/><Relationship Id="rId16" Type="http://schemas.openxmlformats.org/officeDocument/2006/relationships/tags" Target="../tags/tag419.xml"/><Relationship Id="rId29" Type="http://schemas.openxmlformats.org/officeDocument/2006/relationships/tags" Target="../tags/tag432.xml"/><Relationship Id="rId11" Type="http://schemas.openxmlformats.org/officeDocument/2006/relationships/tags" Target="../tags/tag414.xml"/><Relationship Id="rId24" Type="http://schemas.openxmlformats.org/officeDocument/2006/relationships/tags" Target="../tags/tag427.xml"/><Relationship Id="rId32" Type="http://schemas.openxmlformats.org/officeDocument/2006/relationships/tags" Target="../tags/tag435.xml"/><Relationship Id="rId37" Type="http://schemas.openxmlformats.org/officeDocument/2006/relationships/tags" Target="../tags/tag440.xml"/><Relationship Id="rId40" Type="http://schemas.openxmlformats.org/officeDocument/2006/relationships/tags" Target="../tags/tag443.xml"/><Relationship Id="rId45" Type="http://schemas.openxmlformats.org/officeDocument/2006/relationships/tags" Target="../tags/tag448.xml"/><Relationship Id="rId53" Type="http://schemas.openxmlformats.org/officeDocument/2006/relationships/tags" Target="../tags/tag456.xml"/><Relationship Id="rId58" Type="http://schemas.openxmlformats.org/officeDocument/2006/relationships/tags" Target="../tags/tag461.xml"/><Relationship Id="rId5" Type="http://schemas.openxmlformats.org/officeDocument/2006/relationships/tags" Target="../tags/tag408.xml"/><Relationship Id="rId61" Type="http://schemas.openxmlformats.org/officeDocument/2006/relationships/slideLayout" Target="../slideLayouts/slideLayout8.xml"/><Relationship Id="rId19" Type="http://schemas.openxmlformats.org/officeDocument/2006/relationships/tags" Target="../tags/tag422.xml"/><Relationship Id="rId14" Type="http://schemas.openxmlformats.org/officeDocument/2006/relationships/tags" Target="../tags/tag417.xml"/><Relationship Id="rId22" Type="http://schemas.openxmlformats.org/officeDocument/2006/relationships/tags" Target="../tags/tag425.xml"/><Relationship Id="rId27" Type="http://schemas.openxmlformats.org/officeDocument/2006/relationships/tags" Target="../tags/tag430.xml"/><Relationship Id="rId30" Type="http://schemas.openxmlformats.org/officeDocument/2006/relationships/tags" Target="../tags/tag433.xml"/><Relationship Id="rId35" Type="http://schemas.openxmlformats.org/officeDocument/2006/relationships/tags" Target="../tags/tag438.xml"/><Relationship Id="rId43" Type="http://schemas.openxmlformats.org/officeDocument/2006/relationships/tags" Target="../tags/tag446.xml"/><Relationship Id="rId48" Type="http://schemas.openxmlformats.org/officeDocument/2006/relationships/tags" Target="../tags/tag451.xml"/><Relationship Id="rId56" Type="http://schemas.openxmlformats.org/officeDocument/2006/relationships/tags" Target="../tags/tag459.xml"/><Relationship Id="rId64" Type="http://schemas.openxmlformats.org/officeDocument/2006/relationships/chart" Target="../charts/chart24.xml"/><Relationship Id="rId8" Type="http://schemas.openxmlformats.org/officeDocument/2006/relationships/tags" Target="../tags/tag411.xml"/><Relationship Id="rId51" Type="http://schemas.openxmlformats.org/officeDocument/2006/relationships/tags" Target="../tags/tag454.xml"/><Relationship Id="rId3" Type="http://schemas.openxmlformats.org/officeDocument/2006/relationships/tags" Target="../tags/tag406.xml"/><Relationship Id="rId12" Type="http://schemas.openxmlformats.org/officeDocument/2006/relationships/tags" Target="../tags/tag415.xml"/><Relationship Id="rId17" Type="http://schemas.openxmlformats.org/officeDocument/2006/relationships/tags" Target="../tags/tag420.xml"/><Relationship Id="rId25" Type="http://schemas.openxmlformats.org/officeDocument/2006/relationships/tags" Target="../tags/tag428.xml"/><Relationship Id="rId33" Type="http://schemas.openxmlformats.org/officeDocument/2006/relationships/tags" Target="../tags/tag436.xml"/><Relationship Id="rId38" Type="http://schemas.openxmlformats.org/officeDocument/2006/relationships/tags" Target="../tags/tag441.xml"/><Relationship Id="rId46" Type="http://schemas.openxmlformats.org/officeDocument/2006/relationships/tags" Target="../tags/tag449.xml"/><Relationship Id="rId59" Type="http://schemas.openxmlformats.org/officeDocument/2006/relationships/tags" Target="../tags/tag462.xml"/><Relationship Id="rId20" Type="http://schemas.openxmlformats.org/officeDocument/2006/relationships/tags" Target="../tags/tag423.xml"/><Relationship Id="rId41" Type="http://schemas.openxmlformats.org/officeDocument/2006/relationships/tags" Target="../tags/tag444.xml"/><Relationship Id="rId54" Type="http://schemas.openxmlformats.org/officeDocument/2006/relationships/tags" Target="../tags/tag457.xml"/><Relationship Id="rId62" Type="http://schemas.openxmlformats.org/officeDocument/2006/relationships/notesSlide" Target="../notesSlides/notesSlide10.xml"/><Relationship Id="rId1" Type="http://schemas.openxmlformats.org/officeDocument/2006/relationships/tags" Target="../tags/tag404.xml"/><Relationship Id="rId6" Type="http://schemas.openxmlformats.org/officeDocument/2006/relationships/tags" Target="../tags/tag409.xml"/><Relationship Id="rId15" Type="http://schemas.openxmlformats.org/officeDocument/2006/relationships/tags" Target="../tags/tag418.xml"/><Relationship Id="rId23" Type="http://schemas.openxmlformats.org/officeDocument/2006/relationships/tags" Target="../tags/tag426.xml"/><Relationship Id="rId28" Type="http://schemas.openxmlformats.org/officeDocument/2006/relationships/tags" Target="../tags/tag431.xml"/><Relationship Id="rId36" Type="http://schemas.openxmlformats.org/officeDocument/2006/relationships/tags" Target="../tags/tag439.xml"/><Relationship Id="rId49" Type="http://schemas.openxmlformats.org/officeDocument/2006/relationships/tags" Target="../tags/tag452.xml"/><Relationship Id="rId57" Type="http://schemas.openxmlformats.org/officeDocument/2006/relationships/tags" Target="../tags/tag460.xml"/><Relationship Id="rId10" Type="http://schemas.openxmlformats.org/officeDocument/2006/relationships/tags" Target="../tags/tag413.xml"/><Relationship Id="rId31" Type="http://schemas.openxmlformats.org/officeDocument/2006/relationships/tags" Target="../tags/tag434.xml"/><Relationship Id="rId44" Type="http://schemas.openxmlformats.org/officeDocument/2006/relationships/tags" Target="../tags/tag447.xml"/><Relationship Id="rId52" Type="http://schemas.openxmlformats.org/officeDocument/2006/relationships/tags" Target="../tags/tag455.xml"/><Relationship Id="rId60" Type="http://schemas.openxmlformats.org/officeDocument/2006/relationships/tags" Target="../tags/tag463.xml"/><Relationship Id="rId65" Type="http://schemas.openxmlformats.org/officeDocument/2006/relationships/chart" Target="../charts/chart25.xml"/><Relationship Id="rId4" Type="http://schemas.openxmlformats.org/officeDocument/2006/relationships/tags" Target="../tags/tag407.xml"/><Relationship Id="rId9" Type="http://schemas.openxmlformats.org/officeDocument/2006/relationships/tags" Target="../tags/tag412.xml"/><Relationship Id="rId13" Type="http://schemas.openxmlformats.org/officeDocument/2006/relationships/tags" Target="../tags/tag416.xml"/><Relationship Id="rId18" Type="http://schemas.openxmlformats.org/officeDocument/2006/relationships/tags" Target="../tags/tag421.xml"/><Relationship Id="rId39" Type="http://schemas.openxmlformats.org/officeDocument/2006/relationships/tags" Target="../tags/tag442.xml"/></Relationships>
</file>

<file path=ppt/slides/_rels/slide18.xml.rels><?xml version="1.0" encoding="UTF-8" standalone="yes"?>
<Relationships xmlns="http://schemas.openxmlformats.org/package/2006/relationships"><Relationship Id="rId26" Type="http://schemas.openxmlformats.org/officeDocument/2006/relationships/tags" Target="../tags/tag489.xml"/><Relationship Id="rId21" Type="http://schemas.openxmlformats.org/officeDocument/2006/relationships/tags" Target="../tags/tag484.xml"/><Relationship Id="rId42" Type="http://schemas.openxmlformats.org/officeDocument/2006/relationships/tags" Target="../tags/tag505.xml"/><Relationship Id="rId47" Type="http://schemas.openxmlformats.org/officeDocument/2006/relationships/tags" Target="../tags/tag510.xml"/><Relationship Id="rId63" Type="http://schemas.openxmlformats.org/officeDocument/2006/relationships/tags" Target="../tags/tag526.xml"/><Relationship Id="rId68" Type="http://schemas.openxmlformats.org/officeDocument/2006/relationships/chart" Target="../charts/chart27.xml"/><Relationship Id="rId84" Type="http://schemas.openxmlformats.org/officeDocument/2006/relationships/chart" Target="../charts/chart43.xml"/><Relationship Id="rId16" Type="http://schemas.openxmlformats.org/officeDocument/2006/relationships/tags" Target="../tags/tag479.xml"/><Relationship Id="rId11" Type="http://schemas.openxmlformats.org/officeDocument/2006/relationships/tags" Target="../tags/tag474.xml"/><Relationship Id="rId32" Type="http://schemas.openxmlformats.org/officeDocument/2006/relationships/tags" Target="../tags/tag495.xml"/><Relationship Id="rId37" Type="http://schemas.openxmlformats.org/officeDocument/2006/relationships/tags" Target="../tags/tag500.xml"/><Relationship Id="rId53" Type="http://schemas.openxmlformats.org/officeDocument/2006/relationships/tags" Target="../tags/tag516.xml"/><Relationship Id="rId58" Type="http://schemas.openxmlformats.org/officeDocument/2006/relationships/tags" Target="../tags/tag521.xml"/><Relationship Id="rId74" Type="http://schemas.openxmlformats.org/officeDocument/2006/relationships/chart" Target="../charts/chart33.xml"/><Relationship Id="rId79" Type="http://schemas.openxmlformats.org/officeDocument/2006/relationships/chart" Target="../charts/chart38.xml"/><Relationship Id="rId5" Type="http://schemas.openxmlformats.org/officeDocument/2006/relationships/tags" Target="../tags/tag468.xml"/><Relationship Id="rId19" Type="http://schemas.openxmlformats.org/officeDocument/2006/relationships/tags" Target="../tags/tag482.xml"/><Relationship Id="rId14" Type="http://schemas.openxmlformats.org/officeDocument/2006/relationships/tags" Target="../tags/tag477.xml"/><Relationship Id="rId22" Type="http://schemas.openxmlformats.org/officeDocument/2006/relationships/tags" Target="../tags/tag485.xml"/><Relationship Id="rId27" Type="http://schemas.openxmlformats.org/officeDocument/2006/relationships/tags" Target="../tags/tag490.xml"/><Relationship Id="rId30" Type="http://schemas.openxmlformats.org/officeDocument/2006/relationships/tags" Target="../tags/tag493.xml"/><Relationship Id="rId35" Type="http://schemas.openxmlformats.org/officeDocument/2006/relationships/tags" Target="../tags/tag498.xml"/><Relationship Id="rId43" Type="http://schemas.openxmlformats.org/officeDocument/2006/relationships/tags" Target="../tags/tag506.xml"/><Relationship Id="rId48" Type="http://schemas.openxmlformats.org/officeDocument/2006/relationships/tags" Target="../tags/tag511.xml"/><Relationship Id="rId56" Type="http://schemas.openxmlformats.org/officeDocument/2006/relationships/tags" Target="../tags/tag519.xml"/><Relationship Id="rId64" Type="http://schemas.openxmlformats.org/officeDocument/2006/relationships/tags" Target="../tags/tag527.xml"/><Relationship Id="rId69" Type="http://schemas.openxmlformats.org/officeDocument/2006/relationships/chart" Target="../charts/chart28.xml"/><Relationship Id="rId77" Type="http://schemas.openxmlformats.org/officeDocument/2006/relationships/chart" Target="../charts/chart36.xml"/><Relationship Id="rId8" Type="http://schemas.openxmlformats.org/officeDocument/2006/relationships/tags" Target="../tags/tag471.xml"/><Relationship Id="rId51" Type="http://schemas.openxmlformats.org/officeDocument/2006/relationships/tags" Target="../tags/tag514.xml"/><Relationship Id="rId72" Type="http://schemas.openxmlformats.org/officeDocument/2006/relationships/chart" Target="../charts/chart31.xml"/><Relationship Id="rId80" Type="http://schemas.openxmlformats.org/officeDocument/2006/relationships/chart" Target="../charts/chart39.xml"/><Relationship Id="rId85" Type="http://schemas.openxmlformats.org/officeDocument/2006/relationships/chart" Target="../charts/chart44.xml"/><Relationship Id="rId3" Type="http://schemas.openxmlformats.org/officeDocument/2006/relationships/tags" Target="../tags/tag466.xml"/><Relationship Id="rId12" Type="http://schemas.openxmlformats.org/officeDocument/2006/relationships/tags" Target="../tags/tag475.xml"/><Relationship Id="rId17" Type="http://schemas.openxmlformats.org/officeDocument/2006/relationships/tags" Target="../tags/tag480.xml"/><Relationship Id="rId25" Type="http://schemas.openxmlformats.org/officeDocument/2006/relationships/tags" Target="../tags/tag488.xml"/><Relationship Id="rId33" Type="http://schemas.openxmlformats.org/officeDocument/2006/relationships/tags" Target="../tags/tag496.xml"/><Relationship Id="rId38" Type="http://schemas.openxmlformats.org/officeDocument/2006/relationships/tags" Target="../tags/tag501.xml"/><Relationship Id="rId46" Type="http://schemas.openxmlformats.org/officeDocument/2006/relationships/tags" Target="../tags/tag509.xml"/><Relationship Id="rId59" Type="http://schemas.openxmlformats.org/officeDocument/2006/relationships/tags" Target="../tags/tag522.xml"/><Relationship Id="rId67" Type="http://schemas.openxmlformats.org/officeDocument/2006/relationships/chart" Target="../charts/chart26.xml"/><Relationship Id="rId20" Type="http://schemas.openxmlformats.org/officeDocument/2006/relationships/tags" Target="../tags/tag483.xml"/><Relationship Id="rId41" Type="http://schemas.openxmlformats.org/officeDocument/2006/relationships/tags" Target="../tags/tag504.xml"/><Relationship Id="rId54" Type="http://schemas.openxmlformats.org/officeDocument/2006/relationships/tags" Target="../tags/tag517.xml"/><Relationship Id="rId62" Type="http://schemas.openxmlformats.org/officeDocument/2006/relationships/tags" Target="../tags/tag525.xml"/><Relationship Id="rId70" Type="http://schemas.openxmlformats.org/officeDocument/2006/relationships/chart" Target="../charts/chart29.xml"/><Relationship Id="rId75" Type="http://schemas.openxmlformats.org/officeDocument/2006/relationships/chart" Target="../charts/chart34.xml"/><Relationship Id="rId83" Type="http://schemas.openxmlformats.org/officeDocument/2006/relationships/chart" Target="../charts/chart42.xml"/><Relationship Id="rId1" Type="http://schemas.openxmlformats.org/officeDocument/2006/relationships/tags" Target="../tags/tag464.xml"/><Relationship Id="rId6" Type="http://schemas.openxmlformats.org/officeDocument/2006/relationships/tags" Target="../tags/tag469.xml"/><Relationship Id="rId15" Type="http://schemas.openxmlformats.org/officeDocument/2006/relationships/tags" Target="../tags/tag478.xml"/><Relationship Id="rId23" Type="http://schemas.openxmlformats.org/officeDocument/2006/relationships/tags" Target="../tags/tag486.xml"/><Relationship Id="rId28" Type="http://schemas.openxmlformats.org/officeDocument/2006/relationships/tags" Target="../tags/tag491.xml"/><Relationship Id="rId36" Type="http://schemas.openxmlformats.org/officeDocument/2006/relationships/tags" Target="../tags/tag499.xml"/><Relationship Id="rId49" Type="http://schemas.openxmlformats.org/officeDocument/2006/relationships/tags" Target="../tags/tag512.xml"/><Relationship Id="rId57" Type="http://schemas.openxmlformats.org/officeDocument/2006/relationships/tags" Target="../tags/tag520.xml"/><Relationship Id="rId10" Type="http://schemas.openxmlformats.org/officeDocument/2006/relationships/tags" Target="../tags/tag473.xml"/><Relationship Id="rId31" Type="http://schemas.openxmlformats.org/officeDocument/2006/relationships/tags" Target="../tags/tag494.xml"/><Relationship Id="rId44" Type="http://schemas.openxmlformats.org/officeDocument/2006/relationships/tags" Target="../tags/tag507.xml"/><Relationship Id="rId52" Type="http://schemas.openxmlformats.org/officeDocument/2006/relationships/tags" Target="../tags/tag515.xml"/><Relationship Id="rId60" Type="http://schemas.openxmlformats.org/officeDocument/2006/relationships/tags" Target="../tags/tag523.xml"/><Relationship Id="rId65" Type="http://schemas.openxmlformats.org/officeDocument/2006/relationships/slideLayout" Target="../slideLayouts/slideLayout8.xml"/><Relationship Id="rId73" Type="http://schemas.openxmlformats.org/officeDocument/2006/relationships/chart" Target="../charts/chart32.xml"/><Relationship Id="rId78" Type="http://schemas.openxmlformats.org/officeDocument/2006/relationships/chart" Target="../charts/chart37.xml"/><Relationship Id="rId81" Type="http://schemas.openxmlformats.org/officeDocument/2006/relationships/chart" Target="../charts/chart40.xml"/><Relationship Id="rId86" Type="http://schemas.openxmlformats.org/officeDocument/2006/relationships/chart" Target="../charts/chart45.xml"/><Relationship Id="rId4" Type="http://schemas.openxmlformats.org/officeDocument/2006/relationships/tags" Target="../tags/tag467.xml"/><Relationship Id="rId9" Type="http://schemas.openxmlformats.org/officeDocument/2006/relationships/tags" Target="../tags/tag472.xml"/><Relationship Id="rId13" Type="http://schemas.openxmlformats.org/officeDocument/2006/relationships/tags" Target="../tags/tag476.xml"/><Relationship Id="rId18" Type="http://schemas.openxmlformats.org/officeDocument/2006/relationships/tags" Target="../tags/tag481.xml"/><Relationship Id="rId39" Type="http://schemas.openxmlformats.org/officeDocument/2006/relationships/tags" Target="../tags/tag502.xml"/><Relationship Id="rId34" Type="http://schemas.openxmlformats.org/officeDocument/2006/relationships/tags" Target="../tags/tag497.xml"/><Relationship Id="rId50" Type="http://schemas.openxmlformats.org/officeDocument/2006/relationships/tags" Target="../tags/tag513.xml"/><Relationship Id="rId55" Type="http://schemas.openxmlformats.org/officeDocument/2006/relationships/tags" Target="../tags/tag518.xml"/><Relationship Id="rId76" Type="http://schemas.openxmlformats.org/officeDocument/2006/relationships/chart" Target="../charts/chart35.xml"/><Relationship Id="rId7" Type="http://schemas.openxmlformats.org/officeDocument/2006/relationships/tags" Target="../tags/tag470.xml"/><Relationship Id="rId71" Type="http://schemas.openxmlformats.org/officeDocument/2006/relationships/chart" Target="../charts/chart30.xml"/><Relationship Id="rId2" Type="http://schemas.openxmlformats.org/officeDocument/2006/relationships/tags" Target="../tags/tag465.xml"/><Relationship Id="rId29" Type="http://schemas.openxmlformats.org/officeDocument/2006/relationships/tags" Target="../tags/tag492.xml"/><Relationship Id="rId24" Type="http://schemas.openxmlformats.org/officeDocument/2006/relationships/tags" Target="../tags/tag487.xml"/><Relationship Id="rId40" Type="http://schemas.openxmlformats.org/officeDocument/2006/relationships/tags" Target="../tags/tag503.xml"/><Relationship Id="rId45" Type="http://schemas.openxmlformats.org/officeDocument/2006/relationships/tags" Target="../tags/tag508.xml"/><Relationship Id="rId66" Type="http://schemas.openxmlformats.org/officeDocument/2006/relationships/notesSlide" Target="../notesSlides/notesSlide11.xml"/><Relationship Id="rId87" Type="http://schemas.openxmlformats.org/officeDocument/2006/relationships/chart" Target="../charts/chart46.xml"/><Relationship Id="rId61" Type="http://schemas.openxmlformats.org/officeDocument/2006/relationships/tags" Target="../tags/tag524.xml"/><Relationship Id="rId82" Type="http://schemas.openxmlformats.org/officeDocument/2006/relationships/chart" Target="../charts/chart4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18" Type="http://schemas.openxmlformats.org/officeDocument/2006/relationships/image" Target="../media/image49.svg"/><Relationship Id="rId3" Type="http://schemas.openxmlformats.org/officeDocument/2006/relationships/image" Target="../media/image36.png"/><Relationship Id="rId21" Type="http://schemas.openxmlformats.org/officeDocument/2006/relationships/image" Target="../media/image52.png"/><Relationship Id="rId7" Type="http://schemas.openxmlformats.org/officeDocument/2006/relationships/image" Target="../media/image38.png"/><Relationship Id="rId12" Type="http://schemas.openxmlformats.org/officeDocument/2006/relationships/image" Target="../media/image43.svg"/><Relationship Id="rId17" Type="http://schemas.openxmlformats.org/officeDocument/2006/relationships/image" Target="../media/image48.png"/><Relationship Id="rId2" Type="http://schemas.openxmlformats.org/officeDocument/2006/relationships/image" Target="../media/image35.png"/><Relationship Id="rId16" Type="http://schemas.openxmlformats.org/officeDocument/2006/relationships/image" Target="../media/image47.svg"/><Relationship Id="rId20" Type="http://schemas.openxmlformats.org/officeDocument/2006/relationships/image" Target="../media/image51.svg"/><Relationship Id="rId1" Type="http://schemas.openxmlformats.org/officeDocument/2006/relationships/slideLayout" Target="../slideLayouts/slideLayout8.xml"/><Relationship Id="rId6" Type="http://schemas.openxmlformats.org/officeDocument/2006/relationships/image" Target="../media/image23.svg"/><Relationship Id="rId11" Type="http://schemas.openxmlformats.org/officeDocument/2006/relationships/image" Target="../media/image42.png"/><Relationship Id="rId24" Type="http://schemas.openxmlformats.org/officeDocument/2006/relationships/image" Target="../media/image55.svg"/><Relationship Id="rId5" Type="http://schemas.openxmlformats.org/officeDocument/2006/relationships/image" Target="../media/image22.png"/><Relationship Id="rId15" Type="http://schemas.openxmlformats.org/officeDocument/2006/relationships/image" Target="../media/image46.png"/><Relationship Id="rId23" Type="http://schemas.openxmlformats.org/officeDocument/2006/relationships/image" Target="../media/image54.png"/><Relationship Id="rId10" Type="http://schemas.openxmlformats.org/officeDocument/2006/relationships/image" Target="../media/image41.svg"/><Relationship Id="rId19" Type="http://schemas.openxmlformats.org/officeDocument/2006/relationships/image" Target="../media/image50.png"/><Relationship Id="rId4" Type="http://schemas.openxmlformats.org/officeDocument/2006/relationships/image" Target="../media/image37.svg"/><Relationship Id="rId9" Type="http://schemas.openxmlformats.org/officeDocument/2006/relationships/image" Target="../media/image40.png"/><Relationship Id="rId14" Type="http://schemas.openxmlformats.org/officeDocument/2006/relationships/image" Target="../media/image45.svg"/><Relationship Id="rId22" Type="http://schemas.openxmlformats.org/officeDocument/2006/relationships/image" Target="../media/image53.svg"/></Relationships>
</file>

<file path=ppt/slides/_rels/slide23.xml.rels><?xml version="1.0" encoding="UTF-8" standalone="yes"?>
<Relationships xmlns="http://schemas.openxmlformats.org/package/2006/relationships"><Relationship Id="rId13" Type="http://schemas.openxmlformats.org/officeDocument/2006/relationships/tags" Target="../tags/tag540.xml"/><Relationship Id="rId18" Type="http://schemas.openxmlformats.org/officeDocument/2006/relationships/tags" Target="../tags/tag545.xml"/><Relationship Id="rId26" Type="http://schemas.openxmlformats.org/officeDocument/2006/relationships/tags" Target="../tags/tag553.xml"/><Relationship Id="rId39" Type="http://schemas.openxmlformats.org/officeDocument/2006/relationships/image" Target="../media/image16.png"/><Relationship Id="rId21" Type="http://schemas.openxmlformats.org/officeDocument/2006/relationships/tags" Target="../tags/tag548.xml"/><Relationship Id="rId34" Type="http://schemas.openxmlformats.org/officeDocument/2006/relationships/tags" Target="../tags/tag561.xml"/><Relationship Id="rId42" Type="http://schemas.openxmlformats.org/officeDocument/2006/relationships/image" Target="../media/image59.svg"/><Relationship Id="rId7" Type="http://schemas.openxmlformats.org/officeDocument/2006/relationships/tags" Target="../tags/tag534.xml"/><Relationship Id="rId2" Type="http://schemas.openxmlformats.org/officeDocument/2006/relationships/tags" Target="../tags/tag529.xml"/><Relationship Id="rId16" Type="http://schemas.openxmlformats.org/officeDocument/2006/relationships/tags" Target="../tags/tag543.xml"/><Relationship Id="rId20" Type="http://schemas.openxmlformats.org/officeDocument/2006/relationships/tags" Target="../tags/tag547.xml"/><Relationship Id="rId29" Type="http://schemas.openxmlformats.org/officeDocument/2006/relationships/tags" Target="../tags/tag556.xml"/><Relationship Id="rId41" Type="http://schemas.openxmlformats.org/officeDocument/2006/relationships/image" Target="../media/image58.png"/><Relationship Id="rId1" Type="http://schemas.openxmlformats.org/officeDocument/2006/relationships/tags" Target="../tags/tag528.xml"/><Relationship Id="rId6" Type="http://schemas.openxmlformats.org/officeDocument/2006/relationships/tags" Target="../tags/tag533.xml"/><Relationship Id="rId11" Type="http://schemas.openxmlformats.org/officeDocument/2006/relationships/tags" Target="../tags/tag538.xml"/><Relationship Id="rId24" Type="http://schemas.openxmlformats.org/officeDocument/2006/relationships/tags" Target="../tags/tag551.xml"/><Relationship Id="rId32" Type="http://schemas.openxmlformats.org/officeDocument/2006/relationships/tags" Target="../tags/tag559.xml"/><Relationship Id="rId37" Type="http://schemas.openxmlformats.org/officeDocument/2006/relationships/image" Target="../media/image56.png"/><Relationship Id="rId40" Type="http://schemas.openxmlformats.org/officeDocument/2006/relationships/image" Target="../media/image17.svg"/><Relationship Id="rId5" Type="http://schemas.openxmlformats.org/officeDocument/2006/relationships/tags" Target="../tags/tag532.xml"/><Relationship Id="rId15" Type="http://schemas.openxmlformats.org/officeDocument/2006/relationships/tags" Target="../tags/tag542.xml"/><Relationship Id="rId23" Type="http://schemas.openxmlformats.org/officeDocument/2006/relationships/tags" Target="../tags/tag550.xml"/><Relationship Id="rId28" Type="http://schemas.openxmlformats.org/officeDocument/2006/relationships/tags" Target="../tags/tag555.xml"/><Relationship Id="rId36" Type="http://schemas.openxmlformats.org/officeDocument/2006/relationships/chart" Target="../charts/chart47.xml"/><Relationship Id="rId10" Type="http://schemas.openxmlformats.org/officeDocument/2006/relationships/tags" Target="../tags/tag537.xml"/><Relationship Id="rId19" Type="http://schemas.openxmlformats.org/officeDocument/2006/relationships/tags" Target="../tags/tag546.xml"/><Relationship Id="rId31" Type="http://schemas.openxmlformats.org/officeDocument/2006/relationships/tags" Target="../tags/tag558.xml"/><Relationship Id="rId4" Type="http://schemas.openxmlformats.org/officeDocument/2006/relationships/tags" Target="../tags/tag531.xml"/><Relationship Id="rId9" Type="http://schemas.openxmlformats.org/officeDocument/2006/relationships/tags" Target="../tags/tag536.xml"/><Relationship Id="rId14" Type="http://schemas.openxmlformats.org/officeDocument/2006/relationships/tags" Target="../tags/tag541.xml"/><Relationship Id="rId22" Type="http://schemas.openxmlformats.org/officeDocument/2006/relationships/tags" Target="../tags/tag549.xml"/><Relationship Id="rId27" Type="http://schemas.openxmlformats.org/officeDocument/2006/relationships/tags" Target="../tags/tag554.xml"/><Relationship Id="rId30" Type="http://schemas.openxmlformats.org/officeDocument/2006/relationships/tags" Target="../tags/tag557.xml"/><Relationship Id="rId35" Type="http://schemas.openxmlformats.org/officeDocument/2006/relationships/slideLayout" Target="../slideLayouts/slideLayout8.xml"/><Relationship Id="rId43" Type="http://schemas.openxmlformats.org/officeDocument/2006/relationships/chart" Target="../charts/chart48.xml"/><Relationship Id="rId8" Type="http://schemas.openxmlformats.org/officeDocument/2006/relationships/tags" Target="../tags/tag535.xml"/><Relationship Id="rId3" Type="http://schemas.openxmlformats.org/officeDocument/2006/relationships/tags" Target="../tags/tag530.xml"/><Relationship Id="rId12" Type="http://schemas.openxmlformats.org/officeDocument/2006/relationships/tags" Target="../tags/tag539.xml"/><Relationship Id="rId17" Type="http://schemas.openxmlformats.org/officeDocument/2006/relationships/tags" Target="../tags/tag544.xml"/><Relationship Id="rId25" Type="http://schemas.openxmlformats.org/officeDocument/2006/relationships/tags" Target="../tags/tag552.xml"/><Relationship Id="rId33" Type="http://schemas.openxmlformats.org/officeDocument/2006/relationships/tags" Target="../tags/tag560.xml"/><Relationship Id="rId38" Type="http://schemas.openxmlformats.org/officeDocument/2006/relationships/image" Target="../media/image57.svg"/></Relationships>
</file>

<file path=ppt/slides/_rels/slide24.xml.rels><?xml version="1.0" encoding="UTF-8" standalone="yes"?>
<Relationships xmlns="http://schemas.openxmlformats.org/package/2006/relationships"><Relationship Id="rId8" Type="http://schemas.openxmlformats.org/officeDocument/2006/relationships/tags" Target="../tags/tag569.xml"/><Relationship Id="rId13" Type="http://schemas.openxmlformats.org/officeDocument/2006/relationships/image" Target="../media/image60.svg"/><Relationship Id="rId18" Type="http://schemas.openxmlformats.org/officeDocument/2006/relationships/chart" Target="../charts/chart49.xml"/><Relationship Id="rId26" Type="http://schemas.openxmlformats.org/officeDocument/2006/relationships/image" Target="../media/image71.svg"/><Relationship Id="rId3" Type="http://schemas.openxmlformats.org/officeDocument/2006/relationships/tags" Target="../tags/tag564.xml"/><Relationship Id="rId21" Type="http://schemas.openxmlformats.org/officeDocument/2006/relationships/image" Target="../media/image66.png"/><Relationship Id="rId7" Type="http://schemas.openxmlformats.org/officeDocument/2006/relationships/tags" Target="../tags/tag568.xml"/><Relationship Id="rId12" Type="http://schemas.openxmlformats.org/officeDocument/2006/relationships/image" Target="../media/image56.png"/><Relationship Id="rId17" Type="http://schemas.openxmlformats.org/officeDocument/2006/relationships/image" Target="../media/image63.svg"/><Relationship Id="rId25" Type="http://schemas.openxmlformats.org/officeDocument/2006/relationships/image" Target="../media/image70.png"/><Relationship Id="rId2" Type="http://schemas.openxmlformats.org/officeDocument/2006/relationships/tags" Target="../tags/tag563.xml"/><Relationship Id="rId16" Type="http://schemas.openxmlformats.org/officeDocument/2006/relationships/image" Target="../media/image16.png"/><Relationship Id="rId20" Type="http://schemas.openxmlformats.org/officeDocument/2006/relationships/image" Target="../media/image65.svg"/><Relationship Id="rId29" Type="http://schemas.openxmlformats.org/officeDocument/2006/relationships/image" Target="../media/image74.svg"/><Relationship Id="rId1" Type="http://schemas.openxmlformats.org/officeDocument/2006/relationships/tags" Target="../tags/tag562.xml"/><Relationship Id="rId6" Type="http://schemas.openxmlformats.org/officeDocument/2006/relationships/tags" Target="../tags/tag567.xml"/><Relationship Id="rId11" Type="http://schemas.openxmlformats.org/officeDocument/2006/relationships/slideLayout" Target="../slideLayouts/slideLayout8.xml"/><Relationship Id="rId24" Type="http://schemas.openxmlformats.org/officeDocument/2006/relationships/image" Target="../media/image69.svg"/><Relationship Id="rId5" Type="http://schemas.openxmlformats.org/officeDocument/2006/relationships/tags" Target="../tags/tag566.xml"/><Relationship Id="rId15" Type="http://schemas.openxmlformats.org/officeDocument/2006/relationships/image" Target="../media/image62.svg"/><Relationship Id="rId23" Type="http://schemas.openxmlformats.org/officeDocument/2006/relationships/image" Target="../media/image68.png"/><Relationship Id="rId28" Type="http://schemas.openxmlformats.org/officeDocument/2006/relationships/image" Target="../media/image73.png"/><Relationship Id="rId10" Type="http://schemas.openxmlformats.org/officeDocument/2006/relationships/tags" Target="../tags/tag571.xml"/><Relationship Id="rId19" Type="http://schemas.openxmlformats.org/officeDocument/2006/relationships/image" Target="../media/image64.png"/><Relationship Id="rId31" Type="http://schemas.openxmlformats.org/officeDocument/2006/relationships/image" Target="../media/image76.svg"/><Relationship Id="rId4" Type="http://schemas.openxmlformats.org/officeDocument/2006/relationships/tags" Target="../tags/tag565.xml"/><Relationship Id="rId9" Type="http://schemas.openxmlformats.org/officeDocument/2006/relationships/tags" Target="../tags/tag570.xml"/><Relationship Id="rId14" Type="http://schemas.openxmlformats.org/officeDocument/2006/relationships/image" Target="../media/image61.png"/><Relationship Id="rId22" Type="http://schemas.openxmlformats.org/officeDocument/2006/relationships/image" Target="../media/image67.svg"/><Relationship Id="rId27" Type="http://schemas.openxmlformats.org/officeDocument/2006/relationships/image" Target="../media/image72.gif"/><Relationship Id="rId30" Type="http://schemas.openxmlformats.org/officeDocument/2006/relationships/image" Target="../media/image75.png"/></Relationships>
</file>

<file path=ppt/slides/_rels/slide25.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tags" Target="../tags/tag574.xml"/><Relationship Id="rId7" Type="http://schemas.openxmlformats.org/officeDocument/2006/relationships/image" Target="../media/image78.jpeg"/><Relationship Id="rId2" Type="http://schemas.openxmlformats.org/officeDocument/2006/relationships/tags" Target="../tags/tag573.xml"/><Relationship Id="rId1" Type="http://schemas.openxmlformats.org/officeDocument/2006/relationships/tags" Target="../tags/tag572.xml"/><Relationship Id="rId6" Type="http://schemas.openxmlformats.org/officeDocument/2006/relationships/image" Target="../media/image77.jpeg"/><Relationship Id="rId11" Type="http://schemas.openxmlformats.org/officeDocument/2006/relationships/image" Target="../media/image81.jpeg"/><Relationship Id="rId5" Type="http://schemas.openxmlformats.org/officeDocument/2006/relationships/slideLayout" Target="../slideLayouts/slideLayout8.xml"/><Relationship Id="rId10" Type="http://schemas.openxmlformats.org/officeDocument/2006/relationships/image" Target="../media/image80.jpeg"/><Relationship Id="rId4" Type="http://schemas.openxmlformats.org/officeDocument/2006/relationships/tags" Target="../tags/tag575.xml"/><Relationship Id="rId9" Type="http://schemas.openxmlformats.org/officeDocument/2006/relationships/image" Target="file:///C:\Users\M709317\AppData\Local\RbPowerpointAddIn\Fotolia_11937943_rb.jpg" TargetMode="External"/></Relationships>
</file>

<file path=ppt/slides/_rels/slide26.xml.rels><?xml version="1.0" encoding="UTF-8" standalone="yes"?>
<Relationships xmlns="http://schemas.openxmlformats.org/package/2006/relationships"><Relationship Id="rId8" Type="http://schemas.openxmlformats.org/officeDocument/2006/relationships/tags" Target="../tags/tag583.xml"/><Relationship Id="rId13" Type="http://schemas.openxmlformats.org/officeDocument/2006/relationships/slideLayout" Target="../slideLayouts/slideLayout8.xml"/><Relationship Id="rId18" Type="http://schemas.openxmlformats.org/officeDocument/2006/relationships/image" Target="../media/image82.png"/><Relationship Id="rId3" Type="http://schemas.openxmlformats.org/officeDocument/2006/relationships/tags" Target="../tags/tag578.xml"/><Relationship Id="rId21" Type="http://schemas.openxmlformats.org/officeDocument/2006/relationships/image" Target="../media/image85.svg"/><Relationship Id="rId7" Type="http://schemas.openxmlformats.org/officeDocument/2006/relationships/tags" Target="../tags/tag582.xml"/><Relationship Id="rId12" Type="http://schemas.openxmlformats.org/officeDocument/2006/relationships/tags" Target="../tags/tag587.xml"/><Relationship Id="rId17" Type="http://schemas.openxmlformats.org/officeDocument/2006/relationships/image" Target="../media/image62.svg"/><Relationship Id="rId25" Type="http://schemas.openxmlformats.org/officeDocument/2006/relationships/image" Target="../media/image88.svg"/><Relationship Id="rId2" Type="http://schemas.openxmlformats.org/officeDocument/2006/relationships/tags" Target="../tags/tag577.xml"/><Relationship Id="rId16" Type="http://schemas.openxmlformats.org/officeDocument/2006/relationships/image" Target="../media/image61.png"/><Relationship Id="rId20" Type="http://schemas.openxmlformats.org/officeDocument/2006/relationships/image" Target="../media/image84.png"/><Relationship Id="rId1" Type="http://schemas.openxmlformats.org/officeDocument/2006/relationships/tags" Target="../tags/tag576.xml"/><Relationship Id="rId6" Type="http://schemas.openxmlformats.org/officeDocument/2006/relationships/tags" Target="../tags/tag581.xml"/><Relationship Id="rId11" Type="http://schemas.openxmlformats.org/officeDocument/2006/relationships/tags" Target="../tags/tag586.xml"/><Relationship Id="rId24" Type="http://schemas.openxmlformats.org/officeDocument/2006/relationships/image" Target="../media/image87.png"/><Relationship Id="rId5" Type="http://schemas.openxmlformats.org/officeDocument/2006/relationships/tags" Target="../tags/tag580.xml"/><Relationship Id="rId15" Type="http://schemas.openxmlformats.org/officeDocument/2006/relationships/chart" Target="../charts/chart51.xml"/><Relationship Id="rId23" Type="http://schemas.openxmlformats.org/officeDocument/2006/relationships/image" Target="../media/image86.svg"/><Relationship Id="rId10" Type="http://schemas.openxmlformats.org/officeDocument/2006/relationships/tags" Target="../tags/tag585.xml"/><Relationship Id="rId19" Type="http://schemas.openxmlformats.org/officeDocument/2006/relationships/image" Target="../media/image83.svg"/><Relationship Id="rId4" Type="http://schemas.openxmlformats.org/officeDocument/2006/relationships/tags" Target="../tags/tag579.xml"/><Relationship Id="rId9" Type="http://schemas.openxmlformats.org/officeDocument/2006/relationships/tags" Target="../tags/tag584.xml"/><Relationship Id="rId14" Type="http://schemas.openxmlformats.org/officeDocument/2006/relationships/chart" Target="../charts/chart50.xml"/><Relationship Id="rId22" Type="http://schemas.openxmlformats.org/officeDocument/2006/relationships/image" Target="../media/image40.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8" Type="http://schemas.openxmlformats.org/officeDocument/2006/relationships/tags" Target="../tags/tag595.xml"/><Relationship Id="rId13" Type="http://schemas.openxmlformats.org/officeDocument/2006/relationships/chart" Target="../charts/chart52.xml"/><Relationship Id="rId3" Type="http://schemas.openxmlformats.org/officeDocument/2006/relationships/tags" Target="../tags/tag590.xml"/><Relationship Id="rId7" Type="http://schemas.openxmlformats.org/officeDocument/2006/relationships/tags" Target="../tags/tag594.xml"/><Relationship Id="rId12" Type="http://schemas.openxmlformats.org/officeDocument/2006/relationships/slideLayout" Target="../slideLayouts/slideLayout8.xml"/><Relationship Id="rId2" Type="http://schemas.openxmlformats.org/officeDocument/2006/relationships/tags" Target="../tags/tag589.xml"/><Relationship Id="rId1" Type="http://schemas.openxmlformats.org/officeDocument/2006/relationships/tags" Target="../tags/tag588.xml"/><Relationship Id="rId6" Type="http://schemas.openxmlformats.org/officeDocument/2006/relationships/tags" Target="../tags/tag593.xml"/><Relationship Id="rId11" Type="http://schemas.openxmlformats.org/officeDocument/2006/relationships/tags" Target="../tags/tag598.xml"/><Relationship Id="rId5" Type="http://schemas.openxmlformats.org/officeDocument/2006/relationships/tags" Target="../tags/tag592.xml"/><Relationship Id="rId15" Type="http://schemas.openxmlformats.org/officeDocument/2006/relationships/chart" Target="../charts/chart54.xml"/><Relationship Id="rId10" Type="http://schemas.openxmlformats.org/officeDocument/2006/relationships/tags" Target="../tags/tag597.xml"/><Relationship Id="rId4" Type="http://schemas.openxmlformats.org/officeDocument/2006/relationships/tags" Target="../tags/tag591.xml"/><Relationship Id="rId9" Type="http://schemas.openxmlformats.org/officeDocument/2006/relationships/tags" Target="../tags/tag596.xml"/><Relationship Id="rId14" Type="http://schemas.openxmlformats.org/officeDocument/2006/relationships/chart" Target="../charts/chart53.xml"/></Relationships>
</file>

<file path=ppt/slides/_rels/slide32.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98.png"/><Relationship Id="rId3" Type="http://schemas.openxmlformats.org/officeDocument/2006/relationships/image" Target="../media/image90.png"/><Relationship Id="rId7" Type="http://schemas.openxmlformats.org/officeDocument/2006/relationships/image" Target="../media/image94.png"/><Relationship Id="rId12" Type="http://schemas.openxmlformats.org/officeDocument/2006/relationships/image" Target="../media/image17.svg"/><Relationship Id="rId17" Type="http://schemas.openxmlformats.org/officeDocument/2006/relationships/image" Target="../media/image102.png"/><Relationship Id="rId2" Type="http://schemas.openxmlformats.org/officeDocument/2006/relationships/image" Target="../media/image89.png"/><Relationship Id="rId16" Type="http://schemas.openxmlformats.org/officeDocument/2006/relationships/image" Target="../media/image101.png"/><Relationship Id="rId1" Type="http://schemas.openxmlformats.org/officeDocument/2006/relationships/slideLayout" Target="../slideLayouts/slideLayout8.xml"/><Relationship Id="rId6" Type="http://schemas.openxmlformats.org/officeDocument/2006/relationships/image" Target="../media/image93.png"/><Relationship Id="rId11" Type="http://schemas.openxmlformats.org/officeDocument/2006/relationships/image" Target="../media/image16.png"/><Relationship Id="rId5" Type="http://schemas.openxmlformats.org/officeDocument/2006/relationships/image" Target="../media/image92.png"/><Relationship Id="rId15" Type="http://schemas.openxmlformats.org/officeDocument/2006/relationships/image" Target="../media/image100.png"/><Relationship Id="rId10" Type="http://schemas.openxmlformats.org/officeDocument/2006/relationships/image" Target="../media/image97.svg"/><Relationship Id="rId4" Type="http://schemas.openxmlformats.org/officeDocument/2006/relationships/image" Target="../media/image91.png"/><Relationship Id="rId9" Type="http://schemas.openxmlformats.org/officeDocument/2006/relationships/image" Target="../media/image96.png"/><Relationship Id="rId14" Type="http://schemas.openxmlformats.org/officeDocument/2006/relationships/image" Target="../media/image99.png"/></Relationships>
</file>

<file path=ppt/slides/_rels/slide3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59.svg"/><Relationship Id="rId18" Type="http://schemas.openxmlformats.org/officeDocument/2006/relationships/image" Target="../media/image61.png"/><Relationship Id="rId3" Type="http://schemas.openxmlformats.org/officeDocument/2006/relationships/image" Target="../media/image19.svg"/><Relationship Id="rId21" Type="http://schemas.openxmlformats.org/officeDocument/2006/relationships/image" Target="../media/image107.svg"/><Relationship Id="rId7" Type="http://schemas.openxmlformats.org/officeDocument/2006/relationships/image" Target="../media/image17.svg"/><Relationship Id="rId12" Type="http://schemas.openxmlformats.org/officeDocument/2006/relationships/image" Target="../media/image58.png"/><Relationship Id="rId17" Type="http://schemas.openxmlformats.org/officeDocument/2006/relationships/image" Target="../media/image53.svg"/><Relationship Id="rId2" Type="http://schemas.openxmlformats.org/officeDocument/2006/relationships/image" Target="../media/image18.png"/><Relationship Id="rId16" Type="http://schemas.openxmlformats.org/officeDocument/2006/relationships/image" Target="../media/image52.png"/><Relationship Id="rId20" Type="http://schemas.openxmlformats.org/officeDocument/2006/relationships/image" Target="../media/image106.png"/><Relationship Id="rId1" Type="http://schemas.openxmlformats.org/officeDocument/2006/relationships/slideLayout" Target="../slideLayouts/slideLayout8.xml"/><Relationship Id="rId6" Type="http://schemas.openxmlformats.org/officeDocument/2006/relationships/image" Target="../media/image16.png"/><Relationship Id="rId11" Type="http://schemas.openxmlformats.org/officeDocument/2006/relationships/image" Target="../media/image97.svg"/><Relationship Id="rId5" Type="http://schemas.openxmlformats.org/officeDocument/2006/relationships/image" Target="../media/image25.svg"/><Relationship Id="rId15" Type="http://schemas.openxmlformats.org/officeDocument/2006/relationships/image" Target="../media/image104.svg"/><Relationship Id="rId23" Type="http://schemas.openxmlformats.org/officeDocument/2006/relationships/image" Target="../media/image109.svg"/><Relationship Id="rId10" Type="http://schemas.openxmlformats.org/officeDocument/2006/relationships/image" Target="../media/image96.png"/><Relationship Id="rId19" Type="http://schemas.openxmlformats.org/officeDocument/2006/relationships/image" Target="../media/image105.svg"/><Relationship Id="rId4" Type="http://schemas.openxmlformats.org/officeDocument/2006/relationships/image" Target="../media/image24.png"/><Relationship Id="rId9" Type="http://schemas.openxmlformats.org/officeDocument/2006/relationships/image" Target="../media/image21.svg"/><Relationship Id="rId14" Type="http://schemas.openxmlformats.org/officeDocument/2006/relationships/image" Target="../media/image103.png"/><Relationship Id="rId22" Type="http://schemas.openxmlformats.org/officeDocument/2006/relationships/image" Target="../media/image108.png"/></Relationships>
</file>

<file path=ppt/slides/_rels/slide34.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tags" Target="../tags/tag601.xml"/><Relationship Id="rId7" Type="http://schemas.openxmlformats.org/officeDocument/2006/relationships/slideLayout" Target="../slideLayouts/slideLayout8.xml"/><Relationship Id="rId2" Type="http://schemas.openxmlformats.org/officeDocument/2006/relationships/tags" Target="../tags/tag600.xml"/><Relationship Id="rId1" Type="http://schemas.openxmlformats.org/officeDocument/2006/relationships/tags" Target="../tags/tag599.xml"/><Relationship Id="rId6" Type="http://schemas.openxmlformats.org/officeDocument/2006/relationships/tags" Target="../tags/tag604.xml"/><Relationship Id="rId5" Type="http://schemas.openxmlformats.org/officeDocument/2006/relationships/tags" Target="../tags/tag603.xml"/><Relationship Id="rId4" Type="http://schemas.openxmlformats.org/officeDocument/2006/relationships/tags" Target="../tags/tag602.xml"/><Relationship Id="rId9" Type="http://schemas.openxmlformats.org/officeDocument/2006/relationships/chart" Target="../charts/chart55.xml"/></Relationships>
</file>

<file path=ppt/slides/_rels/slide3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jpeg"/><Relationship Id="rId1" Type="http://schemas.openxmlformats.org/officeDocument/2006/relationships/slideLayout" Target="../slideLayouts/slideLayout8.xml"/><Relationship Id="rId4" Type="http://schemas.openxmlformats.org/officeDocument/2006/relationships/image" Target="../media/image113.png"/></Relationships>
</file>

<file path=ppt/slides/_rels/slide36.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53.svg"/><Relationship Id="rId3" Type="http://schemas.openxmlformats.org/officeDocument/2006/relationships/image" Target="../media/image115.svg"/><Relationship Id="rId7" Type="http://schemas.openxmlformats.org/officeDocument/2006/relationships/image" Target="../media/image59.svg"/><Relationship Id="rId12" Type="http://schemas.openxmlformats.org/officeDocument/2006/relationships/image" Target="../media/image52.png"/><Relationship Id="rId2" Type="http://schemas.openxmlformats.org/officeDocument/2006/relationships/image" Target="../media/image114.png"/><Relationship Id="rId1" Type="http://schemas.openxmlformats.org/officeDocument/2006/relationships/slideLayout" Target="../slideLayouts/slideLayout8.xml"/><Relationship Id="rId6" Type="http://schemas.openxmlformats.org/officeDocument/2006/relationships/image" Target="../media/image58.png"/><Relationship Id="rId11" Type="http://schemas.openxmlformats.org/officeDocument/2006/relationships/image" Target="../media/image37.svg"/><Relationship Id="rId5" Type="http://schemas.openxmlformats.org/officeDocument/2006/relationships/image" Target="../media/image17.svg"/><Relationship Id="rId15" Type="http://schemas.openxmlformats.org/officeDocument/2006/relationships/image" Target="../media/image119.svg"/><Relationship Id="rId10" Type="http://schemas.openxmlformats.org/officeDocument/2006/relationships/image" Target="../media/image36.png"/><Relationship Id="rId4" Type="http://schemas.openxmlformats.org/officeDocument/2006/relationships/image" Target="../media/image16.png"/><Relationship Id="rId9" Type="http://schemas.openxmlformats.org/officeDocument/2006/relationships/image" Target="../media/image117.svg"/><Relationship Id="rId14" Type="http://schemas.openxmlformats.org/officeDocument/2006/relationships/image" Target="../media/image118.png"/></Relationships>
</file>

<file path=ppt/slides/_rels/slide37.xml.rels><?xml version="1.0" encoding="UTF-8" standalone="yes"?>
<Relationships xmlns="http://schemas.openxmlformats.org/package/2006/relationships"><Relationship Id="rId3" Type="http://schemas.openxmlformats.org/officeDocument/2006/relationships/hyperlink" Target="mailto:info@industrialvalvesummit.com" TargetMode="External"/><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hyperlink" Target="https://www.valvecampus.com/" TargetMode="External"/><Relationship Id="rId5" Type="http://schemas.openxmlformats.org/officeDocument/2006/relationships/hyperlink" Target="mailto:segreteria@valvecampus.com" TargetMode="External"/><Relationship Id="rId4" Type="http://schemas.openxmlformats.org/officeDocument/2006/relationships/hyperlink" Target="https://industrialvalvesummit.com/"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tags" Target="../tags/tag40.xml"/><Relationship Id="rId21" Type="http://schemas.openxmlformats.org/officeDocument/2006/relationships/tags" Target="../tags/tag22.xml"/><Relationship Id="rId34" Type="http://schemas.openxmlformats.org/officeDocument/2006/relationships/tags" Target="../tags/tag35.xml"/><Relationship Id="rId42" Type="http://schemas.openxmlformats.org/officeDocument/2006/relationships/tags" Target="../tags/tag43.xml"/><Relationship Id="rId47" Type="http://schemas.openxmlformats.org/officeDocument/2006/relationships/tags" Target="../tags/tag48.xml"/><Relationship Id="rId50" Type="http://schemas.openxmlformats.org/officeDocument/2006/relationships/tags" Target="../tags/tag51.xml"/><Relationship Id="rId55" Type="http://schemas.openxmlformats.org/officeDocument/2006/relationships/chart" Target="../charts/chart3.xml"/><Relationship Id="rId7" Type="http://schemas.openxmlformats.org/officeDocument/2006/relationships/tags" Target="../tags/tag8.xml"/><Relationship Id="rId2" Type="http://schemas.openxmlformats.org/officeDocument/2006/relationships/tags" Target="../tags/tag3.xml"/><Relationship Id="rId16" Type="http://schemas.openxmlformats.org/officeDocument/2006/relationships/tags" Target="../tags/tag17.xml"/><Relationship Id="rId29" Type="http://schemas.openxmlformats.org/officeDocument/2006/relationships/tags" Target="../tags/tag30.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openxmlformats.org/officeDocument/2006/relationships/tags" Target="../tags/tag46.xml"/><Relationship Id="rId53" Type="http://schemas.openxmlformats.org/officeDocument/2006/relationships/chart" Target="../charts/chart1.xml"/><Relationship Id="rId5" Type="http://schemas.openxmlformats.org/officeDocument/2006/relationships/tags" Target="../tags/tag6.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slideLayout" Target="../slideLayouts/slideLayout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tags" Target="../tags/tag44.xml"/><Relationship Id="rId48" Type="http://schemas.openxmlformats.org/officeDocument/2006/relationships/tags" Target="../tags/tag49.xml"/><Relationship Id="rId8" Type="http://schemas.openxmlformats.org/officeDocument/2006/relationships/tags" Target="../tags/tag9.xml"/><Relationship Id="rId51" Type="http://schemas.openxmlformats.org/officeDocument/2006/relationships/tags" Target="../tags/tag52.xml"/><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tags" Target="../tags/tag47.xml"/><Relationship Id="rId20" Type="http://schemas.openxmlformats.org/officeDocument/2006/relationships/tags" Target="../tags/tag21.xml"/><Relationship Id="rId41" Type="http://schemas.openxmlformats.org/officeDocument/2006/relationships/tags" Target="../tags/tag42.xml"/><Relationship Id="rId54" Type="http://schemas.openxmlformats.org/officeDocument/2006/relationships/chart" Target="../charts/chart2.xml"/><Relationship Id="rId1" Type="http://schemas.openxmlformats.org/officeDocument/2006/relationships/tags" Target="../tags/tag2.xml"/><Relationship Id="rId6" Type="http://schemas.openxmlformats.org/officeDocument/2006/relationships/tags" Target="../tags/tag7.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tags" Target="../tags/tag50.xml"/></Relationships>
</file>

<file path=ppt/slides/_rels/slide6.xml.rels><?xml version="1.0" encoding="UTF-8" standalone="yes"?>
<Relationships xmlns="http://schemas.openxmlformats.org/package/2006/relationships"><Relationship Id="rId13" Type="http://schemas.openxmlformats.org/officeDocument/2006/relationships/tags" Target="../tags/tag65.xml"/><Relationship Id="rId18" Type="http://schemas.openxmlformats.org/officeDocument/2006/relationships/tags" Target="../tags/tag70.xml"/><Relationship Id="rId26" Type="http://schemas.openxmlformats.org/officeDocument/2006/relationships/tags" Target="../tags/tag78.xml"/><Relationship Id="rId39" Type="http://schemas.openxmlformats.org/officeDocument/2006/relationships/tags" Target="../tags/tag91.xml"/><Relationship Id="rId21" Type="http://schemas.openxmlformats.org/officeDocument/2006/relationships/tags" Target="../tags/tag73.xml"/><Relationship Id="rId34" Type="http://schemas.openxmlformats.org/officeDocument/2006/relationships/tags" Target="../tags/tag86.xml"/><Relationship Id="rId42" Type="http://schemas.openxmlformats.org/officeDocument/2006/relationships/tags" Target="../tags/tag94.xml"/><Relationship Id="rId47" Type="http://schemas.openxmlformats.org/officeDocument/2006/relationships/tags" Target="../tags/tag99.xml"/><Relationship Id="rId50" Type="http://schemas.openxmlformats.org/officeDocument/2006/relationships/tags" Target="../tags/tag102.xml"/><Relationship Id="rId55" Type="http://schemas.openxmlformats.org/officeDocument/2006/relationships/tags" Target="../tags/tag107.xml"/><Relationship Id="rId7" Type="http://schemas.openxmlformats.org/officeDocument/2006/relationships/tags" Target="../tags/tag59.xml"/><Relationship Id="rId2" Type="http://schemas.openxmlformats.org/officeDocument/2006/relationships/tags" Target="../tags/tag54.xml"/><Relationship Id="rId16" Type="http://schemas.openxmlformats.org/officeDocument/2006/relationships/tags" Target="../tags/tag68.xml"/><Relationship Id="rId29" Type="http://schemas.openxmlformats.org/officeDocument/2006/relationships/tags" Target="../tags/tag81.xml"/><Relationship Id="rId11" Type="http://schemas.openxmlformats.org/officeDocument/2006/relationships/tags" Target="../tags/tag63.xml"/><Relationship Id="rId24" Type="http://schemas.openxmlformats.org/officeDocument/2006/relationships/tags" Target="../tags/tag76.xml"/><Relationship Id="rId32" Type="http://schemas.openxmlformats.org/officeDocument/2006/relationships/tags" Target="../tags/tag84.xml"/><Relationship Id="rId37" Type="http://schemas.openxmlformats.org/officeDocument/2006/relationships/tags" Target="../tags/tag89.xml"/><Relationship Id="rId40" Type="http://schemas.openxmlformats.org/officeDocument/2006/relationships/tags" Target="../tags/tag92.xml"/><Relationship Id="rId45" Type="http://schemas.openxmlformats.org/officeDocument/2006/relationships/tags" Target="../tags/tag97.xml"/><Relationship Id="rId53" Type="http://schemas.openxmlformats.org/officeDocument/2006/relationships/tags" Target="../tags/tag105.xml"/><Relationship Id="rId58" Type="http://schemas.openxmlformats.org/officeDocument/2006/relationships/tags" Target="../tags/tag110.xml"/><Relationship Id="rId5" Type="http://schemas.openxmlformats.org/officeDocument/2006/relationships/tags" Target="../tags/tag57.xml"/><Relationship Id="rId61" Type="http://schemas.openxmlformats.org/officeDocument/2006/relationships/notesSlide" Target="../notesSlides/notesSlide1.xml"/><Relationship Id="rId19" Type="http://schemas.openxmlformats.org/officeDocument/2006/relationships/tags" Target="../tags/tag71.xml"/><Relationship Id="rId14" Type="http://schemas.openxmlformats.org/officeDocument/2006/relationships/tags" Target="../tags/tag66.xml"/><Relationship Id="rId22" Type="http://schemas.openxmlformats.org/officeDocument/2006/relationships/tags" Target="../tags/tag74.xml"/><Relationship Id="rId27" Type="http://schemas.openxmlformats.org/officeDocument/2006/relationships/tags" Target="../tags/tag79.xml"/><Relationship Id="rId30" Type="http://schemas.openxmlformats.org/officeDocument/2006/relationships/tags" Target="../tags/tag82.xml"/><Relationship Id="rId35" Type="http://schemas.openxmlformats.org/officeDocument/2006/relationships/tags" Target="../tags/tag87.xml"/><Relationship Id="rId43" Type="http://schemas.openxmlformats.org/officeDocument/2006/relationships/tags" Target="../tags/tag95.xml"/><Relationship Id="rId48" Type="http://schemas.openxmlformats.org/officeDocument/2006/relationships/tags" Target="../tags/tag100.xml"/><Relationship Id="rId56" Type="http://schemas.openxmlformats.org/officeDocument/2006/relationships/tags" Target="../tags/tag108.xml"/><Relationship Id="rId8" Type="http://schemas.openxmlformats.org/officeDocument/2006/relationships/tags" Target="../tags/tag60.xml"/><Relationship Id="rId51" Type="http://schemas.openxmlformats.org/officeDocument/2006/relationships/tags" Target="../tags/tag103.xml"/><Relationship Id="rId3" Type="http://schemas.openxmlformats.org/officeDocument/2006/relationships/tags" Target="../tags/tag55.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tags" Target="../tags/tag77.xml"/><Relationship Id="rId33" Type="http://schemas.openxmlformats.org/officeDocument/2006/relationships/tags" Target="../tags/tag85.xml"/><Relationship Id="rId38" Type="http://schemas.openxmlformats.org/officeDocument/2006/relationships/tags" Target="../tags/tag90.xml"/><Relationship Id="rId46" Type="http://schemas.openxmlformats.org/officeDocument/2006/relationships/tags" Target="../tags/tag98.xml"/><Relationship Id="rId59" Type="http://schemas.openxmlformats.org/officeDocument/2006/relationships/tags" Target="../tags/tag111.xml"/><Relationship Id="rId20" Type="http://schemas.openxmlformats.org/officeDocument/2006/relationships/tags" Target="../tags/tag72.xml"/><Relationship Id="rId41" Type="http://schemas.openxmlformats.org/officeDocument/2006/relationships/tags" Target="../tags/tag93.xml"/><Relationship Id="rId54" Type="http://schemas.openxmlformats.org/officeDocument/2006/relationships/tags" Target="../tags/tag106.xml"/><Relationship Id="rId62" Type="http://schemas.openxmlformats.org/officeDocument/2006/relationships/chart" Target="../charts/chart4.xml"/><Relationship Id="rId1" Type="http://schemas.openxmlformats.org/officeDocument/2006/relationships/tags" Target="../tags/tag53.xml"/><Relationship Id="rId6" Type="http://schemas.openxmlformats.org/officeDocument/2006/relationships/tags" Target="../tags/tag58.xml"/><Relationship Id="rId15" Type="http://schemas.openxmlformats.org/officeDocument/2006/relationships/tags" Target="../tags/tag67.xml"/><Relationship Id="rId23" Type="http://schemas.openxmlformats.org/officeDocument/2006/relationships/tags" Target="../tags/tag75.xml"/><Relationship Id="rId28" Type="http://schemas.openxmlformats.org/officeDocument/2006/relationships/tags" Target="../tags/tag80.xml"/><Relationship Id="rId36" Type="http://schemas.openxmlformats.org/officeDocument/2006/relationships/tags" Target="../tags/tag88.xml"/><Relationship Id="rId49" Type="http://schemas.openxmlformats.org/officeDocument/2006/relationships/tags" Target="../tags/tag101.xml"/><Relationship Id="rId57" Type="http://schemas.openxmlformats.org/officeDocument/2006/relationships/tags" Target="../tags/tag109.xml"/><Relationship Id="rId10" Type="http://schemas.openxmlformats.org/officeDocument/2006/relationships/tags" Target="../tags/tag62.xml"/><Relationship Id="rId31" Type="http://schemas.openxmlformats.org/officeDocument/2006/relationships/tags" Target="../tags/tag83.xml"/><Relationship Id="rId44" Type="http://schemas.openxmlformats.org/officeDocument/2006/relationships/tags" Target="../tags/tag96.xml"/><Relationship Id="rId52" Type="http://schemas.openxmlformats.org/officeDocument/2006/relationships/tags" Target="../tags/tag104.xml"/><Relationship Id="rId60" Type="http://schemas.openxmlformats.org/officeDocument/2006/relationships/slideLayout" Target="../slideLayouts/slideLayout5.xml"/><Relationship Id="rId4" Type="http://schemas.openxmlformats.org/officeDocument/2006/relationships/tags" Target="../tags/tag56.xml"/><Relationship Id="rId9" Type="http://schemas.openxmlformats.org/officeDocument/2006/relationships/tags" Target="../tags/tag61.xml"/></Relationships>
</file>

<file path=ppt/slides/_rels/slide7.xml.rels><?xml version="1.0" encoding="UTF-8" standalone="yes"?>
<Relationships xmlns="http://schemas.openxmlformats.org/package/2006/relationships"><Relationship Id="rId13" Type="http://schemas.openxmlformats.org/officeDocument/2006/relationships/tags" Target="../tags/tag124.xml"/><Relationship Id="rId18" Type="http://schemas.openxmlformats.org/officeDocument/2006/relationships/tags" Target="../tags/tag129.xml"/><Relationship Id="rId26" Type="http://schemas.openxmlformats.org/officeDocument/2006/relationships/tags" Target="../tags/tag137.xml"/><Relationship Id="rId39" Type="http://schemas.openxmlformats.org/officeDocument/2006/relationships/tags" Target="../tags/tag150.xml"/><Relationship Id="rId21" Type="http://schemas.openxmlformats.org/officeDocument/2006/relationships/tags" Target="../tags/tag132.xml"/><Relationship Id="rId34" Type="http://schemas.openxmlformats.org/officeDocument/2006/relationships/tags" Target="../tags/tag145.xml"/><Relationship Id="rId42" Type="http://schemas.openxmlformats.org/officeDocument/2006/relationships/tags" Target="../tags/tag153.xml"/><Relationship Id="rId47" Type="http://schemas.openxmlformats.org/officeDocument/2006/relationships/tags" Target="../tags/tag158.xml"/><Relationship Id="rId50" Type="http://schemas.openxmlformats.org/officeDocument/2006/relationships/tags" Target="../tags/tag161.xml"/><Relationship Id="rId55" Type="http://schemas.openxmlformats.org/officeDocument/2006/relationships/tags" Target="../tags/tag166.xml"/><Relationship Id="rId63" Type="http://schemas.openxmlformats.org/officeDocument/2006/relationships/notesSlide" Target="../notesSlides/notesSlide2.xml"/><Relationship Id="rId7" Type="http://schemas.openxmlformats.org/officeDocument/2006/relationships/tags" Target="../tags/tag118.xml"/><Relationship Id="rId2" Type="http://schemas.openxmlformats.org/officeDocument/2006/relationships/tags" Target="../tags/tag113.xml"/><Relationship Id="rId16" Type="http://schemas.openxmlformats.org/officeDocument/2006/relationships/tags" Target="../tags/tag127.xml"/><Relationship Id="rId29" Type="http://schemas.openxmlformats.org/officeDocument/2006/relationships/tags" Target="../tags/tag140.xml"/><Relationship Id="rId11" Type="http://schemas.openxmlformats.org/officeDocument/2006/relationships/tags" Target="../tags/tag122.xml"/><Relationship Id="rId24" Type="http://schemas.openxmlformats.org/officeDocument/2006/relationships/tags" Target="../tags/tag135.xml"/><Relationship Id="rId32" Type="http://schemas.openxmlformats.org/officeDocument/2006/relationships/tags" Target="../tags/tag143.xml"/><Relationship Id="rId37" Type="http://schemas.openxmlformats.org/officeDocument/2006/relationships/tags" Target="../tags/tag148.xml"/><Relationship Id="rId40" Type="http://schemas.openxmlformats.org/officeDocument/2006/relationships/tags" Target="../tags/tag151.xml"/><Relationship Id="rId45" Type="http://schemas.openxmlformats.org/officeDocument/2006/relationships/tags" Target="../tags/tag156.xml"/><Relationship Id="rId53" Type="http://schemas.openxmlformats.org/officeDocument/2006/relationships/tags" Target="../tags/tag164.xml"/><Relationship Id="rId58" Type="http://schemas.openxmlformats.org/officeDocument/2006/relationships/tags" Target="../tags/tag169.xml"/><Relationship Id="rId5" Type="http://schemas.openxmlformats.org/officeDocument/2006/relationships/tags" Target="../tags/tag116.xml"/><Relationship Id="rId61" Type="http://schemas.openxmlformats.org/officeDocument/2006/relationships/tags" Target="../tags/tag172.xml"/><Relationship Id="rId19" Type="http://schemas.openxmlformats.org/officeDocument/2006/relationships/tags" Target="../tags/tag130.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tags" Target="../tags/tag141.xml"/><Relationship Id="rId35" Type="http://schemas.openxmlformats.org/officeDocument/2006/relationships/tags" Target="../tags/tag146.xml"/><Relationship Id="rId43" Type="http://schemas.openxmlformats.org/officeDocument/2006/relationships/tags" Target="../tags/tag154.xml"/><Relationship Id="rId48" Type="http://schemas.openxmlformats.org/officeDocument/2006/relationships/tags" Target="../tags/tag159.xml"/><Relationship Id="rId56" Type="http://schemas.openxmlformats.org/officeDocument/2006/relationships/tags" Target="../tags/tag167.xml"/><Relationship Id="rId64" Type="http://schemas.openxmlformats.org/officeDocument/2006/relationships/chart" Target="../charts/chart5.xml"/><Relationship Id="rId8" Type="http://schemas.openxmlformats.org/officeDocument/2006/relationships/tags" Target="../tags/tag119.xml"/><Relationship Id="rId51" Type="http://schemas.openxmlformats.org/officeDocument/2006/relationships/tags" Target="../tags/tag162.xml"/><Relationship Id="rId3" Type="http://schemas.openxmlformats.org/officeDocument/2006/relationships/tags" Target="../tags/tag114.xml"/><Relationship Id="rId12" Type="http://schemas.openxmlformats.org/officeDocument/2006/relationships/tags" Target="../tags/tag123.xml"/><Relationship Id="rId17" Type="http://schemas.openxmlformats.org/officeDocument/2006/relationships/tags" Target="../tags/tag128.xml"/><Relationship Id="rId25" Type="http://schemas.openxmlformats.org/officeDocument/2006/relationships/tags" Target="../tags/tag136.xml"/><Relationship Id="rId33" Type="http://schemas.openxmlformats.org/officeDocument/2006/relationships/tags" Target="../tags/tag144.xml"/><Relationship Id="rId38" Type="http://schemas.openxmlformats.org/officeDocument/2006/relationships/tags" Target="../tags/tag149.xml"/><Relationship Id="rId46" Type="http://schemas.openxmlformats.org/officeDocument/2006/relationships/tags" Target="../tags/tag157.xml"/><Relationship Id="rId59" Type="http://schemas.openxmlformats.org/officeDocument/2006/relationships/tags" Target="../tags/tag170.xml"/><Relationship Id="rId20" Type="http://schemas.openxmlformats.org/officeDocument/2006/relationships/tags" Target="../tags/tag131.xml"/><Relationship Id="rId41" Type="http://schemas.openxmlformats.org/officeDocument/2006/relationships/tags" Target="../tags/tag152.xml"/><Relationship Id="rId54" Type="http://schemas.openxmlformats.org/officeDocument/2006/relationships/tags" Target="../tags/tag165.xml"/><Relationship Id="rId62" Type="http://schemas.openxmlformats.org/officeDocument/2006/relationships/slideLayout" Target="../slideLayouts/slideLayout5.xml"/><Relationship Id="rId1" Type="http://schemas.openxmlformats.org/officeDocument/2006/relationships/tags" Target="../tags/tag112.xml"/><Relationship Id="rId6" Type="http://schemas.openxmlformats.org/officeDocument/2006/relationships/tags" Target="../tags/tag117.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tags" Target="../tags/tag139.xml"/><Relationship Id="rId36" Type="http://schemas.openxmlformats.org/officeDocument/2006/relationships/tags" Target="../tags/tag147.xml"/><Relationship Id="rId49" Type="http://schemas.openxmlformats.org/officeDocument/2006/relationships/tags" Target="../tags/tag160.xml"/><Relationship Id="rId57" Type="http://schemas.openxmlformats.org/officeDocument/2006/relationships/tags" Target="../tags/tag168.xml"/><Relationship Id="rId10" Type="http://schemas.openxmlformats.org/officeDocument/2006/relationships/tags" Target="../tags/tag121.xml"/><Relationship Id="rId31" Type="http://schemas.openxmlformats.org/officeDocument/2006/relationships/tags" Target="../tags/tag142.xml"/><Relationship Id="rId44" Type="http://schemas.openxmlformats.org/officeDocument/2006/relationships/tags" Target="../tags/tag155.xml"/><Relationship Id="rId52" Type="http://schemas.openxmlformats.org/officeDocument/2006/relationships/tags" Target="../tags/tag163.xml"/><Relationship Id="rId60" Type="http://schemas.openxmlformats.org/officeDocument/2006/relationships/tags" Target="../tags/tag171.xml"/><Relationship Id="rId4" Type="http://schemas.openxmlformats.org/officeDocument/2006/relationships/tags" Target="../tags/tag115.xml"/><Relationship Id="rId9" Type="http://schemas.openxmlformats.org/officeDocument/2006/relationships/tags" Target="../tags/tag120.xml"/></Relationships>
</file>

<file path=ppt/slides/_rels/slide8.xml.rels><?xml version="1.0" encoding="UTF-8" standalone="yes"?>
<Relationships xmlns="http://schemas.openxmlformats.org/package/2006/relationships"><Relationship Id="rId8" Type="http://schemas.openxmlformats.org/officeDocument/2006/relationships/tags" Target="../tags/tag180.xml"/><Relationship Id="rId13" Type="http://schemas.openxmlformats.org/officeDocument/2006/relationships/tags" Target="../tags/tag185.xml"/><Relationship Id="rId18" Type="http://schemas.openxmlformats.org/officeDocument/2006/relationships/tags" Target="../tags/tag190.xml"/><Relationship Id="rId26" Type="http://schemas.openxmlformats.org/officeDocument/2006/relationships/tags" Target="../tags/tag198.xml"/><Relationship Id="rId3" Type="http://schemas.openxmlformats.org/officeDocument/2006/relationships/tags" Target="../tags/tag175.xml"/><Relationship Id="rId21" Type="http://schemas.openxmlformats.org/officeDocument/2006/relationships/tags" Target="../tags/tag193.xml"/><Relationship Id="rId7" Type="http://schemas.openxmlformats.org/officeDocument/2006/relationships/tags" Target="../tags/tag179.xml"/><Relationship Id="rId12" Type="http://schemas.openxmlformats.org/officeDocument/2006/relationships/tags" Target="../tags/tag184.xml"/><Relationship Id="rId17" Type="http://schemas.openxmlformats.org/officeDocument/2006/relationships/tags" Target="../tags/tag189.xml"/><Relationship Id="rId25" Type="http://schemas.openxmlformats.org/officeDocument/2006/relationships/tags" Target="../tags/tag197.xml"/><Relationship Id="rId2" Type="http://schemas.openxmlformats.org/officeDocument/2006/relationships/tags" Target="../tags/tag174.xml"/><Relationship Id="rId16" Type="http://schemas.openxmlformats.org/officeDocument/2006/relationships/tags" Target="../tags/tag188.xml"/><Relationship Id="rId20" Type="http://schemas.openxmlformats.org/officeDocument/2006/relationships/tags" Target="../tags/tag192.xml"/><Relationship Id="rId29" Type="http://schemas.openxmlformats.org/officeDocument/2006/relationships/slideLayout" Target="../slideLayouts/slideLayout5.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tags" Target="../tags/tag183.xml"/><Relationship Id="rId24" Type="http://schemas.openxmlformats.org/officeDocument/2006/relationships/tags" Target="../tags/tag196.xml"/><Relationship Id="rId32" Type="http://schemas.openxmlformats.org/officeDocument/2006/relationships/chart" Target="../charts/chart7.xml"/><Relationship Id="rId5" Type="http://schemas.openxmlformats.org/officeDocument/2006/relationships/tags" Target="../tags/tag177.xml"/><Relationship Id="rId15" Type="http://schemas.openxmlformats.org/officeDocument/2006/relationships/tags" Target="../tags/tag187.xml"/><Relationship Id="rId23" Type="http://schemas.openxmlformats.org/officeDocument/2006/relationships/tags" Target="../tags/tag195.xml"/><Relationship Id="rId28" Type="http://schemas.openxmlformats.org/officeDocument/2006/relationships/tags" Target="../tags/tag200.xml"/><Relationship Id="rId10" Type="http://schemas.openxmlformats.org/officeDocument/2006/relationships/tags" Target="../tags/tag182.xml"/><Relationship Id="rId19" Type="http://schemas.openxmlformats.org/officeDocument/2006/relationships/tags" Target="../tags/tag191.xml"/><Relationship Id="rId31" Type="http://schemas.openxmlformats.org/officeDocument/2006/relationships/chart" Target="../charts/chart6.xml"/><Relationship Id="rId4" Type="http://schemas.openxmlformats.org/officeDocument/2006/relationships/tags" Target="../tags/tag176.xml"/><Relationship Id="rId9" Type="http://schemas.openxmlformats.org/officeDocument/2006/relationships/tags" Target="../tags/tag181.xml"/><Relationship Id="rId14" Type="http://schemas.openxmlformats.org/officeDocument/2006/relationships/tags" Target="../tags/tag186.xml"/><Relationship Id="rId22" Type="http://schemas.openxmlformats.org/officeDocument/2006/relationships/tags" Target="../tags/tag194.xml"/><Relationship Id="rId27" Type="http://schemas.openxmlformats.org/officeDocument/2006/relationships/tags" Target="../tags/tag199.xml"/><Relationship Id="rId30"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13" Type="http://schemas.openxmlformats.org/officeDocument/2006/relationships/tags" Target="../tags/tag213.xml"/><Relationship Id="rId18" Type="http://schemas.openxmlformats.org/officeDocument/2006/relationships/tags" Target="../tags/tag218.xml"/><Relationship Id="rId26" Type="http://schemas.openxmlformats.org/officeDocument/2006/relationships/tags" Target="../tags/tag226.xml"/><Relationship Id="rId3" Type="http://schemas.openxmlformats.org/officeDocument/2006/relationships/tags" Target="../tags/tag203.xml"/><Relationship Id="rId21" Type="http://schemas.openxmlformats.org/officeDocument/2006/relationships/tags" Target="../tags/tag221.xml"/><Relationship Id="rId34" Type="http://schemas.openxmlformats.org/officeDocument/2006/relationships/chart" Target="../charts/chart9.xml"/><Relationship Id="rId7" Type="http://schemas.openxmlformats.org/officeDocument/2006/relationships/tags" Target="../tags/tag207.xml"/><Relationship Id="rId12" Type="http://schemas.openxmlformats.org/officeDocument/2006/relationships/tags" Target="../tags/tag212.xml"/><Relationship Id="rId17" Type="http://schemas.openxmlformats.org/officeDocument/2006/relationships/tags" Target="../tags/tag217.xml"/><Relationship Id="rId25" Type="http://schemas.openxmlformats.org/officeDocument/2006/relationships/tags" Target="../tags/tag225.xml"/><Relationship Id="rId33" Type="http://schemas.openxmlformats.org/officeDocument/2006/relationships/chart" Target="../charts/chart8.xml"/><Relationship Id="rId2" Type="http://schemas.openxmlformats.org/officeDocument/2006/relationships/tags" Target="../tags/tag202.xml"/><Relationship Id="rId16" Type="http://schemas.openxmlformats.org/officeDocument/2006/relationships/tags" Target="../tags/tag216.xml"/><Relationship Id="rId20" Type="http://schemas.openxmlformats.org/officeDocument/2006/relationships/tags" Target="../tags/tag220.xml"/><Relationship Id="rId29" Type="http://schemas.openxmlformats.org/officeDocument/2006/relationships/tags" Target="../tags/tag229.xml"/><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tags" Target="../tags/tag211.xml"/><Relationship Id="rId24" Type="http://schemas.openxmlformats.org/officeDocument/2006/relationships/tags" Target="../tags/tag224.xml"/><Relationship Id="rId32" Type="http://schemas.openxmlformats.org/officeDocument/2006/relationships/notesSlide" Target="../notesSlides/notesSlide4.xml"/><Relationship Id="rId5" Type="http://schemas.openxmlformats.org/officeDocument/2006/relationships/tags" Target="../tags/tag205.xml"/><Relationship Id="rId15" Type="http://schemas.openxmlformats.org/officeDocument/2006/relationships/tags" Target="../tags/tag215.xml"/><Relationship Id="rId23" Type="http://schemas.openxmlformats.org/officeDocument/2006/relationships/tags" Target="../tags/tag223.xml"/><Relationship Id="rId28" Type="http://schemas.openxmlformats.org/officeDocument/2006/relationships/tags" Target="../tags/tag228.xml"/><Relationship Id="rId10" Type="http://schemas.openxmlformats.org/officeDocument/2006/relationships/tags" Target="../tags/tag210.xml"/><Relationship Id="rId19" Type="http://schemas.openxmlformats.org/officeDocument/2006/relationships/tags" Target="../tags/tag219.xml"/><Relationship Id="rId31" Type="http://schemas.openxmlformats.org/officeDocument/2006/relationships/slideLayout" Target="../slideLayouts/slideLayout5.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tags" Target="../tags/tag214.xml"/><Relationship Id="rId22" Type="http://schemas.openxmlformats.org/officeDocument/2006/relationships/tags" Target="../tags/tag222.xml"/><Relationship Id="rId27" Type="http://schemas.openxmlformats.org/officeDocument/2006/relationships/tags" Target="../tags/tag227.xml"/><Relationship Id="rId30" Type="http://schemas.openxmlformats.org/officeDocument/2006/relationships/tags" Target="../tags/tag230.xml"/><Relationship Id="rId35" Type="http://schemas.openxmlformats.org/officeDocument/2006/relationships/chart" Target="../charts/chart10.xml"/><Relationship Id="rId8" Type="http://schemas.openxmlformats.org/officeDocument/2006/relationships/tags" Target="../tags/tag2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0F174D2F-A0F4-79C8-E119-E565BE5E0169}"/>
              </a:ext>
            </a:extLst>
          </p:cNvPr>
          <p:cNvSpPr>
            <a:spLocks noGrp="1"/>
          </p:cNvSpPr>
          <p:nvPr>
            <p:ph type="body" sz="quarter" idx="10"/>
          </p:nvPr>
        </p:nvSpPr>
        <p:spPr>
          <a:xfrm>
            <a:off x="4572000" y="2109865"/>
            <a:ext cx="4324350" cy="2510246"/>
          </a:xfrm>
        </p:spPr>
        <p:txBody>
          <a:bodyPr/>
          <a:lstStyle/>
          <a:p>
            <a:pPr>
              <a:lnSpc>
                <a:spcPct val="100000"/>
              </a:lnSpc>
            </a:pPr>
            <a:r>
              <a:rPr lang="en-US" sz="3200" spc="0" dirty="0">
                <a:cs typeface="Arial" panose="020B0604020202020204" pitchFamily="34" charset="0"/>
              </a:rPr>
              <a:t>Perspective and strategic options ahead for industrial valves players</a:t>
            </a:r>
            <a:endParaRPr lang="it-IT" sz="3200" spc="0" dirty="0">
              <a:cs typeface="Arial" panose="020B0604020202020204" pitchFamily="34" charset="0"/>
            </a:endParaRPr>
          </a:p>
        </p:txBody>
      </p:sp>
      <p:sp>
        <p:nvSpPr>
          <p:cNvPr id="5" name="Segnaposto testo 6">
            <a:extLst>
              <a:ext uri="{FF2B5EF4-FFF2-40B4-BE49-F238E27FC236}">
                <a16:creationId xmlns:a16="http://schemas.microsoft.com/office/drawing/2014/main" id="{16C57FAC-F0BC-6134-A643-67B193141234}"/>
              </a:ext>
            </a:extLst>
          </p:cNvPr>
          <p:cNvSpPr>
            <a:spLocks noGrp="1"/>
          </p:cNvSpPr>
          <p:nvPr>
            <p:ph type="body" sz="half" idx="2"/>
          </p:nvPr>
        </p:nvSpPr>
        <p:spPr>
          <a:xfrm>
            <a:off x="162170" y="4192238"/>
            <a:ext cx="1242560" cy="275259"/>
          </a:xfrm>
        </p:spPr>
        <p:txBody>
          <a:bodyPr/>
          <a:lstStyle/>
          <a:p>
            <a:pPr lvl="0"/>
            <a:r>
              <a:rPr lang="it-IT" dirty="0"/>
              <a:t>CONFERENCE </a:t>
            </a:r>
          </a:p>
          <a:p>
            <a:pPr lvl="0"/>
            <a:r>
              <a:rPr lang="it-IT" dirty="0"/>
              <a:t>ORGANIZERS</a:t>
            </a:r>
          </a:p>
        </p:txBody>
      </p:sp>
    </p:spTree>
    <p:extLst>
      <p:ext uri="{BB962C8B-B14F-4D97-AF65-F5344CB8AC3E}">
        <p14:creationId xmlns:p14="http://schemas.microsoft.com/office/powerpoint/2010/main" val="28496884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5">
            <a:extLst>
              <a:ext uri="{FF2B5EF4-FFF2-40B4-BE49-F238E27FC236}">
                <a16:creationId xmlns:a16="http://schemas.microsoft.com/office/drawing/2014/main" id="{C57A0B68-948F-CBED-97A5-A01371066D12}"/>
              </a:ext>
            </a:extLst>
          </p:cNvPr>
          <p:cNvSpPr>
            <a:spLocks noGrp="1"/>
          </p:cNvSpPr>
          <p:nvPr>
            <p:ph type="title"/>
          </p:nvPr>
        </p:nvSpPr>
        <p:spPr>
          <a:xfrm>
            <a:off x="250825" y="842963"/>
            <a:ext cx="8642350" cy="1101725"/>
          </a:xfrm>
        </p:spPr>
        <p:txBody>
          <a:bodyPr/>
          <a:lstStyle/>
          <a:p>
            <a:pPr>
              <a:lnSpc>
                <a:spcPct val="100000"/>
              </a:lnSpc>
            </a:pPr>
            <a:r>
              <a:rPr lang="en-US" sz="2000" dirty="0"/>
              <a:t>LNG investment peak in 2030 offers short-term opportunities for manufacturers – Largest projects in US and Africa</a:t>
            </a:r>
            <a:endParaRPr lang="it-IT" sz="59500" dirty="0"/>
          </a:p>
        </p:txBody>
      </p:sp>
      <p:graphicFrame>
        <p:nvGraphicFramePr>
          <p:cNvPr id="46" name="Chart 28">
            <a:extLst>
              <a:ext uri="{FF2B5EF4-FFF2-40B4-BE49-F238E27FC236}">
                <a16:creationId xmlns:a16="http://schemas.microsoft.com/office/drawing/2014/main" id="{EC1F8784-B883-700D-DF43-7CB537CD40DF}"/>
              </a:ext>
            </a:extLst>
          </p:cNvPr>
          <p:cNvGraphicFramePr/>
          <p:nvPr>
            <p:custDataLst>
              <p:tags r:id="rId1"/>
            </p:custDataLst>
            <p:extLst>
              <p:ext uri="{D42A27DB-BD31-4B8C-83A1-F6EECF244321}">
                <p14:modId xmlns:p14="http://schemas.microsoft.com/office/powerpoint/2010/main" val="4080444196"/>
              </p:ext>
            </p:extLst>
          </p:nvPr>
        </p:nvGraphicFramePr>
        <p:xfrm>
          <a:off x="528360" y="2051041"/>
          <a:ext cx="3902075" cy="2543175"/>
        </p:xfrm>
        <a:graphic>
          <a:graphicData uri="http://schemas.openxmlformats.org/drawingml/2006/chart">
            <c:chart xmlns:c="http://schemas.openxmlformats.org/drawingml/2006/chart" xmlns:r="http://schemas.openxmlformats.org/officeDocument/2006/relationships" r:id="rId32"/>
          </a:graphicData>
        </a:graphic>
      </p:graphicFrame>
      <p:sp useBgFill="1">
        <p:nvSpPr>
          <p:cNvPr id="47" name="Freeform: Shape 24">
            <a:extLst>
              <a:ext uri="{FF2B5EF4-FFF2-40B4-BE49-F238E27FC236}">
                <a16:creationId xmlns:a16="http://schemas.microsoft.com/office/drawing/2014/main" id="{70856828-44A6-08C3-0346-ACF7CFA18BFE}"/>
              </a:ext>
            </a:extLst>
          </p:cNvPr>
          <p:cNvSpPr/>
          <p:nvPr>
            <p:custDataLst>
              <p:tags r:id="rId2"/>
            </p:custDataLst>
          </p:nvPr>
        </p:nvSpPr>
        <p:spPr bwMode="auto">
          <a:xfrm>
            <a:off x="1807885" y="4438641"/>
            <a:ext cx="96838" cy="146051"/>
          </a:xfrm>
          <a:custGeom>
            <a:avLst/>
            <a:gdLst/>
            <a:ahLst/>
            <a:cxnLst/>
            <a:rect l="0" t="0" r="0" b="0"/>
            <a:pathLst>
              <a:path w="96838" h="146051">
                <a:moveTo>
                  <a:pt x="96837" y="0"/>
                </a:moveTo>
                <a:lnTo>
                  <a:pt x="57150" y="146050"/>
                </a:lnTo>
                <a:lnTo>
                  <a:pt x="0" y="146050"/>
                </a:lnTo>
                <a:lnTo>
                  <a:pt x="39687"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8" name="Freeform: Shape 27">
            <a:extLst>
              <a:ext uri="{FF2B5EF4-FFF2-40B4-BE49-F238E27FC236}">
                <a16:creationId xmlns:a16="http://schemas.microsoft.com/office/drawing/2014/main" id="{D735A20B-87C4-5366-B702-6523C07DA0CB}"/>
              </a:ext>
            </a:extLst>
          </p:cNvPr>
          <p:cNvSpPr/>
          <p:nvPr>
            <p:custDataLst>
              <p:tags r:id="rId3"/>
            </p:custDataLst>
          </p:nvPr>
        </p:nvSpPr>
        <p:spPr bwMode="auto">
          <a:xfrm>
            <a:off x="3054072" y="4438641"/>
            <a:ext cx="96839" cy="146051"/>
          </a:xfrm>
          <a:custGeom>
            <a:avLst/>
            <a:gdLst/>
            <a:ahLst/>
            <a:cxnLst/>
            <a:rect l="0" t="0" r="0" b="0"/>
            <a:pathLst>
              <a:path w="96839" h="146051">
                <a:moveTo>
                  <a:pt x="96838" y="0"/>
                </a:moveTo>
                <a:lnTo>
                  <a:pt x="57150" y="146050"/>
                </a:lnTo>
                <a:lnTo>
                  <a:pt x="0" y="146050"/>
                </a:lnTo>
                <a:lnTo>
                  <a:pt x="3968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Shape 22">
            <a:extLst>
              <a:ext uri="{FF2B5EF4-FFF2-40B4-BE49-F238E27FC236}">
                <a16:creationId xmlns:a16="http://schemas.microsoft.com/office/drawing/2014/main" id="{076A5832-1CB3-665E-5308-2F5BB5A8829F}"/>
              </a:ext>
            </a:extLst>
          </p:cNvPr>
          <p:cNvSpPr/>
          <p:nvPr>
            <p:custDataLst>
              <p:tags r:id="rId4"/>
            </p:custDataLst>
          </p:nvPr>
        </p:nvSpPr>
        <p:spPr bwMode="auto">
          <a:xfrm>
            <a:off x="1807885" y="4438641"/>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0" name="Freeform: Shape 23">
            <a:extLst>
              <a:ext uri="{FF2B5EF4-FFF2-40B4-BE49-F238E27FC236}">
                <a16:creationId xmlns:a16="http://schemas.microsoft.com/office/drawing/2014/main" id="{B9E1BF90-6B14-439B-5258-14FD3160DB39}"/>
              </a:ext>
            </a:extLst>
          </p:cNvPr>
          <p:cNvSpPr/>
          <p:nvPr>
            <p:custDataLst>
              <p:tags r:id="rId5"/>
            </p:custDataLst>
          </p:nvPr>
        </p:nvSpPr>
        <p:spPr bwMode="auto">
          <a:xfrm>
            <a:off x="1865035" y="4438641"/>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Freeform: Shape 25">
            <a:extLst>
              <a:ext uri="{FF2B5EF4-FFF2-40B4-BE49-F238E27FC236}">
                <a16:creationId xmlns:a16="http://schemas.microsoft.com/office/drawing/2014/main" id="{08D82F1A-573E-5167-C6C4-CB28325AAC94}"/>
              </a:ext>
            </a:extLst>
          </p:cNvPr>
          <p:cNvSpPr/>
          <p:nvPr>
            <p:custDataLst>
              <p:tags r:id="rId6"/>
            </p:custDataLst>
          </p:nvPr>
        </p:nvSpPr>
        <p:spPr bwMode="auto">
          <a:xfrm>
            <a:off x="3054072" y="4438641"/>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Freeform: Shape 26">
            <a:extLst>
              <a:ext uri="{FF2B5EF4-FFF2-40B4-BE49-F238E27FC236}">
                <a16:creationId xmlns:a16="http://schemas.microsoft.com/office/drawing/2014/main" id="{92A4BD23-5FDF-56F3-955C-4291A4815D17}"/>
              </a:ext>
            </a:extLst>
          </p:cNvPr>
          <p:cNvSpPr/>
          <p:nvPr>
            <p:custDataLst>
              <p:tags r:id="rId7"/>
            </p:custDataLst>
          </p:nvPr>
        </p:nvSpPr>
        <p:spPr bwMode="auto">
          <a:xfrm>
            <a:off x="3111222" y="4438641"/>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Text Placeholder">
            <a:extLst>
              <a:ext uri="{FF2B5EF4-FFF2-40B4-BE49-F238E27FC236}">
                <a16:creationId xmlns:a16="http://schemas.microsoft.com/office/drawing/2014/main" id="{C6AA405F-4E40-06DD-A244-C11B2DA9F707}"/>
              </a:ext>
            </a:extLst>
          </p:cNvPr>
          <p:cNvSpPr>
            <a:spLocks noGrp="1"/>
          </p:cNvSpPr>
          <p:nvPr>
            <p:custDataLst>
              <p:tags r:id="rId8"/>
            </p:custDataLst>
          </p:nvPr>
        </p:nvSpPr>
        <p:spPr bwMode="gray">
          <a:xfrm>
            <a:off x="1088747" y="3911591"/>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D3D7C9DC-61F9-4B71-9526-231905B5EA46}" type="datetime'''''''''''''''''4''''''''''''''''4''''''%'''''">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44%</a:t>
            </a:fld>
            <a:endParaRPr lang="en-US" sz="1000">
              <a:solidFill>
                <a:schemeClr val="bg1"/>
              </a:solidFill>
              <a:sym typeface="Arial" panose="020B0604020202020204" pitchFamily="34" charset="0"/>
            </a:endParaRPr>
          </a:p>
        </p:txBody>
      </p:sp>
      <p:sp>
        <p:nvSpPr>
          <p:cNvPr id="54" name="Text Placeholder">
            <a:extLst>
              <a:ext uri="{FF2B5EF4-FFF2-40B4-BE49-F238E27FC236}">
                <a16:creationId xmlns:a16="http://schemas.microsoft.com/office/drawing/2014/main" id="{974970A1-6283-B7CA-6A79-87C79D4CDDD2}"/>
              </a:ext>
            </a:extLst>
          </p:cNvPr>
          <p:cNvSpPr>
            <a:spLocks noGrp="1"/>
          </p:cNvSpPr>
          <p:nvPr>
            <p:custDataLst>
              <p:tags r:id="rId9"/>
            </p:custDataLst>
          </p:nvPr>
        </p:nvSpPr>
        <p:spPr bwMode="gray">
          <a:xfrm>
            <a:off x="1088747" y="3127366"/>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A01FEE75-09E8-40DF-A580-B4B6A7C6011F}" type="datetime'2''''''''''''2''''''''''%'''''''''''''''''''''''''''''''''''''">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22%</a:t>
            </a:fld>
            <a:endParaRPr lang="en-US" sz="1000">
              <a:solidFill>
                <a:schemeClr val="bg1"/>
              </a:solidFill>
              <a:sym typeface="Arial" panose="020B0604020202020204" pitchFamily="34" charset="0"/>
            </a:endParaRPr>
          </a:p>
        </p:txBody>
      </p:sp>
      <p:sp>
        <p:nvSpPr>
          <p:cNvPr id="55" name="Text Placeholder">
            <a:extLst>
              <a:ext uri="{FF2B5EF4-FFF2-40B4-BE49-F238E27FC236}">
                <a16:creationId xmlns:a16="http://schemas.microsoft.com/office/drawing/2014/main" id="{BF0D3D94-C594-5005-FDC3-6FF896F3277B}"/>
              </a:ext>
            </a:extLst>
          </p:cNvPr>
          <p:cNvSpPr>
            <a:spLocks noGrp="1"/>
          </p:cNvSpPr>
          <p:nvPr>
            <p:custDataLst>
              <p:tags r:id="rId10"/>
            </p:custDataLst>
          </p:nvPr>
        </p:nvSpPr>
        <p:spPr bwMode="gray">
          <a:xfrm>
            <a:off x="1088747" y="2698741"/>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DEBB7D5D-9FE0-4CE1-A0F8-E3558BA90C2F}" type="datetime'1''''''''4''''''''%'''''''''''''''''''">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14%</a:t>
            </a:fld>
            <a:endParaRPr lang="en-US" sz="1000">
              <a:solidFill>
                <a:schemeClr val="bg1"/>
              </a:solidFill>
              <a:sym typeface="Arial" panose="020B0604020202020204" pitchFamily="34" charset="0"/>
            </a:endParaRPr>
          </a:p>
        </p:txBody>
      </p:sp>
      <p:sp>
        <p:nvSpPr>
          <p:cNvPr id="56" name="Text Placeholder">
            <a:extLst>
              <a:ext uri="{FF2B5EF4-FFF2-40B4-BE49-F238E27FC236}">
                <a16:creationId xmlns:a16="http://schemas.microsoft.com/office/drawing/2014/main" id="{FA2D7B3A-377F-2A5B-8FF9-A59D8ED47E5B}"/>
              </a:ext>
            </a:extLst>
          </p:cNvPr>
          <p:cNvSpPr>
            <a:spLocks noGrp="1"/>
          </p:cNvSpPr>
          <p:nvPr>
            <p:custDataLst>
              <p:tags r:id="rId11"/>
            </p:custDataLst>
          </p:nvPr>
        </p:nvSpPr>
        <p:spPr bwMode="gray">
          <a:xfrm>
            <a:off x="1088747" y="2390766"/>
            <a:ext cx="290513"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3C80A4A7-6DC6-44DC-904D-2B4BB825A6D7}" type="datetime'''''1''''''''''''''''''''2''''''''''''''''''''''''''%'''">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12%</a:t>
            </a:fld>
            <a:endParaRPr lang="en-US" sz="1000">
              <a:solidFill>
                <a:schemeClr val="bg1"/>
              </a:solidFill>
              <a:sym typeface="Arial" panose="020B0604020202020204" pitchFamily="34" charset="0"/>
            </a:endParaRPr>
          </a:p>
        </p:txBody>
      </p:sp>
      <p:sp>
        <p:nvSpPr>
          <p:cNvPr id="57" name="Text Placeholder">
            <a:extLst>
              <a:ext uri="{FF2B5EF4-FFF2-40B4-BE49-F238E27FC236}">
                <a16:creationId xmlns:a16="http://schemas.microsoft.com/office/drawing/2014/main" id="{514B5EC5-1A88-DF62-038C-24D2DFAB6F87}"/>
              </a:ext>
            </a:extLst>
          </p:cNvPr>
          <p:cNvSpPr>
            <a:spLocks noGrp="1"/>
          </p:cNvSpPr>
          <p:nvPr>
            <p:custDataLst>
              <p:tags r:id="rId12"/>
            </p:custDataLst>
          </p:nvPr>
        </p:nvSpPr>
        <p:spPr bwMode="gray">
          <a:xfrm>
            <a:off x="1123672" y="2152641"/>
            <a:ext cx="220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5E36145B-94A9-4A30-8DFD-3FB4A6FC6202}" type="datetime'''''''''''''''''''''''''8''''''''''%'''''''''''">
              <a:rPr lang="en-US" altLang="en-US" sz="1000" smtClean="0">
                <a:sym typeface="Arial" panose="020B0604020202020204" pitchFamily="34" charset="0"/>
              </a:rPr>
              <a:pPr algn="ctr" defTabSz="685800">
                <a:spcBef>
                  <a:spcPct val="0"/>
                </a:spcBef>
                <a:buSzPct val="100000"/>
                <a:buFont typeface="+mn-lt" pitchFamily="34" charset="0"/>
              </a:pPr>
              <a:t>8%</a:t>
            </a:fld>
            <a:endParaRPr lang="en-US" sz="1000">
              <a:sym typeface="Arial" panose="020B0604020202020204" pitchFamily="34" charset="0"/>
            </a:endParaRPr>
          </a:p>
        </p:txBody>
      </p:sp>
      <p:sp>
        <p:nvSpPr>
          <p:cNvPr id="58" name="Text Placeholder">
            <a:extLst>
              <a:ext uri="{FF2B5EF4-FFF2-40B4-BE49-F238E27FC236}">
                <a16:creationId xmlns:a16="http://schemas.microsoft.com/office/drawing/2014/main" id="{E4819F8F-7618-A1B9-DB96-B13594AD6BD5}"/>
              </a:ext>
            </a:extLst>
          </p:cNvPr>
          <p:cNvSpPr>
            <a:spLocks noGrp="1"/>
          </p:cNvSpPr>
          <p:nvPr>
            <p:custDataLst>
              <p:tags r:id="rId13"/>
            </p:custDataLst>
          </p:nvPr>
        </p:nvSpPr>
        <p:spPr bwMode="auto">
          <a:xfrm>
            <a:off x="926822" y="4554529"/>
            <a:ext cx="614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CBB217DC-0118-4E1B-9990-F7F5D3394A25}" type="datetime'''''2''''021''''''''''''''''''-''''''''20''''''''3''''''''''0'">
              <a:rPr lang="en-US" altLang="en-US" sz="1000" smtClean="0">
                <a:sym typeface="Arial" panose="020B0604020202020204" pitchFamily="34" charset="0"/>
              </a:rPr>
              <a:pPr algn="ctr" defTabSz="685800">
                <a:spcBef>
                  <a:spcPct val="0"/>
                </a:spcBef>
                <a:buSzPct val="100000"/>
                <a:buFont typeface="+mn-lt" pitchFamily="34" charset="0"/>
              </a:pPr>
              <a:t>2021-2030</a:t>
            </a:fld>
            <a:endParaRPr lang="de-DE" sz="1000">
              <a:sym typeface="Arial" panose="020B0604020202020204" pitchFamily="34" charset="0"/>
            </a:endParaRPr>
          </a:p>
        </p:txBody>
      </p:sp>
      <p:sp>
        <p:nvSpPr>
          <p:cNvPr id="59" name="Text Placeholder">
            <a:extLst>
              <a:ext uri="{FF2B5EF4-FFF2-40B4-BE49-F238E27FC236}">
                <a16:creationId xmlns:a16="http://schemas.microsoft.com/office/drawing/2014/main" id="{ABA43DFA-0637-9C9F-1D0E-8D3B9CFE14D7}"/>
              </a:ext>
            </a:extLst>
          </p:cNvPr>
          <p:cNvSpPr>
            <a:spLocks noGrp="1"/>
          </p:cNvSpPr>
          <p:nvPr>
            <p:custDataLst>
              <p:tags r:id="rId14"/>
            </p:custDataLst>
          </p:nvPr>
        </p:nvSpPr>
        <p:spPr bwMode="gray">
          <a:xfrm>
            <a:off x="2334935" y="4292591"/>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AFDAFA20-305F-467F-87AA-8D3BFDE32CC2}" type="datetime'1''''''''''''''''7''''''''''%'''">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17%</a:t>
            </a:fld>
            <a:endParaRPr lang="en-US" sz="1000">
              <a:solidFill>
                <a:schemeClr val="bg1"/>
              </a:solidFill>
              <a:sym typeface="Arial" panose="020B0604020202020204" pitchFamily="34" charset="0"/>
            </a:endParaRPr>
          </a:p>
        </p:txBody>
      </p:sp>
      <p:sp>
        <p:nvSpPr>
          <p:cNvPr id="60" name="Text Placeholder">
            <a:extLst>
              <a:ext uri="{FF2B5EF4-FFF2-40B4-BE49-F238E27FC236}">
                <a16:creationId xmlns:a16="http://schemas.microsoft.com/office/drawing/2014/main" id="{13C071C9-AC0C-1A1D-1995-3B952F49F3F2}"/>
              </a:ext>
            </a:extLst>
          </p:cNvPr>
          <p:cNvSpPr>
            <a:spLocks noGrp="1"/>
          </p:cNvSpPr>
          <p:nvPr>
            <p:custDataLst>
              <p:tags r:id="rId15"/>
            </p:custDataLst>
          </p:nvPr>
        </p:nvSpPr>
        <p:spPr bwMode="gray">
          <a:xfrm>
            <a:off x="2334935" y="4030654"/>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EC4F9EB0-B53B-40C4-A3A6-09E54FAEA663}" type="datetime'''''''''1''4''''''''''''''''''''''''''''''''''%'''''''''''">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14%</a:t>
            </a:fld>
            <a:endParaRPr lang="en-US" sz="1000">
              <a:solidFill>
                <a:schemeClr val="bg1"/>
              </a:solidFill>
              <a:sym typeface="Arial" panose="020B0604020202020204" pitchFamily="34" charset="0"/>
            </a:endParaRPr>
          </a:p>
        </p:txBody>
      </p:sp>
      <p:sp>
        <p:nvSpPr>
          <p:cNvPr id="61" name="Text Placeholder">
            <a:extLst>
              <a:ext uri="{FF2B5EF4-FFF2-40B4-BE49-F238E27FC236}">
                <a16:creationId xmlns:a16="http://schemas.microsoft.com/office/drawing/2014/main" id="{2B3614EE-5E13-EBB2-23D7-8EF7FB418050}"/>
              </a:ext>
            </a:extLst>
          </p:cNvPr>
          <p:cNvSpPr>
            <a:spLocks noGrp="1"/>
          </p:cNvSpPr>
          <p:nvPr>
            <p:custDataLst>
              <p:tags r:id="rId16"/>
            </p:custDataLst>
          </p:nvPr>
        </p:nvSpPr>
        <p:spPr bwMode="gray">
          <a:xfrm>
            <a:off x="2334935" y="3530591"/>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165F7089-E1FA-4EFC-A54A-5D5350019AB4}" type="datetime'''''''''''''''4''''''''''''''''''''''''''''''''6''%'''''''">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46%</a:t>
            </a:fld>
            <a:endParaRPr lang="en-US" sz="1000">
              <a:solidFill>
                <a:schemeClr val="bg1"/>
              </a:solidFill>
              <a:sym typeface="Arial" panose="020B0604020202020204" pitchFamily="34" charset="0"/>
            </a:endParaRPr>
          </a:p>
        </p:txBody>
      </p:sp>
      <p:sp>
        <p:nvSpPr>
          <p:cNvPr id="62" name="Text Placeholder">
            <a:extLst>
              <a:ext uri="{FF2B5EF4-FFF2-40B4-BE49-F238E27FC236}">
                <a16:creationId xmlns:a16="http://schemas.microsoft.com/office/drawing/2014/main" id="{490F5C4A-97CF-AE64-34FF-964FB78E35AF}"/>
              </a:ext>
            </a:extLst>
          </p:cNvPr>
          <p:cNvSpPr>
            <a:spLocks noGrp="1"/>
          </p:cNvSpPr>
          <p:nvPr>
            <p:custDataLst>
              <p:tags r:id="rId17"/>
            </p:custDataLst>
          </p:nvPr>
        </p:nvSpPr>
        <p:spPr bwMode="gray">
          <a:xfrm>
            <a:off x="2334935" y="2984491"/>
            <a:ext cx="290513"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3CC6C446-020D-44C2-B702-5BA7E63DC647}" type="datetime'''''''''''''''''''''''''''''''''''''''''''''2''''''''0''%'">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20%</a:t>
            </a:fld>
            <a:endParaRPr lang="en-US" sz="1000">
              <a:solidFill>
                <a:schemeClr val="bg1"/>
              </a:solidFill>
              <a:sym typeface="Arial" panose="020B0604020202020204" pitchFamily="34" charset="0"/>
            </a:endParaRPr>
          </a:p>
        </p:txBody>
      </p:sp>
      <p:sp>
        <p:nvSpPr>
          <p:cNvPr id="63" name="Text Placeholder">
            <a:extLst>
              <a:ext uri="{FF2B5EF4-FFF2-40B4-BE49-F238E27FC236}">
                <a16:creationId xmlns:a16="http://schemas.microsoft.com/office/drawing/2014/main" id="{3F01CF1E-669D-B61E-F58E-C6F66B01D50C}"/>
              </a:ext>
            </a:extLst>
          </p:cNvPr>
          <p:cNvSpPr>
            <a:spLocks noGrp="1"/>
          </p:cNvSpPr>
          <p:nvPr>
            <p:custDataLst>
              <p:tags r:id="rId18"/>
            </p:custDataLst>
          </p:nvPr>
        </p:nvSpPr>
        <p:spPr bwMode="gray">
          <a:xfrm>
            <a:off x="2369860" y="2793991"/>
            <a:ext cx="220663" cy="152400"/>
          </a:xfrm>
          <a:prstGeom prst="rect">
            <a:avLst/>
          </a:prstGeom>
          <a:solidFill>
            <a:schemeClr val="accent2"/>
          </a:solidFill>
          <a:ln>
            <a:noFill/>
          </a:ln>
          <a:effec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249AF7F5-EEF8-45BF-884E-26F9DFD15E11}" type="datetime'''''3''''''''''''''''''''''''''''''''''''''''%'">
              <a:rPr lang="en-US" altLang="en-US" sz="1000" smtClean="0">
                <a:effectLst/>
                <a:sym typeface="Arial" panose="020B0604020202020204" pitchFamily="34" charset="0"/>
              </a:rPr>
              <a:pPr algn="ctr" defTabSz="685800">
                <a:spcBef>
                  <a:spcPct val="0"/>
                </a:spcBef>
                <a:buSzPct val="100000"/>
                <a:buFont typeface="+mn-lt" pitchFamily="34" charset="0"/>
              </a:pPr>
              <a:t>3%</a:t>
            </a:fld>
            <a:endParaRPr lang="en-US" sz="1000">
              <a:sym typeface="Arial" panose="020B0604020202020204" pitchFamily="34" charset="0"/>
            </a:endParaRPr>
          </a:p>
        </p:txBody>
      </p:sp>
      <p:sp>
        <p:nvSpPr>
          <p:cNvPr id="64" name="Text Placeholder">
            <a:extLst>
              <a:ext uri="{FF2B5EF4-FFF2-40B4-BE49-F238E27FC236}">
                <a16:creationId xmlns:a16="http://schemas.microsoft.com/office/drawing/2014/main" id="{66A8EC62-773D-748E-200E-4E353084A81B}"/>
              </a:ext>
            </a:extLst>
          </p:cNvPr>
          <p:cNvSpPr>
            <a:spLocks noGrp="1"/>
          </p:cNvSpPr>
          <p:nvPr>
            <p:custDataLst>
              <p:tags r:id="rId19"/>
            </p:custDataLst>
          </p:nvPr>
        </p:nvSpPr>
        <p:spPr bwMode="auto">
          <a:xfrm>
            <a:off x="2173010" y="4554529"/>
            <a:ext cx="614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9B5E1C47-504B-46E7-95AA-58F4C85422D4}" type="datetime'''''''20''''3''''''''''''''''''1''''''''-2''''0''40'''''''''''">
              <a:rPr lang="en-US" altLang="en-US" sz="1000" smtClean="0">
                <a:sym typeface="Arial" panose="020B0604020202020204" pitchFamily="34" charset="0"/>
              </a:rPr>
              <a:pPr algn="ctr" defTabSz="685800">
                <a:spcBef>
                  <a:spcPct val="0"/>
                </a:spcBef>
                <a:buSzPct val="100000"/>
                <a:buFont typeface="+mn-lt" pitchFamily="34" charset="0"/>
              </a:pPr>
              <a:t>2031-2040</a:t>
            </a:fld>
            <a:endParaRPr lang="de-DE" sz="1000">
              <a:sym typeface="Arial" panose="020B0604020202020204" pitchFamily="34" charset="0"/>
            </a:endParaRPr>
          </a:p>
        </p:txBody>
      </p:sp>
      <p:sp>
        <p:nvSpPr>
          <p:cNvPr id="65" name="Text Placeholder">
            <a:extLst>
              <a:ext uri="{FF2B5EF4-FFF2-40B4-BE49-F238E27FC236}">
                <a16:creationId xmlns:a16="http://schemas.microsoft.com/office/drawing/2014/main" id="{E79F27D8-0ADA-8A61-E3EE-B642DD6B8B73}"/>
              </a:ext>
            </a:extLst>
          </p:cNvPr>
          <p:cNvSpPr>
            <a:spLocks noGrp="1"/>
          </p:cNvSpPr>
          <p:nvPr>
            <p:custDataLst>
              <p:tags r:id="rId20"/>
            </p:custDataLst>
          </p:nvPr>
        </p:nvSpPr>
        <p:spPr bwMode="auto">
          <a:xfrm>
            <a:off x="3417610" y="4554529"/>
            <a:ext cx="614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FDA3D312-E3B8-46B3-BF30-0A66B0E8744C}" type="datetime'2''''''''''04''''''''''1''''-''''''20''5''''''''''0'''''''''''">
              <a:rPr lang="en-US" altLang="en-US" sz="1000" smtClean="0">
                <a:sym typeface="Arial" panose="020B0604020202020204" pitchFamily="34" charset="0"/>
              </a:rPr>
              <a:pPr algn="ctr" defTabSz="685800">
                <a:spcBef>
                  <a:spcPct val="0"/>
                </a:spcBef>
                <a:buSzPct val="100000"/>
                <a:buFont typeface="+mn-lt" pitchFamily="34" charset="0"/>
              </a:pPr>
              <a:t>2041-2050</a:t>
            </a:fld>
            <a:endParaRPr lang="de-DE" sz="1000">
              <a:sym typeface="Arial" panose="020B0604020202020204" pitchFamily="34" charset="0"/>
            </a:endParaRPr>
          </a:p>
        </p:txBody>
      </p:sp>
      <p:sp>
        <p:nvSpPr>
          <p:cNvPr id="66" name="Text Placeholder">
            <a:extLst>
              <a:ext uri="{FF2B5EF4-FFF2-40B4-BE49-F238E27FC236}">
                <a16:creationId xmlns:a16="http://schemas.microsoft.com/office/drawing/2014/main" id="{A8F9EB09-FEFC-7C1E-B8A8-5DEAB6B34C17}"/>
              </a:ext>
            </a:extLst>
          </p:cNvPr>
          <p:cNvSpPr>
            <a:spLocks noGrp="1"/>
          </p:cNvSpPr>
          <p:nvPr>
            <p:custDataLst>
              <p:tags r:id="rId21"/>
            </p:custDataLst>
          </p:nvPr>
        </p:nvSpPr>
        <p:spPr bwMode="auto">
          <a:xfrm>
            <a:off x="279122" y="3835391"/>
            <a:ext cx="4651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49F1BBA8-B08D-42B0-B7A3-47FB672524AD}" type="datetime'N''o''r''th''''''&#10;''''Am''e''''ri''''''''''''c''a'''''">
              <a:rPr lang="en-US" altLang="en-US" sz="1000" smtClean="0">
                <a:sym typeface="Arial" panose="020B0604020202020204" pitchFamily="34" charset="0"/>
              </a:rPr>
              <a:pPr defTabSz="685800">
                <a:spcBef>
                  <a:spcPct val="0"/>
                </a:spcBef>
                <a:buSzPct val="100000"/>
                <a:buFont typeface="+mn-lt" pitchFamily="34" charset="0"/>
              </a:pPr>
              <a:t>North
America</a:t>
            </a:fld>
            <a:endParaRPr lang="en-US" sz="1000">
              <a:sym typeface="Arial" panose="020B0604020202020204" pitchFamily="34" charset="0"/>
            </a:endParaRPr>
          </a:p>
        </p:txBody>
      </p:sp>
      <p:sp>
        <p:nvSpPr>
          <p:cNvPr id="67" name="Text Placeholder">
            <a:extLst>
              <a:ext uri="{FF2B5EF4-FFF2-40B4-BE49-F238E27FC236}">
                <a16:creationId xmlns:a16="http://schemas.microsoft.com/office/drawing/2014/main" id="{1FB516AA-71E5-2137-1B1F-495CA98B01A3}"/>
              </a:ext>
            </a:extLst>
          </p:cNvPr>
          <p:cNvSpPr>
            <a:spLocks noGrp="1"/>
          </p:cNvSpPr>
          <p:nvPr>
            <p:custDataLst>
              <p:tags r:id="rId22"/>
            </p:custDataLst>
          </p:nvPr>
        </p:nvSpPr>
        <p:spPr bwMode="auto">
          <a:xfrm>
            <a:off x="279122" y="3051166"/>
            <a:ext cx="3730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B062C879-6C34-4D8B-BDA0-812A657CC876}" type="datetime'''''M''''i''''''dd''l''''''''''''''''''e''&#10;Ea''''''st'''">
              <a:rPr lang="en-US" altLang="en-US" sz="1000" smtClean="0">
                <a:sym typeface="Arial" panose="020B0604020202020204" pitchFamily="34" charset="0"/>
              </a:rPr>
              <a:pPr defTabSz="685800">
                <a:spcBef>
                  <a:spcPct val="0"/>
                </a:spcBef>
                <a:buSzPct val="100000"/>
                <a:buFont typeface="+mn-lt" pitchFamily="34" charset="0"/>
              </a:pPr>
              <a:t>Middle
East</a:t>
            </a:fld>
            <a:endParaRPr lang="en-US" sz="1000">
              <a:sym typeface="Arial" panose="020B0604020202020204" pitchFamily="34" charset="0"/>
            </a:endParaRPr>
          </a:p>
        </p:txBody>
      </p:sp>
      <p:sp>
        <p:nvSpPr>
          <p:cNvPr id="68" name="Text Placeholder">
            <a:extLst>
              <a:ext uri="{FF2B5EF4-FFF2-40B4-BE49-F238E27FC236}">
                <a16:creationId xmlns:a16="http://schemas.microsoft.com/office/drawing/2014/main" id="{EA02ACE3-139C-6699-6D2A-F3BBAA6A0ABE}"/>
              </a:ext>
            </a:extLst>
          </p:cNvPr>
          <p:cNvSpPr>
            <a:spLocks noGrp="1"/>
          </p:cNvSpPr>
          <p:nvPr>
            <p:custDataLst>
              <p:tags r:id="rId23"/>
            </p:custDataLst>
          </p:nvPr>
        </p:nvSpPr>
        <p:spPr bwMode="auto">
          <a:xfrm>
            <a:off x="279122" y="2698741"/>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fontAlgn="base">
              <a:spcBef>
                <a:spcPct val="0"/>
              </a:spcBef>
              <a:spcAft>
                <a:spcPct val="0"/>
              </a:spcAft>
              <a:buSzPct val="100000"/>
              <a:buFont typeface="+mn-lt" pitchFamily="34" charset="0"/>
            </a:pPr>
            <a:fld id="{5B8769ED-6D91-452E-9CA3-006680C4EF3C}" type="datetime'''''''''A''''''f''''''''''r''i''ca'''''''''''''">
              <a:rPr lang="en-US" altLang="en-US" sz="1000" smtClean="0">
                <a:sym typeface="Arial" panose="020B0604020202020204" pitchFamily="34" charset="0"/>
              </a:rPr>
              <a:pPr defTabSz="685800" fontAlgn="base">
                <a:spcBef>
                  <a:spcPct val="0"/>
                </a:spcBef>
                <a:spcAft>
                  <a:spcPct val="0"/>
                </a:spcAft>
                <a:buSzPct val="100000"/>
                <a:buFont typeface="+mn-lt" pitchFamily="34" charset="0"/>
              </a:pPr>
              <a:t>Africa</a:t>
            </a:fld>
            <a:endParaRPr lang="en-US" sz="1000">
              <a:sym typeface="Arial" panose="020B0604020202020204" pitchFamily="34" charset="0"/>
            </a:endParaRPr>
          </a:p>
        </p:txBody>
      </p:sp>
      <p:sp>
        <p:nvSpPr>
          <p:cNvPr id="69" name="Text Placeholder">
            <a:extLst>
              <a:ext uri="{FF2B5EF4-FFF2-40B4-BE49-F238E27FC236}">
                <a16:creationId xmlns:a16="http://schemas.microsoft.com/office/drawing/2014/main" id="{E29F6E03-4397-7F63-7FA8-251DDCFD90FB}"/>
              </a:ext>
            </a:extLst>
          </p:cNvPr>
          <p:cNvSpPr>
            <a:spLocks noGrp="1"/>
          </p:cNvSpPr>
          <p:nvPr>
            <p:custDataLst>
              <p:tags r:id="rId24"/>
            </p:custDataLst>
          </p:nvPr>
        </p:nvSpPr>
        <p:spPr bwMode="auto">
          <a:xfrm>
            <a:off x="279122" y="2390766"/>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fontAlgn="base">
              <a:spcBef>
                <a:spcPct val="0"/>
              </a:spcBef>
              <a:spcAft>
                <a:spcPct val="0"/>
              </a:spcAft>
              <a:buSzPct val="100000"/>
              <a:buFont typeface="+mn-lt" pitchFamily="34" charset="0"/>
            </a:pPr>
            <a:fld id="{1EAE9B3F-EA6B-4984-982D-D6D8566D6AD4}" type="datetime'E''''''u''''''''''''''r''''''''''o''''''''''p''''e'''''">
              <a:rPr lang="en-US" altLang="en-US" sz="1000" smtClean="0">
                <a:sym typeface="Arial" panose="020B0604020202020204" pitchFamily="34" charset="0"/>
              </a:rPr>
              <a:pPr defTabSz="685800" fontAlgn="base">
                <a:spcBef>
                  <a:spcPct val="0"/>
                </a:spcBef>
                <a:spcAft>
                  <a:spcPct val="0"/>
                </a:spcAft>
                <a:buSzPct val="100000"/>
                <a:buFont typeface="+mn-lt" pitchFamily="34" charset="0"/>
              </a:pPr>
              <a:t>Europe</a:t>
            </a:fld>
            <a:endParaRPr lang="en-US" sz="1000">
              <a:sym typeface="Arial" panose="020B0604020202020204" pitchFamily="34" charset="0"/>
            </a:endParaRPr>
          </a:p>
        </p:txBody>
      </p:sp>
      <p:sp>
        <p:nvSpPr>
          <p:cNvPr id="70" name="Text Placeholder">
            <a:extLst>
              <a:ext uri="{FF2B5EF4-FFF2-40B4-BE49-F238E27FC236}">
                <a16:creationId xmlns:a16="http://schemas.microsoft.com/office/drawing/2014/main" id="{49D5232F-7719-21E5-7B64-6EDDF2911A72}"/>
              </a:ext>
            </a:extLst>
          </p:cNvPr>
          <p:cNvSpPr>
            <a:spLocks noGrp="1"/>
          </p:cNvSpPr>
          <p:nvPr>
            <p:custDataLst>
              <p:tags r:id="rId25"/>
            </p:custDataLst>
          </p:nvPr>
        </p:nvSpPr>
        <p:spPr bwMode="auto">
          <a:xfrm>
            <a:off x="279122" y="2152641"/>
            <a:ext cx="344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fontAlgn="base">
              <a:spcBef>
                <a:spcPct val="0"/>
              </a:spcBef>
              <a:spcAft>
                <a:spcPct val="0"/>
              </a:spcAft>
              <a:buSzPct val="100000"/>
              <a:buFont typeface="+mn-lt" pitchFamily="34" charset="0"/>
            </a:pPr>
            <a:fld id="{F956F60B-4C05-4D20-B34A-031B8948DB2C}" type="datetime'A''''''P''''''''''''''''''''A''''''''''''''''C'''''">
              <a:rPr lang="en-US" altLang="en-US" sz="1000" smtClean="0">
                <a:sym typeface="Arial" panose="020B0604020202020204" pitchFamily="34" charset="0"/>
              </a:rPr>
              <a:pPr defTabSz="685800" fontAlgn="base">
                <a:spcBef>
                  <a:spcPct val="0"/>
                </a:spcBef>
                <a:spcAft>
                  <a:spcPct val="0"/>
                </a:spcAft>
                <a:buSzPct val="100000"/>
                <a:buFont typeface="+mn-lt" pitchFamily="34" charset="0"/>
              </a:pPr>
              <a:t>APAC</a:t>
            </a:fld>
            <a:endParaRPr lang="en-US" sz="1000">
              <a:sym typeface="Arial" panose="020B0604020202020204" pitchFamily="34" charset="0"/>
            </a:endParaRPr>
          </a:p>
        </p:txBody>
      </p:sp>
      <p:sp>
        <p:nvSpPr>
          <p:cNvPr id="71" name="Text Placeholder">
            <a:extLst>
              <a:ext uri="{FF2B5EF4-FFF2-40B4-BE49-F238E27FC236}">
                <a16:creationId xmlns:a16="http://schemas.microsoft.com/office/drawing/2014/main" id="{0D590EEC-7E0E-F78A-F78D-5A788C12BF8F}"/>
              </a:ext>
            </a:extLst>
          </p:cNvPr>
          <p:cNvSpPr>
            <a:spLocks noGrp="1"/>
          </p:cNvSpPr>
          <p:nvPr>
            <p:custDataLst>
              <p:tags r:id="rId26"/>
            </p:custDataLst>
          </p:nvPr>
        </p:nvSpPr>
        <p:spPr bwMode="gray">
          <a:xfrm>
            <a:off x="1083985" y="1943091"/>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CBC717D8-8AAE-4005-999C-0DD4E5AB9F51}" type="datetime'''''2''''''''5''''''''''''''''''0'''''''''''''''''">
              <a:rPr lang="en-US" altLang="en-US" b="1" smtClean="0">
                <a:sym typeface="Arial" panose="020B0604020202020204" pitchFamily="34" charset="0"/>
              </a:rPr>
              <a:pPr algn="ctr" defTabSz="685800">
                <a:lnSpc>
                  <a:spcPct val="90000"/>
                </a:lnSpc>
                <a:spcBef>
                  <a:spcPct val="0"/>
                </a:spcBef>
                <a:buSzPct val="100000"/>
                <a:buFont typeface="+mn-lt" pitchFamily="34" charset="0"/>
              </a:pPr>
              <a:t>250</a:t>
            </a:fld>
            <a:endParaRPr lang="en-US" b="1">
              <a:sym typeface="Arial" panose="020B0604020202020204" pitchFamily="34" charset="0"/>
            </a:endParaRPr>
          </a:p>
        </p:txBody>
      </p:sp>
      <p:sp>
        <p:nvSpPr>
          <p:cNvPr id="72" name="Text Placeholder">
            <a:extLst>
              <a:ext uri="{FF2B5EF4-FFF2-40B4-BE49-F238E27FC236}">
                <a16:creationId xmlns:a16="http://schemas.microsoft.com/office/drawing/2014/main" id="{31CD8FA6-9038-1EFB-3C88-DE15118E6032}"/>
              </a:ext>
            </a:extLst>
          </p:cNvPr>
          <p:cNvSpPr>
            <a:spLocks noGrp="1"/>
          </p:cNvSpPr>
          <p:nvPr>
            <p:custDataLst>
              <p:tags r:id="rId27"/>
            </p:custDataLst>
          </p:nvPr>
        </p:nvSpPr>
        <p:spPr bwMode="gray">
          <a:xfrm>
            <a:off x="2330172" y="2628891"/>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1F9F0DB1-9429-4527-B5B1-E081AC4835A4}" type="datetime'1''''''''''''''''''''''''''7''5'''''''''''''">
              <a:rPr lang="en-US" altLang="en-US" b="1" smtClean="0">
                <a:sym typeface="Arial" panose="020B0604020202020204" pitchFamily="34" charset="0"/>
              </a:rPr>
              <a:pPr algn="ctr" defTabSz="685800">
                <a:lnSpc>
                  <a:spcPct val="90000"/>
                </a:lnSpc>
                <a:spcBef>
                  <a:spcPct val="0"/>
                </a:spcBef>
                <a:buSzPct val="100000"/>
                <a:buFont typeface="+mn-lt" pitchFamily="34" charset="0"/>
              </a:pPr>
              <a:t>175</a:t>
            </a:fld>
            <a:endParaRPr lang="en-US" b="1">
              <a:sym typeface="Arial" panose="020B0604020202020204" pitchFamily="34" charset="0"/>
            </a:endParaRPr>
          </a:p>
        </p:txBody>
      </p:sp>
      <p:sp>
        <p:nvSpPr>
          <p:cNvPr id="73" name="Text Placeholder">
            <a:extLst>
              <a:ext uri="{FF2B5EF4-FFF2-40B4-BE49-F238E27FC236}">
                <a16:creationId xmlns:a16="http://schemas.microsoft.com/office/drawing/2014/main" id="{58D0D261-43DB-4959-9351-D2F0DA33787E}"/>
              </a:ext>
            </a:extLst>
          </p:cNvPr>
          <p:cNvSpPr>
            <a:spLocks noGrp="1"/>
          </p:cNvSpPr>
          <p:nvPr>
            <p:custDataLst>
              <p:tags r:id="rId28"/>
            </p:custDataLst>
          </p:nvPr>
        </p:nvSpPr>
        <p:spPr bwMode="gray">
          <a:xfrm>
            <a:off x="3616047" y="3844916"/>
            <a:ext cx="2159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D30FFB04-EB73-46B4-84A5-DC2958B9B82F}" type="datetime'''''''''''''''''''''''''''''''''5''''0'''">
              <a:rPr lang="en-US" altLang="en-US" b="1" smtClean="0">
                <a:sym typeface="Arial" panose="020B0604020202020204" pitchFamily="34" charset="0"/>
              </a:rPr>
              <a:pPr algn="ctr" defTabSz="685800">
                <a:lnSpc>
                  <a:spcPct val="90000"/>
                </a:lnSpc>
                <a:spcBef>
                  <a:spcPct val="0"/>
                </a:spcBef>
                <a:buSzPct val="100000"/>
                <a:buFont typeface="+mn-lt" pitchFamily="34" charset="0"/>
              </a:pPr>
              <a:t>50</a:t>
            </a:fld>
            <a:endParaRPr lang="en-US" b="1">
              <a:sym typeface="Arial" panose="020B0604020202020204" pitchFamily="34" charset="0"/>
            </a:endParaRPr>
          </a:p>
        </p:txBody>
      </p:sp>
      <p:cxnSp>
        <p:nvCxnSpPr>
          <p:cNvPr id="74" name="HorizontalLine7">
            <a:extLst>
              <a:ext uri="{FF2B5EF4-FFF2-40B4-BE49-F238E27FC236}">
                <a16:creationId xmlns:a16="http://schemas.microsoft.com/office/drawing/2014/main" id="{8F36FB58-2881-A273-2AEB-7BCE66284E83}"/>
              </a:ext>
            </a:extLst>
          </p:cNvPr>
          <p:cNvCxnSpPr>
            <a:cxnSpLocks/>
          </p:cNvCxnSpPr>
          <p:nvPr/>
        </p:nvCxnSpPr>
        <p:spPr>
          <a:xfrm>
            <a:off x="4781516" y="2325099"/>
            <a:ext cx="756000" cy="0"/>
          </a:xfrm>
          <a:prstGeom prst="line">
            <a:avLst/>
          </a:prstGeom>
          <a:ln w="1270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Title66">
            <a:extLst>
              <a:ext uri="{FF2B5EF4-FFF2-40B4-BE49-F238E27FC236}">
                <a16:creationId xmlns:a16="http://schemas.microsoft.com/office/drawing/2014/main" id="{AAE16ADF-A53F-83AC-4CA5-BDEBBF7B2577}"/>
              </a:ext>
            </a:extLst>
          </p:cNvPr>
          <p:cNvSpPr txBox="1">
            <a:spLocks/>
          </p:cNvSpPr>
          <p:nvPr/>
        </p:nvSpPr>
        <p:spPr>
          <a:xfrm>
            <a:off x="4781516" y="2117136"/>
            <a:ext cx="756000" cy="207963"/>
          </a:xfrm>
          <a:prstGeom prst="rect">
            <a:avLst/>
          </a:prstGeom>
          <a:noFill/>
          <a:ln w="9525">
            <a:noFill/>
          </a:ln>
        </p:spPr>
        <p:txBody>
          <a:bodyPr vert="horz" wrap="square" lIns="0" tIns="0" rIns="0" bIns="53213" rtlCol="0" anchor="b">
            <a:spAutoFit/>
          </a:bodyPr>
          <a:lstStyle/>
          <a:p>
            <a:pPr fontAlgn="base">
              <a:buSzPct val="100000"/>
            </a:pPr>
            <a:r>
              <a:rPr lang="en-US" sz="1000" b="1">
                <a:sym typeface="+mn-lt"/>
              </a:rPr>
              <a:t>Company</a:t>
            </a:r>
          </a:p>
        </p:txBody>
      </p:sp>
      <p:sp>
        <p:nvSpPr>
          <p:cNvPr id="76" name="Title1212">
            <a:extLst>
              <a:ext uri="{FF2B5EF4-FFF2-40B4-BE49-F238E27FC236}">
                <a16:creationId xmlns:a16="http://schemas.microsoft.com/office/drawing/2014/main" id="{B6A5D9CE-CF1C-6908-7D03-1FF71F0F3EBC}"/>
              </a:ext>
            </a:extLst>
          </p:cNvPr>
          <p:cNvSpPr txBox="1">
            <a:spLocks/>
          </p:cNvSpPr>
          <p:nvPr/>
        </p:nvSpPr>
        <p:spPr>
          <a:xfrm>
            <a:off x="6224330" y="2117136"/>
            <a:ext cx="756000" cy="207963"/>
          </a:xfrm>
          <a:prstGeom prst="rect">
            <a:avLst/>
          </a:prstGeom>
          <a:noFill/>
          <a:ln w="9525">
            <a:noFill/>
          </a:ln>
        </p:spPr>
        <p:txBody>
          <a:bodyPr vert="horz" wrap="square" lIns="0" tIns="0" rIns="0" bIns="53213" rtlCol="0" anchor="b">
            <a:spAutoFit/>
          </a:bodyPr>
          <a:lstStyle/>
          <a:p>
            <a:pPr fontAlgn="base">
              <a:buSzPct val="100000"/>
            </a:pPr>
            <a:r>
              <a:rPr lang="en-US" sz="1000" b="1">
                <a:sym typeface="+mn-lt"/>
              </a:rPr>
              <a:t>Project</a:t>
            </a:r>
          </a:p>
        </p:txBody>
      </p:sp>
      <p:cxnSp>
        <p:nvCxnSpPr>
          <p:cNvPr id="77" name="HorizontalLine13">
            <a:extLst>
              <a:ext uri="{FF2B5EF4-FFF2-40B4-BE49-F238E27FC236}">
                <a16:creationId xmlns:a16="http://schemas.microsoft.com/office/drawing/2014/main" id="{2AEE736E-1A1D-10D7-53D6-4E17770DADB4}"/>
              </a:ext>
            </a:extLst>
          </p:cNvPr>
          <p:cNvCxnSpPr>
            <a:cxnSpLocks/>
          </p:cNvCxnSpPr>
          <p:nvPr/>
        </p:nvCxnSpPr>
        <p:spPr>
          <a:xfrm>
            <a:off x="6224330" y="2325099"/>
            <a:ext cx="756000" cy="0"/>
          </a:xfrm>
          <a:prstGeom prst="line">
            <a:avLst/>
          </a:prstGeom>
          <a:ln w="1270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8" name="Title1515">
            <a:extLst>
              <a:ext uri="{FF2B5EF4-FFF2-40B4-BE49-F238E27FC236}">
                <a16:creationId xmlns:a16="http://schemas.microsoft.com/office/drawing/2014/main" id="{ADF04F8C-ED62-90EA-765A-9D329A714550}"/>
              </a:ext>
            </a:extLst>
          </p:cNvPr>
          <p:cNvSpPr txBox="1">
            <a:spLocks/>
          </p:cNvSpPr>
          <p:nvPr/>
        </p:nvSpPr>
        <p:spPr>
          <a:xfrm>
            <a:off x="7088040" y="1963149"/>
            <a:ext cx="1015672" cy="361950"/>
          </a:xfrm>
          <a:prstGeom prst="rect">
            <a:avLst/>
          </a:prstGeom>
          <a:noFill/>
          <a:ln w="9525">
            <a:noFill/>
          </a:ln>
        </p:spPr>
        <p:txBody>
          <a:bodyPr vert="horz" wrap="square" lIns="0" tIns="0" rIns="0" bIns="53213" rtlCol="0" anchor="b">
            <a:spAutoFit/>
          </a:bodyPr>
          <a:lstStyle/>
          <a:p>
            <a:pPr fontAlgn="base">
              <a:buSzPct val="100000"/>
            </a:pPr>
            <a:r>
              <a:rPr lang="en-US" sz="1000" b="1">
                <a:sym typeface="+mn-lt"/>
              </a:rPr>
              <a:t>Capex </a:t>
            </a:r>
            <a:br>
              <a:rPr lang="en-US" sz="1000">
                <a:sym typeface="+mn-lt"/>
              </a:rPr>
            </a:br>
            <a:r>
              <a:rPr lang="en-US" sz="1000">
                <a:sym typeface="+mn-lt"/>
              </a:rPr>
              <a:t>[USD bn]</a:t>
            </a:r>
          </a:p>
        </p:txBody>
      </p:sp>
      <p:cxnSp>
        <p:nvCxnSpPr>
          <p:cNvPr id="79" name="HorizontalLine16">
            <a:extLst>
              <a:ext uri="{FF2B5EF4-FFF2-40B4-BE49-F238E27FC236}">
                <a16:creationId xmlns:a16="http://schemas.microsoft.com/office/drawing/2014/main" id="{0D9DE681-1D68-89D8-900E-6E0F09FD1022}"/>
              </a:ext>
            </a:extLst>
          </p:cNvPr>
          <p:cNvCxnSpPr>
            <a:cxnSpLocks/>
          </p:cNvCxnSpPr>
          <p:nvPr/>
        </p:nvCxnSpPr>
        <p:spPr>
          <a:xfrm>
            <a:off x="7088040" y="2325099"/>
            <a:ext cx="1015672" cy="0"/>
          </a:xfrm>
          <a:prstGeom prst="line">
            <a:avLst/>
          </a:prstGeom>
          <a:ln w="1270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0" name="Title1818">
            <a:extLst>
              <a:ext uri="{FF2B5EF4-FFF2-40B4-BE49-F238E27FC236}">
                <a16:creationId xmlns:a16="http://schemas.microsoft.com/office/drawing/2014/main" id="{D80BB0FC-CE10-B1EC-1912-F2CB6B886200}"/>
              </a:ext>
            </a:extLst>
          </p:cNvPr>
          <p:cNvSpPr txBox="1">
            <a:spLocks/>
          </p:cNvSpPr>
          <p:nvPr/>
        </p:nvSpPr>
        <p:spPr>
          <a:xfrm>
            <a:off x="8195121" y="1963149"/>
            <a:ext cx="720000" cy="361950"/>
          </a:xfrm>
          <a:prstGeom prst="rect">
            <a:avLst/>
          </a:prstGeom>
          <a:noFill/>
          <a:ln w="9525">
            <a:noFill/>
          </a:ln>
        </p:spPr>
        <p:txBody>
          <a:bodyPr vert="horz" wrap="square" lIns="0" tIns="0" rIns="0" bIns="53213" rtlCol="0" anchor="b">
            <a:spAutoFit/>
          </a:bodyPr>
          <a:lstStyle/>
          <a:p>
            <a:pPr fontAlgn="base">
              <a:buSzPct val="100000"/>
            </a:pPr>
            <a:r>
              <a:rPr lang="en-US" sz="1000" b="1">
                <a:sym typeface="+mn-lt"/>
              </a:rPr>
              <a:t>Completion date</a:t>
            </a:r>
          </a:p>
        </p:txBody>
      </p:sp>
      <p:cxnSp>
        <p:nvCxnSpPr>
          <p:cNvPr id="81" name="HorizontalLine19">
            <a:extLst>
              <a:ext uri="{FF2B5EF4-FFF2-40B4-BE49-F238E27FC236}">
                <a16:creationId xmlns:a16="http://schemas.microsoft.com/office/drawing/2014/main" id="{9979A529-0761-0600-9136-130135236658}"/>
              </a:ext>
            </a:extLst>
          </p:cNvPr>
          <p:cNvCxnSpPr>
            <a:cxnSpLocks/>
          </p:cNvCxnSpPr>
          <p:nvPr/>
        </p:nvCxnSpPr>
        <p:spPr>
          <a:xfrm>
            <a:off x="8195121" y="2325099"/>
            <a:ext cx="720000" cy="0"/>
          </a:xfrm>
          <a:prstGeom prst="line">
            <a:avLst/>
          </a:prstGeom>
          <a:ln w="1270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82" name="Chart 29">
            <a:extLst>
              <a:ext uri="{FF2B5EF4-FFF2-40B4-BE49-F238E27FC236}">
                <a16:creationId xmlns:a16="http://schemas.microsoft.com/office/drawing/2014/main" id="{1DE461D6-ABFC-34A0-C461-E108F51079E1}"/>
              </a:ext>
            </a:extLst>
          </p:cNvPr>
          <p:cNvGraphicFramePr/>
          <p:nvPr>
            <p:custDataLst>
              <p:tags r:id="rId29"/>
            </p:custDataLst>
            <p:extLst>
              <p:ext uri="{D42A27DB-BD31-4B8C-83A1-F6EECF244321}">
                <p14:modId xmlns:p14="http://schemas.microsoft.com/office/powerpoint/2010/main" val="4087634280"/>
              </p:ext>
            </p:extLst>
          </p:nvPr>
        </p:nvGraphicFramePr>
        <p:xfrm>
          <a:off x="6860897" y="2182929"/>
          <a:ext cx="1436688" cy="2627312"/>
        </p:xfrm>
        <a:graphic>
          <a:graphicData uri="http://schemas.openxmlformats.org/drawingml/2006/chart">
            <c:chart xmlns:c="http://schemas.openxmlformats.org/drawingml/2006/chart" xmlns:r="http://schemas.openxmlformats.org/officeDocument/2006/relationships" r:id="rId33"/>
          </a:graphicData>
        </a:graphic>
      </p:graphicFrame>
      <p:grpSp>
        <p:nvGrpSpPr>
          <p:cNvPr id="83" name="Group 191">
            <a:extLst>
              <a:ext uri="{FF2B5EF4-FFF2-40B4-BE49-F238E27FC236}">
                <a16:creationId xmlns:a16="http://schemas.microsoft.com/office/drawing/2014/main" id="{EEFEF77E-D72B-0ABC-69B2-E1E0AED92658}"/>
              </a:ext>
            </a:extLst>
          </p:cNvPr>
          <p:cNvGrpSpPr>
            <a:grpSpLocks/>
          </p:cNvGrpSpPr>
          <p:nvPr/>
        </p:nvGrpSpPr>
        <p:grpSpPr>
          <a:xfrm>
            <a:off x="4781516" y="2838220"/>
            <a:ext cx="4133605" cy="1296000"/>
            <a:chOff x="4206875" y="3088897"/>
            <a:chExt cx="5722938" cy="1163403"/>
          </a:xfrm>
        </p:grpSpPr>
        <p:cxnSp>
          <p:nvCxnSpPr>
            <p:cNvPr id="84" name="HorizontalLine27">
              <a:extLst>
                <a:ext uri="{FF2B5EF4-FFF2-40B4-BE49-F238E27FC236}">
                  <a16:creationId xmlns:a16="http://schemas.microsoft.com/office/drawing/2014/main" id="{6D2BE906-1B7C-3BBA-CB6D-46160C7D3E12}"/>
                </a:ext>
              </a:extLst>
            </p:cNvPr>
            <p:cNvCxnSpPr>
              <a:cxnSpLocks/>
            </p:cNvCxnSpPr>
            <p:nvPr/>
          </p:nvCxnSpPr>
          <p:spPr>
            <a:xfrm>
              <a:off x="4206875" y="3088897"/>
              <a:ext cx="5722938" cy="0"/>
            </a:xfrm>
            <a:prstGeom prst="line">
              <a:avLst/>
            </a:prstGeom>
            <a:ln w="6350" cmpd="sng">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HorizontalLine30">
              <a:extLst>
                <a:ext uri="{FF2B5EF4-FFF2-40B4-BE49-F238E27FC236}">
                  <a16:creationId xmlns:a16="http://schemas.microsoft.com/office/drawing/2014/main" id="{E7ED26CA-9871-E451-FC1B-257C2E07A41E}"/>
                </a:ext>
              </a:extLst>
            </p:cNvPr>
            <p:cNvCxnSpPr>
              <a:cxnSpLocks/>
            </p:cNvCxnSpPr>
            <p:nvPr/>
          </p:nvCxnSpPr>
          <p:spPr>
            <a:xfrm>
              <a:off x="4206875" y="3476698"/>
              <a:ext cx="5722938" cy="0"/>
            </a:xfrm>
            <a:prstGeom prst="line">
              <a:avLst/>
            </a:prstGeom>
            <a:ln w="6350" cmpd="sng">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HorizontalLine33">
              <a:extLst>
                <a:ext uri="{FF2B5EF4-FFF2-40B4-BE49-F238E27FC236}">
                  <a16:creationId xmlns:a16="http://schemas.microsoft.com/office/drawing/2014/main" id="{4FD6BCDB-7B09-B270-862B-AF99A676FFBC}"/>
                </a:ext>
              </a:extLst>
            </p:cNvPr>
            <p:cNvCxnSpPr>
              <a:cxnSpLocks/>
            </p:cNvCxnSpPr>
            <p:nvPr/>
          </p:nvCxnSpPr>
          <p:spPr>
            <a:xfrm>
              <a:off x="4206875" y="3864499"/>
              <a:ext cx="5722938" cy="0"/>
            </a:xfrm>
            <a:prstGeom prst="line">
              <a:avLst/>
            </a:prstGeom>
            <a:ln w="6350" cmpd="sng">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HorizontalLine36">
              <a:extLst>
                <a:ext uri="{FF2B5EF4-FFF2-40B4-BE49-F238E27FC236}">
                  <a16:creationId xmlns:a16="http://schemas.microsoft.com/office/drawing/2014/main" id="{FA8F977F-CFDF-EDDC-10B0-88A5C1878D4A}"/>
                </a:ext>
              </a:extLst>
            </p:cNvPr>
            <p:cNvCxnSpPr>
              <a:cxnSpLocks/>
            </p:cNvCxnSpPr>
            <p:nvPr/>
          </p:nvCxnSpPr>
          <p:spPr>
            <a:xfrm>
              <a:off x="4206875" y="4252300"/>
              <a:ext cx="5722938" cy="0"/>
            </a:xfrm>
            <a:prstGeom prst="line">
              <a:avLst/>
            </a:prstGeom>
            <a:ln w="6350" cmpd="sng">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Title99">
            <a:extLst>
              <a:ext uri="{FF2B5EF4-FFF2-40B4-BE49-F238E27FC236}">
                <a16:creationId xmlns:a16="http://schemas.microsoft.com/office/drawing/2014/main" id="{FCA02F2C-EFFF-14BB-7597-4DB0C51B600C}"/>
              </a:ext>
            </a:extLst>
          </p:cNvPr>
          <p:cNvSpPr txBox="1">
            <a:spLocks/>
          </p:cNvSpPr>
          <p:nvPr/>
        </p:nvSpPr>
        <p:spPr>
          <a:xfrm>
            <a:off x="5628923" y="2117136"/>
            <a:ext cx="504000" cy="207963"/>
          </a:xfrm>
          <a:prstGeom prst="rect">
            <a:avLst/>
          </a:prstGeom>
          <a:noFill/>
          <a:ln w="9525">
            <a:noFill/>
          </a:ln>
        </p:spPr>
        <p:txBody>
          <a:bodyPr vert="horz" wrap="square" lIns="0" tIns="0" rIns="0" bIns="53213" rtlCol="0" anchor="b">
            <a:spAutoFit/>
          </a:bodyPr>
          <a:lstStyle/>
          <a:p>
            <a:pPr fontAlgn="base">
              <a:buSzPct val="100000"/>
            </a:pPr>
            <a:r>
              <a:rPr lang="en-US" sz="1000" b="1">
                <a:sym typeface="+mn-lt"/>
              </a:rPr>
              <a:t>Country</a:t>
            </a:r>
          </a:p>
        </p:txBody>
      </p:sp>
      <p:cxnSp>
        <p:nvCxnSpPr>
          <p:cNvPr id="89" name="HorizontalLine10">
            <a:extLst>
              <a:ext uri="{FF2B5EF4-FFF2-40B4-BE49-F238E27FC236}">
                <a16:creationId xmlns:a16="http://schemas.microsoft.com/office/drawing/2014/main" id="{C1FC7A4F-D887-F76B-3483-7CFB33354D82}"/>
              </a:ext>
            </a:extLst>
          </p:cNvPr>
          <p:cNvCxnSpPr>
            <a:cxnSpLocks/>
          </p:cNvCxnSpPr>
          <p:nvPr/>
        </p:nvCxnSpPr>
        <p:spPr>
          <a:xfrm>
            <a:off x="5628923" y="2325099"/>
            <a:ext cx="504000" cy="0"/>
          </a:xfrm>
          <a:prstGeom prst="line">
            <a:avLst/>
          </a:prstGeom>
          <a:ln w="1270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0" name="Title3131">
            <a:extLst>
              <a:ext uri="{FF2B5EF4-FFF2-40B4-BE49-F238E27FC236}">
                <a16:creationId xmlns:a16="http://schemas.microsoft.com/office/drawing/2014/main" id="{07695EB1-DCE8-4383-A8FE-1101E0648617}"/>
              </a:ext>
            </a:extLst>
          </p:cNvPr>
          <p:cNvSpPr txBox="1">
            <a:spLocks/>
          </p:cNvSpPr>
          <p:nvPr/>
        </p:nvSpPr>
        <p:spPr>
          <a:xfrm>
            <a:off x="4781516" y="3343291"/>
            <a:ext cx="756000" cy="307777"/>
          </a:xfrm>
          <a:prstGeom prst="rect">
            <a:avLst/>
          </a:prstGeom>
          <a:noFill/>
          <a:ln w="9525">
            <a:noFill/>
          </a:ln>
        </p:spPr>
        <p:txBody>
          <a:bodyPr vert="horz" wrap="square" lIns="0" tIns="0" rIns="0" bIns="0" rtlCol="0" anchor="t">
            <a:spAutoFit/>
          </a:bodyPr>
          <a:lstStyle/>
          <a:p>
            <a:pPr>
              <a:buSzPct val="100000"/>
              <a:buFont typeface=""/>
            </a:pPr>
            <a:r>
              <a:rPr lang="en-US" sz="1000" err="1">
                <a:sym typeface="+mn-lt"/>
              </a:rPr>
              <a:t>NextDecade</a:t>
            </a:r>
            <a:r>
              <a:rPr lang="en-US" sz="1000">
                <a:sym typeface="+mn-lt"/>
              </a:rPr>
              <a:t> Corporation</a:t>
            </a:r>
          </a:p>
        </p:txBody>
      </p:sp>
      <p:sp>
        <p:nvSpPr>
          <p:cNvPr id="91" name="RBContent41">
            <a:extLst>
              <a:ext uri="{FF2B5EF4-FFF2-40B4-BE49-F238E27FC236}">
                <a16:creationId xmlns:a16="http://schemas.microsoft.com/office/drawing/2014/main" id="{D4A80139-636A-F058-2516-6F5036AF9294}"/>
              </a:ext>
            </a:extLst>
          </p:cNvPr>
          <p:cNvSpPr txBox="1">
            <a:spLocks/>
          </p:cNvSpPr>
          <p:nvPr/>
        </p:nvSpPr>
        <p:spPr>
          <a:xfrm>
            <a:off x="6224330" y="3343291"/>
            <a:ext cx="756000" cy="307777"/>
          </a:xfrm>
          <a:prstGeom prst="rect">
            <a:avLst/>
          </a:prstGeom>
          <a:noFill/>
          <a:ln w="9525">
            <a:noFill/>
          </a:ln>
        </p:spPr>
        <p:txBody>
          <a:bodyPr vert="horz" wrap="square" lIns="0" tIns="0" rIns="0" bIns="0" rtlCol="0">
            <a:spAutoFit/>
          </a:bodyPr>
          <a:lstStyle/>
          <a:p>
            <a:pPr marL="0" lvl="1">
              <a:spcBef>
                <a:spcPts val="300"/>
              </a:spcBef>
              <a:buSzPct val="100000"/>
            </a:pPr>
            <a:r>
              <a:rPr lang="en-US" sz="1000">
                <a:sym typeface="+mn-lt"/>
              </a:rPr>
              <a:t>Rio Grande LNG</a:t>
            </a:r>
          </a:p>
        </p:txBody>
      </p:sp>
      <p:sp>
        <p:nvSpPr>
          <p:cNvPr id="92" name="RBContent41">
            <a:extLst>
              <a:ext uri="{FF2B5EF4-FFF2-40B4-BE49-F238E27FC236}">
                <a16:creationId xmlns:a16="http://schemas.microsoft.com/office/drawing/2014/main" id="{AED4B766-4060-FD68-BD76-8E08EBB640D7}"/>
              </a:ext>
            </a:extLst>
          </p:cNvPr>
          <p:cNvSpPr txBox="1">
            <a:spLocks/>
          </p:cNvSpPr>
          <p:nvPr/>
        </p:nvSpPr>
        <p:spPr>
          <a:xfrm>
            <a:off x="8195121" y="3420235"/>
            <a:ext cx="720000" cy="153888"/>
          </a:xfrm>
          <a:prstGeom prst="rect">
            <a:avLst/>
          </a:prstGeom>
          <a:noFill/>
          <a:ln w="9525">
            <a:noFill/>
          </a:ln>
        </p:spPr>
        <p:txBody>
          <a:bodyPr vert="horz" wrap="square" lIns="0" tIns="0" rIns="108000" bIns="0" rtlCol="0">
            <a:spAutoFit/>
          </a:bodyPr>
          <a:lstStyle/>
          <a:p>
            <a:pPr marL="0" lvl="1" algn="r">
              <a:spcBef>
                <a:spcPts val="300"/>
              </a:spcBef>
              <a:buSzPct val="100000"/>
            </a:pPr>
            <a:r>
              <a:rPr lang="en-US" sz="1000">
                <a:sym typeface="+mn-lt"/>
              </a:rPr>
              <a:t>2023</a:t>
            </a:r>
          </a:p>
        </p:txBody>
      </p:sp>
      <p:pic>
        <p:nvPicPr>
          <p:cNvPr id="93" name="Graphic 167">
            <a:extLst>
              <a:ext uri="{FF2B5EF4-FFF2-40B4-BE49-F238E27FC236}">
                <a16:creationId xmlns:a16="http://schemas.microsoft.com/office/drawing/2014/main" id="{D9E7086E-A0D7-B384-510E-0640DD973D6D}"/>
              </a:ext>
            </a:extLst>
          </p:cNvPr>
          <p:cNvPicPr>
            <a:picLocks/>
          </p:cNvPicPr>
          <p:nvPr/>
        </p:nvPicPr>
        <p:blipFill>
          <a:blip r:embed="rId34">
            <a:extLst>
              <a:ext uri="{96DAC541-7B7A-43D3-8B79-37D633B846F1}">
                <asvg:svgBlip xmlns:asvg="http://schemas.microsoft.com/office/drawing/2016/SVG/main" r:embed="rId35"/>
              </a:ext>
            </a:extLst>
          </a:blip>
          <a:stretch>
            <a:fillRect/>
          </a:stretch>
        </p:blipFill>
        <p:spPr>
          <a:xfrm>
            <a:off x="5747063" y="3361967"/>
            <a:ext cx="267722" cy="270424"/>
          </a:xfrm>
          <a:prstGeom prst="rect">
            <a:avLst/>
          </a:prstGeom>
        </p:spPr>
      </p:pic>
      <p:sp>
        <p:nvSpPr>
          <p:cNvPr id="94" name="Title2525">
            <a:extLst>
              <a:ext uri="{FF2B5EF4-FFF2-40B4-BE49-F238E27FC236}">
                <a16:creationId xmlns:a16="http://schemas.microsoft.com/office/drawing/2014/main" id="{0E90B751-3338-B9B6-0E54-19A88BF04A87}"/>
              </a:ext>
            </a:extLst>
          </p:cNvPr>
          <p:cNvSpPr txBox="1">
            <a:spLocks/>
          </p:cNvSpPr>
          <p:nvPr/>
        </p:nvSpPr>
        <p:spPr>
          <a:xfrm>
            <a:off x="4781516" y="2547229"/>
            <a:ext cx="756000" cy="153888"/>
          </a:xfrm>
          <a:prstGeom prst="rect">
            <a:avLst/>
          </a:prstGeom>
          <a:noFill/>
          <a:ln w="9525">
            <a:noFill/>
          </a:ln>
        </p:spPr>
        <p:txBody>
          <a:bodyPr vert="horz" wrap="square" lIns="0" tIns="0" rIns="0" bIns="0" rtlCol="0" anchor="t">
            <a:spAutoFit/>
          </a:bodyPr>
          <a:lstStyle/>
          <a:p>
            <a:pPr>
              <a:buSzPct val="100000"/>
              <a:buFont typeface=""/>
            </a:pPr>
            <a:r>
              <a:rPr lang="en-US" sz="1000" err="1">
                <a:sym typeface="+mn-lt"/>
              </a:rPr>
              <a:t>Novatek</a:t>
            </a:r>
            <a:endParaRPr lang="en-US" sz="1000">
              <a:sym typeface="+mn-lt"/>
            </a:endParaRPr>
          </a:p>
        </p:txBody>
      </p:sp>
      <p:sp>
        <p:nvSpPr>
          <p:cNvPr id="95" name="RBContent41">
            <a:extLst>
              <a:ext uri="{FF2B5EF4-FFF2-40B4-BE49-F238E27FC236}">
                <a16:creationId xmlns:a16="http://schemas.microsoft.com/office/drawing/2014/main" id="{B0BAFB80-2836-238D-A654-BC6E676AA455}"/>
              </a:ext>
            </a:extLst>
          </p:cNvPr>
          <p:cNvSpPr txBox="1">
            <a:spLocks/>
          </p:cNvSpPr>
          <p:nvPr/>
        </p:nvSpPr>
        <p:spPr>
          <a:xfrm>
            <a:off x="6224330" y="2547229"/>
            <a:ext cx="756000" cy="153888"/>
          </a:xfrm>
          <a:prstGeom prst="rect">
            <a:avLst/>
          </a:prstGeom>
          <a:noFill/>
          <a:ln w="9525">
            <a:noFill/>
          </a:ln>
        </p:spPr>
        <p:txBody>
          <a:bodyPr vert="horz" wrap="square" lIns="0" tIns="0" rIns="0" bIns="0" rtlCol="0">
            <a:spAutoFit/>
          </a:bodyPr>
          <a:lstStyle/>
          <a:p>
            <a:pPr marL="0" lvl="1">
              <a:spcBef>
                <a:spcPts val="300"/>
              </a:spcBef>
              <a:buSzPct val="100000"/>
            </a:pPr>
            <a:r>
              <a:rPr lang="en-US" sz="1000">
                <a:sym typeface="+mn-lt"/>
              </a:rPr>
              <a:t>Arctic LNG 2</a:t>
            </a:r>
          </a:p>
        </p:txBody>
      </p:sp>
      <p:sp>
        <p:nvSpPr>
          <p:cNvPr id="96" name="RBContent41">
            <a:extLst>
              <a:ext uri="{FF2B5EF4-FFF2-40B4-BE49-F238E27FC236}">
                <a16:creationId xmlns:a16="http://schemas.microsoft.com/office/drawing/2014/main" id="{C8B6601B-0BEC-01E2-2D64-FB32DB5DD346}"/>
              </a:ext>
            </a:extLst>
          </p:cNvPr>
          <p:cNvSpPr txBox="1">
            <a:spLocks/>
          </p:cNvSpPr>
          <p:nvPr/>
        </p:nvSpPr>
        <p:spPr>
          <a:xfrm>
            <a:off x="8195121" y="2547229"/>
            <a:ext cx="720000" cy="153888"/>
          </a:xfrm>
          <a:prstGeom prst="rect">
            <a:avLst/>
          </a:prstGeom>
          <a:noFill/>
          <a:ln w="9525">
            <a:noFill/>
          </a:ln>
        </p:spPr>
        <p:txBody>
          <a:bodyPr vert="horz" wrap="square" lIns="0" tIns="0" rIns="108000" bIns="0" rtlCol="0">
            <a:spAutoFit/>
          </a:bodyPr>
          <a:lstStyle/>
          <a:p>
            <a:pPr marL="0" lvl="1" algn="r">
              <a:spcBef>
                <a:spcPts val="300"/>
              </a:spcBef>
              <a:buSzPct val="100000"/>
            </a:pPr>
            <a:r>
              <a:rPr lang="en-US" sz="1000">
                <a:sym typeface="+mn-lt"/>
              </a:rPr>
              <a:t>2025</a:t>
            </a:r>
          </a:p>
        </p:txBody>
      </p:sp>
      <p:pic>
        <p:nvPicPr>
          <p:cNvPr id="97" name="Graphic 168">
            <a:extLst>
              <a:ext uri="{FF2B5EF4-FFF2-40B4-BE49-F238E27FC236}">
                <a16:creationId xmlns:a16="http://schemas.microsoft.com/office/drawing/2014/main" id="{9A21A95B-6B76-8C19-9106-902DB9E3BFA6}"/>
              </a:ext>
            </a:extLst>
          </p:cNvPr>
          <p:cNvPicPr>
            <a:picLocks/>
          </p:cNvPicPr>
          <p:nvPr/>
        </p:nvPicPr>
        <p:blipFill>
          <a:blip r:embed="rId36">
            <a:extLst>
              <a:ext uri="{96DAC541-7B7A-43D3-8B79-37D633B846F1}">
                <asvg:svgBlip xmlns:asvg="http://schemas.microsoft.com/office/drawing/2016/SVG/main" r:embed="rId37"/>
              </a:ext>
            </a:extLst>
          </a:blip>
          <a:stretch>
            <a:fillRect/>
          </a:stretch>
        </p:blipFill>
        <p:spPr>
          <a:xfrm>
            <a:off x="5747063" y="2490313"/>
            <a:ext cx="267722" cy="267722"/>
          </a:xfrm>
          <a:prstGeom prst="rect">
            <a:avLst/>
          </a:prstGeom>
        </p:spPr>
      </p:pic>
      <p:sp>
        <p:nvSpPr>
          <p:cNvPr id="98" name="Title3434">
            <a:extLst>
              <a:ext uri="{FF2B5EF4-FFF2-40B4-BE49-F238E27FC236}">
                <a16:creationId xmlns:a16="http://schemas.microsoft.com/office/drawing/2014/main" id="{6E379188-A11E-25AA-34BC-616A927234B0}"/>
              </a:ext>
            </a:extLst>
          </p:cNvPr>
          <p:cNvSpPr txBox="1">
            <a:spLocks/>
          </p:cNvSpPr>
          <p:nvPr/>
        </p:nvSpPr>
        <p:spPr>
          <a:xfrm>
            <a:off x="4781516" y="3855456"/>
            <a:ext cx="756000" cy="153888"/>
          </a:xfrm>
          <a:prstGeom prst="rect">
            <a:avLst/>
          </a:prstGeom>
          <a:noFill/>
          <a:ln w="9525">
            <a:noFill/>
          </a:ln>
        </p:spPr>
        <p:txBody>
          <a:bodyPr vert="horz" wrap="square" lIns="0" tIns="0" rIns="0" bIns="0" rtlCol="0" anchor="t">
            <a:spAutoFit/>
          </a:bodyPr>
          <a:lstStyle/>
          <a:p>
            <a:pPr>
              <a:buSzPct val="100000"/>
              <a:buFont typeface=""/>
            </a:pPr>
            <a:r>
              <a:rPr lang="en-US" sz="1000" err="1">
                <a:sym typeface="+mn-lt"/>
              </a:rPr>
              <a:t>QatarEnergy</a:t>
            </a:r>
            <a:endParaRPr lang="en-US" sz="1000">
              <a:sym typeface="+mn-lt"/>
            </a:endParaRPr>
          </a:p>
        </p:txBody>
      </p:sp>
      <p:sp>
        <p:nvSpPr>
          <p:cNvPr id="99" name="RBContent41">
            <a:extLst>
              <a:ext uri="{FF2B5EF4-FFF2-40B4-BE49-F238E27FC236}">
                <a16:creationId xmlns:a16="http://schemas.microsoft.com/office/drawing/2014/main" id="{C222CD0F-3AE5-0671-CC94-2C570BCBA5FF}"/>
              </a:ext>
            </a:extLst>
          </p:cNvPr>
          <p:cNvSpPr txBox="1">
            <a:spLocks/>
          </p:cNvSpPr>
          <p:nvPr/>
        </p:nvSpPr>
        <p:spPr>
          <a:xfrm>
            <a:off x="6224330" y="3778512"/>
            <a:ext cx="756000" cy="307777"/>
          </a:xfrm>
          <a:prstGeom prst="rect">
            <a:avLst/>
          </a:prstGeom>
          <a:noFill/>
          <a:ln w="9525">
            <a:noFill/>
          </a:ln>
        </p:spPr>
        <p:txBody>
          <a:bodyPr vert="horz" wrap="square" lIns="0" tIns="0" rIns="0" bIns="0" rtlCol="0">
            <a:spAutoFit/>
          </a:bodyPr>
          <a:lstStyle/>
          <a:p>
            <a:pPr marL="0" lvl="1">
              <a:spcBef>
                <a:spcPts val="300"/>
              </a:spcBef>
              <a:buSzPct val="100000"/>
            </a:pPr>
            <a:r>
              <a:rPr lang="en-US" sz="1000">
                <a:sym typeface="+mn-lt"/>
              </a:rPr>
              <a:t>North Field Exp. Project</a:t>
            </a:r>
          </a:p>
        </p:txBody>
      </p:sp>
      <p:sp>
        <p:nvSpPr>
          <p:cNvPr id="100" name="RBContent41">
            <a:extLst>
              <a:ext uri="{FF2B5EF4-FFF2-40B4-BE49-F238E27FC236}">
                <a16:creationId xmlns:a16="http://schemas.microsoft.com/office/drawing/2014/main" id="{B12D501B-F2FB-2005-037C-D549AC86D9A6}"/>
              </a:ext>
            </a:extLst>
          </p:cNvPr>
          <p:cNvSpPr txBox="1">
            <a:spLocks/>
          </p:cNvSpPr>
          <p:nvPr/>
        </p:nvSpPr>
        <p:spPr>
          <a:xfrm>
            <a:off x="8195121" y="3855456"/>
            <a:ext cx="720000" cy="153888"/>
          </a:xfrm>
          <a:prstGeom prst="rect">
            <a:avLst/>
          </a:prstGeom>
          <a:noFill/>
          <a:ln w="9525">
            <a:noFill/>
          </a:ln>
        </p:spPr>
        <p:txBody>
          <a:bodyPr vert="horz" wrap="square" lIns="0" tIns="0" rIns="108000" bIns="0" rtlCol="0">
            <a:spAutoFit/>
          </a:bodyPr>
          <a:lstStyle/>
          <a:p>
            <a:pPr marL="0" lvl="1" algn="r">
              <a:spcBef>
                <a:spcPts val="300"/>
              </a:spcBef>
              <a:buSzPct val="100000"/>
            </a:pPr>
            <a:r>
              <a:rPr lang="en-US" sz="1000">
                <a:sym typeface="+mn-lt"/>
              </a:rPr>
              <a:t>2025</a:t>
            </a:r>
          </a:p>
        </p:txBody>
      </p:sp>
      <p:pic>
        <p:nvPicPr>
          <p:cNvPr id="101" name="Graphic 169">
            <a:extLst>
              <a:ext uri="{FF2B5EF4-FFF2-40B4-BE49-F238E27FC236}">
                <a16:creationId xmlns:a16="http://schemas.microsoft.com/office/drawing/2014/main" id="{6CE599AA-8A54-3C7A-93E3-EDDF26F66E79}"/>
              </a:ext>
            </a:extLst>
          </p:cNvPr>
          <p:cNvPicPr>
            <a:picLocks/>
          </p:cNvPicPr>
          <p:nvPr/>
        </p:nvPicPr>
        <p:blipFill>
          <a:blip r:embed="rId38">
            <a:extLst>
              <a:ext uri="{96DAC541-7B7A-43D3-8B79-37D633B846F1}">
                <asvg:svgBlip xmlns:asvg="http://schemas.microsoft.com/office/drawing/2016/SVG/main" r:embed="rId39"/>
              </a:ext>
            </a:extLst>
          </a:blip>
          <a:stretch>
            <a:fillRect/>
          </a:stretch>
        </p:blipFill>
        <p:spPr>
          <a:xfrm>
            <a:off x="5747063" y="3797188"/>
            <a:ext cx="267722" cy="270424"/>
          </a:xfrm>
          <a:prstGeom prst="rect">
            <a:avLst/>
          </a:prstGeom>
        </p:spPr>
      </p:pic>
      <p:sp>
        <p:nvSpPr>
          <p:cNvPr id="102" name="Title3737">
            <a:extLst>
              <a:ext uri="{FF2B5EF4-FFF2-40B4-BE49-F238E27FC236}">
                <a16:creationId xmlns:a16="http://schemas.microsoft.com/office/drawing/2014/main" id="{7D6BCC7C-440C-CFC0-6B87-0CF3BE14EF55}"/>
              </a:ext>
            </a:extLst>
          </p:cNvPr>
          <p:cNvSpPr txBox="1">
            <a:spLocks/>
          </p:cNvSpPr>
          <p:nvPr/>
        </p:nvSpPr>
        <p:spPr>
          <a:xfrm>
            <a:off x="4781516" y="4290677"/>
            <a:ext cx="756000" cy="153888"/>
          </a:xfrm>
          <a:prstGeom prst="rect">
            <a:avLst/>
          </a:prstGeom>
          <a:noFill/>
          <a:ln w="9525">
            <a:noFill/>
          </a:ln>
        </p:spPr>
        <p:txBody>
          <a:bodyPr vert="horz" wrap="square" lIns="0" tIns="0" rIns="0" bIns="0" rtlCol="0" anchor="t">
            <a:spAutoFit/>
          </a:bodyPr>
          <a:lstStyle/>
          <a:p>
            <a:pPr>
              <a:buSzPct val="100000"/>
              <a:buFont typeface=""/>
            </a:pPr>
            <a:r>
              <a:rPr lang="en-US" sz="1000">
                <a:sym typeface="+mn-lt"/>
              </a:rPr>
              <a:t>RWE</a:t>
            </a:r>
          </a:p>
        </p:txBody>
      </p:sp>
      <p:sp>
        <p:nvSpPr>
          <p:cNvPr id="103" name="RBContent41">
            <a:extLst>
              <a:ext uri="{FF2B5EF4-FFF2-40B4-BE49-F238E27FC236}">
                <a16:creationId xmlns:a16="http://schemas.microsoft.com/office/drawing/2014/main" id="{7FA00403-C6DE-F895-A20D-32DAA956230A}"/>
              </a:ext>
            </a:extLst>
          </p:cNvPr>
          <p:cNvSpPr txBox="1">
            <a:spLocks/>
          </p:cNvSpPr>
          <p:nvPr/>
        </p:nvSpPr>
        <p:spPr>
          <a:xfrm>
            <a:off x="6224330" y="4213733"/>
            <a:ext cx="756000" cy="307777"/>
          </a:xfrm>
          <a:prstGeom prst="rect">
            <a:avLst/>
          </a:prstGeom>
          <a:noFill/>
          <a:ln w="9525">
            <a:noFill/>
          </a:ln>
        </p:spPr>
        <p:txBody>
          <a:bodyPr vert="horz" wrap="square" lIns="0" tIns="0" rIns="0" bIns="0" rtlCol="0">
            <a:spAutoFit/>
          </a:bodyPr>
          <a:lstStyle/>
          <a:p>
            <a:pPr marL="0" lvl="1">
              <a:spcBef>
                <a:spcPts val="300"/>
              </a:spcBef>
              <a:buSzPct val="100000"/>
            </a:pPr>
            <a:r>
              <a:rPr lang="en-US" sz="1000">
                <a:sym typeface="+mn-lt"/>
              </a:rPr>
              <a:t>German LNG Terminal</a:t>
            </a:r>
          </a:p>
        </p:txBody>
      </p:sp>
      <p:sp>
        <p:nvSpPr>
          <p:cNvPr id="104" name="RBContent41">
            <a:extLst>
              <a:ext uri="{FF2B5EF4-FFF2-40B4-BE49-F238E27FC236}">
                <a16:creationId xmlns:a16="http://schemas.microsoft.com/office/drawing/2014/main" id="{9C6907D6-AD29-20AB-FBCC-8AEB3E08C17B}"/>
              </a:ext>
            </a:extLst>
          </p:cNvPr>
          <p:cNvSpPr txBox="1">
            <a:spLocks/>
          </p:cNvSpPr>
          <p:nvPr/>
        </p:nvSpPr>
        <p:spPr>
          <a:xfrm>
            <a:off x="8195121" y="4290677"/>
            <a:ext cx="720000" cy="153888"/>
          </a:xfrm>
          <a:prstGeom prst="rect">
            <a:avLst/>
          </a:prstGeom>
          <a:noFill/>
          <a:ln w="9525">
            <a:noFill/>
          </a:ln>
        </p:spPr>
        <p:txBody>
          <a:bodyPr vert="horz" wrap="square" lIns="0" tIns="0" rIns="108000" bIns="0" rtlCol="0">
            <a:spAutoFit/>
          </a:bodyPr>
          <a:lstStyle/>
          <a:p>
            <a:pPr marL="0" lvl="1" algn="r">
              <a:spcBef>
                <a:spcPts val="300"/>
              </a:spcBef>
              <a:buSzPct val="100000"/>
            </a:pPr>
            <a:r>
              <a:rPr lang="en-US" sz="1000">
                <a:sym typeface="+mn-lt"/>
              </a:rPr>
              <a:t>2024</a:t>
            </a:r>
          </a:p>
        </p:txBody>
      </p:sp>
      <p:pic>
        <p:nvPicPr>
          <p:cNvPr id="105" name="Graphic 170">
            <a:extLst>
              <a:ext uri="{FF2B5EF4-FFF2-40B4-BE49-F238E27FC236}">
                <a16:creationId xmlns:a16="http://schemas.microsoft.com/office/drawing/2014/main" id="{98538F11-AF14-4355-9F89-60650320E77C}"/>
              </a:ext>
            </a:extLst>
          </p:cNvPr>
          <p:cNvPicPr>
            <a:picLocks/>
          </p:cNvPicPr>
          <p:nvPr/>
        </p:nvPicPr>
        <p:blipFill>
          <a:blip r:embed="rId40">
            <a:extLst>
              <a:ext uri="{96DAC541-7B7A-43D3-8B79-37D633B846F1}">
                <asvg:svgBlip xmlns:asvg="http://schemas.microsoft.com/office/drawing/2016/SVG/main" r:embed="rId41"/>
              </a:ext>
            </a:extLst>
          </a:blip>
          <a:stretch>
            <a:fillRect/>
          </a:stretch>
        </p:blipFill>
        <p:spPr>
          <a:xfrm>
            <a:off x="5747063" y="4233761"/>
            <a:ext cx="267722" cy="267722"/>
          </a:xfrm>
          <a:prstGeom prst="rect">
            <a:avLst/>
          </a:prstGeom>
        </p:spPr>
      </p:pic>
      <p:sp>
        <p:nvSpPr>
          <p:cNvPr id="106" name="Title2828">
            <a:extLst>
              <a:ext uri="{FF2B5EF4-FFF2-40B4-BE49-F238E27FC236}">
                <a16:creationId xmlns:a16="http://schemas.microsoft.com/office/drawing/2014/main" id="{96BCBC4D-9693-0478-2382-9308AEA72529}"/>
              </a:ext>
            </a:extLst>
          </p:cNvPr>
          <p:cNvSpPr txBox="1">
            <a:spLocks/>
          </p:cNvSpPr>
          <p:nvPr/>
        </p:nvSpPr>
        <p:spPr>
          <a:xfrm>
            <a:off x="4781516" y="2985014"/>
            <a:ext cx="756000" cy="153888"/>
          </a:xfrm>
          <a:prstGeom prst="rect">
            <a:avLst/>
          </a:prstGeom>
          <a:noFill/>
          <a:ln w="9525">
            <a:noFill/>
          </a:ln>
        </p:spPr>
        <p:txBody>
          <a:bodyPr vert="horz" wrap="square" lIns="0" tIns="0" rIns="0" bIns="0" rtlCol="0" anchor="t">
            <a:spAutoFit/>
          </a:bodyPr>
          <a:lstStyle/>
          <a:p>
            <a:pPr>
              <a:buSzPct val="100000"/>
              <a:buFont typeface=""/>
            </a:pPr>
            <a:r>
              <a:rPr lang="en-US" sz="1000">
                <a:sym typeface="+mn-lt"/>
              </a:rPr>
              <a:t>Total, ENH</a:t>
            </a:r>
          </a:p>
        </p:txBody>
      </p:sp>
      <p:sp>
        <p:nvSpPr>
          <p:cNvPr id="107" name="RBContent41">
            <a:extLst>
              <a:ext uri="{FF2B5EF4-FFF2-40B4-BE49-F238E27FC236}">
                <a16:creationId xmlns:a16="http://schemas.microsoft.com/office/drawing/2014/main" id="{E319E303-8C55-36C4-58DC-C710C09EDF11}"/>
              </a:ext>
            </a:extLst>
          </p:cNvPr>
          <p:cNvSpPr txBox="1">
            <a:spLocks/>
          </p:cNvSpPr>
          <p:nvPr/>
        </p:nvSpPr>
        <p:spPr>
          <a:xfrm>
            <a:off x="6224330" y="2908070"/>
            <a:ext cx="756000" cy="307777"/>
          </a:xfrm>
          <a:prstGeom prst="rect">
            <a:avLst/>
          </a:prstGeom>
          <a:noFill/>
          <a:ln w="9525">
            <a:noFill/>
          </a:ln>
        </p:spPr>
        <p:txBody>
          <a:bodyPr vert="horz" wrap="square" lIns="0" tIns="0" rIns="0" bIns="0" rtlCol="0">
            <a:spAutoFit/>
          </a:bodyPr>
          <a:lstStyle/>
          <a:p>
            <a:pPr marL="0" lvl="1">
              <a:spcBef>
                <a:spcPts val="300"/>
              </a:spcBef>
              <a:buSzPct val="100000"/>
            </a:pPr>
            <a:r>
              <a:rPr lang="en-US" sz="1000">
                <a:sym typeface="+mn-lt"/>
              </a:rPr>
              <a:t>Mozambique LNG</a:t>
            </a:r>
          </a:p>
        </p:txBody>
      </p:sp>
      <p:sp>
        <p:nvSpPr>
          <p:cNvPr id="108" name="RBContent41">
            <a:extLst>
              <a:ext uri="{FF2B5EF4-FFF2-40B4-BE49-F238E27FC236}">
                <a16:creationId xmlns:a16="http://schemas.microsoft.com/office/drawing/2014/main" id="{31A233A1-FC03-86EE-BAED-4E97F1E5FE65}"/>
              </a:ext>
            </a:extLst>
          </p:cNvPr>
          <p:cNvSpPr txBox="1">
            <a:spLocks/>
          </p:cNvSpPr>
          <p:nvPr/>
        </p:nvSpPr>
        <p:spPr>
          <a:xfrm>
            <a:off x="8195121" y="2985014"/>
            <a:ext cx="720000" cy="153888"/>
          </a:xfrm>
          <a:prstGeom prst="rect">
            <a:avLst/>
          </a:prstGeom>
          <a:noFill/>
          <a:ln w="9525">
            <a:noFill/>
          </a:ln>
        </p:spPr>
        <p:txBody>
          <a:bodyPr vert="horz" wrap="square" lIns="0" tIns="0" rIns="108000" bIns="0" rtlCol="0">
            <a:spAutoFit/>
          </a:bodyPr>
          <a:lstStyle/>
          <a:p>
            <a:pPr marL="0" lvl="1" algn="r">
              <a:spcBef>
                <a:spcPts val="300"/>
              </a:spcBef>
              <a:buSzPct val="100000"/>
            </a:pPr>
            <a:r>
              <a:rPr lang="en-US" sz="1000">
                <a:sym typeface="+mn-lt"/>
              </a:rPr>
              <a:t>2024</a:t>
            </a:r>
          </a:p>
        </p:txBody>
      </p:sp>
      <p:pic>
        <p:nvPicPr>
          <p:cNvPr id="109" name="Graphic 171">
            <a:extLst>
              <a:ext uri="{FF2B5EF4-FFF2-40B4-BE49-F238E27FC236}">
                <a16:creationId xmlns:a16="http://schemas.microsoft.com/office/drawing/2014/main" id="{0D79E1EB-30D4-0FC1-2A54-69399B4B4DD2}"/>
              </a:ext>
            </a:extLst>
          </p:cNvPr>
          <p:cNvPicPr>
            <a:picLocks/>
          </p:cNvPicPr>
          <p:nvPr/>
        </p:nvPicPr>
        <p:blipFill>
          <a:blip r:embed="rId42">
            <a:extLst>
              <a:ext uri="{96DAC541-7B7A-43D3-8B79-37D633B846F1}">
                <asvg:svgBlip xmlns:asvg="http://schemas.microsoft.com/office/drawing/2016/SVG/main" r:embed="rId43"/>
              </a:ext>
            </a:extLst>
          </a:blip>
          <a:stretch>
            <a:fillRect/>
          </a:stretch>
        </p:blipFill>
        <p:spPr>
          <a:xfrm>
            <a:off x="5747063" y="2928098"/>
            <a:ext cx="267722" cy="267722"/>
          </a:xfrm>
          <a:prstGeom prst="rect">
            <a:avLst/>
          </a:prstGeom>
        </p:spPr>
      </p:pic>
      <p:grpSp>
        <p:nvGrpSpPr>
          <p:cNvPr id="110" name="Gruppieren 34">
            <a:extLst>
              <a:ext uri="{FF2B5EF4-FFF2-40B4-BE49-F238E27FC236}">
                <a16:creationId xmlns:a16="http://schemas.microsoft.com/office/drawing/2014/main" id="{EEA812A0-8BBC-E43C-DB69-88257AA8E8FD}"/>
              </a:ext>
            </a:extLst>
          </p:cNvPr>
          <p:cNvGrpSpPr/>
          <p:nvPr/>
        </p:nvGrpSpPr>
        <p:grpSpPr>
          <a:xfrm>
            <a:off x="280284" y="1701995"/>
            <a:ext cx="4068000" cy="238399"/>
            <a:chOff x="5653175" y="1216534"/>
            <a:chExt cx="3240000" cy="238399"/>
          </a:xfrm>
        </p:grpSpPr>
        <p:cxnSp>
          <p:nvCxnSpPr>
            <p:cNvPr id="111" name="HorizontalLine7">
              <a:extLst>
                <a:ext uri="{FF2B5EF4-FFF2-40B4-BE49-F238E27FC236}">
                  <a16:creationId xmlns:a16="http://schemas.microsoft.com/office/drawing/2014/main" id="{0465AE4B-F1E5-C7BC-1CE2-53BD5733D091}"/>
                </a:ext>
              </a:extLst>
            </p:cNvPr>
            <p:cNvCxnSpPr>
              <a:cxnSpLocks/>
            </p:cNvCxnSpPr>
            <p:nvPr/>
          </p:nvCxnSpPr>
          <p:spPr>
            <a:xfrm>
              <a:off x="5653175" y="1454932"/>
              <a:ext cx="3240000"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itle66">
              <a:extLst>
                <a:ext uri="{FF2B5EF4-FFF2-40B4-BE49-F238E27FC236}">
                  <a16:creationId xmlns:a16="http://schemas.microsoft.com/office/drawing/2014/main" id="{36D9AEA2-4CF5-82A6-E00F-EDE1D82BB616}"/>
                </a:ext>
              </a:extLst>
            </p:cNvPr>
            <p:cNvSpPr txBox="1">
              <a:spLocks/>
            </p:cNvSpPr>
            <p:nvPr/>
          </p:nvSpPr>
          <p:spPr>
            <a:xfrm>
              <a:off x="5653175" y="1216534"/>
              <a:ext cx="3240000" cy="238399"/>
            </a:xfrm>
            <a:prstGeom prst="rect">
              <a:avLst/>
            </a:prstGeom>
            <a:noFill/>
            <a:ln w="9525">
              <a:noFill/>
            </a:ln>
          </p:spPr>
          <p:txBody>
            <a:bodyPr vert="horz" wrap="square" lIns="0" tIns="0" rIns="0" bIns="53213" rtlCol="0" anchor="b">
              <a:spAutoFit/>
            </a:bodyPr>
            <a:lstStyle/>
            <a:p>
              <a:r>
                <a:rPr lang="en-US" sz="1200" b="1">
                  <a:sym typeface="+mn-lt"/>
                </a:rPr>
                <a:t>Cumulated LNG investment by region </a:t>
              </a:r>
              <a:r>
                <a:rPr lang="en-US" sz="1200">
                  <a:sym typeface="+mn-lt"/>
                </a:rPr>
                <a:t>[2021-'50; USD bn]</a:t>
              </a:r>
            </a:p>
          </p:txBody>
        </p:sp>
      </p:grpSp>
      <p:grpSp>
        <p:nvGrpSpPr>
          <p:cNvPr id="113" name="Gruppieren 38">
            <a:extLst>
              <a:ext uri="{FF2B5EF4-FFF2-40B4-BE49-F238E27FC236}">
                <a16:creationId xmlns:a16="http://schemas.microsoft.com/office/drawing/2014/main" id="{46004DD6-D69C-7F92-3CC0-9449F011E027}"/>
              </a:ext>
            </a:extLst>
          </p:cNvPr>
          <p:cNvGrpSpPr/>
          <p:nvPr/>
        </p:nvGrpSpPr>
        <p:grpSpPr>
          <a:xfrm>
            <a:off x="4781516" y="1665420"/>
            <a:ext cx="4133605" cy="238399"/>
            <a:chOff x="5653175" y="1216534"/>
            <a:chExt cx="3240000" cy="238399"/>
          </a:xfrm>
        </p:grpSpPr>
        <p:cxnSp>
          <p:nvCxnSpPr>
            <p:cNvPr id="114" name="HorizontalLine7">
              <a:extLst>
                <a:ext uri="{FF2B5EF4-FFF2-40B4-BE49-F238E27FC236}">
                  <a16:creationId xmlns:a16="http://schemas.microsoft.com/office/drawing/2014/main" id="{F2D1FE5C-92A4-F8DD-F37C-60E9F027A973}"/>
                </a:ext>
              </a:extLst>
            </p:cNvPr>
            <p:cNvCxnSpPr>
              <a:cxnSpLocks/>
            </p:cNvCxnSpPr>
            <p:nvPr/>
          </p:nvCxnSpPr>
          <p:spPr>
            <a:xfrm>
              <a:off x="5653175" y="1454932"/>
              <a:ext cx="3240000"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5" name="Title66">
              <a:extLst>
                <a:ext uri="{FF2B5EF4-FFF2-40B4-BE49-F238E27FC236}">
                  <a16:creationId xmlns:a16="http://schemas.microsoft.com/office/drawing/2014/main" id="{26BB6929-91DA-A27C-29BA-D2C3130DA9D3}"/>
                </a:ext>
              </a:extLst>
            </p:cNvPr>
            <p:cNvSpPr txBox="1">
              <a:spLocks/>
            </p:cNvSpPr>
            <p:nvPr/>
          </p:nvSpPr>
          <p:spPr>
            <a:xfrm>
              <a:off x="5653175" y="1216534"/>
              <a:ext cx="3240000" cy="238399"/>
            </a:xfrm>
            <a:prstGeom prst="rect">
              <a:avLst/>
            </a:prstGeom>
            <a:noFill/>
            <a:ln w="9525">
              <a:noFill/>
            </a:ln>
          </p:spPr>
          <p:txBody>
            <a:bodyPr vert="horz" wrap="square" lIns="0" tIns="0" rIns="0" bIns="53213" rtlCol="0" anchor="b">
              <a:spAutoFit/>
            </a:bodyPr>
            <a:lstStyle/>
            <a:p>
              <a:r>
                <a:rPr lang="en-US" sz="1200" b="1">
                  <a:sym typeface="+mn-lt"/>
                </a:rPr>
                <a:t>Top 5 projects currently under development</a:t>
              </a:r>
            </a:p>
          </p:txBody>
        </p:sp>
      </p:grpSp>
      <p:sp>
        <p:nvSpPr>
          <p:cNvPr id="116" name="TextBox 3">
            <a:extLst>
              <a:ext uri="{FF2B5EF4-FFF2-40B4-BE49-F238E27FC236}">
                <a16:creationId xmlns:a16="http://schemas.microsoft.com/office/drawing/2014/main" id="{0A552104-1B89-9611-4423-ABC7A83384AA}"/>
              </a:ext>
            </a:extLst>
          </p:cNvPr>
          <p:cNvSpPr txBox="1"/>
          <p:nvPr/>
        </p:nvSpPr>
        <p:spPr>
          <a:xfrm>
            <a:off x="190222" y="1404762"/>
            <a:ext cx="7579731" cy="276999"/>
          </a:xfrm>
          <a:prstGeom prst="rect">
            <a:avLst/>
          </a:prstGeom>
          <a:noFill/>
        </p:spPr>
        <p:txBody>
          <a:bodyPr wrap="square">
            <a:spAutoFit/>
          </a:bodyPr>
          <a:lstStyle/>
          <a:p>
            <a:r>
              <a:rPr lang="en-US" sz="1200">
                <a:solidFill>
                  <a:schemeClr val="tx2"/>
                </a:solidFill>
                <a:latin typeface="+mj-lt"/>
                <a:cs typeface="+mj-cs"/>
                <a:sym typeface="+mn-lt"/>
              </a:rPr>
              <a:t>Cumulated LNG investment outlook and major current projects</a:t>
            </a:r>
            <a:endParaRPr lang="en-GB" sz="1200">
              <a:solidFill>
                <a:schemeClr val="tx2"/>
              </a:solidFill>
            </a:endParaRPr>
          </a:p>
        </p:txBody>
      </p:sp>
      <p:sp>
        <p:nvSpPr>
          <p:cNvPr id="117" name="Source">
            <a:extLst>
              <a:ext uri="{FF2B5EF4-FFF2-40B4-BE49-F238E27FC236}">
                <a16:creationId xmlns:a16="http://schemas.microsoft.com/office/drawing/2014/main" id="{092436CC-0275-B8B4-F0B7-59A57D153958}"/>
              </a:ext>
            </a:extLst>
          </p:cNvPr>
          <p:cNvSpPr txBox="1"/>
          <p:nvPr/>
        </p:nvSpPr>
        <p:spPr>
          <a:xfrm>
            <a:off x="7633942" y="1514373"/>
            <a:ext cx="1327286"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dirty="0">
                <a:sym typeface="+mn-lt"/>
              </a:rPr>
              <a:t>Source: Desk research, Roland Berger</a:t>
            </a:r>
          </a:p>
        </p:txBody>
      </p:sp>
    </p:spTree>
    <p:extLst>
      <p:ext uri="{BB962C8B-B14F-4D97-AF65-F5344CB8AC3E}">
        <p14:creationId xmlns:p14="http://schemas.microsoft.com/office/powerpoint/2010/main" val="33857531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5">
            <a:extLst>
              <a:ext uri="{FF2B5EF4-FFF2-40B4-BE49-F238E27FC236}">
                <a16:creationId xmlns:a16="http://schemas.microsoft.com/office/drawing/2014/main" id="{C57A0B68-948F-CBED-97A5-A01371066D12}"/>
              </a:ext>
            </a:extLst>
          </p:cNvPr>
          <p:cNvSpPr>
            <a:spLocks noGrp="1"/>
          </p:cNvSpPr>
          <p:nvPr>
            <p:ph type="title"/>
          </p:nvPr>
        </p:nvSpPr>
        <p:spPr>
          <a:xfrm>
            <a:off x="250825" y="842963"/>
            <a:ext cx="8642350" cy="1101725"/>
          </a:xfrm>
        </p:spPr>
        <p:txBody>
          <a:bodyPr/>
          <a:lstStyle/>
          <a:p>
            <a:pPr>
              <a:lnSpc>
                <a:spcPct val="100000"/>
              </a:lnSpc>
            </a:pPr>
            <a:r>
              <a:rPr lang="en-US" sz="2000" dirty="0"/>
              <a:t>LNG investment peak in 2030 offers short-term opportunities for manufacturers – Largest projects in US and Africa</a:t>
            </a:r>
            <a:endParaRPr lang="it-IT" sz="59500" dirty="0"/>
          </a:p>
        </p:txBody>
      </p:sp>
      <p:graphicFrame>
        <p:nvGraphicFramePr>
          <p:cNvPr id="46" name="Chart 28">
            <a:extLst>
              <a:ext uri="{FF2B5EF4-FFF2-40B4-BE49-F238E27FC236}">
                <a16:creationId xmlns:a16="http://schemas.microsoft.com/office/drawing/2014/main" id="{EC1F8784-B883-700D-DF43-7CB537CD40DF}"/>
              </a:ext>
            </a:extLst>
          </p:cNvPr>
          <p:cNvGraphicFramePr/>
          <p:nvPr>
            <p:custDataLst>
              <p:tags r:id="rId1"/>
            </p:custDataLst>
          </p:nvPr>
        </p:nvGraphicFramePr>
        <p:xfrm>
          <a:off x="528360" y="2051041"/>
          <a:ext cx="3902075" cy="2543175"/>
        </p:xfrm>
        <a:graphic>
          <a:graphicData uri="http://schemas.openxmlformats.org/drawingml/2006/chart">
            <c:chart xmlns:c="http://schemas.openxmlformats.org/drawingml/2006/chart" xmlns:r="http://schemas.openxmlformats.org/officeDocument/2006/relationships" r:id="rId32"/>
          </a:graphicData>
        </a:graphic>
      </p:graphicFrame>
      <p:sp useBgFill="1">
        <p:nvSpPr>
          <p:cNvPr id="47" name="Freeform: Shape 24">
            <a:extLst>
              <a:ext uri="{FF2B5EF4-FFF2-40B4-BE49-F238E27FC236}">
                <a16:creationId xmlns:a16="http://schemas.microsoft.com/office/drawing/2014/main" id="{70856828-44A6-08C3-0346-ACF7CFA18BFE}"/>
              </a:ext>
            </a:extLst>
          </p:cNvPr>
          <p:cNvSpPr/>
          <p:nvPr>
            <p:custDataLst>
              <p:tags r:id="rId2"/>
            </p:custDataLst>
          </p:nvPr>
        </p:nvSpPr>
        <p:spPr bwMode="auto">
          <a:xfrm>
            <a:off x="1807885" y="4438641"/>
            <a:ext cx="96838" cy="146051"/>
          </a:xfrm>
          <a:custGeom>
            <a:avLst/>
            <a:gdLst/>
            <a:ahLst/>
            <a:cxnLst/>
            <a:rect l="0" t="0" r="0" b="0"/>
            <a:pathLst>
              <a:path w="96838" h="146051">
                <a:moveTo>
                  <a:pt x="96837" y="0"/>
                </a:moveTo>
                <a:lnTo>
                  <a:pt x="57150" y="146050"/>
                </a:lnTo>
                <a:lnTo>
                  <a:pt x="0" y="146050"/>
                </a:lnTo>
                <a:lnTo>
                  <a:pt x="39687"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8" name="Freeform: Shape 27">
            <a:extLst>
              <a:ext uri="{FF2B5EF4-FFF2-40B4-BE49-F238E27FC236}">
                <a16:creationId xmlns:a16="http://schemas.microsoft.com/office/drawing/2014/main" id="{D735A20B-87C4-5366-B702-6523C07DA0CB}"/>
              </a:ext>
            </a:extLst>
          </p:cNvPr>
          <p:cNvSpPr/>
          <p:nvPr>
            <p:custDataLst>
              <p:tags r:id="rId3"/>
            </p:custDataLst>
          </p:nvPr>
        </p:nvSpPr>
        <p:spPr bwMode="auto">
          <a:xfrm>
            <a:off x="3054072" y="4438641"/>
            <a:ext cx="96839" cy="146051"/>
          </a:xfrm>
          <a:custGeom>
            <a:avLst/>
            <a:gdLst/>
            <a:ahLst/>
            <a:cxnLst/>
            <a:rect l="0" t="0" r="0" b="0"/>
            <a:pathLst>
              <a:path w="96839" h="146051">
                <a:moveTo>
                  <a:pt x="96838" y="0"/>
                </a:moveTo>
                <a:lnTo>
                  <a:pt x="57150" y="146050"/>
                </a:lnTo>
                <a:lnTo>
                  <a:pt x="0" y="146050"/>
                </a:lnTo>
                <a:lnTo>
                  <a:pt x="3968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Shape 22">
            <a:extLst>
              <a:ext uri="{FF2B5EF4-FFF2-40B4-BE49-F238E27FC236}">
                <a16:creationId xmlns:a16="http://schemas.microsoft.com/office/drawing/2014/main" id="{076A5832-1CB3-665E-5308-2F5BB5A8829F}"/>
              </a:ext>
            </a:extLst>
          </p:cNvPr>
          <p:cNvSpPr/>
          <p:nvPr>
            <p:custDataLst>
              <p:tags r:id="rId4"/>
            </p:custDataLst>
          </p:nvPr>
        </p:nvSpPr>
        <p:spPr bwMode="auto">
          <a:xfrm>
            <a:off x="1807885" y="4438641"/>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0" name="Freeform: Shape 23">
            <a:extLst>
              <a:ext uri="{FF2B5EF4-FFF2-40B4-BE49-F238E27FC236}">
                <a16:creationId xmlns:a16="http://schemas.microsoft.com/office/drawing/2014/main" id="{B9E1BF90-6B14-439B-5258-14FD3160DB39}"/>
              </a:ext>
            </a:extLst>
          </p:cNvPr>
          <p:cNvSpPr/>
          <p:nvPr>
            <p:custDataLst>
              <p:tags r:id="rId5"/>
            </p:custDataLst>
          </p:nvPr>
        </p:nvSpPr>
        <p:spPr bwMode="auto">
          <a:xfrm>
            <a:off x="1865035" y="4438641"/>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Freeform: Shape 25">
            <a:extLst>
              <a:ext uri="{FF2B5EF4-FFF2-40B4-BE49-F238E27FC236}">
                <a16:creationId xmlns:a16="http://schemas.microsoft.com/office/drawing/2014/main" id="{08D82F1A-573E-5167-C6C4-CB28325AAC94}"/>
              </a:ext>
            </a:extLst>
          </p:cNvPr>
          <p:cNvSpPr/>
          <p:nvPr>
            <p:custDataLst>
              <p:tags r:id="rId6"/>
            </p:custDataLst>
          </p:nvPr>
        </p:nvSpPr>
        <p:spPr bwMode="auto">
          <a:xfrm>
            <a:off x="3054072" y="4438641"/>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Freeform: Shape 26">
            <a:extLst>
              <a:ext uri="{FF2B5EF4-FFF2-40B4-BE49-F238E27FC236}">
                <a16:creationId xmlns:a16="http://schemas.microsoft.com/office/drawing/2014/main" id="{92A4BD23-5FDF-56F3-955C-4291A4815D17}"/>
              </a:ext>
            </a:extLst>
          </p:cNvPr>
          <p:cNvSpPr/>
          <p:nvPr>
            <p:custDataLst>
              <p:tags r:id="rId7"/>
            </p:custDataLst>
          </p:nvPr>
        </p:nvSpPr>
        <p:spPr bwMode="auto">
          <a:xfrm>
            <a:off x="3111222" y="4438641"/>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Text Placeholder">
            <a:extLst>
              <a:ext uri="{FF2B5EF4-FFF2-40B4-BE49-F238E27FC236}">
                <a16:creationId xmlns:a16="http://schemas.microsoft.com/office/drawing/2014/main" id="{C6AA405F-4E40-06DD-A244-C11B2DA9F707}"/>
              </a:ext>
            </a:extLst>
          </p:cNvPr>
          <p:cNvSpPr>
            <a:spLocks noGrp="1"/>
          </p:cNvSpPr>
          <p:nvPr>
            <p:custDataLst>
              <p:tags r:id="rId8"/>
            </p:custDataLst>
          </p:nvPr>
        </p:nvSpPr>
        <p:spPr bwMode="gray">
          <a:xfrm>
            <a:off x="1088747" y="3911591"/>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D3D7C9DC-61F9-4B71-9526-231905B5EA46}" type="datetime'''''''''''''''''4''''''''''''''''4''''''%'''''">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44%</a:t>
            </a:fld>
            <a:endParaRPr lang="en-US" sz="1000">
              <a:solidFill>
                <a:schemeClr val="bg1"/>
              </a:solidFill>
              <a:sym typeface="Arial" panose="020B0604020202020204" pitchFamily="34" charset="0"/>
            </a:endParaRPr>
          </a:p>
        </p:txBody>
      </p:sp>
      <p:sp>
        <p:nvSpPr>
          <p:cNvPr id="54" name="Text Placeholder">
            <a:extLst>
              <a:ext uri="{FF2B5EF4-FFF2-40B4-BE49-F238E27FC236}">
                <a16:creationId xmlns:a16="http://schemas.microsoft.com/office/drawing/2014/main" id="{974970A1-6283-B7CA-6A79-87C79D4CDDD2}"/>
              </a:ext>
            </a:extLst>
          </p:cNvPr>
          <p:cNvSpPr>
            <a:spLocks noGrp="1"/>
          </p:cNvSpPr>
          <p:nvPr>
            <p:custDataLst>
              <p:tags r:id="rId9"/>
            </p:custDataLst>
          </p:nvPr>
        </p:nvSpPr>
        <p:spPr bwMode="gray">
          <a:xfrm>
            <a:off x="1088747" y="3127366"/>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A01FEE75-09E8-40DF-A580-B4B6A7C6011F}" type="datetime'2''''''''''''2''''''''''%'''''''''''''''''''''''''''''''''''''">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22%</a:t>
            </a:fld>
            <a:endParaRPr lang="en-US" sz="1000">
              <a:solidFill>
                <a:schemeClr val="bg1"/>
              </a:solidFill>
              <a:sym typeface="Arial" panose="020B0604020202020204" pitchFamily="34" charset="0"/>
            </a:endParaRPr>
          </a:p>
        </p:txBody>
      </p:sp>
      <p:sp>
        <p:nvSpPr>
          <p:cNvPr id="55" name="Text Placeholder">
            <a:extLst>
              <a:ext uri="{FF2B5EF4-FFF2-40B4-BE49-F238E27FC236}">
                <a16:creationId xmlns:a16="http://schemas.microsoft.com/office/drawing/2014/main" id="{BF0D3D94-C594-5005-FDC3-6FF896F3277B}"/>
              </a:ext>
            </a:extLst>
          </p:cNvPr>
          <p:cNvSpPr>
            <a:spLocks noGrp="1"/>
          </p:cNvSpPr>
          <p:nvPr>
            <p:custDataLst>
              <p:tags r:id="rId10"/>
            </p:custDataLst>
          </p:nvPr>
        </p:nvSpPr>
        <p:spPr bwMode="gray">
          <a:xfrm>
            <a:off x="1088747" y="2698741"/>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DEBB7D5D-9FE0-4CE1-A0F8-E3558BA90C2F}" type="datetime'1''''''''4''''''''%'''''''''''''''''''">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14%</a:t>
            </a:fld>
            <a:endParaRPr lang="en-US" sz="1000">
              <a:solidFill>
                <a:schemeClr val="bg1"/>
              </a:solidFill>
              <a:sym typeface="Arial" panose="020B0604020202020204" pitchFamily="34" charset="0"/>
            </a:endParaRPr>
          </a:p>
        </p:txBody>
      </p:sp>
      <p:sp>
        <p:nvSpPr>
          <p:cNvPr id="56" name="Text Placeholder">
            <a:extLst>
              <a:ext uri="{FF2B5EF4-FFF2-40B4-BE49-F238E27FC236}">
                <a16:creationId xmlns:a16="http://schemas.microsoft.com/office/drawing/2014/main" id="{FA2D7B3A-377F-2A5B-8FF9-A59D8ED47E5B}"/>
              </a:ext>
            </a:extLst>
          </p:cNvPr>
          <p:cNvSpPr>
            <a:spLocks noGrp="1"/>
          </p:cNvSpPr>
          <p:nvPr>
            <p:custDataLst>
              <p:tags r:id="rId11"/>
            </p:custDataLst>
          </p:nvPr>
        </p:nvSpPr>
        <p:spPr bwMode="gray">
          <a:xfrm>
            <a:off x="1088747" y="2390766"/>
            <a:ext cx="290513"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3C80A4A7-6DC6-44DC-904D-2B4BB825A6D7}" type="datetime'''''1''''''''''''''''''''2''''''''''''''''''''''''''%'''">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12%</a:t>
            </a:fld>
            <a:endParaRPr lang="en-US" sz="1000">
              <a:solidFill>
                <a:schemeClr val="bg1"/>
              </a:solidFill>
              <a:sym typeface="Arial" panose="020B0604020202020204" pitchFamily="34" charset="0"/>
            </a:endParaRPr>
          </a:p>
        </p:txBody>
      </p:sp>
      <p:sp>
        <p:nvSpPr>
          <p:cNvPr id="57" name="Text Placeholder">
            <a:extLst>
              <a:ext uri="{FF2B5EF4-FFF2-40B4-BE49-F238E27FC236}">
                <a16:creationId xmlns:a16="http://schemas.microsoft.com/office/drawing/2014/main" id="{514B5EC5-1A88-DF62-038C-24D2DFAB6F87}"/>
              </a:ext>
            </a:extLst>
          </p:cNvPr>
          <p:cNvSpPr>
            <a:spLocks noGrp="1"/>
          </p:cNvSpPr>
          <p:nvPr>
            <p:custDataLst>
              <p:tags r:id="rId12"/>
            </p:custDataLst>
          </p:nvPr>
        </p:nvSpPr>
        <p:spPr bwMode="gray">
          <a:xfrm>
            <a:off x="1123672" y="2152641"/>
            <a:ext cx="220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5E36145B-94A9-4A30-8DFD-3FB4A6FC6202}" type="datetime'''''''''''''''''''''''''8''''''''''%'''''''''''">
              <a:rPr lang="en-US" altLang="en-US" sz="1000" smtClean="0">
                <a:sym typeface="Arial" panose="020B0604020202020204" pitchFamily="34" charset="0"/>
              </a:rPr>
              <a:pPr algn="ctr" defTabSz="685800">
                <a:spcBef>
                  <a:spcPct val="0"/>
                </a:spcBef>
                <a:buSzPct val="100000"/>
                <a:buFont typeface="+mn-lt" pitchFamily="34" charset="0"/>
              </a:pPr>
              <a:t>8%</a:t>
            </a:fld>
            <a:endParaRPr lang="en-US" sz="1000">
              <a:sym typeface="Arial" panose="020B0604020202020204" pitchFamily="34" charset="0"/>
            </a:endParaRPr>
          </a:p>
        </p:txBody>
      </p:sp>
      <p:sp>
        <p:nvSpPr>
          <p:cNvPr id="58" name="Text Placeholder">
            <a:extLst>
              <a:ext uri="{FF2B5EF4-FFF2-40B4-BE49-F238E27FC236}">
                <a16:creationId xmlns:a16="http://schemas.microsoft.com/office/drawing/2014/main" id="{E4819F8F-7618-A1B9-DB96-B13594AD6BD5}"/>
              </a:ext>
            </a:extLst>
          </p:cNvPr>
          <p:cNvSpPr>
            <a:spLocks noGrp="1"/>
          </p:cNvSpPr>
          <p:nvPr>
            <p:custDataLst>
              <p:tags r:id="rId13"/>
            </p:custDataLst>
          </p:nvPr>
        </p:nvSpPr>
        <p:spPr bwMode="auto">
          <a:xfrm>
            <a:off x="926822" y="4554529"/>
            <a:ext cx="614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CBB217DC-0118-4E1B-9990-F7F5D3394A25}" type="datetime'''''2''''021''''''''''''''''''-''''''''20''''''''3''''''''''0'">
              <a:rPr lang="en-US" altLang="en-US" sz="1000" smtClean="0">
                <a:sym typeface="Arial" panose="020B0604020202020204" pitchFamily="34" charset="0"/>
              </a:rPr>
              <a:pPr algn="ctr" defTabSz="685800">
                <a:spcBef>
                  <a:spcPct val="0"/>
                </a:spcBef>
                <a:buSzPct val="100000"/>
                <a:buFont typeface="+mn-lt" pitchFamily="34" charset="0"/>
              </a:pPr>
              <a:t>2021-2030</a:t>
            </a:fld>
            <a:endParaRPr lang="de-DE" sz="1000">
              <a:sym typeface="Arial" panose="020B0604020202020204" pitchFamily="34" charset="0"/>
            </a:endParaRPr>
          </a:p>
        </p:txBody>
      </p:sp>
      <p:sp>
        <p:nvSpPr>
          <p:cNvPr id="59" name="Text Placeholder">
            <a:extLst>
              <a:ext uri="{FF2B5EF4-FFF2-40B4-BE49-F238E27FC236}">
                <a16:creationId xmlns:a16="http://schemas.microsoft.com/office/drawing/2014/main" id="{ABA43DFA-0637-9C9F-1D0E-8D3B9CFE14D7}"/>
              </a:ext>
            </a:extLst>
          </p:cNvPr>
          <p:cNvSpPr>
            <a:spLocks noGrp="1"/>
          </p:cNvSpPr>
          <p:nvPr>
            <p:custDataLst>
              <p:tags r:id="rId14"/>
            </p:custDataLst>
          </p:nvPr>
        </p:nvSpPr>
        <p:spPr bwMode="gray">
          <a:xfrm>
            <a:off x="2334935" y="4292591"/>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AFDAFA20-305F-467F-87AA-8D3BFDE32CC2}" type="datetime'1''''''''''''''''7''''''''''%'''">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17%</a:t>
            </a:fld>
            <a:endParaRPr lang="en-US" sz="1000">
              <a:solidFill>
                <a:schemeClr val="bg1"/>
              </a:solidFill>
              <a:sym typeface="Arial" panose="020B0604020202020204" pitchFamily="34" charset="0"/>
            </a:endParaRPr>
          </a:p>
        </p:txBody>
      </p:sp>
      <p:sp>
        <p:nvSpPr>
          <p:cNvPr id="60" name="Text Placeholder">
            <a:extLst>
              <a:ext uri="{FF2B5EF4-FFF2-40B4-BE49-F238E27FC236}">
                <a16:creationId xmlns:a16="http://schemas.microsoft.com/office/drawing/2014/main" id="{13C071C9-AC0C-1A1D-1995-3B952F49F3F2}"/>
              </a:ext>
            </a:extLst>
          </p:cNvPr>
          <p:cNvSpPr>
            <a:spLocks noGrp="1"/>
          </p:cNvSpPr>
          <p:nvPr>
            <p:custDataLst>
              <p:tags r:id="rId15"/>
            </p:custDataLst>
          </p:nvPr>
        </p:nvSpPr>
        <p:spPr bwMode="gray">
          <a:xfrm>
            <a:off x="2334935" y="4030654"/>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EC4F9EB0-B53B-40C4-A3A6-09E54FAEA663}" type="datetime'''''''''1''4''''''''''''''''''''''''''''''''''%'''''''''''">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14%</a:t>
            </a:fld>
            <a:endParaRPr lang="en-US" sz="1000">
              <a:solidFill>
                <a:schemeClr val="bg1"/>
              </a:solidFill>
              <a:sym typeface="Arial" panose="020B0604020202020204" pitchFamily="34" charset="0"/>
            </a:endParaRPr>
          </a:p>
        </p:txBody>
      </p:sp>
      <p:sp>
        <p:nvSpPr>
          <p:cNvPr id="61" name="Text Placeholder">
            <a:extLst>
              <a:ext uri="{FF2B5EF4-FFF2-40B4-BE49-F238E27FC236}">
                <a16:creationId xmlns:a16="http://schemas.microsoft.com/office/drawing/2014/main" id="{2B3614EE-5E13-EBB2-23D7-8EF7FB418050}"/>
              </a:ext>
            </a:extLst>
          </p:cNvPr>
          <p:cNvSpPr>
            <a:spLocks noGrp="1"/>
          </p:cNvSpPr>
          <p:nvPr>
            <p:custDataLst>
              <p:tags r:id="rId16"/>
            </p:custDataLst>
          </p:nvPr>
        </p:nvSpPr>
        <p:spPr bwMode="gray">
          <a:xfrm>
            <a:off x="2334935" y="3530591"/>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165F7089-E1FA-4EFC-A54A-5D5350019AB4}" type="datetime'''''''''''''''4''''''''''''''''''''''''''''''''6''%'''''''">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46%</a:t>
            </a:fld>
            <a:endParaRPr lang="en-US" sz="1000">
              <a:solidFill>
                <a:schemeClr val="bg1"/>
              </a:solidFill>
              <a:sym typeface="Arial" panose="020B0604020202020204" pitchFamily="34" charset="0"/>
            </a:endParaRPr>
          </a:p>
        </p:txBody>
      </p:sp>
      <p:sp>
        <p:nvSpPr>
          <p:cNvPr id="62" name="Text Placeholder">
            <a:extLst>
              <a:ext uri="{FF2B5EF4-FFF2-40B4-BE49-F238E27FC236}">
                <a16:creationId xmlns:a16="http://schemas.microsoft.com/office/drawing/2014/main" id="{490F5C4A-97CF-AE64-34FF-964FB78E35AF}"/>
              </a:ext>
            </a:extLst>
          </p:cNvPr>
          <p:cNvSpPr>
            <a:spLocks noGrp="1"/>
          </p:cNvSpPr>
          <p:nvPr>
            <p:custDataLst>
              <p:tags r:id="rId17"/>
            </p:custDataLst>
          </p:nvPr>
        </p:nvSpPr>
        <p:spPr bwMode="gray">
          <a:xfrm>
            <a:off x="2334935" y="2984491"/>
            <a:ext cx="290513"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3CC6C446-020D-44C2-B702-5BA7E63DC647}" type="datetime'''''''''''''''''''''''''''''''''''''''''''''2''''''''0''%'">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20%</a:t>
            </a:fld>
            <a:endParaRPr lang="en-US" sz="1000">
              <a:solidFill>
                <a:schemeClr val="bg1"/>
              </a:solidFill>
              <a:sym typeface="Arial" panose="020B0604020202020204" pitchFamily="34" charset="0"/>
            </a:endParaRPr>
          </a:p>
        </p:txBody>
      </p:sp>
      <p:sp>
        <p:nvSpPr>
          <p:cNvPr id="63" name="Text Placeholder">
            <a:extLst>
              <a:ext uri="{FF2B5EF4-FFF2-40B4-BE49-F238E27FC236}">
                <a16:creationId xmlns:a16="http://schemas.microsoft.com/office/drawing/2014/main" id="{3F01CF1E-669D-B61E-F58E-C6F66B01D50C}"/>
              </a:ext>
            </a:extLst>
          </p:cNvPr>
          <p:cNvSpPr>
            <a:spLocks noGrp="1"/>
          </p:cNvSpPr>
          <p:nvPr>
            <p:custDataLst>
              <p:tags r:id="rId18"/>
            </p:custDataLst>
          </p:nvPr>
        </p:nvSpPr>
        <p:spPr bwMode="gray">
          <a:xfrm>
            <a:off x="2369860" y="2793991"/>
            <a:ext cx="220663" cy="152400"/>
          </a:xfrm>
          <a:prstGeom prst="rect">
            <a:avLst/>
          </a:prstGeom>
          <a:solidFill>
            <a:schemeClr val="accent2"/>
          </a:solidFill>
          <a:ln>
            <a:noFill/>
          </a:ln>
          <a:effec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249AF7F5-EEF8-45BF-884E-26F9DFD15E11}" type="datetime'''''3''''''''''''''''''''''''''''''''''''''''%'">
              <a:rPr lang="en-US" altLang="en-US" sz="1000" smtClean="0">
                <a:effectLst/>
                <a:sym typeface="Arial" panose="020B0604020202020204" pitchFamily="34" charset="0"/>
              </a:rPr>
              <a:pPr algn="ctr" defTabSz="685800">
                <a:spcBef>
                  <a:spcPct val="0"/>
                </a:spcBef>
                <a:buSzPct val="100000"/>
                <a:buFont typeface="+mn-lt" pitchFamily="34" charset="0"/>
              </a:pPr>
              <a:t>3%</a:t>
            </a:fld>
            <a:endParaRPr lang="en-US" sz="1000">
              <a:sym typeface="Arial" panose="020B0604020202020204" pitchFamily="34" charset="0"/>
            </a:endParaRPr>
          </a:p>
        </p:txBody>
      </p:sp>
      <p:sp>
        <p:nvSpPr>
          <p:cNvPr id="64" name="Text Placeholder">
            <a:extLst>
              <a:ext uri="{FF2B5EF4-FFF2-40B4-BE49-F238E27FC236}">
                <a16:creationId xmlns:a16="http://schemas.microsoft.com/office/drawing/2014/main" id="{66A8EC62-773D-748E-200E-4E353084A81B}"/>
              </a:ext>
            </a:extLst>
          </p:cNvPr>
          <p:cNvSpPr>
            <a:spLocks noGrp="1"/>
          </p:cNvSpPr>
          <p:nvPr>
            <p:custDataLst>
              <p:tags r:id="rId19"/>
            </p:custDataLst>
          </p:nvPr>
        </p:nvSpPr>
        <p:spPr bwMode="auto">
          <a:xfrm>
            <a:off x="2173010" y="4554529"/>
            <a:ext cx="614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9B5E1C47-504B-46E7-95AA-58F4C85422D4}" type="datetime'''''''20''''3''''''''''''''''''1''''''''-2''''0''40'''''''''''">
              <a:rPr lang="en-US" altLang="en-US" sz="1000" smtClean="0">
                <a:sym typeface="Arial" panose="020B0604020202020204" pitchFamily="34" charset="0"/>
              </a:rPr>
              <a:pPr algn="ctr" defTabSz="685800">
                <a:spcBef>
                  <a:spcPct val="0"/>
                </a:spcBef>
                <a:buSzPct val="100000"/>
                <a:buFont typeface="+mn-lt" pitchFamily="34" charset="0"/>
              </a:pPr>
              <a:t>2031-2040</a:t>
            </a:fld>
            <a:endParaRPr lang="de-DE" sz="1000">
              <a:sym typeface="Arial" panose="020B0604020202020204" pitchFamily="34" charset="0"/>
            </a:endParaRPr>
          </a:p>
        </p:txBody>
      </p:sp>
      <p:sp>
        <p:nvSpPr>
          <p:cNvPr id="65" name="Text Placeholder">
            <a:extLst>
              <a:ext uri="{FF2B5EF4-FFF2-40B4-BE49-F238E27FC236}">
                <a16:creationId xmlns:a16="http://schemas.microsoft.com/office/drawing/2014/main" id="{E79F27D8-0ADA-8A61-E3EE-B642DD6B8B73}"/>
              </a:ext>
            </a:extLst>
          </p:cNvPr>
          <p:cNvSpPr>
            <a:spLocks noGrp="1"/>
          </p:cNvSpPr>
          <p:nvPr>
            <p:custDataLst>
              <p:tags r:id="rId20"/>
            </p:custDataLst>
          </p:nvPr>
        </p:nvSpPr>
        <p:spPr bwMode="auto">
          <a:xfrm>
            <a:off x="3417610" y="4554529"/>
            <a:ext cx="614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FDA3D312-E3B8-46B3-BF30-0A66B0E8744C}" type="datetime'2''''''''''04''''''''''1''''-''''''20''5''''''''''0'''''''''''">
              <a:rPr lang="en-US" altLang="en-US" sz="1000" smtClean="0">
                <a:sym typeface="Arial" panose="020B0604020202020204" pitchFamily="34" charset="0"/>
              </a:rPr>
              <a:pPr algn="ctr" defTabSz="685800">
                <a:spcBef>
                  <a:spcPct val="0"/>
                </a:spcBef>
                <a:buSzPct val="100000"/>
                <a:buFont typeface="+mn-lt" pitchFamily="34" charset="0"/>
              </a:pPr>
              <a:t>2041-2050</a:t>
            </a:fld>
            <a:endParaRPr lang="de-DE" sz="1000">
              <a:sym typeface="Arial" panose="020B0604020202020204" pitchFamily="34" charset="0"/>
            </a:endParaRPr>
          </a:p>
        </p:txBody>
      </p:sp>
      <p:sp>
        <p:nvSpPr>
          <p:cNvPr id="66" name="Text Placeholder">
            <a:extLst>
              <a:ext uri="{FF2B5EF4-FFF2-40B4-BE49-F238E27FC236}">
                <a16:creationId xmlns:a16="http://schemas.microsoft.com/office/drawing/2014/main" id="{A8F9EB09-FEFC-7C1E-B8A8-5DEAB6B34C17}"/>
              </a:ext>
            </a:extLst>
          </p:cNvPr>
          <p:cNvSpPr>
            <a:spLocks noGrp="1"/>
          </p:cNvSpPr>
          <p:nvPr>
            <p:custDataLst>
              <p:tags r:id="rId21"/>
            </p:custDataLst>
          </p:nvPr>
        </p:nvSpPr>
        <p:spPr bwMode="auto">
          <a:xfrm>
            <a:off x="279122" y="3835391"/>
            <a:ext cx="4651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49F1BBA8-B08D-42B0-B7A3-47FB672524AD}" type="datetime'N''o''r''th''''''&#10;''''Am''e''''ri''''''''''''c''a'''''">
              <a:rPr lang="en-US" altLang="en-US" sz="1000" smtClean="0">
                <a:sym typeface="Arial" panose="020B0604020202020204" pitchFamily="34" charset="0"/>
              </a:rPr>
              <a:pPr defTabSz="685800">
                <a:spcBef>
                  <a:spcPct val="0"/>
                </a:spcBef>
                <a:buSzPct val="100000"/>
                <a:buFont typeface="+mn-lt" pitchFamily="34" charset="0"/>
              </a:pPr>
              <a:t>North
America</a:t>
            </a:fld>
            <a:endParaRPr lang="en-US" sz="1000">
              <a:sym typeface="Arial" panose="020B0604020202020204" pitchFamily="34" charset="0"/>
            </a:endParaRPr>
          </a:p>
        </p:txBody>
      </p:sp>
      <p:sp>
        <p:nvSpPr>
          <p:cNvPr id="67" name="Text Placeholder">
            <a:extLst>
              <a:ext uri="{FF2B5EF4-FFF2-40B4-BE49-F238E27FC236}">
                <a16:creationId xmlns:a16="http://schemas.microsoft.com/office/drawing/2014/main" id="{1FB516AA-71E5-2137-1B1F-495CA98B01A3}"/>
              </a:ext>
            </a:extLst>
          </p:cNvPr>
          <p:cNvSpPr>
            <a:spLocks noGrp="1"/>
          </p:cNvSpPr>
          <p:nvPr>
            <p:custDataLst>
              <p:tags r:id="rId22"/>
            </p:custDataLst>
          </p:nvPr>
        </p:nvSpPr>
        <p:spPr bwMode="auto">
          <a:xfrm>
            <a:off x="279122" y="3051166"/>
            <a:ext cx="3730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B062C879-6C34-4D8B-BDA0-812A657CC876}" type="datetime'''''M''''i''''''dd''l''''''''''''''''''e''&#10;Ea''''''st'''">
              <a:rPr lang="en-US" altLang="en-US" sz="1000" smtClean="0">
                <a:sym typeface="Arial" panose="020B0604020202020204" pitchFamily="34" charset="0"/>
              </a:rPr>
              <a:pPr defTabSz="685800">
                <a:spcBef>
                  <a:spcPct val="0"/>
                </a:spcBef>
                <a:buSzPct val="100000"/>
                <a:buFont typeface="+mn-lt" pitchFamily="34" charset="0"/>
              </a:pPr>
              <a:t>Middle
East</a:t>
            </a:fld>
            <a:endParaRPr lang="en-US" sz="1000">
              <a:sym typeface="Arial" panose="020B0604020202020204" pitchFamily="34" charset="0"/>
            </a:endParaRPr>
          </a:p>
        </p:txBody>
      </p:sp>
      <p:sp>
        <p:nvSpPr>
          <p:cNvPr id="68" name="Text Placeholder">
            <a:extLst>
              <a:ext uri="{FF2B5EF4-FFF2-40B4-BE49-F238E27FC236}">
                <a16:creationId xmlns:a16="http://schemas.microsoft.com/office/drawing/2014/main" id="{EA02ACE3-139C-6699-6D2A-F3BBAA6A0ABE}"/>
              </a:ext>
            </a:extLst>
          </p:cNvPr>
          <p:cNvSpPr>
            <a:spLocks noGrp="1"/>
          </p:cNvSpPr>
          <p:nvPr>
            <p:custDataLst>
              <p:tags r:id="rId23"/>
            </p:custDataLst>
          </p:nvPr>
        </p:nvSpPr>
        <p:spPr bwMode="auto">
          <a:xfrm>
            <a:off x="279122" y="2698741"/>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fontAlgn="base">
              <a:spcBef>
                <a:spcPct val="0"/>
              </a:spcBef>
              <a:spcAft>
                <a:spcPct val="0"/>
              </a:spcAft>
              <a:buSzPct val="100000"/>
              <a:buFont typeface="+mn-lt" pitchFamily="34" charset="0"/>
            </a:pPr>
            <a:fld id="{5B8769ED-6D91-452E-9CA3-006680C4EF3C}" type="datetime'''''''''A''''''f''''''''''r''i''ca'''''''''''''">
              <a:rPr lang="en-US" altLang="en-US" sz="1000" smtClean="0">
                <a:sym typeface="Arial" panose="020B0604020202020204" pitchFamily="34" charset="0"/>
              </a:rPr>
              <a:pPr defTabSz="685800" fontAlgn="base">
                <a:spcBef>
                  <a:spcPct val="0"/>
                </a:spcBef>
                <a:spcAft>
                  <a:spcPct val="0"/>
                </a:spcAft>
                <a:buSzPct val="100000"/>
                <a:buFont typeface="+mn-lt" pitchFamily="34" charset="0"/>
              </a:pPr>
              <a:t>Africa</a:t>
            </a:fld>
            <a:endParaRPr lang="en-US" sz="1000">
              <a:sym typeface="Arial" panose="020B0604020202020204" pitchFamily="34" charset="0"/>
            </a:endParaRPr>
          </a:p>
        </p:txBody>
      </p:sp>
      <p:sp>
        <p:nvSpPr>
          <p:cNvPr id="69" name="Text Placeholder">
            <a:extLst>
              <a:ext uri="{FF2B5EF4-FFF2-40B4-BE49-F238E27FC236}">
                <a16:creationId xmlns:a16="http://schemas.microsoft.com/office/drawing/2014/main" id="{E29F6E03-4397-7F63-7FA8-251DDCFD90FB}"/>
              </a:ext>
            </a:extLst>
          </p:cNvPr>
          <p:cNvSpPr>
            <a:spLocks noGrp="1"/>
          </p:cNvSpPr>
          <p:nvPr>
            <p:custDataLst>
              <p:tags r:id="rId24"/>
            </p:custDataLst>
          </p:nvPr>
        </p:nvSpPr>
        <p:spPr bwMode="auto">
          <a:xfrm>
            <a:off x="279122" y="2390766"/>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fontAlgn="base">
              <a:spcBef>
                <a:spcPct val="0"/>
              </a:spcBef>
              <a:spcAft>
                <a:spcPct val="0"/>
              </a:spcAft>
              <a:buSzPct val="100000"/>
              <a:buFont typeface="+mn-lt" pitchFamily="34" charset="0"/>
            </a:pPr>
            <a:fld id="{1EAE9B3F-EA6B-4984-982D-D6D8566D6AD4}" type="datetime'E''''''u''''''''''''''r''''''''''o''''''''''p''''e'''''">
              <a:rPr lang="en-US" altLang="en-US" sz="1000" smtClean="0">
                <a:sym typeface="Arial" panose="020B0604020202020204" pitchFamily="34" charset="0"/>
              </a:rPr>
              <a:pPr defTabSz="685800" fontAlgn="base">
                <a:spcBef>
                  <a:spcPct val="0"/>
                </a:spcBef>
                <a:spcAft>
                  <a:spcPct val="0"/>
                </a:spcAft>
                <a:buSzPct val="100000"/>
                <a:buFont typeface="+mn-lt" pitchFamily="34" charset="0"/>
              </a:pPr>
              <a:t>Europe</a:t>
            </a:fld>
            <a:endParaRPr lang="en-US" sz="1000">
              <a:sym typeface="Arial" panose="020B0604020202020204" pitchFamily="34" charset="0"/>
            </a:endParaRPr>
          </a:p>
        </p:txBody>
      </p:sp>
      <p:sp>
        <p:nvSpPr>
          <p:cNvPr id="70" name="Text Placeholder">
            <a:extLst>
              <a:ext uri="{FF2B5EF4-FFF2-40B4-BE49-F238E27FC236}">
                <a16:creationId xmlns:a16="http://schemas.microsoft.com/office/drawing/2014/main" id="{49D5232F-7719-21E5-7B64-6EDDF2911A72}"/>
              </a:ext>
            </a:extLst>
          </p:cNvPr>
          <p:cNvSpPr>
            <a:spLocks noGrp="1"/>
          </p:cNvSpPr>
          <p:nvPr>
            <p:custDataLst>
              <p:tags r:id="rId25"/>
            </p:custDataLst>
          </p:nvPr>
        </p:nvSpPr>
        <p:spPr bwMode="auto">
          <a:xfrm>
            <a:off x="279122" y="2152641"/>
            <a:ext cx="344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fontAlgn="base">
              <a:spcBef>
                <a:spcPct val="0"/>
              </a:spcBef>
              <a:spcAft>
                <a:spcPct val="0"/>
              </a:spcAft>
              <a:buSzPct val="100000"/>
              <a:buFont typeface="+mn-lt" pitchFamily="34" charset="0"/>
            </a:pPr>
            <a:fld id="{F956F60B-4C05-4D20-B34A-031B8948DB2C}" type="datetime'A''''''P''''''''''''''''''''A''''''''''''''''C'''''">
              <a:rPr lang="en-US" altLang="en-US" sz="1000" smtClean="0">
                <a:sym typeface="Arial" panose="020B0604020202020204" pitchFamily="34" charset="0"/>
              </a:rPr>
              <a:pPr defTabSz="685800" fontAlgn="base">
                <a:spcBef>
                  <a:spcPct val="0"/>
                </a:spcBef>
                <a:spcAft>
                  <a:spcPct val="0"/>
                </a:spcAft>
                <a:buSzPct val="100000"/>
                <a:buFont typeface="+mn-lt" pitchFamily="34" charset="0"/>
              </a:pPr>
              <a:t>APAC</a:t>
            </a:fld>
            <a:endParaRPr lang="en-US" sz="1000">
              <a:sym typeface="Arial" panose="020B0604020202020204" pitchFamily="34" charset="0"/>
            </a:endParaRPr>
          </a:p>
        </p:txBody>
      </p:sp>
      <p:sp>
        <p:nvSpPr>
          <p:cNvPr id="71" name="Text Placeholder">
            <a:extLst>
              <a:ext uri="{FF2B5EF4-FFF2-40B4-BE49-F238E27FC236}">
                <a16:creationId xmlns:a16="http://schemas.microsoft.com/office/drawing/2014/main" id="{0D590EEC-7E0E-F78A-F78D-5A788C12BF8F}"/>
              </a:ext>
            </a:extLst>
          </p:cNvPr>
          <p:cNvSpPr>
            <a:spLocks noGrp="1"/>
          </p:cNvSpPr>
          <p:nvPr>
            <p:custDataLst>
              <p:tags r:id="rId26"/>
            </p:custDataLst>
          </p:nvPr>
        </p:nvSpPr>
        <p:spPr bwMode="gray">
          <a:xfrm>
            <a:off x="1083985" y="1943091"/>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CBC717D8-8AAE-4005-999C-0DD4E5AB9F51}" type="datetime'''''2''''''''5''''''''''''''''''0'''''''''''''''''">
              <a:rPr lang="en-US" altLang="en-US" b="1" smtClean="0">
                <a:sym typeface="Arial" panose="020B0604020202020204" pitchFamily="34" charset="0"/>
              </a:rPr>
              <a:pPr algn="ctr" defTabSz="685800">
                <a:lnSpc>
                  <a:spcPct val="90000"/>
                </a:lnSpc>
                <a:spcBef>
                  <a:spcPct val="0"/>
                </a:spcBef>
                <a:buSzPct val="100000"/>
                <a:buFont typeface="+mn-lt" pitchFamily="34" charset="0"/>
              </a:pPr>
              <a:t>250</a:t>
            </a:fld>
            <a:endParaRPr lang="en-US" b="1">
              <a:sym typeface="Arial" panose="020B0604020202020204" pitchFamily="34" charset="0"/>
            </a:endParaRPr>
          </a:p>
        </p:txBody>
      </p:sp>
      <p:sp>
        <p:nvSpPr>
          <p:cNvPr id="72" name="Text Placeholder">
            <a:extLst>
              <a:ext uri="{FF2B5EF4-FFF2-40B4-BE49-F238E27FC236}">
                <a16:creationId xmlns:a16="http://schemas.microsoft.com/office/drawing/2014/main" id="{31CD8FA6-9038-1EFB-3C88-DE15118E6032}"/>
              </a:ext>
            </a:extLst>
          </p:cNvPr>
          <p:cNvSpPr>
            <a:spLocks noGrp="1"/>
          </p:cNvSpPr>
          <p:nvPr>
            <p:custDataLst>
              <p:tags r:id="rId27"/>
            </p:custDataLst>
          </p:nvPr>
        </p:nvSpPr>
        <p:spPr bwMode="gray">
          <a:xfrm>
            <a:off x="2330172" y="2628891"/>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1F9F0DB1-9429-4527-B5B1-E081AC4835A4}" type="datetime'1''''''''''''''''''''''''''7''5'''''''''''''">
              <a:rPr lang="en-US" altLang="en-US" b="1" smtClean="0">
                <a:sym typeface="Arial" panose="020B0604020202020204" pitchFamily="34" charset="0"/>
              </a:rPr>
              <a:pPr algn="ctr" defTabSz="685800">
                <a:lnSpc>
                  <a:spcPct val="90000"/>
                </a:lnSpc>
                <a:spcBef>
                  <a:spcPct val="0"/>
                </a:spcBef>
                <a:buSzPct val="100000"/>
                <a:buFont typeface="+mn-lt" pitchFamily="34" charset="0"/>
              </a:pPr>
              <a:t>175</a:t>
            </a:fld>
            <a:endParaRPr lang="en-US" b="1">
              <a:sym typeface="Arial" panose="020B0604020202020204" pitchFamily="34" charset="0"/>
            </a:endParaRPr>
          </a:p>
        </p:txBody>
      </p:sp>
      <p:sp>
        <p:nvSpPr>
          <p:cNvPr id="73" name="Text Placeholder">
            <a:extLst>
              <a:ext uri="{FF2B5EF4-FFF2-40B4-BE49-F238E27FC236}">
                <a16:creationId xmlns:a16="http://schemas.microsoft.com/office/drawing/2014/main" id="{58D0D261-43DB-4959-9351-D2F0DA33787E}"/>
              </a:ext>
            </a:extLst>
          </p:cNvPr>
          <p:cNvSpPr>
            <a:spLocks noGrp="1"/>
          </p:cNvSpPr>
          <p:nvPr>
            <p:custDataLst>
              <p:tags r:id="rId28"/>
            </p:custDataLst>
          </p:nvPr>
        </p:nvSpPr>
        <p:spPr bwMode="gray">
          <a:xfrm>
            <a:off x="3616047" y="3844916"/>
            <a:ext cx="2159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D30FFB04-EB73-46B4-84A5-DC2958B9B82F}" type="datetime'''''''''''''''''''''''''''''''''5''''0'''">
              <a:rPr lang="en-US" altLang="en-US" b="1" smtClean="0">
                <a:sym typeface="Arial" panose="020B0604020202020204" pitchFamily="34" charset="0"/>
              </a:rPr>
              <a:pPr algn="ctr" defTabSz="685800">
                <a:lnSpc>
                  <a:spcPct val="90000"/>
                </a:lnSpc>
                <a:spcBef>
                  <a:spcPct val="0"/>
                </a:spcBef>
                <a:buSzPct val="100000"/>
                <a:buFont typeface="+mn-lt" pitchFamily="34" charset="0"/>
              </a:pPr>
              <a:t>50</a:t>
            </a:fld>
            <a:endParaRPr lang="en-US" b="1">
              <a:sym typeface="Arial" panose="020B0604020202020204" pitchFamily="34" charset="0"/>
            </a:endParaRPr>
          </a:p>
        </p:txBody>
      </p:sp>
      <p:cxnSp>
        <p:nvCxnSpPr>
          <p:cNvPr id="74" name="HorizontalLine7">
            <a:extLst>
              <a:ext uri="{FF2B5EF4-FFF2-40B4-BE49-F238E27FC236}">
                <a16:creationId xmlns:a16="http://schemas.microsoft.com/office/drawing/2014/main" id="{8F36FB58-2881-A273-2AEB-7BCE66284E83}"/>
              </a:ext>
            </a:extLst>
          </p:cNvPr>
          <p:cNvCxnSpPr>
            <a:cxnSpLocks/>
          </p:cNvCxnSpPr>
          <p:nvPr/>
        </p:nvCxnSpPr>
        <p:spPr>
          <a:xfrm>
            <a:off x="4781516" y="2325099"/>
            <a:ext cx="756000" cy="0"/>
          </a:xfrm>
          <a:prstGeom prst="line">
            <a:avLst/>
          </a:prstGeom>
          <a:ln w="1270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5" name="Title66">
            <a:extLst>
              <a:ext uri="{FF2B5EF4-FFF2-40B4-BE49-F238E27FC236}">
                <a16:creationId xmlns:a16="http://schemas.microsoft.com/office/drawing/2014/main" id="{AAE16ADF-A53F-83AC-4CA5-BDEBBF7B2577}"/>
              </a:ext>
            </a:extLst>
          </p:cNvPr>
          <p:cNvSpPr txBox="1">
            <a:spLocks/>
          </p:cNvSpPr>
          <p:nvPr/>
        </p:nvSpPr>
        <p:spPr>
          <a:xfrm>
            <a:off x="4781516" y="2117136"/>
            <a:ext cx="756000" cy="207963"/>
          </a:xfrm>
          <a:prstGeom prst="rect">
            <a:avLst/>
          </a:prstGeom>
          <a:noFill/>
          <a:ln w="9525">
            <a:noFill/>
          </a:ln>
        </p:spPr>
        <p:txBody>
          <a:bodyPr vert="horz" wrap="square" lIns="0" tIns="0" rIns="0" bIns="53213" rtlCol="0" anchor="b">
            <a:spAutoFit/>
          </a:bodyPr>
          <a:lstStyle/>
          <a:p>
            <a:pPr fontAlgn="base">
              <a:buSzPct val="100000"/>
            </a:pPr>
            <a:r>
              <a:rPr lang="en-US" sz="1000" b="1">
                <a:sym typeface="+mn-lt"/>
              </a:rPr>
              <a:t>Company</a:t>
            </a:r>
          </a:p>
        </p:txBody>
      </p:sp>
      <p:sp>
        <p:nvSpPr>
          <p:cNvPr id="76" name="Title1212">
            <a:extLst>
              <a:ext uri="{FF2B5EF4-FFF2-40B4-BE49-F238E27FC236}">
                <a16:creationId xmlns:a16="http://schemas.microsoft.com/office/drawing/2014/main" id="{B6A5D9CE-CF1C-6908-7D03-1FF71F0F3EBC}"/>
              </a:ext>
            </a:extLst>
          </p:cNvPr>
          <p:cNvSpPr txBox="1">
            <a:spLocks/>
          </p:cNvSpPr>
          <p:nvPr/>
        </p:nvSpPr>
        <p:spPr>
          <a:xfrm>
            <a:off x="6224330" y="2117136"/>
            <a:ext cx="756000" cy="207963"/>
          </a:xfrm>
          <a:prstGeom prst="rect">
            <a:avLst/>
          </a:prstGeom>
          <a:noFill/>
          <a:ln w="9525">
            <a:noFill/>
          </a:ln>
        </p:spPr>
        <p:txBody>
          <a:bodyPr vert="horz" wrap="square" lIns="0" tIns="0" rIns="0" bIns="53213" rtlCol="0" anchor="b">
            <a:spAutoFit/>
          </a:bodyPr>
          <a:lstStyle/>
          <a:p>
            <a:pPr fontAlgn="base">
              <a:buSzPct val="100000"/>
            </a:pPr>
            <a:r>
              <a:rPr lang="en-US" sz="1000" b="1">
                <a:sym typeface="+mn-lt"/>
              </a:rPr>
              <a:t>Project</a:t>
            </a:r>
          </a:p>
        </p:txBody>
      </p:sp>
      <p:cxnSp>
        <p:nvCxnSpPr>
          <p:cNvPr id="77" name="HorizontalLine13">
            <a:extLst>
              <a:ext uri="{FF2B5EF4-FFF2-40B4-BE49-F238E27FC236}">
                <a16:creationId xmlns:a16="http://schemas.microsoft.com/office/drawing/2014/main" id="{2AEE736E-1A1D-10D7-53D6-4E17770DADB4}"/>
              </a:ext>
            </a:extLst>
          </p:cNvPr>
          <p:cNvCxnSpPr>
            <a:cxnSpLocks/>
          </p:cNvCxnSpPr>
          <p:nvPr/>
        </p:nvCxnSpPr>
        <p:spPr>
          <a:xfrm>
            <a:off x="6224330" y="2325099"/>
            <a:ext cx="756000" cy="0"/>
          </a:xfrm>
          <a:prstGeom prst="line">
            <a:avLst/>
          </a:prstGeom>
          <a:ln w="1270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8" name="Title1515">
            <a:extLst>
              <a:ext uri="{FF2B5EF4-FFF2-40B4-BE49-F238E27FC236}">
                <a16:creationId xmlns:a16="http://schemas.microsoft.com/office/drawing/2014/main" id="{ADF04F8C-ED62-90EA-765A-9D329A714550}"/>
              </a:ext>
            </a:extLst>
          </p:cNvPr>
          <p:cNvSpPr txBox="1">
            <a:spLocks/>
          </p:cNvSpPr>
          <p:nvPr/>
        </p:nvSpPr>
        <p:spPr>
          <a:xfrm>
            <a:off x="7088040" y="1963149"/>
            <a:ext cx="1015672" cy="361950"/>
          </a:xfrm>
          <a:prstGeom prst="rect">
            <a:avLst/>
          </a:prstGeom>
          <a:noFill/>
          <a:ln w="9525">
            <a:noFill/>
          </a:ln>
        </p:spPr>
        <p:txBody>
          <a:bodyPr vert="horz" wrap="square" lIns="0" tIns="0" rIns="0" bIns="53213" rtlCol="0" anchor="b">
            <a:spAutoFit/>
          </a:bodyPr>
          <a:lstStyle/>
          <a:p>
            <a:pPr fontAlgn="base">
              <a:buSzPct val="100000"/>
            </a:pPr>
            <a:r>
              <a:rPr lang="en-US" sz="1000" b="1">
                <a:sym typeface="+mn-lt"/>
              </a:rPr>
              <a:t>Capex </a:t>
            </a:r>
            <a:br>
              <a:rPr lang="en-US" sz="1000">
                <a:sym typeface="+mn-lt"/>
              </a:rPr>
            </a:br>
            <a:r>
              <a:rPr lang="en-US" sz="1000">
                <a:sym typeface="+mn-lt"/>
              </a:rPr>
              <a:t>[USD bn]</a:t>
            </a:r>
          </a:p>
        </p:txBody>
      </p:sp>
      <p:cxnSp>
        <p:nvCxnSpPr>
          <p:cNvPr id="79" name="HorizontalLine16">
            <a:extLst>
              <a:ext uri="{FF2B5EF4-FFF2-40B4-BE49-F238E27FC236}">
                <a16:creationId xmlns:a16="http://schemas.microsoft.com/office/drawing/2014/main" id="{0D9DE681-1D68-89D8-900E-6E0F09FD1022}"/>
              </a:ext>
            </a:extLst>
          </p:cNvPr>
          <p:cNvCxnSpPr>
            <a:cxnSpLocks/>
          </p:cNvCxnSpPr>
          <p:nvPr/>
        </p:nvCxnSpPr>
        <p:spPr>
          <a:xfrm>
            <a:off x="7088040" y="2325099"/>
            <a:ext cx="1015672" cy="0"/>
          </a:xfrm>
          <a:prstGeom prst="line">
            <a:avLst/>
          </a:prstGeom>
          <a:ln w="1270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0" name="Title1818">
            <a:extLst>
              <a:ext uri="{FF2B5EF4-FFF2-40B4-BE49-F238E27FC236}">
                <a16:creationId xmlns:a16="http://schemas.microsoft.com/office/drawing/2014/main" id="{D80BB0FC-CE10-B1EC-1912-F2CB6B886200}"/>
              </a:ext>
            </a:extLst>
          </p:cNvPr>
          <p:cNvSpPr txBox="1">
            <a:spLocks/>
          </p:cNvSpPr>
          <p:nvPr/>
        </p:nvSpPr>
        <p:spPr>
          <a:xfrm>
            <a:off x="8195121" y="1963149"/>
            <a:ext cx="720000" cy="361950"/>
          </a:xfrm>
          <a:prstGeom prst="rect">
            <a:avLst/>
          </a:prstGeom>
          <a:noFill/>
          <a:ln w="9525">
            <a:noFill/>
          </a:ln>
        </p:spPr>
        <p:txBody>
          <a:bodyPr vert="horz" wrap="square" lIns="0" tIns="0" rIns="0" bIns="53213" rtlCol="0" anchor="b">
            <a:spAutoFit/>
          </a:bodyPr>
          <a:lstStyle/>
          <a:p>
            <a:pPr fontAlgn="base">
              <a:buSzPct val="100000"/>
            </a:pPr>
            <a:r>
              <a:rPr lang="en-US" sz="1000" b="1">
                <a:sym typeface="+mn-lt"/>
              </a:rPr>
              <a:t>Completion date</a:t>
            </a:r>
          </a:p>
        </p:txBody>
      </p:sp>
      <p:cxnSp>
        <p:nvCxnSpPr>
          <p:cNvPr id="81" name="HorizontalLine19">
            <a:extLst>
              <a:ext uri="{FF2B5EF4-FFF2-40B4-BE49-F238E27FC236}">
                <a16:creationId xmlns:a16="http://schemas.microsoft.com/office/drawing/2014/main" id="{9979A529-0761-0600-9136-130135236658}"/>
              </a:ext>
            </a:extLst>
          </p:cNvPr>
          <p:cNvCxnSpPr>
            <a:cxnSpLocks/>
          </p:cNvCxnSpPr>
          <p:nvPr/>
        </p:nvCxnSpPr>
        <p:spPr>
          <a:xfrm>
            <a:off x="8195121" y="2325099"/>
            <a:ext cx="720000" cy="0"/>
          </a:xfrm>
          <a:prstGeom prst="line">
            <a:avLst/>
          </a:prstGeom>
          <a:ln w="1270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82" name="Chart 29">
            <a:extLst>
              <a:ext uri="{FF2B5EF4-FFF2-40B4-BE49-F238E27FC236}">
                <a16:creationId xmlns:a16="http://schemas.microsoft.com/office/drawing/2014/main" id="{1DE461D6-ABFC-34A0-C461-E108F51079E1}"/>
              </a:ext>
            </a:extLst>
          </p:cNvPr>
          <p:cNvGraphicFramePr/>
          <p:nvPr>
            <p:custDataLst>
              <p:tags r:id="rId29"/>
            </p:custDataLst>
          </p:nvPr>
        </p:nvGraphicFramePr>
        <p:xfrm>
          <a:off x="6860897" y="2182929"/>
          <a:ext cx="1436688" cy="2627312"/>
        </p:xfrm>
        <a:graphic>
          <a:graphicData uri="http://schemas.openxmlformats.org/drawingml/2006/chart">
            <c:chart xmlns:c="http://schemas.openxmlformats.org/drawingml/2006/chart" xmlns:r="http://schemas.openxmlformats.org/officeDocument/2006/relationships" r:id="rId33"/>
          </a:graphicData>
        </a:graphic>
      </p:graphicFrame>
      <p:grpSp>
        <p:nvGrpSpPr>
          <p:cNvPr id="83" name="Group 191">
            <a:extLst>
              <a:ext uri="{FF2B5EF4-FFF2-40B4-BE49-F238E27FC236}">
                <a16:creationId xmlns:a16="http://schemas.microsoft.com/office/drawing/2014/main" id="{EEFEF77E-D72B-0ABC-69B2-E1E0AED92658}"/>
              </a:ext>
            </a:extLst>
          </p:cNvPr>
          <p:cNvGrpSpPr>
            <a:grpSpLocks/>
          </p:cNvGrpSpPr>
          <p:nvPr/>
        </p:nvGrpSpPr>
        <p:grpSpPr>
          <a:xfrm>
            <a:off x="4781516" y="2838220"/>
            <a:ext cx="4133605" cy="1296000"/>
            <a:chOff x="4206875" y="3088897"/>
            <a:chExt cx="5722938" cy="1163403"/>
          </a:xfrm>
        </p:grpSpPr>
        <p:cxnSp>
          <p:nvCxnSpPr>
            <p:cNvPr id="84" name="HorizontalLine27">
              <a:extLst>
                <a:ext uri="{FF2B5EF4-FFF2-40B4-BE49-F238E27FC236}">
                  <a16:creationId xmlns:a16="http://schemas.microsoft.com/office/drawing/2014/main" id="{6D2BE906-1B7C-3BBA-CB6D-46160C7D3E12}"/>
                </a:ext>
              </a:extLst>
            </p:cNvPr>
            <p:cNvCxnSpPr>
              <a:cxnSpLocks/>
            </p:cNvCxnSpPr>
            <p:nvPr/>
          </p:nvCxnSpPr>
          <p:spPr>
            <a:xfrm>
              <a:off x="4206875" y="3088897"/>
              <a:ext cx="5722938" cy="0"/>
            </a:xfrm>
            <a:prstGeom prst="line">
              <a:avLst/>
            </a:prstGeom>
            <a:ln w="6350" cmpd="sng">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HorizontalLine30">
              <a:extLst>
                <a:ext uri="{FF2B5EF4-FFF2-40B4-BE49-F238E27FC236}">
                  <a16:creationId xmlns:a16="http://schemas.microsoft.com/office/drawing/2014/main" id="{E7ED26CA-9871-E451-FC1B-257C2E07A41E}"/>
                </a:ext>
              </a:extLst>
            </p:cNvPr>
            <p:cNvCxnSpPr>
              <a:cxnSpLocks/>
            </p:cNvCxnSpPr>
            <p:nvPr/>
          </p:nvCxnSpPr>
          <p:spPr>
            <a:xfrm>
              <a:off x="4206875" y="3476698"/>
              <a:ext cx="5722938" cy="0"/>
            </a:xfrm>
            <a:prstGeom prst="line">
              <a:avLst/>
            </a:prstGeom>
            <a:ln w="6350" cmpd="sng">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HorizontalLine33">
              <a:extLst>
                <a:ext uri="{FF2B5EF4-FFF2-40B4-BE49-F238E27FC236}">
                  <a16:creationId xmlns:a16="http://schemas.microsoft.com/office/drawing/2014/main" id="{4FD6BCDB-7B09-B270-862B-AF99A676FFBC}"/>
                </a:ext>
              </a:extLst>
            </p:cNvPr>
            <p:cNvCxnSpPr>
              <a:cxnSpLocks/>
            </p:cNvCxnSpPr>
            <p:nvPr/>
          </p:nvCxnSpPr>
          <p:spPr>
            <a:xfrm>
              <a:off x="4206875" y="3864499"/>
              <a:ext cx="5722938" cy="0"/>
            </a:xfrm>
            <a:prstGeom prst="line">
              <a:avLst/>
            </a:prstGeom>
            <a:ln w="6350" cmpd="sng">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HorizontalLine36">
              <a:extLst>
                <a:ext uri="{FF2B5EF4-FFF2-40B4-BE49-F238E27FC236}">
                  <a16:creationId xmlns:a16="http://schemas.microsoft.com/office/drawing/2014/main" id="{FA8F977F-CFDF-EDDC-10B0-88A5C1878D4A}"/>
                </a:ext>
              </a:extLst>
            </p:cNvPr>
            <p:cNvCxnSpPr>
              <a:cxnSpLocks/>
            </p:cNvCxnSpPr>
            <p:nvPr/>
          </p:nvCxnSpPr>
          <p:spPr>
            <a:xfrm>
              <a:off x="4206875" y="4252300"/>
              <a:ext cx="5722938" cy="0"/>
            </a:xfrm>
            <a:prstGeom prst="line">
              <a:avLst/>
            </a:prstGeom>
            <a:ln w="6350" cmpd="sng">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8" name="Title99">
            <a:extLst>
              <a:ext uri="{FF2B5EF4-FFF2-40B4-BE49-F238E27FC236}">
                <a16:creationId xmlns:a16="http://schemas.microsoft.com/office/drawing/2014/main" id="{FCA02F2C-EFFF-14BB-7597-4DB0C51B600C}"/>
              </a:ext>
            </a:extLst>
          </p:cNvPr>
          <p:cNvSpPr txBox="1">
            <a:spLocks/>
          </p:cNvSpPr>
          <p:nvPr/>
        </p:nvSpPr>
        <p:spPr>
          <a:xfrm>
            <a:off x="5628923" y="2117136"/>
            <a:ext cx="504000" cy="207963"/>
          </a:xfrm>
          <a:prstGeom prst="rect">
            <a:avLst/>
          </a:prstGeom>
          <a:noFill/>
          <a:ln w="9525">
            <a:noFill/>
          </a:ln>
        </p:spPr>
        <p:txBody>
          <a:bodyPr vert="horz" wrap="square" lIns="0" tIns="0" rIns="0" bIns="53213" rtlCol="0" anchor="b">
            <a:spAutoFit/>
          </a:bodyPr>
          <a:lstStyle/>
          <a:p>
            <a:pPr fontAlgn="base">
              <a:buSzPct val="100000"/>
            </a:pPr>
            <a:r>
              <a:rPr lang="en-US" sz="1000" b="1">
                <a:sym typeface="+mn-lt"/>
              </a:rPr>
              <a:t>Country</a:t>
            </a:r>
          </a:p>
        </p:txBody>
      </p:sp>
      <p:cxnSp>
        <p:nvCxnSpPr>
          <p:cNvPr id="89" name="HorizontalLine10">
            <a:extLst>
              <a:ext uri="{FF2B5EF4-FFF2-40B4-BE49-F238E27FC236}">
                <a16:creationId xmlns:a16="http://schemas.microsoft.com/office/drawing/2014/main" id="{C1FC7A4F-D887-F76B-3483-7CFB33354D82}"/>
              </a:ext>
            </a:extLst>
          </p:cNvPr>
          <p:cNvCxnSpPr>
            <a:cxnSpLocks/>
          </p:cNvCxnSpPr>
          <p:nvPr/>
        </p:nvCxnSpPr>
        <p:spPr>
          <a:xfrm>
            <a:off x="5628923" y="2325099"/>
            <a:ext cx="504000" cy="0"/>
          </a:xfrm>
          <a:prstGeom prst="line">
            <a:avLst/>
          </a:prstGeom>
          <a:ln w="1270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0" name="Title3131">
            <a:extLst>
              <a:ext uri="{FF2B5EF4-FFF2-40B4-BE49-F238E27FC236}">
                <a16:creationId xmlns:a16="http://schemas.microsoft.com/office/drawing/2014/main" id="{07695EB1-DCE8-4383-A8FE-1101E0648617}"/>
              </a:ext>
            </a:extLst>
          </p:cNvPr>
          <p:cNvSpPr txBox="1">
            <a:spLocks/>
          </p:cNvSpPr>
          <p:nvPr/>
        </p:nvSpPr>
        <p:spPr>
          <a:xfrm>
            <a:off x="4781516" y="3343291"/>
            <a:ext cx="756000" cy="307777"/>
          </a:xfrm>
          <a:prstGeom prst="rect">
            <a:avLst/>
          </a:prstGeom>
          <a:noFill/>
          <a:ln w="9525">
            <a:noFill/>
          </a:ln>
        </p:spPr>
        <p:txBody>
          <a:bodyPr vert="horz" wrap="square" lIns="0" tIns="0" rIns="0" bIns="0" rtlCol="0" anchor="t">
            <a:spAutoFit/>
          </a:bodyPr>
          <a:lstStyle/>
          <a:p>
            <a:pPr>
              <a:buSzPct val="100000"/>
              <a:buFont typeface=""/>
            </a:pPr>
            <a:r>
              <a:rPr lang="en-US" sz="1000" err="1">
                <a:sym typeface="+mn-lt"/>
              </a:rPr>
              <a:t>NextDecade</a:t>
            </a:r>
            <a:r>
              <a:rPr lang="en-US" sz="1000">
                <a:sym typeface="+mn-lt"/>
              </a:rPr>
              <a:t> Corporation</a:t>
            </a:r>
          </a:p>
        </p:txBody>
      </p:sp>
      <p:sp>
        <p:nvSpPr>
          <p:cNvPr id="91" name="RBContent41">
            <a:extLst>
              <a:ext uri="{FF2B5EF4-FFF2-40B4-BE49-F238E27FC236}">
                <a16:creationId xmlns:a16="http://schemas.microsoft.com/office/drawing/2014/main" id="{D4A80139-636A-F058-2516-6F5036AF9294}"/>
              </a:ext>
            </a:extLst>
          </p:cNvPr>
          <p:cNvSpPr txBox="1">
            <a:spLocks/>
          </p:cNvSpPr>
          <p:nvPr/>
        </p:nvSpPr>
        <p:spPr>
          <a:xfrm>
            <a:off x="6224330" y="3343291"/>
            <a:ext cx="756000" cy="307777"/>
          </a:xfrm>
          <a:prstGeom prst="rect">
            <a:avLst/>
          </a:prstGeom>
          <a:noFill/>
          <a:ln w="9525">
            <a:noFill/>
          </a:ln>
        </p:spPr>
        <p:txBody>
          <a:bodyPr vert="horz" wrap="square" lIns="0" tIns="0" rIns="0" bIns="0" rtlCol="0">
            <a:spAutoFit/>
          </a:bodyPr>
          <a:lstStyle/>
          <a:p>
            <a:pPr marL="0" lvl="1">
              <a:spcBef>
                <a:spcPts val="300"/>
              </a:spcBef>
              <a:buSzPct val="100000"/>
            </a:pPr>
            <a:r>
              <a:rPr lang="en-US" sz="1000">
                <a:sym typeface="+mn-lt"/>
              </a:rPr>
              <a:t>Rio Grande LNG</a:t>
            </a:r>
          </a:p>
        </p:txBody>
      </p:sp>
      <p:sp>
        <p:nvSpPr>
          <p:cNvPr id="92" name="RBContent41">
            <a:extLst>
              <a:ext uri="{FF2B5EF4-FFF2-40B4-BE49-F238E27FC236}">
                <a16:creationId xmlns:a16="http://schemas.microsoft.com/office/drawing/2014/main" id="{AED4B766-4060-FD68-BD76-8E08EBB640D7}"/>
              </a:ext>
            </a:extLst>
          </p:cNvPr>
          <p:cNvSpPr txBox="1">
            <a:spLocks/>
          </p:cNvSpPr>
          <p:nvPr/>
        </p:nvSpPr>
        <p:spPr>
          <a:xfrm>
            <a:off x="8195121" y="3420235"/>
            <a:ext cx="720000" cy="153888"/>
          </a:xfrm>
          <a:prstGeom prst="rect">
            <a:avLst/>
          </a:prstGeom>
          <a:noFill/>
          <a:ln w="9525">
            <a:noFill/>
          </a:ln>
        </p:spPr>
        <p:txBody>
          <a:bodyPr vert="horz" wrap="square" lIns="0" tIns="0" rIns="108000" bIns="0" rtlCol="0">
            <a:spAutoFit/>
          </a:bodyPr>
          <a:lstStyle/>
          <a:p>
            <a:pPr marL="0" lvl="1" algn="r">
              <a:spcBef>
                <a:spcPts val="300"/>
              </a:spcBef>
              <a:buSzPct val="100000"/>
            </a:pPr>
            <a:r>
              <a:rPr lang="en-US" sz="1000">
                <a:sym typeface="+mn-lt"/>
              </a:rPr>
              <a:t>2023</a:t>
            </a:r>
          </a:p>
        </p:txBody>
      </p:sp>
      <p:pic>
        <p:nvPicPr>
          <p:cNvPr id="93" name="Graphic 167">
            <a:extLst>
              <a:ext uri="{FF2B5EF4-FFF2-40B4-BE49-F238E27FC236}">
                <a16:creationId xmlns:a16="http://schemas.microsoft.com/office/drawing/2014/main" id="{D9E7086E-A0D7-B384-510E-0640DD973D6D}"/>
              </a:ext>
            </a:extLst>
          </p:cNvPr>
          <p:cNvPicPr>
            <a:picLocks/>
          </p:cNvPicPr>
          <p:nvPr/>
        </p:nvPicPr>
        <p:blipFill>
          <a:blip r:embed="rId34">
            <a:extLst>
              <a:ext uri="{96DAC541-7B7A-43D3-8B79-37D633B846F1}">
                <asvg:svgBlip xmlns:asvg="http://schemas.microsoft.com/office/drawing/2016/SVG/main" r:embed="rId35"/>
              </a:ext>
            </a:extLst>
          </a:blip>
          <a:stretch>
            <a:fillRect/>
          </a:stretch>
        </p:blipFill>
        <p:spPr>
          <a:xfrm>
            <a:off x="5747063" y="3361967"/>
            <a:ext cx="267722" cy="270424"/>
          </a:xfrm>
          <a:prstGeom prst="rect">
            <a:avLst/>
          </a:prstGeom>
        </p:spPr>
      </p:pic>
      <p:sp>
        <p:nvSpPr>
          <p:cNvPr id="94" name="Title2525">
            <a:extLst>
              <a:ext uri="{FF2B5EF4-FFF2-40B4-BE49-F238E27FC236}">
                <a16:creationId xmlns:a16="http://schemas.microsoft.com/office/drawing/2014/main" id="{0E90B751-3338-B9B6-0E54-19A88BF04A87}"/>
              </a:ext>
            </a:extLst>
          </p:cNvPr>
          <p:cNvSpPr txBox="1">
            <a:spLocks/>
          </p:cNvSpPr>
          <p:nvPr/>
        </p:nvSpPr>
        <p:spPr>
          <a:xfrm>
            <a:off x="4781516" y="2547229"/>
            <a:ext cx="756000" cy="153888"/>
          </a:xfrm>
          <a:prstGeom prst="rect">
            <a:avLst/>
          </a:prstGeom>
          <a:noFill/>
          <a:ln w="9525">
            <a:noFill/>
          </a:ln>
        </p:spPr>
        <p:txBody>
          <a:bodyPr vert="horz" wrap="square" lIns="0" tIns="0" rIns="0" bIns="0" rtlCol="0" anchor="t">
            <a:spAutoFit/>
          </a:bodyPr>
          <a:lstStyle/>
          <a:p>
            <a:pPr>
              <a:buSzPct val="100000"/>
              <a:buFont typeface=""/>
            </a:pPr>
            <a:r>
              <a:rPr lang="en-US" sz="1000" err="1">
                <a:sym typeface="+mn-lt"/>
              </a:rPr>
              <a:t>Novatek</a:t>
            </a:r>
            <a:endParaRPr lang="en-US" sz="1000">
              <a:sym typeface="+mn-lt"/>
            </a:endParaRPr>
          </a:p>
        </p:txBody>
      </p:sp>
      <p:sp>
        <p:nvSpPr>
          <p:cNvPr id="95" name="RBContent41">
            <a:extLst>
              <a:ext uri="{FF2B5EF4-FFF2-40B4-BE49-F238E27FC236}">
                <a16:creationId xmlns:a16="http://schemas.microsoft.com/office/drawing/2014/main" id="{B0BAFB80-2836-238D-A654-BC6E676AA455}"/>
              </a:ext>
            </a:extLst>
          </p:cNvPr>
          <p:cNvSpPr txBox="1">
            <a:spLocks/>
          </p:cNvSpPr>
          <p:nvPr/>
        </p:nvSpPr>
        <p:spPr>
          <a:xfrm>
            <a:off x="6224330" y="2547229"/>
            <a:ext cx="756000" cy="153888"/>
          </a:xfrm>
          <a:prstGeom prst="rect">
            <a:avLst/>
          </a:prstGeom>
          <a:noFill/>
          <a:ln w="9525">
            <a:noFill/>
          </a:ln>
        </p:spPr>
        <p:txBody>
          <a:bodyPr vert="horz" wrap="square" lIns="0" tIns="0" rIns="0" bIns="0" rtlCol="0">
            <a:spAutoFit/>
          </a:bodyPr>
          <a:lstStyle/>
          <a:p>
            <a:pPr marL="0" lvl="1">
              <a:spcBef>
                <a:spcPts val="300"/>
              </a:spcBef>
              <a:buSzPct val="100000"/>
            </a:pPr>
            <a:r>
              <a:rPr lang="en-US" sz="1000">
                <a:sym typeface="+mn-lt"/>
              </a:rPr>
              <a:t>Arctic LNG 2</a:t>
            </a:r>
          </a:p>
        </p:txBody>
      </p:sp>
      <p:sp>
        <p:nvSpPr>
          <p:cNvPr id="96" name="RBContent41">
            <a:extLst>
              <a:ext uri="{FF2B5EF4-FFF2-40B4-BE49-F238E27FC236}">
                <a16:creationId xmlns:a16="http://schemas.microsoft.com/office/drawing/2014/main" id="{C8B6601B-0BEC-01E2-2D64-FB32DB5DD346}"/>
              </a:ext>
            </a:extLst>
          </p:cNvPr>
          <p:cNvSpPr txBox="1">
            <a:spLocks/>
          </p:cNvSpPr>
          <p:nvPr/>
        </p:nvSpPr>
        <p:spPr>
          <a:xfrm>
            <a:off x="8195121" y="2547229"/>
            <a:ext cx="720000" cy="153888"/>
          </a:xfrm>
          <a:prstGeom prst="rect">
            <a:avLst/>
          </a:prstGeom>
          <a:noFill/>
          <a:ln w="9525">
            <a:noFill/>
          </a:ln>
        </p:spPr>
        <p:txBody>
          <a:bodyPr vert="horz" wrap="square" lIns="0" tIns="0" rIns="108000" bIns="0" rtlCol="0">
            <a:spAutoFit/>
          </a:bodyPr>
          <a:lstStyle/>
          <a:p>
            <a:pPr marL="0" lvl="1" algn="r">
              <a:spcBef>
                <a:spcPts val="300"/>
              </a:spcBef>
              <a:buSzPct val="100000"/>
            </a:pPr>
            <a:r>
              <a:rPr lang="en-US" sz="1000">
                <a:sym typeface="+mn-lt"/>
              </a:rPr>
              <a:t>2025</a:t>
            </a:r>
          </a:p>
        </p:txBody>
      </p:sp>
      <p:pic>
        <p:nvPicPr>
          <p:cNvPr id="97" name="Graphic 168">
            <a:extLst>
              <a:ext uri="{FF2B5EF4-FFF2-40B4-BE49-F238E27FC236}">
                <a16:creationId xmlns:a16="http://schemas.microsoft.com/office/drawing/2014/main" id="{9A21A95B-6B76-8C19-9106-902DB9E3BFA6}"/>
              </a:ext>
            </a:extLst>
          </p:cNvPr>
          <p:cNvPicPr>
            <a:picLocks/>
          </p:cNvPicPr>
          <p:nvPr/>
        </p:nvPicPr>
        <p:blipFill>
          <a:blip r:embed="rId36">
            <a:extLst>
              <a:ext uri="{96DAC541-7B7A-43D3-8B79-37D633B846F1}">
                <asvg:svgBlip xmlns:asvg="http://schemas.microsoft.com/office/drawing/2016/SVG/main" r:embed="rId37"/>
              </a:ext>
            </a:extLst>
          </a:blip>
          <a:stretch>
            <a:fillRect/>
          </a:stretch>
        </p:blipFill>
        <p:spPr>
          <a:xfrm>
            <a:off x="5747063" y="2490313"/>
            <a:ext cx="267722" cy="267722"/>
          </a:xfrm>
          <a:prstGeom prst="rect">
            <a:avLst/>
          </a:prstGeom>
        </p:spPr>
      </p:pic>
      <p:sp>
        <p:nvSpPr>
          <p:cNvPr id="98" name="Title3434">
            <a:extLst>
              <a:ext uri="{FF2B5EF4-FFF2-40B4-BE49-F238E27FC236}">
                <a16:creationId xmlns:a16="http://schemas.microsoft.com/office/drawing/2014/main" id="{6E379188-A11E-25AA-34BC-616A927234B0}"/>
              </a:ext>
            </a:extLst>
          </p:cNvPr>
          <p:cNvSpPr txBox="1">
            <a:spLocks/>
          </p:cNvSpPr>
          <p:nvPr/>
        </p:nvSpPr>
        <p:spPr>
          <a:xfrm>
            <a:off x="4781516" y="3855456"/>
            <a:ext cx="756000" cy="153888"/>
          </a:xfrm>
          <a:prstGeom prst="rect">
            <a:avLst/>
          </a:prstGeom>
          <a:noFill/>
          <a:ln w="9525">
            <a:noFill/>
          </a:ln>
        </p:spPr>
        <p:txBody>
          <a:bodyPr vert="horz" wrap="square" lIns="0" tIns="0" rIns="0" bIns="0" rtlCol="0" anchor="t">
            <a:spAutoFit/>
          </a:bodyPr>
          <a:lstStyle/>
          <a:p>
            <a:pPr>
              <a:buSzPct val="100000"/>
              <a:buFont typeface=""/>
            </a:pPr>
            <a:r>
              <a:rPr lang="en-US" sz="1000" err="1">
                <a:sym typeface="+mn-lt"/>
              </a:rPr>
              <a:t>QatarEnergy</a:t>
            </a:r>
            <a:endParaRPr lang="en-US" sz="1000">
              <a:sym typeface="+mn-lt"/>
            </a:endParaRPr>
          </a:p>
        </p:txBody>
      </p:sp>
      <p:sp>
        <p:nvSpPr>
          <p:cNvPr id="99" name="RBContent41">
            <a:extLst>
              <a:ext uri="{FF2B5EF4-FFF2-40B4-BE49-F238E27FC236}">
                <a16:creationId xmlns:a16="http://schemas.microsoft.com/office/drawing/2014/main" id="{C222CD0F-3AE5-0671-CC94-2C570BCBA5FF}"/>
              </a:ext>
            </a:extLst>
          </p:cNvPr>
          <p:cNvSpPr txBox="1">
            <a:spLocks/>
          </p:cNvSpPr>
          <p:nvPr/>
        </p:nvSpPr>
        <p:spPr>
          <a:xfrm>
            <a:off x="6224330" y="3778512"/>
            <a:ext cx="756000" cy="307777"/>
          </a:xfrm>
          <a:prstGeom prst="rect">
            <a:avLst/>
          </a:prstGeom>
          <a:noFill/>
          <a:ln w="9525">
            <a:noFill/>
          </a:ln>
        </p:spPr>
        <p:txBody>
          <a:bodyPr vert="horz" wrap="square" lIns="0" tIns="0" rIns="0" bIns="0" rtlCol="0">
            <a:spAutoFit/>
          </a:bodyPr>
          <a:lstStyle/>
          <a:p>
            <a:pPr marL="0" lvl="1">
              <a:spcBef>
                <a:spcPts val="300"/>
              </a:spcBef>
              <a:buSzPct val="100000"/>
            </a:pPr>
            <a:r>
              <a:rPr lang="en-US" sz="1000">
                <a:sym typeface="+mn-lt"/>
              </a:rPr>
              <a:t>North Field Exp. Project</a:t>
            </a:r>
          </a:p>
        </p:txBody>
      </p:sp>
      <p:sp>
        <p:nvSpPr>
          <p:cNvPr id="100" name="RBContent41">
            <a:extLst>
              <a:ext uri="{FF2B5EF4-FFF2-40B4-BE49-F238E27FC236}">
                <a16:creationId xmlns:a16="http://schemas.microsoft.com/office/drawing/2014/main" id="{B12D501B-F2FB-2005-037C-D549AC86D9A6}"/>
              </a:ext>
            </a:extLst>
          </p:cNvPr>
          <p:cNvSpPr txBox="1">
            <a:spLocks/>
          </p:cNvSpPr>
          <p:nvPr/>
        </p:nvSpPr>
        <p:spPr>
          <a:xfrm>
            <a:off x="8195121" y="3855456"/>
            <a:ext cx="720000" cy="153888"/>
          </a:xfrm>
          <a:prstGeom prst="rect">
            <a:avLst/>
          </a:prstGeom>
          <a:noFill/>
          <a:ln w="9525">
            <a:noFill/>
          </a:ln>
        </p:spPr>
        <p:txBody>
          <a:bodyPr vert="horz" wrap="square" lIns="0" tIns="0" rIns="108000" bIns="0" rtlCol="0">
            <a:spAutoFit/>
          </a:bodyPr>
          <a:lstStyle/>
          <a:p>
            <a:pPr marL="0" lvl="1" algn="r">
              <a:spcBef>
                <a:spcPts val="300"/>
              </a:spcBef>
              <a:buSzPct val="100000"/>
            </a:pPr>
            <a:r>
              <a:rPr lang="en-US" sz="1000">
                <a:sym typeface="+mn-lt"/>
              </a:rPr>
              <a:t>2025</a:t>
            </a:r>
          </a:p>
        </p:txBody>
      </p:sp>
      <p:pic>
        <p:nvPicPr>
          <p:cNvPr id="101" name="Graphic 169">
            <a:extLst>
              <a:ext uri="{FF2B5EF4-FFF2-40B4-BE49-F238E27FC236}">
                <a16:creationId xmlns:a16="http://schemas.microsoft.com/office/drawing/2014/main" id="{6CE599AA-8A54-3C7A-93E3-EDDF26F66E79}"/>
              </a:ext>
            </a:extLst>
          </p:cNvPr>
          <p:cNvPicPr>
            <a:picLocks/>
          </p:cNvPicPr>
          <p:nvPr/>
        </p:nvPicPr>
        <p:blipFill>
          <a:blip r:embed="rId38">
            <a:extLst>
              <a:ext uri="{96DAC541-7B7A-43D3-8B79-37D633B846F1}">
                <asvg:svgBlip xmlns:asvg="http://schemas.microsoft.com/office/drawing/2016/SVG/main" r:embed="rId39"/>
              </a:ext>
            </a:extLst>
          </a:blip>
          <a:stretch>
            <a:fillRect/>
          </a:stretch>
        </p:blipFill>
        <p:spPr>
          <a:xfrm>
            <a:off x="5747063" y="3797188"/>
            <a:ext cx="267722" cy="270424"/>
          </a:xfrm>
          <a:prstGeom prst="rect">
            <a:avLst/>
          </a:prstGeom>
        </p:spPr>
      </p:pic>
      <p:sp>
        <p:nvSpPr>
          <p:cNvPr id="102" name="Title3737">
            <a:extLst>
              <a:ext uri="{FF2B5EF4-FFF2-40B4-BE49-F238E27FC236}">
                <a16:creationId xmlns:a16="http://schemas.microsoft.com/office/drawing/2014/main" id="{7D6BCC7C-440C-CFC0-6B87-0CF3BE14EF55}"/>
              </a:ext>
            </a:extLst>
          </p:cNvPr>
          <p:cNvSpPr txBox="1">
            <a:spLocks/>
          </p:cNvSpPr>
          <p:nvPr/>
        </p:nvSpPr>
        <p:spPr>
          <a:xfrm>
            <a:off x="4781516" y="4290677"/>
            <a:ext cx="756000" cy="153888"/>
          </a:xfrm>
          <a:prstGeom prst="rect">
            <a:avLst/>
          </a:prstGeom>
          <a:noFill/>
          <a:ln w="9525">
            <a:noFill/>
          </a:ln>
        </p:spPr>
        <p:txBody>
          <a:bodyPr vert="horz" wrap="square" lIns="0" tIns="0" rIns="0" bIns="0" rtlCol="0" anchor="t">
            <a:spAutoFit/>
          </a:bodyPr>
          <a:lstStyle/>
          <a:p>
            <a:pPr>
              <a:buSzPct val="100000"/>
              <a:buFont typeface=""/>
            </a:pPr>
            <a:r>
              <a:rPr lang="en-US" sz="1000">
                <a:sym typeface="+mn-lt"/>
              </a:rPr>
              <a:t>RWE</a:t>
            </a:r>
          </a:p>
        </p:txBody>
      </p:sp>
      <p:sp>
        <p:nvSpPr>
          <p:cNvPr id="103" name="RBContent41">
            <a:extLst>
              <a:ext uri="{FF2B5EF4-FFF2-40B4-BE49-F238E27FC236}">
                <a16:creationId xmlns:a16="http://schemas.microsoft.com/office/drawing/2014/main" id="{7FA00403-C6DE-F895-A20D-32DAA956230A}"/>
              </a:ext>
            </a:extLst>
          </p:cNvPr>
          <p:cNvSpPr txBox="1">
            <a:spLocks/>
          </p:cNvSpPr>
          <p:nvPr/>
        </p:nvSpPr>
        <p:spPr>
          <a:xfrm>
            <a:off x="6224330" y="4213733"/>
            <a:ext cx="756000" cy="307777"/>
          </a:xfrm>
          <a:prstGeom prst="rect">
            <a:avLst/>
          </a:prstGeom>
          <a:noFill/>
          <a:ln w="9525">
            <a:noFill/>
          </a:ln>
        </p:spPr>
        <p:txBody>
          <a:bodyPr vert="horz" wrap="square" lIns="0" tIns="0" rIns="0" bIns="0" rtlCol="0">
            <a:spAutoFit/>
          </a:bodyPr>
          <a:lstStyle/>
          <a:p>
            <a:pPr marL="0" lvl="1">
              <a:spcBef>
                <a:spcPts val="300"/>
              </a:spcBef>
              <a:buSzPct val="100000"/>
            </a:pPr>
            <a:r>
              <a:rPr lang="en-US" sz="1000">
                <a:sym typeface="+mn-lt"/>
              </a:rPr>
              <a:t>German LNG Terminal</a:t>
            </a:r>
          </a:p>
        </p:txBody>
      </p:sp>
      <p:sp>
        <p:nvSpPr>
          <p:cNvPr id="104" name="RBContent41">
            <a:extLst>
              <a:ext uri="{FF2B5EF4-FFF2-40B4-BE49-F238E27FC236}">
                <a16:creationId xmlns:a16="http://schemas.microsoft.com/office/drawing/2014/main" id="{9C6907D6-AD29-20AB-FBCC-8AEB3E08C17B}"/>
              </a:ext>
            </a:extLst>
          </p:cNvPr>
          <p:cNvSpPr txBox="1">
            <a:spLocks/>
          </p:cNvSpPr>
          <p:nvPr/>
        </p:nvSpPr>
        <p:spPr>
          <a:xfrm>
            <a:off x="8195121" y="4290677"/>
            <a:ext cx="720000" cy="153888"/>
          </a:xfrm>
          <a:prstGeom prst="rect">
            <a:avLst/>
          </a:prstGeom>
          <a:noFill/>
          <a:ln w="9525">
            <a:noFill/>
          </a:ln>
        </p:spPr>
        <p:txBody>
          <a:bodyPr vert="horz" wrap="square" lIns="0" tIns="0" rIns="108000" bIns="0" rtlCol="0">
            <a:spAutoFit/>
          </a:bodyPr>
          <a:lstStyle/>
          <a:p>
            <a:pPr marL="0" lvl="1" algn="r">
              <a:spcBef>
                <a:spcPts val="300"/>
              </a:spcBef>
              <a:buSzPct val="100000"/>
            </a:pPr>
            <a:r>
              <a:rPr lang="en-US" sz="1000">
                <a:sym typeface="+mn-lt"/>
              </a:rPr>
              <a:t>2024</a:t>
            </a:r>
          </a:p>
        </p:txBody>
      </p:sp>
      <p:pic>
        <p:nvPicPr>
          <p:cNvPr id="105" name="Graphic 170">
            <a:extLst>
              <a:ext uri="{FF2B5EF4-FFF2-40B4-BE49-F238E27FC236}">
                <a16:creationId xmlns:a16="http://schemas.microsoft.com/office/drawing/2014/main" id="{98538F11-AF14-4355-9F89-60650320E77C}"/>
              </a:ext>
            </a:extLst>
          </p:cNvPr>
          <p:cNvPicPr>
            <a:picLocks/>
          </p:cNvPicPr>
          <p:nvPr/>
        </p:nvPicPr>
        <p:blipFill>
          <a:blip r:embed="rId40">
            <a:extLst>
              <a:ext uri="{96DAC541-7B7A-43D3-8B79-37D633B846F1}">
                <asvg:svgBlip xmlns:asvg="http://schemas.microsoft.com/office/drawing/2016/SVG/main" r:embed="rId41"/>
              </a:ext>
            </a:extLst>
          </a:blip>
          <a:stretch>
            <a:fillRect/>
          </a:stretch>
        </p:blipFill>
        <p:spPr>
          <a:xfrm>
            <a:off x="5747063" y="4233761"/>
            <a:ext cx="267722" cy="267722"/>
          </a:xfrm>
          <a:prstGeom prst="rect">
            <a:avLst/>
          </a:prstGeom>
        </p:spPr>
      </p:pic>
      <p:sp>
        <p:nvSpPr>
          <p:cNvPr id="106" name="Title2828">
            <a:extLst>
              <a:ext uri="{FF2B5EF4-FFF2-40B4-BE49-F238E27FC236}">
                <a16:creationId xmlns:a16="http://schemas.microsoft.com/office/drawing/2014/main" id="{96BCBC4D-9693-0478-2382-9308AEA72529}"/>
              </a:ext>
            </a:extLst>
          </p:cNvPr>
          <p:cNvSpPr txBox="1">
            <a:spLocks/>
          </p:cNvSpPr>
          <p:nvPr/>
        </p:nvSpPr>
        <p:spPr>
          <a:xfrm>
            <a:off x="4781516" y="2985014"/>
            <a:ext cx="756000" cy="153888"/>
          </a:xfrm>
          <a:prstGeom prst="rect">
            <a:avLst/>
          </a:prstGeom>
          <a:noFill/>
          <a:ln w="9525">
            <a:noFill/>
          </a:ln>
        </p:spPr>
        <p:txBody>
          <a:bodyPr vert="horz" wrap="square" lIns="0" tIns="0" rIns="0" bIns="0" rtlCol="0" anchor="t">
            <a:spAutoFit/>
          </a:bodyPr>
          <a:lstStyle/>
          <a:p>
            <a:pPr>
              <a:buSzPct val="100000"/>
              <a:buFont typeface=""/>
            </a:pPr>
            <a:r>
              <a:rPr lang="en-US" sz="1000">
                <a:sym typeface="+mn-lt"/>
              </a:rPr>
              <a:t>Total, ENH</a:t>
            </a:r>
          </a:p>
        </p:txBody>
      </p:sp>
      <p:sp>
        <p:nvSpPr>
          <p:cNvPr id="107" name="RBContent41">
            <a:extLst>
              <a:ext uri="{FF2B5EF4-FFF2-40B4-BE49-F238E27FC236}">
                <a16:creationId xmlns:a16="http://schemas.microsoft.com/office/drawing/2014/main" id="{E319E303-8C55-36C4-58DC-C710C09EDF11}"/>
              </a:ext>
            </a:extLst>
          </p:cNvPr>
          <p:cNvSpPr txBox="1">
            <a:spLocks/>
          </p:cNvSpPr>
          <p:nvPr/>
        </p:nvSpPr>
        <p:spPr>
          <a:xfrm>
            <a:off x="6224330" y="2908070"/>
            <a:ext cx="756000" cy="307777"/>
          </a:xfrm>
          <a:prstGeom prst="rect">
            <a:avLst/>
          </a:prstGeom>
          <a:noFill/>
          <a:ln w="9525">
            <a:noFill/>
          </a:ln>
        </p:spPr>
        <p:txBody>
          <a:bodyPr vert="horz" wrap="square" lIns="0" tIns="0" rIns="0" bIns="0" rtlCol="0">
            <a:spAutoFit/>
          </a:bodyPr>
          <a:lstStyle/>
          <a:p>
            <a:pPr marL="0" lvl="1">
              <a:spcBef>
                <a:spcPts val="300"/>
              </a:spcBef>
              <a:buSzPct val="100000"/>
            </a:pPr>
            <a:r>
              <a:rPr lang="en-US" sz="1000">
                <a:sym typeface="+mn-lt"/>
              </a:rPr>
              <a:t>Mozambique LNG</a:t>
            </a:r>
          </a:p>
        </p:txBody>
      </p:sp>
      <p:sp>
        <p:nvSpPr>
          <p:cNvPr id="108" name="RBContent41">
            <a:extLst>
              <a:ext uri="{FF2B5EF4-FFF2-40B4-BE49-F238E27FC236}">
                <a16:creationId xmlns:a16="http://schemas.microsoft.com/office/drawing/2014/main" id="{31A233A1-FC03-86EE-BAED-4E97F1E5FE65}"/>
              </a:ext>
            </a:extLst>
          </p:cNvPr>
          <p:cNvSpPr txBox="1">
            <a:spLocks/>
          </p:cNvSpPr>
          <p:nvPr/>
        </p:nvSpPr>
        <p:spPr>
          <a:xfrm>
            <a:off x="8195121" y="2985014"/>
            <a:ext cx="720000" cy="153888"/>
          </a:xfrm>
          <a:prstGeom prst="rect">
            <a:avLst/>
          </a:prstGeom>
          <a:noFill/>
          <a:ln w="9525">
            <a:noFill/>
          </a:ln>
        </p:spPr>
        <p:txBody>
          <a:bodyPr vert="horz" wrap="square" lIns="0" tIns="0" rIns="108000" bIns="0" rtlCol="0">
            <a:spAutoFit/>
          </a:bodyPr>
          <a:lstStyle/>
          <a:p>
            <a:pPr marL="0" lvl="1" algn="r">
              <a:spcBef>
                <a:spcPts val="300"/>
              </a:spcBef>
              <a:buSzPct val="100000"/>
            </a:pPr>
            <a:r>
              <a:rPr lang="en-US" sz="1000">
                <a:sym typeface="+mn-lt"/>
              </a:rPr>
              <a:t>2024</a:t>
            </a:r>
          </a:p>
        </p:txBody>
      </p:sp>
      <p:pic>
        <p:nvPicPr>
          <p:cNvPr id="109" name="Graphic 171">
            <a:extLst>
              <a:ext uri="{FF2B5EF4-FFF2-40B4-BE49-F238E27FC236}">
                <a16:creationId xmlns:a16="http://schemas.microsoft.com/office/drawing/2014/main" id="{0D79E1EB-30D4-0FC1-2A54-69399B4B4DD2}"/>
              </a:ext>
            </a:extLst>
          </p:cNvPr>
          <p:cNvPicPr>
            <a:picLocks/>
          </p:cNvPicPr>
          <p:nvPr/>
        </p:nvPicPr>
        <p:blipFill>
          <a:blip r:embed="rId42">
            <a:extLst>
              <a:ext uri="{96DAC541-7B7A-43D3-8B79-37D633B846F1}">
                <asvg:svgBlip xmlns:asvg="http://schemas.microsoft.com/office/drawing/2016/SVG/main" r:embed="rId43"/>
              </a:ext>
            </a:extLst>
          </a:blip>
          <a:stretch>
            <a:fillRect/>
          </a:stretch>
        </p:blipFill>
        <p:spPr>
          <a:xfrm>
            <a:off x="5747063" y="2928098"/>
            <a:ext cx="267722" cy="267722"/>
          </a:xfrm>
          <a:prstGeom prst="rect">
            <a:avLst/>
          </a:prstGeom>
        </p:spPr>
      </p:pic>
      <p:grpSp>
        <p:nvGrpSpPr>
          <p:cNvPr id="110" name="Gruppieren 34">
            <a:extLst>
              <a:ext uri="{FF2B5EF4-FFF2-40B4-BE49-F238E27FC236}">
                <a16:creationId xmlns:a16="http://schemas.microsoft.com/office/drawing/2014/main" id="{EEA812A0-8BBC-E43C-DB69-88257AA8E8FD}"/>
              </a:ext>
            </a:extLst>
          </p:cNvPr>
          <p:cNvGrpSpPr/>
          <p:nvPr/>
        </p:nvGrpSpPr>
        <p:grpSpPr>
          <a:xfrm>
            <a:off x="280284" y="1701995"/>
            <a:ext cx="4068000" cy="238399"/>
            <a:chOff x="5653175" y="1216534"/>
            <a:chExt cx="3240000" cy="238399"/>
          </a:xfrm>
        </p:grpSpPr>
        <p:cxnSp>
          <p:nvCxnSpPr>
            <p:cNvPr id="111" name="HorizontalLine7">
              <a:extLst>
                <a:ext uri="{FF2B5EF4-FFF2-40B4-BE49-F238E27FC236}">
                  <a16:creationId xmlns:a16="http://schemas.microsoft.com/office/drawing/2014/main" id="{0465AE4B-F1E5-C7BC-1CE2-53BD5733D091}"/>
                </a:ext>
              </a:extLst>
            </p:cNvPr>
            <p:cNvCxnSpPr>
              <a:cxnSpLocks/>
            </p:cNvCxnSpPr>
            <p:nvPr/>
          </p:nvCxnSpPr>
          <p:spPr>
            <a:xfrm>
              <a:off x="5653175" y="1454932"/>
              <a:ext cx="3240000"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itle66">
              <a:extLst>
                <a:ext uri="{FF2B5EF4-FFF2-40B4-BE49-F238E27FC236}">
                  <a16:creationId xmlns:a16="http://schemas.microsoft.com/office/drawing/2014/main" id="{36D9AEA2-4CF5-82A6-E00F-EDE1D82BB616}"/>
                </a:ext>
              </a:extLst>
            </p:cNvPr>
            <p:cNvSpPr txBox="1">
              <a:spLocks/>
            </p:cNvSpPr>
            <p:nvPr/>
          </p:nvSpPr>
          <p:spPr>
            <a:xfrm>
              <a:off x="5653175" y="1216534"/>
              <a:ext cx="3240000" cy="238399"/>
            </a:xfrm>
            <a:prstGeom prst="rect">
              <a:avLst/>
            </a:prstGeom>
            <a:noFill/>
            <a:ln w="9525">
              <a:noFill/>
            </a:ln>
          </p:spPr>
          <p:txBody>
            <a:bodyPr vert="horz" wrap="square" lIns="0" tIns="0" rIns="0" bIns="53213" rtlCol="0" anchor="b">
              <a:spAutoFit/>
            </a:bodyPr>
            <a:lstStyle/>
            <a:p>
              <a:r>
                <a:rPr lang="en-US" sz="1200" b="1">
                  <a:sym typeface="+mn-lt"/>
                </a:rPr>
                <a:t>Cumulated LNG investment by region </a:t>
              </a:r>
              <a:r>
                <a:rPr lang="en-US" sz="1200">
                  <a:sym typeface="+mn-lt"/>
                </a:rPr>
                <a:t>[2021-'50; USD bn]</a:t>
              </a:r>
            </a:p>
          </p:txBody>
        </p:sp>
      </p:grpSp>
      <p:grpSp>
        <p:nvGrpSpPr>
          <p:cNvPr id="113" name="Gruppieren 38">
            <a:extLst>
              <a:ext uri="{FF2B5EF4-FFF2-40B4-BE49-F238E27FC236}">
                <a16:creationId xmlns:a16="http://schemas.microsoft.com/office/drawing/2014/main" id="{46004DD6-D69C-7F92-3CC0-9449F011E027}"/>
              </a:ext>
            </a:extLst>
          </p:cNvPr>
          <p:cNvGrpSpPr/>
          <p:nvPr/>
        </p:nvGrpSpPr>
        <p:grpSpPr>
          <a:xfrm>
            <a:off x="4781516" y="1665420"/>
            <a:ext cx="4133605" cy="238399"/>
            <a:chOff x="5653175" y="1216534"/>
            <a:chExt cx="3240000" cy="238399"/>
          </a:xfrm>
        </p:grpSpPr>
        <p:cxnSp>
          <p:nvCxnSpPr>
            <p:cNvPr id="114" name="HorizontalLine7">
              <a:extLst>
                <a:ext uri="{FF2B5EF4-FFF2-40B4-BE49-F238E27FC236}">
                  <a16:creationId xmlns:a16="http://schemas.microsoft.com/office/drawing/2014/main" id="{F2D1FE5C-92A4-F8DD-F37C-60E9F027A973}"/>
                </a:ext>
              </a:extLst>
            </p:cNvPr>
            <p:cNvCxnSpPr>
              <a:cxnSpLocks/>
            </p:cNvCxnSpPr>
            <p:nvPr/>
          </p:nvCxnSpPr>
          <p:spPr>
            <a:xfrm>
              <a:off x="5653175" y="1454932"/>
              <a:ext cx="3240000"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5" name="Title66">
              <a:extLst>
                <a:ext uri="{FF2B5EF4-FFF2-40B4-BE49-F238E27FC236}">
                  <a16:creationId xmlns:a16="http://schemas.microsoft.com/office/drawing/2014/main" id="{26BB6929-91DA-A27C-29BA-D2C3130DA9D3}"/>
                </a:ext>
              </a:extLst>
            </p:cNvPr>
            <p:cNvSpPr txBox="1">
              <a:spLocks/>
            </p:cNvSpPr>
            <p:nvPr/>
          </p:nvSpPr>
          <p:spPr>
            <a:xfrm>
              <a:off x="5653175" y="1216534"/>
              <a:ext cx="3240000" cy="238399"/>
            </a:xfrm>
            <a:prstGeom prst="rect">
              <a:avLst/>
            </a:prstGeom>
            <a:noFill/>
            <a:ln w="9525">
              <a:noFill/>
            </a:ln>
          </p:spPr>
          <p:txBody>
            <a:bodyPr vert="horz" wrap="square" lIns="0" tIns="0" rIns="0" bIns="53213" rtlCol="0" anchor="b">
              <a:spAutoFit/>
            </a:bodyPr>
            <a:lstStyle/>
            <a:p>
              <a:r>
                <a:rPr lang="en-US" sz="1200" b="1">
                  <a:sym typeface="+mn-lt"/>
                </a:rPr>
                <a:t>Top 5 projects currently under development</a:t>
              </a:r>
            </a:p>
          </p:txBody>
        </p:sp>
      </p:grpSp>
      <p:sp>
        <p:nvSpPr>
          <p:cNvPr id="116" name="TextBox 3">
            <a:extLst>
              <a:ext uri="{FF2B5EF4-FFF2-40B4-BE49-F238E27FC236}">
                <a16:creationId xmlns:a16="http://schemas.microsoft.com/office/drawing/2014/main" id="{0A552104-1B89-9611-4423-ABC7A83384AA}"/>
              </a:ext>
            </a:extLst>
          </p:cNvPr>
          <p:cNvSpPr txBox="1"/>
          <p:nvPr/>
        </p:nvSpPr>
        <p:spPr>
          <a:xfrm>
            <a:off x="190222" y="1404762"/>
            <a:ext cx="7579731" cy="276999"/>
          </a:xfrm>
          <a:prstGeom prst="rect">
            <a:avLst/>
          </a:prstGeom>
          <a:noFill/>
        </p:spPr>
        <p:txBody>
          <a:bodyPr wrap="square">
            <a:spAutoFit/>
          </a:bodyPr>
          <a:lstStyle/>
          <a:p>
            <a:r>
              <a:rPr lang="en-US" sz="1200">
                <a:solidFill>
                  <a:schemeClr val="tx2"/>
                </a:solidFill>
                <a:latin typeface="+mj-lt"/>
                <a:cs typeface="+mj-cs"/>
                <a:sym typeface="+mn-lt"/>
              </a:rPr>
              <a:t>Cumulated LNG investment outlook and major current projects</a:t>
            </a:r>
            <a:endParaRPr lang="en-GB" sz="1200">
              <a:solidFill>
                <a:schemeClr val="tx2"/>
              </a:solidFill>
            </a:endParaRPr>
          </a:p>
        </p:txBody>
      </p:sp>
      <p:sp>
        <p:nvSpPr>
          <p:cNvPr id="117" name="Source">
            <a:extLst>
              <a:ext uri="{FF2B5EF4-FFF2-40B4-BE49-F238E27FC236}">
                <a16:creationId xmlns:a16="http://schemas.microsoft.com/office/drawing/2014/main" id="{092436CC-0275-B8B4-F0B7-59A57D153958}"/>
              </a:ext>
            </a:extLst>
          </p:cNvPr>
          <p:cNvSpPr txBox="1"/>
          <p:nvPr/>
        </p:nvSpPr>
        <p:spPr>
          <a:xfrm>
            <a:off x="7633942" y="1514373"/>
            <a:ext cx="1327286"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dirty="0">
                <a:sym typeface="+mn-lt"/>
              </a:rPr>
              <a:t>Source: Desk research, Roland Berger</a:t>
            </a:r>
          </a:p>
        </p:txBody>
      </p:sp>
    </p:spTree>
    <p:extLst>
      <p:ext uri="{BB962C8B-B14F-4D97-AF65-F5344CB8AC3E}">
        <p14:creationId xmlns:p14="http://schemas.microsoft.com/office/powerpoint/2010/main" val="3973390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5">
            <a:extLst>
              <a:ext uri="{FF2B5EF4-FFF2-40B4-BE49-F238E27FC236}">
                <a16:creationId xmlns:a16="http://schemas.microsoft.com/office/drawing/2014/main" id="{C57A0B68-948F-CBED-97A5-A01371066D12}"/>
              </a:ext>
            </a:extLst>
          </p:cNvPr>
          <p:cNvSpPr>
            <a:spLocks noGrp="1"/>
          </p:cNvSpPr>
          <p:nvPr>
            <p:ph type="title"/>
          </p:nvPr>
        </p:nvSpPr>
        <p:spPr>
          <a:xfrm>
            <a:off x="250825" y="842963"/>
            <a:ext cx="8642350" cy="1101725"/>
          </a:xfrm>
        </p:spPr>
        <p:txBody>
          <a:bodyPr/>
          <a:lstStyle/>
          <a:p>
            <a:pPr>
              <a:lnSpc>
                <a:spcPct val="100000"/>
              </a:lnSpc>
            </a:pPr>
            <a:r>
              <a:rPr lang="en-US" sz="2000" dirty="0"/>
              <a:t>Downstream, refineries investments are growing, yet mostly focused in APAC and Middle East</a:t>
            </a:r>
            <a:endParaRPr lang="it-IT" sz="59500" dirty="0"/>
          </a:p>
        </p:txBody>
      </p:sp>
      <p:sp>
        <p:nvSpPr>
          <p:cNvPr id="2" name="Source">
            <a:extLst>
              <a:ext uri="{FF2B5EF4-FFF2-40B4-BE49-F238E27FC236}">
                <a16:creationId xmlns:a16="http://schemas.microsoft.com/office/drawing/2014/main" id="{C5336238-1FA0-8F6F-C273-0F5507E82154}"/>
              </a:ext>
            </a:extLst>
          </p:cNvPr>
          <p:cNvSpPr txBox="1"/>
          <p:nvPr/>
        </p:nvSpPr>
        <p:spPr>
          <a:xfrm>
            <a:off x="7565889" y="1466202"/>
            <a:ext cx="1327286"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a:sym typeface="+mn-lt"/>
              </a:rPr>
              <a:t>Source: Desk research, Roland Berger</a:t>
            </a:r>
          </a:p>
        </p:txBody>
      </p:sp>
      <p:sp>
        <p:nvSpPr>
          <p:cNvPr id="3" name="Notes">
            <a:extLst>
              <a:ext uri="{FF2B5EF4-FFF2-40B4-BE49-F238E27FC236}">
                <a16:creationId xmlns:a16="http://schemas.microsoft.com/office/drawing/2014/main" id="{66E9BBE5-67AC-51B1-CF6B-C03EDED05CF1}"/>
              </a:ext>
            </a:extLst>
          </p:cNvPr>
          <p:cNvSpPr txBox="1">
            <a:spLocks/>
          </p:cNvSpPr>
          <p:nvPr/>
        </p:nvSpPr>
        <p:spPr>
          <a:xfrm>
            <a:off x="7565889" y="1317605"/>
            <a:ext cx="613951" cy="92333"/>
          </a:xfrm>
          <a:prstGeom prst="rect">
            <a:avLst/>
          </a:prstGeom>
          <a:noFill/>
          <a:ln w="9525">
            <a:noFill/>
          </a:ln>
        </p:spPr>
        <p:txBody>
          <a:bodyPr vert="horz" wrap="none" lIns="0" tIns="0" rIns="0" bIns="0" rtlCol="0" anchor="b" anchorCtr="0">
            <a:spAutoFit/>
          </a:bodyPr>
          <a:lstStyle>
            <a:defPPr>
              <a:defRPr lang="en-EN"/>
            </a:defPPr>
            <a:lvl1pPr lvl="0">
              <a:lnSpc>
                <a:spcPct val="100000"/>
              </a:lnSpc>
              <a:spcBef>
                <a:spcPts val="0"/>
              </a:spcBef>
              <a:spcAft>
                <a:spcPts val="0"/>
              </a:spcAft>
              <a:buSzPct val="100000"/>
              <a:defRPr sz="800" b="0">
                <a:solidFill>
                  <a:schemeClr val="tx2"/>
                </a:solidFill>
                <a:latin typeface="+mn-lt"/>
              </a:defRPr>
            </a:lvl1pPr>
          </a:lstStyle>
          <a:p>
            <a:r>
              <a:rPr lang="en-US" sz="600">
                <a:sym typeface="+mn-lt"/>
              </a:rPr>
              <a:t>1) Barrels per day</a:t>
            </a:r>
          </a:p>
        </p:txBody>
      </p:sp>
      <p:graphicFrame>
        <p:nvGraphicFramePr>
          <p:cNvPr id="4" name="Chart 53">
            <a:extLst>
              <a:ext uri="{FF2B5EF4-FFF2-40B4-BE49-F238E27FC236}">
                <a16:creationId xmlns:a16="http://schemas.microsoft.com/office/drawing/2014/main" id="{AEBEF069-F2C0-BFCE-F95A-24C57D056B25}"/>
              </a:ext>
            </a:extLst>
          </p:cNvPr>
          <p:cNvGraphicFramePr/>
          <p:nvPr>
            <p:custDataLst>
              <p:tags r:id="rId1"/>
            </p:custDataLst>
            <p:extLst>
              <p:ext uri="{D42A27DB-BD31-4B8C-83A1-F6EECF244321}">
                <p14:modId xmlns:p14="http://schemas.microsoft.com/office/powerpoint/2010/main" val="2426092099"/>
              </p:ext>
            </p:extLst>
          </p:nvPr>
        </p:nvGraphicFramePr>
        <p:xfrm>
          <a:off x="170485" y="2272097"/>
          <a:ext cx="2530475" cy="2327275"/>
        </p:xfrm>
        <a:graphic>
          <a:graphicData uri="http://schemas.openxmlformats.org/drawingml/2006/chart">
            <c:chart xmlns:c="http://schemas.openxmlformats.org/drawingml/2006/chart" xmlns:r="http://schemas.openxmlformats.org/officeDocument/2006/relationships" r:id="rId46"/>
          </a:graphicData>
        </a:graphic>
      </p:graphicFrame>
      <p:sp useBgFill="1">
        <p:nvSpPr>
          <p:cNvPr id="5" name="Freeform: Shape 44">
            <a:extLst>
              <a:ext uri="{FF2B5EF4-FFF2-40B4-BE49-F238E27FC236}">
                <a16:creationId xmlns:a16="http://schemas.microsoft.com/office/drawing/2014/main" id="{44AA4F13-69F5-30DE-885A-9F840DD6912B}"/>
              </a:ext>
            </a:extLst>
          </p:cNvPr>
          <p:cNvSpPr/>
          <p:nvPr>
            <p:custDataLst>
              <p:tags r:id="rId2"/>
            </p:custDataLst>
          </p:nvPr>
        </p:nvSpPr>
        <p:spPr bwMode="auto">
          <a:xfrm>
            <a:off x="994398" y="4443797"/>
            <a:ext cx="96838" cy="146051"/>
          </a:xfrm>
          <a:custGeom>
            <a:avLst/>
            <a:gdLst/>
            <a:ahLst/>
            <a:cxnLst/>
            <a:rect l="0" t="0" r="0" b="0"/>
            <a:pathLst>
              <a:path w="96838" h="146051">
                <a:moveTo>
                  <a:pt x="96837" y="0"/>
                </a:moveTo>
                <a:lnTo>
                  <a:pt x="57150" y="146050"/>
                </a:lnTo>
                <a:lnTo>
                  <a:pt x="0" y="146050"/>
                </a:lnTo>
                <a:lnTo>
                  <a:pt x="39687"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7" name="Freeform: Shape 52">
            <a:extLst>
              <a:ext uri="{FF2B5EF4-FFF2-40B4-BE49-F238E27FC236}">
                <a16:creationId xmlns:a16="http://schemas.microsoft.com/office/drawing/2014/main" id="{65DF550C-BC2D-0160-BA4F-DB78348CEF59}"/>
              </a:ext>
            </a:extLst>
          </p:cNvPr>
          <p:cNvSpPr/>
          <p:nvPr>
            <p:custDataLst>
              <p:tags r:id="rId3"/>
            </p:custDataLst>
          </p:nvPr>
        </p:nvSpPr>
        <p:spPr bwMode="auto">
          <a:xfrm>
            <a:off x="1781798" y="4443797"/>
            <a:ext cx="96838" cy="146051"/>
          </a:xfrm>
          <a:custGeom>
            <a:avLst/>
            <a:gdLst/>
            <a:ahLst/>
            <a:cxnLst/>
            <a:rect l="0" t="0" r="0" b="0"/>
            <a:pathLst>
              <a:path w="96838" h="146051">
                <a:moveTo>
                  <a:pt x="96837" y="0"/>
                </a:moveTo>
                <a:lnTo>
                  <a:pt x="57150" y="146050"/>
                </a:lnTo>
                <a:lnTo>
                  <a:pt x="0" y="146050"/>
                </a:lnTo>
                <a:lnTo>
                  <a:pt x="39687"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Shape 12">
            <a:extLst>
              <a:ext uri="{FF2B5EF4-FFF2-40B4-BE49-F238E27FC236}">
                <a16:creationId xmlns:a16="http://schemas.microsoft.com/office/drawing/2014/main" id="{3B6504FD-1F60-1EAD-33FF-4C394019549F}"/>
              </a:ext>
            </a:extLst>
          </p:cNvPr>
          <p:cNvSpPr/>
          <p:nvPr>
            <p:custDataLst>
              <p:tags r:id="rId4"/>
            </p:custDataLst>
          </p:nvPr>
        </p:nvSpPr>
        <p:spPr bwMode="auto">
          <a:xfrm>
            <a:off x="994398" y="4443797"/>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Freeform: Shape 13">
            <a:extLst>
              <a:ext uri="{FF2B5EF4-FFF2-40B4-BE49-F238E27FC236}">
                <a16:creationId xmlns:a16="http://schemas.microsoft.com/office/drawing/2014/main" id="{74A64FD1-75F1-99AF-8DFE-45065AC2D656}"/>
              </a:ext>
            </a:extLst>
          </p:cNvPr>
          <p:cNvSpPr/>
          <p:nvPr>
            <p:custDataLst>
              <p:tags r:id="rId5"/>
            </p:custDataLst>
          </p:nvPr>
        </p:nvSpPr>
        <p:spPr bwMode="auto">
          <a:xfrm>
            <a:off x="1051548" y="4443797"/>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Freeform: Shape 50">
            <a:extLst>
              <a:ext uri="{FF2B5EF4-FFF2-40B4-BE49-F238E27FC236}">
                <a16:creationId xmlns:a16="http://schemas.microsoft.com/office/drawing/2014/main" id="{5E3F5AD9-A603-C336-0BB3-EFFDE13C94D6}"/>
              </a:ext>
            </a:extLst>
          </p:cNvPr>
          <p:cNvSpPr/>
          <p:nvPr>
            <p:custDataLst>
              <p:tags r:id="rId6"/>
            </p:custDataLst>
          </p:nvPr>
        </p:nvSpPr>
        <p:spPr bwMode="auto">
          <a:xfrm>
            <a:off x="1781798" y="4443797"/>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Freeform: Shape 51">
            <a:extLst>
              <a:ext uri="{FF2B5EF4-FFF2-40B4-BE49-F238E27FC236}">
                <a16:creationId xmlns:a16="http://schemas.microsoft.com/office/drawing/2014/main" id="{DE470A92-8369-01F2-E57A-EB4D6FFD585B}"/>
              </a:ext>
            </a:extLst>
          </p:cNvPr>
          <p:cNvSpPr/>
          <p:nvPr>
            <p:custDataLst>
              <p:tags r:id="rId7"/>
            </p:custDataLst>
          </p:nvPr>
        </p:nvSpPr>
        <p:spPr bwMode="auto">
          <a:xfrm>
            <a:off x="1838948" y="4443797"/>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2" name="Straight Connector 14">
            <a:extLst>
              <a:ext uri="{FF2B5EF4-FFF2-40B4-BE49-F238E27FC236}">
                <a16:creationId xmlns:a16="http://schemas.microsoft.com/office/drawing/2014/main" id="{5D0C6662-68D4-0D82-2E87-B93C508259B0}"/>
              </a:ext>
            </a:extLst>
          </p:cNvPr>
          <p:cNvCxnSpPr/>
          <p:nvPr>
            <p:custDataLst>
              <p:tags r:id="rId8"/>
            </p:custDataLst>
          </p:nvPr>
        </p:nvCxnSpPr>
        <p:spPr bwMode="gray">
          <a:xfrm flipV="1">
            <a:off x="646735" y="2106997"/>
            <a:ext cx="788988" cy="171450"/>
          </a:xfrm>
          <a:prstGeom prst="line">
            <a:avLst/>
          </a:prstGeom>
          <a:ln w="6350" cap="flat" cmpd="sng" algn="ctr">
            <a:solidFill>
              <a:schemeClr val="tx2"/>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 name="Straight Connector 15">
            <a:extLst>
              <a:ext uri="{FF2B5EF4-FFF2-40B4-BE49-F238E27FC236}">
                <a16:creationId xmlns:a16="http://schemas.microsoft.com/office/drawing/2014/main" id="{44720F8A-9EBA-0A70-83C7-497C3EEE45E3}"/>
              </a:ext>
            </a:extLst>
          </p:cNvPr>
          <p:cNvCxnSpPr/>
          <p:nvPr>
            <p:custDataLst>
              <p:tags r:id="rId9"/>
            </p:custDataLst>
          </p:nvPr>
        </p:nvCxnSpPr>
        <p:spPr bwMode="gray">
          <a:xfrm flipV="1">
            <a:off x="1435723" y="2030797"/>
            <a:ext cx="787400" cy="76200"/>
          </a:xfrm>
          <a:prstGeom prst="line">
            <a:avLst/>
          </a:prstGeom>
          <a:ln w="6350" cap="flat" cmpd="sng" algn="ctr">
            <a:solidFill>
              <a:schemeClr val="tx2"/>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 name="Text Placeholder">
            <a:extLst>
              <a:ext uri="{FF2B5EF4-FFF2-40B4-BE49-F238E27FC236}">
                <a16:creationId xmlns:a16="http://schemas.microsoft.com/office/drawing/2014/main" id="{C2BE3EB2-77F6-39C8-7851-F05E01BB832C}"/>
              </a:ext>
            </a:extLst>
          </p:cNvPr>
          <p:cNvSpPr>
            <a:spLocks noGrp="1"/>
          </p:cNvSpPr>
          <p:nvPr>
            <p:custDataLst>
              <p:tags r:id="rId10"/>
            </p:custDataLst>
          </p:nvPr>
        </p:nvSpPr>
        <p:spPr bwMode="gray">
          <a:xfrm>
            <a:off x="1291260" y="2686434"/>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CD16E07-E506-46B7-BE68-EC5D54F0BC6A}" type="datetime'''''''''''''''''''''1''1''''''''%'''''''''''''''''">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11%</a:t>
            </a:fld>
            <a:endParaRPr lang="en-US" sz="1000">
              <a:solidFill>
                <a:schemeClr val="bg1"/>
              </a:solidFill>
              <a:sym typeface="Arial" panose="020B0604020202020204" pitchFamily="34" charset="0"/>
            </a:endParaRPr>
          </a:p>
        </p:txBody>
      </p:sp>
      <p:sp>
        <p:nvSpPr>
          <p:cNvPr id="15" name="Text Placeholder">
            <a:extLst>
              <a:ext uri="{FF2B5EF4-FFF2-40B4-BE49-F238E27FC236}">
                <a16:creationId xmlns:a16="http://schemas.microsoft.com/office/drawing/2014/main" id="{2C10F830-C7AD-B11A-3A50-34344569550B}"/>
              </a:ext>
            </a:extLst>
          </p:cNvPr>
          <p:cNvSpPr>
            <a:spLocks noGrp="1"/>
          </p:cNvSpPr>
          <p:nvPr>
            <p:custDataLst>
              <p:tags r:id="rId11"/>
            </p:custDataLst>
          </p:nvPr>
        </p:nvSpPr>
        <p:spPr bwMode="gray">
          <a:xfrm>
            <a:off x="1291260" y="2465772"/>
            <a:ext cx="290513" cy="152400"/>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633A41C-C9CC-4D45-93BC-5E949EF0ACC2}" type="datetime'''''''''''''''''''''''''1''''''''1''''%'''''''''''''''''''''">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11%</a:t>
            </a:fld>
            <a:endParaRPr lang="en-US" sz="1000">
              <a:solidFill>
                <a:schemeClr val="bg1"/>
              </a:solidFill>
              <a:sym typeface="Arial" panose="020B0604020202020204" pitchFamily="34" charset="0"/>
            </a:endParaRPr>
          </a:p>
        </p:txBody>
      </p:sp>
      <p:sp>
        <p:nvSpPr>
          <p:cNvPr id="16" name="Text Placeholder">
            <a:extLst>
              <a:ext uri="{FF2B5EF4-FFF2-40B4-BE49-F238E27FC236}">
                <a16:creationId xmlns:a16="http://schemas.microsoft.com/office/drawing/2014/main" id="{AEB43327-F441-8850-5B56-A1E8273FDA46}"/>
              </a:ext>
            </a:extLst>
          </p:cNvPr>
          <p:cNvSpPr>
            <a:spLocks noGrp="1"/>
          </p:cNvSpPr>
          <p:nvPr>
            <p:custDataLst>
              <p:tags r:id="rId12"/>
            </p:custDataLst>
          </p:nvPr>
        </p:nvSpPr>
        <p:spPr bwMode="auto">
          <a:xfrm>
            <a:off x="1289673" y="4559684"/>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D87679C-13B2-4810-BC17-5D93197475AA}" type="datetime'''''''''''''''''''20''''''''''''''2''''''5'''''''''''''">
              <a:rPr lang="en-US" altLang="en-US" sz="1000" smtClean="0">
                <a:sym typeface="Arial" panose="020B0604020202020204" pitchFamily="34" charset="0"/>
              </a:rPr>
              <a:pPr algn="ctr" defTabSz="685800">
                <a:spcBef>
                  <a:spcPct val="0"/>
                </a:spcBef>
                <a:buSzPct val="100000"/>
                <a:buFont typeface="+mn-lt" pitchFamily="34" charset="0"/>
              </a:pPr>
              <a:t>2025</a:t>
            </a:fld>
            <a:endParaRPr lang="de-DE" sz="1000">
              <a:sym typeface="Arial" panose="020B0604020202020204" pitchFamily="34" charset="0"/>
            </a:endParaRPr>
          </a:p>
        </p:txBody>
      </p:sp>
      <p:sp>
        <p:nvSpPr>
          <p:cNvPr id="17" name="Text Placeholder">
            <a:extLst>
              <a:ext uri="{FF2B5EF4-FFF2-40B4-BE49-F238E27FC236}">
                <a16:creationId xmlns:a16="http://schemas.microsoft.com/office/drawing/2014/main" id="{B328DD75-7629-3B98-1B75-84A9037B2DBC}"/>
              </a:ext>
            </a:extLst>
          </p:cNvPr>
          <p:cNvSpPr>
            <a:spLocks noGrp="1"/>
          </p:cNvSpPr>
          <p:nvPr>
            <p:custDataLst>
              <p:tags r:id="rId13"/>
            </p:custDataLst>
          </p:nvPr>
        </p:nvSpPr>
        <p:spPr bwMode="gray">
          <a:xfrm>
            <a:off x="2078660" y="4029459"/>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AB703D23-E508-47A0-858C-5E4BC9D488E0}" type="datetime'''''''''''''''''''''''''''3''''8''''''''''''''''%'''''''''''">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38%</a:t>
            </a:fld>
            <a:endParaRPr lang="en-US" sz="1000">
              <a:solidFill>
                <a:schemeClr val="bg1"/>
              </a:solidFill>
              <a:sym typeface="Arial" panose="020B0604020202020204" pitchFamily="34" charset="0"/>
            </a:endParaRPr>
          </a:p>
        </p:txBody>
      </p:sp>
      <p:sp>
        <p:nvSpPr>
          <p:cNvPr id="18" name="Text Placeholder">
            <a:extLst>
              <a:ext uri="{FF2B5EF4-FFF2-40B4-BE49-F238E27FC236}">
                <a16:creationId xmlns:a16="http://schemas.microsoft.com/office/drawing/2014/main" id="{D175A029-FF31-3F04-AC07-8E5507244E8F}"/>
              </a:ext>
            </a:extLst>
          </p:cNvPr>
          <p:cNvSpPr>
            <a:spLocks noGrp="1"/>
          </p:cNvSpPr>
          <p:nvPr>
            <p:custDataLst>
              <p:tags r:id="rId14"/>
            </p:custDataLst>
          </p:nvPr>
        </p:nvSpPr>
        <p:spPr bwMode="gray">
          <a:xfrm>
            <a:off x="2078660" y="3405572"/>
            <a:ext cx="290513" cy="152400"/>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4CB083E7-2736-4EF7-A12E-39FDDE24FCF7}" type="datetime'''''''''''''''''''''''20''''%'">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20%</a:t>
            </a:fld>
            <a:endParaRPr lang="en-US" sz="1000">
              <a:solidFill>
                <a:schemeClr val="bg1"/>
              </a:solidFill>
              <a:sym typeface="Arial" panose="020B0604020202020204" pitchFamily="34" charset="0"/>
            </a:endParaRPr>
          </a:p>
        </p:txBody>
      </p:sp>
      <p:sp>
        <p:nvSpPr>
          <p:cNvPr id="19" name="Text Placeholder">
            <a:extLst>
              <a:ext uri="{FF2B5EF4-FFF2-40B4-BE49-F238E27FC236}">
                <a16:creationId xmlns:a16="http://schemas.microsoft.com/office/drawing/2014/main" id="{0458E7CF-B408-B4F0-01CB-07AC02CF9A62}"/>
              </a:ext>
            </a:extLst>
          </p:cNvPr>
          <p:cNvSpPr>
            <a:spLocks noGrp="1"/>
          </p:cNvSpPr>
          <p:nvPr>
            <p:custDataLst>
              <p:tags r:id="rId15"/>
            </p:custDataLst>
          </p:nvPr>
        </p:nvSpPr>
        <p:spPr bwMode="gray">
          <a:xfrm>
            <a:off x="2078660" y="2983297"/>
            <a:ext cx="290513"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942F9EA-B539-4F3F-9B88-911FE4682433}" type="datetime'''''1''''''''''''9''''''''''''''''''%'''''''''''''''''''''">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19%</a:t>
            </a:fld>
            <a:endParaRPr lang="en-US" sz="1000">
              <a:solidFill>
                <a:schemeClr val="bg1"/>
              </a:solidFill>
              <a:sym typeface="Arial" panose="020B0604020202020204" pitchFamily="34" charset="0"/>
            </a:endParaRPr>
          </a:p>
        </p:txBody>
      </p:sp>
      <p:sp>
        <p:nvSpPr>
          <p:cNvPr id="20" name="Text Placeholder">
            <a:extLst>
              <a:ext uri="{FF2B5EF4-FFF2-40B4-BE49-F238E27FC236}">
                <a16:creationId xmlns:a16="http://schemas.microsoft.com/office/drawing/2014/main" id="{B7A6205E-4425-2D5B-10FA-C5A844CEEAE4}"/>
              </a:ext>
            </a:extLst>
          </p:cNvPr>
          <p:cNvSpPr>
            <a:spLocks noGrp="1"/>
          </p:cNvSpPr>
          <p:nvPr>
            <p:custDataLst>
              <p:tags r:id="rId16"/>
            </p:custDataLst>
          </p:nvPr>
        </p:nvSpPr>
        <p:spPr bwMode="gray">
          <a:xfrm>
            <a:off x="2078660" y="2648334"/>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DBC2C673-2AEA-4617-8E4E-B2967719AA28}" type="datetime'''''''''1''2''''''''''''''''''''''''''''''''''''''''''%'''''''">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12%</a:t>
            </a:fld>
            <a:endParaRPr lang="en-US" sz="1000">
              <a:solidFill>
                <a:schemeClr val="bg1"/>
              </a:solidFill>
              <a:sym typeface="Arial" panose="020B0604020202020204" pitchFamily="34" charset="0"/>
            </a:endParaRPr>
          </a:p>
        </p:txBody>
      </p:sp>
      <p:sp>
        <p:nvSpPr>
          <p:cNvPr id="21" name="Text Placeholder">
            <a:extLst>
              <a:ext uri="{FF2B5EF4-FFF2-40B4-BE49-F238E27FC236}">
                <a16:creationId xmlns:a16="http://schemas.microsoft.com/office/drawing/2014/main" id="{0C71AC21-3B4B-C99C-C295-DD7F6191805C}"/>
              </a:ext>
            </a:extLst>
          </p:cNvPr>
          <p:cNvSpPr>
            <a:spLocks noGrp="1"/>
          </p:cNvSpPr>
          <p:nvPr>
            <p:custDataLst>
              <p:tags r:id="rId17"/>
            </p:custDataLst>
          </p:nvPr>
        </p:nvSpPr>
        <p:spPr bwMode="gray">
          <a:xfrm>
            <a:off x="2078660" y="2400684"/>
            <a:ext cx="290513" cy="152400"/>
          </a:xfrm>
          <a:prstGeom prst="rect">
            <a:avLst/>
          </a:prstGeom>
          <a:noFill/>
          <a:ln>
            <a:noFill/>
          </a:ln>
          <a:effectLst/>
          <a:extLst>
            <a:ext uri="{909E8E84-426E-40DD-AFC4-6F175D3DCCD1}">
              <a14:hiddenFill xmlns:a14="http://schemas.microsoft.com/office/drawing/2010/main">
                <a:solidFill>
                  <a:schemeClr val="bg2"/>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298B0148-31CE-44C8-8009-B064E3526ABE}" type="datetime'''1''''''''''''''''''''1''''''''''''''''%'''">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11%</a:t>
            </a:fld>
            <a:endParaRPr lang="en-US" sz="1000">
              <a:solidFill>
                <a:schemeClr val="bg1"/>
              </a:solidFill>
              <a:sym typeface="Arial" panose="020B0604020202020204" pitchFamily="34" charset="0"/>
            </a:endParaRPr>
          </a:p>
        </p:txBody>
      </p:sp>
      <p:sp>
        <p:nvSpPr>
          <p:cNvPr id="22" name="Text Placeholder">
            <a:extLst>
              <a:ext uri="{FF2B5EF4-FFF2-40B4-BE49-F238E27FC236}">
                <a16:creationId xmlns:a16="http://schemas.microsoft.com/office/drawing/2014/main" id="{3D114959-6764-D44F-9F69-F22329303BD7}"/>
              </a:ext>
            </a:extLst>
          </p:cNvPr>
          <p:cNvSpPr>
            <a:spLocks noGrp="1"/>
          </p:cNvSpPr>
          <p:nvPr>
            <p:custDataLst>
              <p:tags r:id="rId18"/>
            </p:custDataLst>
          </p:nvPr>
        </p:nvSpPr>
        <p:spPr bwMode="auto">
          <a:xfrm>
            <a:off x="2077073" y="4559684"/>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1DF3F6A7-3148-4F6B-AE2E-8A0667815A56}" type="datetime'''''''''''''2''0''4''''''''''''''''''0'''">
              <a:rPr lang="en-US" altLang="en-US" sz="1000" smtClean="0">
                <a:sym typeface="Arial" panose="020B0604020202020204" pitchFamily="34" charset="0"/>
              </a:rPr>
              <a:pPr algn="ctr" defTabSz="685800">
                <a:spcBef>
                  <a:spcPct val="0"/>
                </a:spcBef>
                <a:buSzPct val="100000"/>
                <a:buFont typeface="+mn-lt" pitchFamily="34" charset="0"/>
              </a:pPr>
              <a:t>2040</a:t>
            </a:fld>
            <a:endParaRPr lang="de-DE" sz="1000">
              <a:sym typeface="Arial" panose="020B0604020202020204" pitchFamily="34" charset="0"/>
            </a:endParaRPr>
          </a:p>
        </p:txBody>
      </p:sp>
      <p:sp>
        <p:nvSpPr>
          <p:cNvPr id="23" name="Text Placeholder">
            <a:extLst>
              <a:ext uri="{FF2B5EF4-FFF2-40B4-BE49-F238E27FC236}">
                <a16:creationId xmlns:a16="http://schemas.microsoft.com/office/drawing/2014/main" id="{90BEDCD3-EE2B-C215-386E-7AB0036FC641}"/>
              </a:ext>
            </a:extLst>
          </p:cNvPr>
          <p:cNvSpPr>
            <a:spLocks noGrp="1"/>
          </p:cNvSpPr>
          <p:nvPr>
            <p:custDataLst>
              <p:tags r:id="rId19"/>
            </p:custDataLst>
          </p:nvPr>
        </p:nvSpPr>
        <p:spPr bwMode="gray">
          <a:xfrm>
            <a:off x="502273" y="4110422"/>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B1571144-014C-407D-9EED-569C8CE878E5}" type="datetime'''''''''''''3''''''''''''''''4%'''''''''''''''''''''''''''''''">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34%</a:t>
            </a:fld>
            <a:endParaRPr lang="en-US" sz="1000">
              <a:solidFill>
                <a:schemeClr val="bg1"/>
              </a:solidFill>
              <a:sym typeface="Arial" panose="020B0604020202020204" pitchFamily="34" charset="0"/>
            </a:endParaRPr>
          </a:p>
        </p:txBody>
      </p:sp>
      <p:sp>
        <p:nvSpPr>
          <p:cNvPr id="24" name="Text Placeholder">
            <a:extLst>
              <a:ext uri="{FF2B5EF4-FFF2-40B4-BE49-F238E27FC236}">
                <a16:creationId xmlns:a16="http://schemas.microsoft.com/office/drawing/2014/main" id="{D3CB8704-C776-31EC-9128-C80A4FDB750A}"/>
              </a:ext>
            </a:extLst>
          </p:cNvPr>
          <p:cNvSpPr>
            <a:spLocks noGrp="1"/>
          </p:cNvSpPr>
          <p:nvPr>
            <p:custDataLst>
              <p:tags r:id="rId20"/>
            </p:custDataLst>
          </p:nvPr>
        </p:nvSpPr>
        <p:spPr bwMode="auto">
          <a:xfrm>
            <a:off x="2578723" y="3329372"/>
            <a:ext cx="4651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9591F200-9DAA-4DF8-90FC-AA398F5565C6}" type="datetime'N''''or''t''h''''''''&#10;''''A''''m''e''r''''''ica'">
              <a:rPr lang="en-US" altLang="en-US" sz="1000" smtClean="0">
                <a:sym typeface="Arial" panose="020B0604020202020204" pitchFamily="34" charset="0"/>
              </a:rPr>
              <a:pPr defTabSz="685800">
                <a:spcBef>
                  <a:spcPct val="0"/>
                </a:spcBef>
                <a:buSzPct val="100000"/>
                <a:buFont typeface="+mn-lt" pitchFamily="34" charset="0"/>
              </a:pPr>
              <a:t>North
America</a:t>
            </a:fld>
            <a:endParaRPr lang="en-US" sz="1000">
              <a:sym typeface="Arial" panose="020B0604020202020204" pitchFamily="34" charset="0"/>
            </a:endParaRPr>
          </a:p>
        </p:txBody>
      </p:sp>
      <p:sp>
        <p:nvSpPr>
          <p:cNvPr id="25" name="Text Placeholder">
            <a:extLst>
              <a:ext uri="{FF2B5EF4-FFF2-40B4-BE49-F238E27FC236}">
                <a16:creationId xmlns:a16="http://schemas.microsoft.com/office/drawing/2014/main" id="{AB099EAD-930F-7FCE-92FB-404635969549}"/>
              </a:ext>
            </a:extLst>
          </p:cNvPr>
          <p:cNvSpPr>
            <a:spLocks noGrp="1"/>
          </p:cNvSpPr>
          <p:nvPr>
            <p:custDataLst>
              <p:tags r:id="rId21"/>
            </p:custDataLst>
          </p:nvPr>
        </p:nvSpPr>
        <p:spPr bwMode="auto">
          <a:xfrm>
            <a:off x="2578723" y="2983297"/>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114CFC8A-9382-460D-A45D-2D53FFC96E70}" type="datetime'''Eu''''''''''''''''''''ro''p''''''''''''e'''''">
              <a:rPr lang="en-US" altLang="en-US" sz="1000" smtClean="0">
                <a:sym typeface="Arial" panose="020B0604020202020204" pitchFamily="34" charset="0"/>
              </a:rPr>
              <a:pPr defTabSz="685800">
                <a:spcBef>
                  <a:spcPct val="0"/>
                </a:spcBef>
                <a:buSzPct val="100000"/>
                <a:buFont typeface="+mn-lt" pitchFamily="34" charset="0"/>
              </a:pPr>
              <a:t>Europe</a:t>
            </a:fld>
            <a:endParaRPr lang="en-US" sz="1000">
              <a:sym typeface="Arial" panose="020B0604020202020204" pitchFamily="34" charset="0"/>
            </a:endParaRPr>
          </a:p>
        </p:txBody>
      </p:sp>
      <p:sp>
        <p:nvSpPr>
          <p:cNvPr id="26" name="Text Placeholder">
            <a:extLst>
              <a:ext uri="{FF2B5EF4-FFF2-40B4-BE49-F238E27FC236}">
                <a16:creationId xmlns:a16="http://schemas.microsoft.com/office/drawing/2014/main" id="{2FD9118B-6450-FDF4-30BB-74D25AD5EB63}"/>
              </a:ext>
            </a:extLst>
          </p:cNvPr>
          <p:cNvSpPr>
            <a:spLocks noGrp="1"/>
          </p:cNvSpPr>
          <p:nvPr>
            <p:custDataLst>
              <p:tags r:id="rId22"/>
            </p:custDataLst>
          </p:nvPr>
        </p:nvSpPr>
        <p:spPr bwMode="auto">
          <a:xfrm>
            <a:off x="2578723" y="2648334"/>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9E6E8FB3-DB9C-46FD-8789-7C61217A075E}" type="datetime'''M''''i''d''''d''''''''l''''''e'''''' ''''''''''''Ea''''st'">
              <a:rPr lang="en-US" altLang="en-US" sz="1000" smtClean="0">
                <a:sym typeface="Arial" panose="020B0604020202020204" pitchFamily="34" charset="0"/>
              </a:rPr>
              <a:pPr defTabSz="685800">
                <a:spcBef>
                  <a:spcPct val="0"/>
                </a:spcBef>
                <a:buSzPct val="100000"/>
                <a:buFont typeface="+mn-lt" pitchFamily="34" charset="0"/>
              </a:pPr>
              <a:t>Middle East</a:t>
            </a:fld>
            <a:endParaRPr lang="en-US" sz="1000">
              <a:sym typeface="Arial" panose="020B0604020202020204" pitchFamily="34" charset="0"/>
            </a:endParaRPr>
          </a:p>
        </p:txBody>
      </p:sp>
      <p:sp>
        <p:nvSpPr>
          <p:cNvPr id="27" name="Text Placeholder">
            <a:extLst>
              <a:ext uri="{FF2B5EF4-FFF2-40B4-BE49-F238E27FC236}">
                <a16:creationId xmlns:a16="http://schemas.microsoft.com/office/drawing/2014/main" id="{029DBF14-8852-2E8C-EDEE-AFE83069F757}"/>
              </a:ext>
            </a:extLst>
          </p:cNvPr>
          <p:cNvSpPr>
            <a:spLocks noGrp="1"/>
          </p:cNvSpPr>
          <p:nvPr>
            <p:custDataLst>
              <p:tags r:id="rId23"/>
            </p:custDataLst>
          </p:nvPr>
        </p:nvSpPr>
        <p:spPr bwMode="auto">
          <a:xfrm>
            <a:off x="2578723" y="2400684"/>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987966B1-5489-40FD-A212-D45380A6E22E}" type="datetime'''''''''''''''''''''''''''''''''''Ot''''h''''''e''r'''''''''''">
              <a:rPr lang="en-US" altLang="en-US" sz="1000" smtClean="0">
                <a:sym typeface="Arial" panose="020B0604020202020204" pitchFamily="34" charset="0"/>
              </a:rPr>
              <a:pPr defTabSz="685800">
                <a:spcBef>
                  <a:spcPct val="0"/>
                </a:spcBef>
                <a:buSzPct val="100000"/>
                <a:buFont typeface="+mn-lt" pitchFamily="34" charset="0"/>
              </a:pPr>
              <a:t>Other</a:t>
            </a:fld>
            <a:endParaRPr lang="en-US" sz="1000">
              <a:sym typeface="Arial" panose="020B0604020202020204" pitchFamily="34" charset="0"/>
            </a:endParaRPr>
          </a:p>
        </p:txBody>
      </p:sp>
      <p:sp>
        <p:nvSpPr>
          <p:cNvPr id="28" name="Text Placeholder">
            <a:extLst>
              <a:ext uri="{FF2B5EF4-FFF2-40B4-BE49-F238E27FC236}">
                <a16:creationId xmlns:a16="http://schemas.microsoft.com/office/drawing/2014/main" id="{BBF25871-3F91-CA27-8E95-11BFAA894B58}"/>
              </a:ext>
            </a:extLst>
          </p:cNvPr>
          <p:cNvSpPr>
            <a:spLocks noGrp="1"/>
          </p:cNvSpPr>
          <p:nvPr>
            <p:custDataLst>
              <p:tags r:id="rId24"/>
            </p:custDataLst>
          </p:nvPr>
        </p:nvSpPr>
        <p:spPr bwMode="gray">
          <a:xfrm>
            <a:off x="502273" y="3562734"/>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B3534FD-B09B-4B51-8456-7ADAB4B1D780}" type="datetime'''''''''''2''''''''''''''''''3''''''''''''%'''''''">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23%</a:t>
            </a:fld>
            <a:endParaRPr lang="en-US" sz="1000">
              <a:solidFill>
                <a:schemeClr val="bg1"/>
              </a:solidFill>
              <a:sym typeface="Arial" panose="020B0604020202020204" pitchFamily="34" charset="0"/>
            </a:endParaRPr>
          </a:p>
        </p:txBody>
      </p:sp>
      <p:sp>
        <p:nvSpPr>
          <p:cNvPr id="29" name="Text Placeholder">
            <a:extLst>
              <a:ext uri="{FF2B5EF4-FFF2-40B4-BE49-F238E27FC236}">
                <a16:creationId xmlns:a16="http://schemas.microsoft.com/office/drawing/2014/main" id="{01562964-7CEB-38C2-78F9-B8B4909D6924}"/>
              </a:ext>
            </a:extLst>
          </p:cNvPr>
          <p:cNvSpPr>
            <a:spLocks noGrp="1"/>
          </p:cNvSpPr>
          <p:nvPr>
            <p:custDataLst>
              <p:tags r:id="rId25"/>
            </p:custDataLst>
          </p:nvPr>
        </p:nvSpPr>
        <p:spPr bwMode="gray">
          <a:xfrm>
            <a:off x="502273" y="3122997"/>
            <a:ext cx="290513"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99C87912-7262-4B31-A2D1-ACD8879B30C5}" type="datetime'''''''2''''''''''''''3%'''''''''''''''''''''''''''''">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23%</a:t>
            </a:fld>
            <a:endParaRPr lang="en-US" sz="1000">
              <a:solidFill>
                <a:schemeClr val="bg1"/>
              </a:solidFill>
              <a:sym typeface="Arial" panose="020B0604020202020204" pitchFamily="34" charset="0"/>
            </a:endParaRPr>
          </a:p>
        </p:txBody>
      </p:sp>
      <p:sp>
        <p:nvSpPr>
          <p:cNvPr id="30" name="Text Placeholder">
            <a:extLst>
              <a:ext uri="{FF2B5EF4-FFF2-40B4-BE49-F238E27FC236}">
                <a16:creationId xmlns:a16="http://schemas.microsoft.com/office/drawing/2014/main" id="{BBB83272-B6D2-CA93-09D6-45D8C14B78CC}"/>
              </a:ext>
            </a:extLst>
          </p:cNvPr>
          <p:cNvSpPr>
            <a:spLocks noGrp="1"/>
          </p:cNvSpPr>
          <p:nvPr>
            <p:custDataLst>
              <p:tags r:id="rId26"/>
            </p:custDataLst>
          </p:nvPr>
        </p:nvSpPr>
        <p:spPr bwMode="gray">
          <a:xfrm>
            <a:off x="538785" y="2411796"/>
            <a:ext cx="2159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9E05D8E8-7F18-42E3-9366-713B1B162417}" type="datetime'9''''''''''''9'''''''''''''''''''''''''''''''">
              <a:rPr lang="en-US" altLang="en-US" b="1" smtClean="0">
                <a:sym typeface="Arial" panose="020B0604020202020204" pitchFamily="34" charset="0"/>
              </a:rPr>
              <a:pPr algn="ctr" defTabSz="685800">
                <a:lnSpc>
                  <a:spcPct val="90000"/>
                </a:lnSpc>
                <a:spcBef>
                  <a:spcPct val="0"/>
                </a:spcBef>
                <a:buSzPct val="100000"/>
                <a:buFont typeface="+mn-lt" pitchFamily="34" charset="0"/>
              </a:pPr>
              <a:t>99</a:t>
            </a:fld>
            <a:endParaRPr lang="en-US" b="1">
              <a:sym typeface="Arial" panose="020B0604020202020204" pitchFamily="34" charset="0"/>
            </a:endParaRPr>
          </a:p>
        </p:txBody>
      </p:sp>
      <p:sp>
        <p:nvSpPr>
          <p:cNvPr id="31" name="Text Placeholder">
            <a:extLst>
              <a:ext uri="{FF2B5EF4-FFF2-40B4-BE49-F238E27FC236}">
                <a16:creationId xmlns:a16="http://schemas.microsoft.com/office/drawing/2014/main" id="{69FD8A50-C65B-EEC7-46A8-B8376D4CF222}"/>
              </a:ext>
            </a:extLst>
          </p:cNvPr>
          <p:cNvSpPr>
            <a:spLocks noGrp="1"/>
          </p:cNvSpPr>
          <p:nvPr>
            <p:custDataLst>
              <p:tags r:id="rId27"/>
            </p:custDataLst>
          </p:nvPr>
        </p:nvSpPr>
        <p:spPr bwMode="gray">
          <a:xfrm>
            <a:off x="1286498" y="2240346"/>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5FA3BA47-05C1-423A-A40D-14801F96AD82}" type="datetime'''''''1''''''''''''''0''''''''''''''''8'''''''''''">
              <a:rPr lang="en-US" altLang="en-US" b="1" smtClean="0">
                <a:sym typeface="Arial" panose="020B0604020202020204" pitchFamily="34" charset="0"/>
              </a:rPr>
              <a:pPr algn="ctr" defTabSz="685800">
                <a:lnSpc>
                  <a:spcPct val="90000"/>
                </a:lnSpc>
                <a:spcBef>
                  <a:spcPct val="0"/>
                </a:spcBef>
                <a:buSzPct val="100000"/>
                <a:buFont typeface="+mn-lt" pitchFamily="34" charset="0"/>
              </a:pPr>
              <a:t>108</a:t>
            </a:fld>
            <a:endParaRPr lang="en-US" b="1">
              <a:sym typeface="Arial" panose="020B0604020202020204" pitchFamily="34" charset="0"/>
            </a:endParaRPr>
          </a:p>
        </p:txBody>
      </p:sp>
      <p:sp>
        <p:nvSpPr>
          <p:cNvPr id="32" name="Text Placeholder">
            <a:extLst>
              <a:ext uri="{FF2B5EF4-FFF2-40B4-BE49-F238E27FC236}">
                <a16:creationId xmlns:a16="http://schemas.microsoft.com/office/drawing/2014/main" id="{A956A66B-2EDD-8467-8974-A5564E742DC4}"/>
              </a:ext>
            </a:extLst>
          </p:cNvPr>
          <p:cNvSpPr>
            <a:spLocks noGrp="1"/>
          </p:cNvSpPr>
          <p:nvPr>
            <p:custDataLst>
              <p:tags r:id="rId28"/>
            </p:custDataLst>
          </p:nvPr>
        </p:nvSpPr>
        <p:spPr bwMode="gray">
          <a:xfrm>
            <a:off x="2077073" y="2164146"/>
            <a:ext cx="2921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A7579E2C-2525-4233-8592-51532D08FEF7}" type="datetime'''''''''''''''''''''''''''1''''''''1''''''''2'''''''''''''''">
              <a:rPr lang="en-US" altLang="en-US" b="1" smtClean="0">
                <a:sym typeface="Arial" panose="020B0604020202020204" pitchFamily="34" charset="0"/>
              </a:rPr>
              <a:pPr algn="ctr" defTabSz="685800">
                <a:lnSpc>
                  <a:spcPct val="90000"/>
                </a:lnSpc>
                <a:spcBef>
                  <a:spcPct val="0"/>
                </a:spcBef>
                <a:buSzPct val="100000"/>
                <a:buFont typeface="+mn-lt" pitchFamily="34" charset="0"/>
              </a:pPr>
              <a:t>112</a:t>
            </a:fld>
            <a:endParaRPr lang="en-US" b="1">
              <a:sym typeface="Arial" panose="020B0604020202020204" pitchFamily="34" charset="0"/>
            </a:endParaRPr>
          </a:p>
        </p:txBody>
      </p:sp>
      <p:sp>
        <p:nvSpPr>
          <p:cNvPr id="33" name="Text Placeholder">
            <a:extLst>
              <a:ext uri="{FF2B5EF4-FFF2-40B4-BE49-F238E27FC236}">
                <a16:creationId xmlns:a16="http://schemas.microsoft.com/office/drawing/2014/main" id="{7D35DB64-6962-C85E-F948-7F28D7C65B29}"/>
              </a:ext>
            </a:extLst>
          </p:cNvPr>
          <p:cNvSpPr>
            <a:spLocks noGrp="1"/>
          </p:cNvSpPr>
          <p:nvPr>
            <p:custDataLst>
              <p:tags r:id="rId29"/>
            </p:custDataLst>
          </p:nvPr>
        </p:nvSpPr>
        <p:spPr bwMode="gray">
          <a:xfrm>
            <a:off x="537198" y="2815022"/>
            <a:ext cx="220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499AC636-9633-45E7-BA1B-8EFEC175C42B}" type="datetime'''''''''''''''''''''''''''9''''''''''''''''''''''''''%'''">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9%</a:t>
            </a:fld>
            <a:endParaRPr lang="en-US" sz="1000">
              <a:solidFill>
                <a:schemeClr val="bg1"/>
              </a:solidFill>
              <a:sym typeface="Arial" panose="020B0604020202020204" pitchFamily="34" charset="0"/>
            </a:endParaRPr>
          </a:p>
        </p:txBody>
      </p:sp>
      <p:sp>
        <p:nvSpPr>
          <p:cNvPr id="34" name="Text Placeholder">
            <a:extLst>
              <a:ext uri="{FF2B5EF4-FFF2-40B4-BE49-F238E27FC236}">
                <a16:creationId xmlns:a16="http://schemas.microsoft.com/office/drawing/2014/main" id="{FBB9046D-1311-C250-7DDD-E38259F9E6DF}"/>
              </a:ext>
            </a:extLst>
          </p:cNvPr>
          <p:cNvSpPr>
            <a:spLocks noGrp="1"/>
          </p:cNvSpPr>
          <p:nvPr>
            <p:custDataLst>
              <p:tags r:id="rId30"/>
            </p:custDataLst>
          </p:nvPr>
        </p:nvSpPr>
        <p:spPr bwMode="gray">
          <a:xfrm>
            <a:off x="502273" y="2626109"/>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65D0F58-71A8-4331-99F1-67382269AB40}" type="datetime'''''1''''''''''''''''''''1''''''''''%'">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11%</a:t>
            </a:fld>
            <a:endParaRPr lang="en-US" sz="1000">
              <a:solidFill>
                <a:schemeClr val="bg1"/>
              </a:solidFill>
              <a:sym typeface="Arial" panose="020B0604020202020204" pitchFamily="34" charset="0"/>
            </a:endParaRPr>
          </a:p>
        </p:txBody>
      </p:sp>
      <p:sp>
        <p:nvSpPr>
          <p:cNvPr id="35" name="Text Placeholder">
            <a:extLst>
              <a:ext uri="{FF2B5EF4-FFF2-40B4-BE49-F238E27FC236}">
                <a16:creationId xmlns:a16="http://schemas.microsoft.com/office/drawing/2014/main" id="{842F9609-95EE-7649-03D6-F7CFD72CCDA8}"/>
              </a:ext>
            </a:extLst>
          </p:cNvPr>
          <p:cNvSpPr>
            <a:spLocks noGrp="1"/>
          </p:cNvSpPr>
          <p:nvPr>
            <p:custDataLst>
              <p:tags r:id="rId31"/>
            </p:custDataLst>
          </p:nvPr>
        </p:nvSpPr>
        <p:spPr bwMode="auto">
          <a:xfrm>
            <a:off x="500685" y="4559684"/>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F1D0C421-4E3B-4535-A8F4-A5C7347CC5B9}" type="datetime'''''''2''''''''''''0''''''''''''1''''''''7'''''''''''''">
              <a:rPr lang="en-US" altLang="en-US" sz="1000" smtClean="0">
                <a:sym typeface="Arial" panose="020B0604020202020204" pitchFamily="34" charset="0"/>
              </a:rPr>
              <a:pPr algn="ctr" defTabSz="685800">
                <a:spcBef>
                  <a:spcPct val="0"/>
                </a:spcBef>
                <a:buSzPct val="100000"/>
                <a:buFont typeface="+mn-lt" pitchFamily="34" charset="0"/>
              </a:pPr>
              <a:t>2017</a:t>
            </a:fld>
            <a:endParaRPr lang="de-DE" sz="1000">
              <a:sym typeface="Arial" panose="020B0604020202020204" pitchFamily="34" charset="0"/>
            </a:endParaRPr>
          </a:p>
        </p:txBody>
      </p:sp>
      <p:sp>
        <p:nvSpPr>
          <p:cNvPr id="36" name="Text Placeholder">
            <a:extLst>
              <a:ext uri="{FF2B5EF4-FFF2-40B4-BE49-F238E27FC236}">
                <a16:creationId xmlns:a16="http://schemas.microsoft.com/office/drawing/2014/main" id="{2DE6E67F-A5BB-4626-AE5A-2DC418F49B94}"/>
              </a:ext>
            </a:extLst>
          </p:cNvPr>
          <p:cNvSpPr>
            <a:spLocks noGrp="1"/>
          </p:cNvSpPr>
          <p:nvPr>
            <p:custDataLst>
              <p:tags r:id="rId32"/>
            </p:custDataLst>
          </p:nvPr>
        </p:nvSpPr>
        <p:spPr bwMode="gray">
          <a:xfrm>
            <a:off x="1291260" y="4064384"/>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C5FF3DA0-AD8D-4D24-88BF-CD6E2734E4B0}" type="datetime'''''''''''36''''%'''''''''''''''''''''''''''''''''''''">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36%</a:t>
            </a:fld>
            <a:endParaRPr lang="en-US" sz="1000">
              <a:solidFill>
                <a:schemeClr val="bg1"/>
              </a:solidFill>
              <a:sym typeface="Arial" panose="020B0604020202020204" pitchFamily="34" charset="0"/>
            </a:endParaRPr>
          </a:p>
        </p:txBody>
      </p:sp>
      <p:sp>
        <p:nvSpPr>
          <p:cNvPr id="37" name="Text Placeholder">
            <a:extLst>
              <a:ext uri="{FF2B5EF4-FFF2-40B4-BE49-F238E27FC236}">
                <a16:creationId xmlns:a16="http://schemas.microsoft.com/office/drawing/2014/main" id="{C20D7F29-0C83-B56F-2634-66070DBDE088}"/>
              </a:ext>
            </a:extLst>
          </p:cNvPr>
          <p:cNvSpPr>
            <a:spLocks noGrp="1"/>
          </p:cNvSpPr>
          <p:nvPr>
            <p:custDataLst>
              <p:tags r:id="rId33"/>
            </p:custDataLst>
          </p:nvPr>
        </p:nvSpPr>
        <p:spPr bwMode="gray">
          <a:xfrm>
            <a:off x="1291260" y="3464309"/>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0A357D41-563E-4A06-AD73-F7E9FA940702}" type="datetime'''''''2''''''''1''''''''''''''%'''''''''''''''''''''''''''''">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21%</a:t>
            </a:fld>
            <a:endParaRPr lang="en-US" sz="1000">
              <a:solidFill>
                <a:schemeClr val="bg1"/>
              </a:solidFill>
              <a:sym typeface="Arial" panose="020B0604020202020204" pitchFamily="34" charset="0"/>
            </a:endParaRPr>
          </a:p>
        </p:txBody>
      </p:sp>
      <p:sp>
        <p:nvSpPr>
          <p:cNvPr id="38" name="Text Placeholder">
            <a:extLst>
              <a:ext uri="{FF2B5EF4-FFF2-40B4-BE49-F238E27FC236}">
                <a16:creationId xmlns:a16="http://schemas.microsoft.com/office/drawing/2014/main" id="{FF3171FE-8907-F03E-794B-20BC12559AEF}"/>
              </a:ext>
            </a:extLst>
          </p:cNvPr>
          <p:cNvSpPr>
            <a:spLocks noGrp="1"/>
          </p:cNvSpPr>
          <p:nvPr>
            <p:custDataLst>
              <p:tags r:id="rId34"/>
            </p:custDataLst>
          </p:nvPr>
        </p:nvSpPr>
        <p:spPr bwMode="gray">
          <a:xfrm>
            <a:off x="1291260" y="3018222"/>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DA114444-A626-48EE-9451-DC8BEE10EAFB}" type="datetime'''''2''''''''''''1''''%'''''''''''''''''''''''''">
              <a:rPr lang="en-US" altLang="en-US" sz="1000" smtClean="0">
                <a:solidFill>
                  <a:schemeClr val="bg1"/>
                </a:solidFill>
                <a:sym typeface="Arial" panose="020B0604020202020204" pitchFamily="34" charset="0"/>
              </a:rPr>
              <a:pPr algn="ctr" defTabSz="685800">
                <a:spcBef>
                  <a:spcPct val="0"/>
                </a:spcBef>
                <a:buSzPct val="100000"/>
                <a:buFont typeface="+mn-lt" pitchFamily="34" charset="0"/>
              </a:pPr>
              <a:t>21%</a:t>
            </a:fld>
            <a:endParaRPr lang="en-US" sz="1000">
              <a:solidFill>
                <a:schemeClr val="bg1"/>
              </a:solidFill>
              <a:sym typeface="Arial" panose="020B0604020202020204" pitchFamily="34" charset="0"/>
            </a:endParaRPr>
          </a:p>
        </p:txBody>
      </p:sp>
      <p:sp>
        <p:nvSpPr>
          <p:cNvPr id="39" name="Text Placeholder">
            <a:extLst>
              <a:ext uri="{FF2B5EF4-FFF2-40B4-BE49-F238E27FC236}">
                <a16:creationId xmlns:a16="http://schemas.microsoft.com/office/drawing/2014/main" id="{D9176926-370E-08F6-5E6E-CA10149384F2}"/>
              </a:ext>
            </a:extLst>
          </p:cNvPr>
          <p:cNvSpPr>
            <a:spLocks noGrp="1"/>
          </p:cNvSpPr>
          <p:nvPr>
            <p:custDataLst>
              <p:tags r:id="rId35"/>
            </p:custDataLst>
          </p:nvPr>
        </p:nvSpPr>
        <p:spPr bwMode="auto">
          <a:xfrm>
            <a:off x="2578723" y="4029459"/>
            <a:ext cx="654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06D0B418-4A07-4B22-9E18-D87452325ACB}" type="datetime'''''''''Asi''a'''' ''''P''a''''c''''i''f''i''c'''">
              <a:rPr lang="en-US" altLang="en-US" sz="1000" smtClean="0">
                <a:sym typeface="Arial" panose="020B0604020202020204" pitchFamily="34" charset="0"/>
              </a:rPr>
              <a:pPr defTabSz="685800">
                <a:spcBef>
                  <a:spcPct val="0"/>
                </a:spcBef>
                <a:buSzPct val="100000"/>
                <a:buFont typeface="+mn-lt" pitchFamily="34" charset="0"/>
              </a:pPr>
              <a:t>Asia Pacific</a:t>
            </a:fld>
            <a:endParaRPr lang="en-US" sz="1000">
              <a:sym typeface="Arial" panose="020B0604020202020204" pitchFamily="34" charset="0"/>
            </a:endParaRPr>
          </a:p>
        </p:txBody>
      </p:sp>
      <p:sp>
        <p:nvSpPr>
          <p:cNvPr id="40" name="Text Placeholder">
            <a:extLst>
              <a:ext uri="{FF2B5EF4-FFF2-40B4-BE49-F238E27FC236}">
                <a16:creationId xmlns:a16="http://schemas.microsoft.com/office/drawing/2014/main" id="{F9AF0EB1-F8B3-D32B-F6EC-6FBCF9CCD3D6}"/>
              </a:ext>
            </a:extLst>
          </p:cNvPr>
          <p:cNvSpPr>
            <a:spLocks noGrp="1"/>
          </p:cNvSpPr>
          <p:nvPr>
            <p:custDataLst>
              <p:tags r:id="rId36"/>
            </p:custDataLst>
          </p:nvPr>
        </p:nvSpPr>
        <p:spPr bwMode="auto">
          <a:xfrm>
            <a:off x="867398" y="2084771"/>
            <a:ext cx="346075" cy="215900"/>
          </a:xfrm>
          <a:prstGeom prst="roundRect">
            <a:avLst>
              <a:gd name="adj" fmla="val 50000"/>
            </a:avLst>
          </a:prstGeom>
          <a:solidFill>
            <a:schemeClr val="bg1"/>
          </a:solidFill>
          <a:ln w="6350" cmpd="sng" algn="ctr">
            <a:solidFill>
              <a:schemeClr val="tx2"/>
            </a:solidFill>
          </a:ln>
          <a:effectLst/>
        </p:spPr>
        <p:txBody>
          <a:bodyPr vert="horz" wrap="none" lIns="12700" tIns="0" rIns="1270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3B38C7E2-60B8-4E32-AAF1-555AC4FF012A}" type="datetime'''''''''''''''''''+''''1''''''%'''''''''''''''">
              <a:rPr lang="en-US" altLang="en-US" sz="1000" smtClean="0">
                <a:effectLst/>
                <a:sym typeface="Arial" panose="020B0604020202020204" pitchFamily="34" charset="0"/>
              </a:rPr>
              <a:pPr algn="ctr" defTabSz="685800" fontAlgn="base">
                <a:spcBef>
                  <a:spcPct val="0"/>
                </a:spcBef>
                <a:spcAft>
                  <a:spcPct val="0"/>
                </a:spcAft>
                <a:buSzPct val="100000"/>
                <a:buFont typeface="+mn-lt" pitchFamily="34" charset="0"/>
              </a:pPr>
              <a:t>+1%</a:t>
            </a:fld>
            <a:endParaRPr lang="en-US" sz="1000">
              <a:sym typeface="Arial" panose="020B0604020202020204" pitchFamily="34" charset="0"/>
            </a:endParaRPr>
          </a:p>
        </p:txBody>
      </p:sp>
      <p:sp>
        <p:nvSpPr>
          <p:cNvPr id="41" name="Text Placeholder">
            <a:extLst>
              <a:ext uri="{FF2B5EF4-FFF2-40B4-BE49-F238E27FC236}">
                <a16:creationId xmlns:a16="http://schemas.microsoft.com/office/drawing/2014/main" id="{5F7EBD84-781E-F4B2-92AB-3962E12D1CAF}"/>
              </a:ext>
            </a:extLst>
          </p:cNvPr>
          <p:cNvSpPr>
            <a:spLocks noGrp="1"/>
          </p:cNvSpPr>
          <p:nvPr>
            <p:custDataLst>
              <p:tags r:id="rId37"/>
            </p:custDataLst>
          </p:nvPr>
        </p:nvSpPr>
        <p:spPr bwMode="auto">
          <a:xfrm>
            <a:off x="1694485" y="1960946"/>
            <a:ext cx="271463" cy="215900"/>
          </a:xfrm>
          <a:prstGeom prst="roundRect">
            <a:avLst>
              <a:gd name="adj" fmla="val 50000"/>
            </a:avLst>
          </a:prstGeom>
          <a:solidFill>
            <a:schemeClr val="bg1"/>
          </a:solidFill>
          <a:ln w="6350" cmpd="sng" algn="ctr">
            <a:solidFill>
              <a:schemeClr val="tx2"/>
            </a:solidFill>
          </a:ln>
          <a:effectLst/>
        </p:spPr>
        <p:txBody>
          <a:bodyPr vert="horz" wrap="none" lIns="12700" tIns="0" rIns="1270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EF9C5726-DF94-47E2-BBE2-970AF1D4C392}" type="datetime'''''''''''''''''''''''''''''''0''''%'''''''''''''''''''''''''">
              <a:rPr lang="en-US" altLang="en-US" sz="1000" smtClean="0">
                <a:effectLst/>
                <a:sym typeface="Arial" panose="020B0604020202020204" pitchFamily="34" charset="0"/>
              </a:rPr>
              <a:pPr algn="ctr" defTabSz="685800" fontAlgn="base">
                <a:spcBef>
                  <a:spcPct val="0"/>
                </a:spcBef>
                <a:spcAft>
                  <a:spcPct val="0"/>
                </a:spcAft>
                <a:buSzPct val="100000"/>
                <a:buFont typeface="+mn-lt" pitchFamily="34" charset="0"/>
              </a:pPr>
              <a:t>0%</a:t>
            </a:fld>
            <a:endParaRPr lang="en-US" sz="1000">
              <a:sym typeface="Arial" panose="020B0604020202020204" pitchFamily="34" charset="0"/>
            </a:endParaRPr>
          </a:p>
        </p:txBody>
      </p:sp>
      <p:graphicFrame>
        <p:nvGraphicFramePr>
          <p:cNvPr id="42" name="Chart 54">
            <a:extLst>
              <a:ext uri="{FF2B5EF4-FFF2-40B4-BE49-F238E27FC236}">
                <a16:creationId xmlns:a16="http://schemas.microsoft.com/office/drawing/2014/main" id="{2D86DB9A-6FD4-4161-B88F-44D69B41DD6A}"/>
              </a:ext>
            </a:extLst>
          </p:cNvPr>
          <p:cNvGraphicFramePr/>
          <p:nvPr>
            <p:custDataLst>
              <p:tags r:id="rId38"/>
            </p:custDataLst>
            <p:extLst>
              <p:ext uri="{D42A27DB-BD31-4B8C-83A1-F6EECF244321}">
                <p14:modId xmlns:p14="http://schemas.microsoft.com/office/powerpoint/2010/main" val="4100066636"/>
              </p:ext>
            </p:extLst>
          </p:nvPr>
        </p:nvGraphicFramePr>
        <p:xfrm>
          <a:off x="5266356" y="1821047"/>
          <a:ext cx="3695700" cy="2806700"/>
        </p:xfrm>
        <a:graphic>
          <a:graphicData uri="http://schemas.openxmlformats.org/drawingml/2006/chart">
            <c:chart xmlns:c="http://schemas.openxmlformats.org/drawingml/2006/chart" xmlns:r="http://schemas.openxmlformats.org/officeDocument/2006/relationships" r:id="rId47"/>
          </a:graphicData>
        </a:graphic>
      </p:graphicFrame>
      <p:sp>
        <p:nvSpPr>
          <p:cNvPr id="43" name="Text Placeholder">
            <a:extLst>
              <a:ext uri="{FF2B5EF4-FFF2-40B4-BE49-F238E27FC236}">
                <a16:creationId xmlns:a16="http://schemas.microsoft.com/office/drawing/2014/main" id="{4AC7A716-F391-6C44-6ACE-C5963C4E5734}"/>
              </a:ext>
            </a:extLst>
          </p:cNvPr>
          <p:cNvSpPr>
            <a:spLocks noGrp="1"/>
          </p:cNvSpPr>
          <p:nvPr>
            <p:custDataLst>
              <p:tags r:id="rId39"/>
            </p:custDataLst>
          </p:nvPr>
        </p:nvSpPr>
        <p:spPr bwMode="auto">
          <a:xfrm>
            <a:off x="5523531" y="4403909"/>
            <a:ext cx="3571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B0006013-5874-4B45-A1CB-171ABC6E2FC3}" type="datetime'''''''A''''PA''''''''''''''''''''''''''''''''''''''''''''C'''">
              <a:rPr lang="en-US" altLang="en-US" sz="1000" smtClean="0">
                <a:sym typeface="Arial" panose="020B0604020202020204" pitchFamily="34" charset="0"/>
              </a:rPr>
              <a:pPr algn="ctr">
                <a:spcBef>
                  <a:spcPct val="0"/>
                </a:spcBef>
              </a:pPr>
              <a:t>APAC</a:t>
            </a:fld>
            <a:endParaRPr lang="en-US" sz="1000">
              <a:sym typeface="Arial" panose="020B0604020202020204" pitchFamily="34" charset="0"/>
            </a:endParaRPr>
          </a:p>
        </p:txBody>
      </p:sp>
      <p:sp>
        <p:nvSpPr>
          <p:cNvPr id="44" name="Text Placeholder">
            <a:extLst>
              <a:ext uri="{FF2B5EF4-FFF2-40B4-BE49-F238E27FC236}">
                <a16:creationId xmlns:a16="http://schemas.microsoft.com/office/drawing/2014/main" id="{3A4C89AA-DCA6-6422-2642-46B19189235C}"/>
              </a:ext>
            </a:extLst>
          </p:cNvPr>
          <p:cNvSpPr>
            <a:spLocks noGrp="1"/>
          </p:cNvSpPr>
          <p:nvPr>
            <p:custDataLst>
              <p:tags r:id="rId40"/>
            </p:custDataLst>
          </p:nvPr>
        </p:nvSpPr>
        <p:spPr bwMode="auto">
          <a:xfrm>
            <a:off x="6198219" y="4403909"/>
            <a:ext cx="419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C7FE501C-D8F3-4034-A405-DCD4208A2BB7}" type="datetime'''''''''''''''''''''''''''E''''''''''ur''o''''p''e'''''''">
              <a:rPr lang="en-US" altLang="en-US" sz="1000" smtClean="0">
                <a:sym typeface="Arial" panose="020B0604020202020204" pitchFamily="34" charset="0"/>
              </a:rPr>
              <a:pPr algn="ctr">
                <a:spcBef>
                  <a:spcPct val="0"/>
                </a:spcBef>
              </a:pPr>
              <a:t>Europe</a:t>
            </a:fld>
            <a:endParaRPr lang="en-US" sz="1000">
              <a:sym typeface="Arial" panose="020B0604020202020204" pitchFamily="34" charset="0"/>
            </a:endParaRPr>
          </a:p>
        </p:txBody>
      </p:sp>
      <p:sp>
        <p:nvSpPr>
          <p:cNvPr id="45" name="Text Placeholder">
            <a:extLst>
              <a:ext uri="{FF2B5EF4-FFF2-40B4-BE49-F238E27FC236}">
                <a16:creationId xmlns:a16="http://schemas.microsoft.com/office/drawing/2014/main" id="{502B6FEA-B608-14AB-74E0-17C5D42CCCA7}"/>
              </a:ext>
            </a:extLst>
          </p:cNvPr>
          <p:cNvSpPr>
            <a:spLocks noGrp="1"/>
          </p:cNvSpPr>
          <p:nvPr>
            <p:custDataLst>
              <p:tags r:id="rId41"/>
            </p:custDataLst>
          </p:nvPr>
        </p:nvSpPr>
        <p:spPr bwMode="auto">
          <a:xfrm>
            <a:off x="6876081" y="4403909"/>
            <a:ext cx="47783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498603EE-3D2A-4BED-8930-C15657541E6A}" type="datetime'N''''o''''''''''r''th A''''''''m''''''''''e''r''ic''''''a'''">
              <a:rPr lang="en-US" altLang="en-US" sz="1000" smtClean="0">
                <a:sym typeface="Arial" panose="020B0604020202020204" pitchFamily="34" charset="0"/>
              </a:rPr>
              <a:pPr algn="ctr">
                <a:spcBef>
                  <a:spcPct val="0"/>
                </a:spcBef>
              </a:pPr>
              <a:t>North America</a:t>
            </a:fld>
            <a:endParaRPr lang="en-US" sz="1000">
              <a:sym typeface="Arial" panose="020B0604020202020204" pitchFamily="34" charset="0"/>
            </a:endParaRPr>
          </a:p>
        </p:txBody>
      </p:sp>
      <p:sp>
        <p:nvSpPr>
          <p:cNvPr id="118" name="Text Placeholder">
            <a:extLst>
              <a:ext uri="{FF2B5EF4-FFF2-40B4-BE49-F238E27FC236}">
                <a16:creationId xmlns:a16="http://schemas.microsoft.com/office/drawing/2014/main" id="{9050BDE0-ADBE-1C64-D84E-2EC4EC7B21B1}"/>
              </a:ext>
            </a:extLst>
          </p:cNvPr>
          <p:cNvSpPr>
            <a:spLocks noGrp="1"/>
          </p:cNvSpPr>
          <p:nvPr>
            <p:custDataLst>
              <p:tags r:id="rId42"/>
            </p:custDataLst>
          </p:nvPr>
        </p:nvSpPr>
        <p:spPr bwMode="auto">
          <a:xfrm>
            <a:off x="7482506" y="4403909"/>
            <a:ext cx="673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87837556-C85B-4E7D-95EB-E07588E1FEDD}" type="datetime'''''''M''''id''dle'''''''' Ea''''''''''''s''''t'''''''">
              <a:rPr lang="en-US" altLang="en-US" sz="1000" smtClean="0">
                <a:sym typeface="Arial" panose="020B0604020202020204" pitchFamily="34" charset="0"/>
              </a:rPr>
              <a:pPr algn="ctr">
                <a:spcBef>
                  <a:spcPct val="0"/>
                </a:spcBef>
              </a:pPr>
              <a:t>Middle East</a:t>
            </a:fld>
            <a:endParaRPr lang="en-US" sz="1000">
              <a:sym typeface="Arial" panose="020B0604020202020204" pitchFamily="34" charset="0"/>
            </a:endParaRPr>
          </a:p>
        </p:txBody>
      </p:sp>
      <p:sp>
        <p:nvSpPr>
          <p:cNvPr id="119" name="Text Placeholder">
            <a:extLst>
              <a:ext uri="{FF2B5EF4-FFF2-40B4-BE49-F238E27FC236}">
                <a16:creationId xmlns:a16="http://schemas.microsoft.com/office/drawing/2014/main" id="{795B6655-556F-11A0-2408-7EADF3DCFC20}"/>
              </a:ext>
            </a:extLst>
          </p:cNvPr>
          <p:cNvSpPr>
            <a:spLocks noGrp="1"/>
          </p:cNvSpPr>
          <p:nvPr>
            <p:custDataLst>
              <p:tags r:id="rId43"/>
            </p:custDataLst>
          </p:nvPr>
        </p:nvSpPr>
        <p:spPr bwMode="auto">
          <a:xfrm>
            <a:off x="8361981" y="4403909"/>
            <a:ext cx="3286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20A13CB7-F8A3-4E28-B903-670E24822E83}" type="datetime'''''''''''''''Ot''''''''''h''''e''''''''''''''''r'''''">
              <a:rPr lang="en-US" altLang="en-US" sz="1000" smtClean="0">
                <a:sym typeface="Arial" panose="020B0604020202020204" pitchFamily="34" charset="0"/>
              </a:rPr>
              <a:pPr algn="ctr">
                <a:spcBef>
                  <a:spcPct val="0"/>
                </a:spcBef>
              </a:pPr>
              <a:t>Other</a:t>
            </a:fld>
            <a:endParaRPr lang="en-US" sz="1000">
              <a:sym typeface="Arial" panose="020B0604020202020204" pitchFamily="34" charset="0"/>
            </a:endParaRPr>
          </a:p>
        </p:txBody>
      </p:sp>
      <p:grpSp>
        <p:nvGrpSpPr>
          <p:cNvPr id="120" name="Gruppieren 128">
            <a:extLst>
              <a:ext uri="{FF2B5EF4-FFF2-40B4-BE49-F238E27FC236}">
                <a16:creationId xmlns:a16="http://schemas.microsoft.com/office/drawing/2014/main" id="{BEDB6BE9-2D2A-CD2E-3EA8-292A9325A947}"/>
              </a:ext>
            </a:extLst>
          </p:cNvPr>
          <p:cNvGrpSpPr/>
          <p:nvPr/>
        </p:nvGrpSpPr>
        <p:grpSpPr>
          <a:xfrm>
            <a:off x="250825" y="1660510"/>
            <a:ext cx="4374181" cy="219932"/>
            <a:chOff x="260351" y="1235001"/>
            <a:chExt cx="4806949" cy="219932"/>
          </a:xfrm>
        </p:grpSpPr>
        <p:cxnSp>
          <p:nvCxnSpPr>
            <p:cNvPr id="121" name="HorizontalLine7">
              <a:extLst>
                <a:ext uri="{FF2B5EF4-FFF2-40B4-BE49-F238E27FC236}">
                  <a16:creationId xmlns:a16="http://schemas.microsoft.com/office/drawing/2014/main" id="{3495D2F6-8942-D4A9-61F4-C8AA1AE60A1E}"/>
                </a:ext>
              </a:extLst>
            </p:cNvPr>
            <p:cNvCxnSpPr>
              <a:cxnSpLocks/>
            </p:cNvCxnSpPr>
            <p:nvPr/>
          </p:nvCxnSpPr>
          <p:spPr>
            <a:xfrm>
              <a:off x="260351" y="1454932"/>
              <a:ext cx="4806949"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2" name="Title66">
              <a:extLst>
                <a:ext uri="{FF2B5EF4-FFF2-40B4-BE49-F238E27FC236}">
                  <a16:creationId xmlns:a16="http://schemas.microsoft.com/office/drawing/2014/main" id="{8AC9DAEC-5AC2-8AF1-E979-2F0A4D8FB632}"/>
                </a:ext>
              </a:extLst>
            </p:cNvPr>
            <p:cNvSpPr txBox="1">
              <a:spLocks/>
            </p:cNvSpPr>
            <p:nvPr/>
          </p:nvSpPr>
          <p:spPr>
            <a:xfrm>
              <a:off x="260351" y="1235001"/>
              <a:ext cx="4806949" cy="219932"/>
            </a:xfrm>
            <a:prstGeom prst="rect">
              <a:avLst/>
            </a:prstGeom>
            <a:noFill/>
            <a:ln w="9525">
              <a:noFill/>
            </a:ln>
          </p:spPr>
          <p:txBody>
            <a:bodyPr vert="horz" wrap="square" lIns="0" tIns="0" rIns="0" bIns="53213" rtlCol="0" anchor="b">
              <a:spAutoFit/>
            </a:bodyPr>
            <a:lstStyle/>
            <a:p>
              <a:pPr>
                <a:lnSpc>
                  <a:spcPct val="90000"/>
                </a:lnSpc>
                <a:buSzPct val="100000"/>
                <a:buFont typeface=""/>
              </a:pPr>
              <a:r>
                <a:rPr lang="en-US" sz="1200" b="1" dirty="0">
                  <a:sym typeface="+mn-lt"/>
                </a:rPr>
                <a:t>Capacity by region </a:t>
              </a:r>
              <a:r>
                <a:rPr lang="en-US" sz="1200" dirty="0">
                  <a:sym typeface="+mn-lt"/>
                </a:rPr>
                <a:t>[2017-'40; m bpd</a:t>
              </a:r>
              <a:r>
                <a:rPr lang="en-US" sz="1200" baseline="30000" dirty="0">
                  <a:sym typeface="+mn-lt"/>
                </a:rPr>
                <a:t>1)</a:t>
              </a:r>
              <a:r>
                <a:rPr lang="en-US" sz="1200" dirty="0">
                  <a:sym typeface="+mn-lt"/>
                </a:rPr>
                <a:t>]</a:t>
              </a:r>
            </a:p>
          </p:txBody>
        </p:sp>
      </p:grpSp>
      <p:grpSp>
        <p:nvGrpSpPr>
          <p:cNvPr id="123" name="Gruppieren 89">
            <a:extLst>
              <a:ext uri="{FF2B5EF4-FFF2-40B4-BE49-F238E27FC236}">
                <a16:creationId xmlns:a16="http://schemas.microsoft.com/office/drawing/2014/main" id="{2EE9FE09-C40D-0F04-15DB-321077B2F237}"/>
              </a:ext>
            </a:extLst>
          </p:cNvPr>
          <p:cNvGrpSpPr/>
          <p:nvPr/>
        </p:nvGrpSpPr>
        <p:grpSpPr>
          <a:xfrm>
            <a:off x="5353050" y="1494311"/>
            <a:ext cx="3530599" cy="386131"/>
            <a:chOff x="5653175" y="1068802"/>
            <a:chExt cx="3240000" cy="386131"/>
          </a:xfrm>
        </p:grpSpPr>
        <p:cxnSp>
          <p:nvCxnSpPr>
            <p:cNvPr id="124" name="HorizontalLine7">
              <a:extLst>
                <a:ext uri="{FF2B5EF4-FFF2-40B4-BE49-F238E27FC236}">
                  <a16:creationId xmlns:a16="http://schemas.microsoft.com/office/drawing/2014/main" id="{9BDD9483-AB1F-DBC1-AAD1-20E283E3F02F}"/>
                </a:ext>
              </a:extLst>
            </p:cNvPr>
            <p:cNvCxnSpPr>
              <a:cxnSpLocks/>
            </p:cNvCxnSpPr>
            <p:nvPr/>
          </p:nvCxnSpPr>
          <p:spPr>
            <a:xfrm>
              <a:off x="5653175" y="1454932"/>
              <a:ext cx="3240000"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Title66">
              <a:extLst>
                <a:ext uri="{FF2B5EF4-FFF2-40B4-BE49-F238E27FC236}">
                  <a16:creationId xmlns:a16="http://schemas.microsoft.com/office/drawing/2014/main" id="{5CA0FCCB-4CF8-91E8-70B3-80C42CE6FD85}"/>
                </a:ext>
              </a:extLst>
            </p:cNvPr>
            <p:cNvSpPr txBox="1">
              <a:spLocks/>
            </p:cNvSpPr>
            <p:nvPr/>
          </p:nvSpPr>
          <p:spPr>
            <a:xfrm>
              <a:off x="5653175" y="1068802"/>
              <a:ext cx="3240000" cy="386131"/>
            </a:xfrm>
            <a:prstGeom prst="rect">
              <a:avLst/>
            </a:prstGeom>
            <a:noFill/>
            <a:ln w="9525">
              <a:noFill/>
            </a:ln>
          </p:spPr>
          <p:txBody>
            <a:bodyPr vert="horz" wrap="square" lIns="0" tIns="0" rIns="0" bIns="53213" rtlCol="0" anchor="b">
              <a:spAutoFit/>
            </a:bodyPr>
            <a:lstStyle/>
            <a:p>
              <a:pPr>
                <a:lnSpc>
                  <a:spcPct val="90000"/>
                </a:lnSpc>
                <a:buSzPct val="100000"/>
                <a:buFont typeface=""/>
              </a:pPr>
              <a:r>
                <a:rPr lang="en-US" sz="1200" b="1">
                  <a:sym typeface="+mn-lt"/>
                </a:rPr>
                <a:t>Cumulated Capex by region</a:t>
              </a:r>
              <a:r>
                <a:rPr lang="en-US" sz="1200">
                  <a:sym typeface="+mn-lt"/>
                </a:rPr>
                <a:t> [2023-'45; USD bn]</a:t>
              </a:r>
            </a:p>
          </p:txBody>
        </p:sp>
      </p:grpSp>
      <p:grpSp>
        <p:nvGrpSpPr>
          <p:cNvPr id="126" name="Gruppieren 124">
            <a:extLst>
              <a:ext uri="{FF2B5EF4-FFF2-40B4-BE49-F238E27FC236}">
                <a16:creationId xmlns:a16="http://schemas.microsoft.com/office/drawing/2014/main" id="{C98F2C92-F10E-E776-C895-D66A4EF0F9DF}"/>
              </a:ext>
            </a:extLst>
          </p:cNvPr>
          <p:cNvGrpSpPr/>
          <p:nvPr/>
        </p:nvGrpSpPr>
        <p:grpSpPr>
          <a:xfrm>
            <a:off x="3454405" y="1944688"/>
            <a:ext cx="1172812" cy="2279071"/>
            <a:chOff x="7720363" y="1215731"/>
            <a:chExt cx="1172812" cy="2279071"/>
          </a:xfrm>
        </p:grpSpPr>
        <p:sp>
          <p:nvSpPr>
            <p:cNvPr id="127" name="TextBox 237">
              <a:extLst>
                <a:ext uri="{FF2B5EF4-FFF2-40B4-BE49-F238E27FC236}">
                  <a16:creationId xmlns:a16="http://schemas.microsoft.com/office/drawing/2014/main" id="{D526D2D1-953E-089B-AD83-C197DAF23671}"/>
                </a:ext>
              </a:extLst>
            </p:cNvPr>
            <p:cNvSpPr txBox="1">
              <a:spLocks/>
            </p:cNvSpPr>
            <p:nvPr/>
          </p:nvSpPr>
          <p:spPr>
            <a:xfrm>
              <a:off x="7720363" y="1215731"/>
              <a:ext cx="534356" cy="277813"/>
            </a:xfrm>
            <a:prstGeom prst="rect">
              <a:avLst/>
            </a:prstGeom>
            <a:noFill/>
            <a:ln w="9525">
              <a:noFill/>
            </a:ln>
          </p:spPr>
          <p:txBody>
            <a:bodyPr vert="horz" wrap="square" lIns="0" tIns="0" rIns="0" bIns="0" rtlCol="0">
              <a:spAutoFit/>
            </a:bodyPr>
            <a:lstStyle/>
            <a:p>
              <a:pPr algn="ctr" fontAlgn="base">
                <a:spcBef>
                  <a:spcPts val="300"/>
                </a:spcBef>
                <a:spcAft>
                  <a:spcPct val="0"/>
                </a:spcAft>
                <a:buSzPct val="100000"/>
              </a:pPr>
              <a:r>
                <a:rPr lang="en-US" sz="900" b="1">
                  <a:sym typeface="+mn-lt"/>
                </a:rPr>
                <a:t>CAGR 2017-'25</a:t>
              </a:r>
            </a:p>
          </p:txBody>
        </p:sp>
        <p:sp>
          <p:nvSpPr>
            <p:cNvPr id="128" name="TextBox 245">
              <a:extLst>
                <a:ext uri="{FF2B5EF4-FFF2-40B4-BE49-F238E27FC236}">
                  <a16:creationId xmlns:a16="http://schemas.microsoft.com/office/drawing/2014/main" id="{006AE076-3F58-DC34-3182-7F9B04856C22}"/>
                </a:ext>
              </a:extLst>
            </p:cNvPr>
            <p:cNvSpPr txBox="1">
              <a:spLocks/>
            </p:cNvSpPr>
            <p:nvPr/>
          </p:nvSpPr>
          <p:spPr>
            <a:xfrm>
              <a:off x="8358819" y="1215731"/>
              <a:ext cx="534356" cy="277813"/>
            </a:xfrm>
            <a:prstGeom prst="rect">
              <a:avLst/>
            </a:prstGeom>
            <a:noFill/>
            <a:ln w="9525">
              <a:noFill/>
            </a:ln>
          </p:spPr>
          <p:txBody>
            <a:bodyPr vert="horz" wrap="square" lIns="0" tIns="0" rIns="0" bIns="0" rtlCol="0">
              <a:spAutoFit/>
            </a:bodyPr>
            <a:lstStyle/>
            <a:p>
              <a:pPr algn="ctr" fontAlgn="base">
                <a:spcBef>
                  <a:spcPts val="300"/>
                </a:spcBef>
                <a:spcAft>
                  <a:spcPct val="0"/>
                </a:spcAft>
                <a:buSzPct val="100000"/>
              </a:pPr>
              <a:r>
                <a:rPr lang="en-US" sz="900" b="1">
                  <a:sym typeface="+mn-lt"/>
                </a:rPr>
                <a:t>CAGR 2025-'40</a:t>
              </a:r>
            </a:p>
          </p:txBody>
        </p:sp>
        <p:sp>
          <p:nvSpPr>
            <p:cNvPr id="129" name="Rectangle: Rounded Corners 238">
              <a:extLst>
                <a:ext uri="{FF2B5EF4-FFF2-40B4-BE49-F238E27FC236}">
                  <a16:creationId xmlns:a16="http://schemas.microsoft.com/office/drawing/2014/main" id="{5022A204-CA6B-0652-6475-1BC083A59E27}"/>
                </a:ext>
              </a:extLst>
            </p:cNvPr>
            <p:cNvSpPr>
              <a:spLocks/>
            </p:cNvSpPr>
            <p:nvPr/>
          </p:nvSpPr>
          <p:spPr>
            <a:xfrm>
              <a:off x="7768237" y="1628865"/>
              <a:ext cx="438608" cy="215900"/>
            </a:xfrm>
            <a:prstGeom prst="roundRect">
              <a:avLst>
                <a:gd name="adj" fmla="val 50000"/>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1000">
                  <a:solidFill>
                    <a:schemeClr val="bg1"/>
                  </a:solidFill>
                  <a:sym typeface="+mn-lt"/>
                </a:rPr>
                <a:t>1%</a:t>
              </a:r>
            </a:p>
          </p:txBody>
        </p:sp>
        <p:sp>
          <p:nvSpPr>
            <p:cNvPr id="130" name="Rectangle: Rounded Corners 246">
              <a:extLst>
                <a:ext uri="{FF2B5EF4-FFF2-40B4-BE49-F238E27FC236}">
                  <a16:creationId xmlns:a16="http://schemas.microsoft.com/office/drawing/2014/main" id="{948B6C64-9C5D-B53A-3B4B-BF8BE98927CA}"/>
                </a:ext>
              </a:extLst>
            </p:cNvPr>
            <p:cNvSpPr>
              <a:spLocks/>
            </p:cNvSpPr>
            <p:nvPr/>
          </p:nvSpPr>
          <p:spPr>
            <a:xfrm>
              <a:off x="8406693" y="1628865"/>
              <a:ext cx="438608" cy="215900"/>
            </a:xfrm>
            <a:prstGeom prst="roundRect">
              <a:avLst>
                <a:gd name="adj" fmla="val 50000"/>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1000">
                  <a:solidFill>
                    <a:schemeClr val="bg1"/>
                  </a:solidFill>
                  <a:sym typeface="+mn-lt"/>
                </a:rPr>
                <a:t>0%</a:t>
              </a:r>
              <a:endParaRPr lang="en-US" sz="1000" err="1">
                <a:solidFill>
                  <a:schemeClr val="bg1"/>
                </a:solidFill>
                <a:sym typeface="+mn-lt"/>
              </a:endParaRPr>
            </a:p>
          </p:txBody>
        </p:sp>
        <p:sp>
          <p:nvSpPr>
            <p:cNvPr id="131" name="Rectangle: Rounded Corners 239">
              <a:extLst>
                <a:ext uri="{FF2B5EF4-FFF2-40B4-BE49-F238E27FC236}">
                  <a16:creationId xmlns:a16="http://schemas.microsoft.com/office/drawing/2014/main" id="{123E0A86-2FF5-39D2-4CA5-3ABD5FA50D61}"/>
                </a:ext>
              </a:extLst>
            </p:cNvPr>
            <p:cNvSpPr>
              <a:spLocks/>
            </p:cNvSpPr>
            <p:nvPr/>
          </p:nvSpPr>
          <p:spPr>
            <a:xfrm>
              <a:off x="7768237" y="2646442"/>
              <a:ext cx="438608" cy="215900"/>
            </a:xfrm>
            <a:prstGeom prst="roundRect">
              <a:avLst>
                <a:gd name="adj" fmla="val 50000"/>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1000">
                  <a:solidFill>
                    <a:schemeClr val="bg1"/>
                  </a:solidFill>
                  <a:sym typeface="+mn-lt"/>
                </a:rPr>
                <a:t>0%</a:t>
              </a:r>
            </a:p>
          </p:txBody>
        </p:sp>
        <p:sp>
          <p:nvSpPr>
            <p:cNvPr id="132" name="Rectangle: Rounded Corners 247">
              <a:extLst>
                <a:ext uri="{FF2B5EF4-FFF2-40B4-BE49-F238E27FC236}">
                  <a16:creationId xmlns:a16="http://schemas.microsoft.com/office/drawing/2014/main" id="{3A9E4A07-0F67-E009-D1C1-DBB4B9D99125}"/>
                </a:ext>
              </a:extLst>
            </p:cNvPr>
            <p:cNvSpPr>
              <a:spLocks/>
            </p:cNvSpPr>
            <p:nvPr/>
          </p:nvSpPr>
          <p:spPr>
            <a:xfrm>
              <a:off x="8406693" y="2646442"/>
              <a:ext cx="438608" cy="215900"/>
            </a:xfrm>
            <a:prstGeom prst="roundRect">
              <a:avLst>
                <a:gd name="adj" fmla="val 50000"/>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1000">
                  <a:solidFill>
                    <a:schemeClr val="bg1"/>
                  </a:solidFill>
                  <a:sym typeface="+mn-lt"/>
                </a:rPr>
                <a:t>0%</a:t>
              </a:r>
            </a:p>
          </p:txBody>
        </p:sp>
        <p:sp>
          <p:nvSpPr>
            <p:cNvPr id="133" name="Rectangle: Rounded Corners 241">
              <a:extLst>
                <a:ext uri="{FF2B5EF4-FFF2-40B4-BE49-F238E27FC236}">
                  <a16:creationId xmlns:a16="http://schemas.microsoft.com/office/drawing/2014/main" id="{4AF9CDC8-18DF-3A89-79C5-C04E3079AEBF}"/>
                </a:ext>
              </a:extLst>
            </p:cNvPr>
            <p:cNvSpPr>
              <a:spLocks/>
            </p:cNvSpPr>
            <p:nvPr/>
          </p:nvSpPr>
          <p:spPr>
            <a:xfrm>
              <a:off x="7768237" y="1886392"/>
              <a:ext cx="438608" cy="215900"/>
            </a:xfrm>
            <a:prstGeom prst="roundRect">
              <a:avLst>
                <a:gd name="adj" fmla="val 50000"/>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1000">
                  <a:solidFill>
                    <a:schemeClr val="bg1"/>
                  </a:solidFill>
                  <a:sym typeface="+mn-lt"/>
                </a:rPr>
                <a:t>3%</a:t>
              </a:r>
            </a:p>
          </p:txBody>
        </p:sp>
        <p:sp>
          <p:nvSpPr>
            <p:cNvPr id="134" name="Rectangle: Rounded Corners 249">
              <a:extLst>
                <a:ext uri="{FF2B5EF4-FFF2-40B4-BE49-F238E27FC236}">
                  <a16:creationId xmlns:a16="http://schemas.microsoft.com/office/drawing/2014/main" id="{5465CDAC-9D27-CF21-73B5-7058E8FE1389}"/>
                </a:ext>
              </a:extLst>
            </p:cNvPr>
            <p:cNvSpPr>
              <a:spLocks/>
            </p:cNvSpPr>
            <p:nvPr/>
          </p:nvSpPr>
          <p:spPr>
            <a:xfrm>
              <a:off x="8406693" y="1886392"/>
              <a:ext cx="438608" cy="215900"/>
            </a:xfrm>
            <a:prstGeom prst="roundRect">
              <a:avLst>
                <a:gd name="adj" fmla="val 50000"/>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1000">
                  <a:solidFill>
                    <a:schemeClr val="bg1"/>
                  </a:solidFill>
                  <a:sym typeface="+mn-lt"/>
                </a:rPr>
                <a:t>1%</a:t>
              </a:r>
            </a:p>
          </p:txBody>
        </p:sp>
        <p:sp>
          <p:nvSpPr>
            <p:cNvPr id="135" name="Rectangle: Rounded Corners 242">
              <a:extLst>
                <a:ext uri="{FF2B5EF4-FFF2-40B4-BE49-F238E27FC236}">
                  <a16:creationId xmlns:a16="http://schemas.microsoft.com/office/drawing/2014/main" id="{FDDF6CDE-8B96-54D2-243F-48903C51F105}"/>
                </a:ext>
              </a:extLst>
            </p:cNvPr>
            <p:cNvSpPr>
              <a:spLocks/>
            </p:cNvSpPr>
            <p:nvPr/>
          </p:nvSpPr>
          <p:spPr>
            <a:xfrm>
              <a:off x="7768237" y="2242040"/>
              <a:ext cx="438608" cy="215900"/>
            </a:xfrm>
            <a:prstGeom prst="roundRect">
              <a:avLst>
                <a:gd name="adj" fmla="val 50000"/>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1000">
                  <a:solidFill>
                    <a:schemeClr val="bg1"/>
                  </a:solidFill>
                  <a:sym typeface="+mn-lt"/>
                </a:rPr>
                <a:t>0%</a:t>
              </a:r>
            </a:p>
          </p:txBody>
        </p:sp>
        <p:sp>
          <p:nvSpPr>
            <p:cNvPr id="136" name="Rectangle: Rounded Corners 250">
              <a:extLst>
                <a:ext uri="{FF2B5EF4-FFF2-40B4-BE49-F238E27FC236}">
                  <a16:creationId xmlns:a16="http://schemas.microsoft.com/office/drawing/2014/main" id="{19E04BAB-8D43-652A-205E-ECB9030EFD2C}"/>
                </a:ext>
              </a:extLst>
            </p:cNvPr>
            <p:cNvSpPr>
              <a:spLocks/>
            </p:cNvSpPr>
            <p:nvPr/>
          </p:nvSpPr>
          <p:spPr>
            <a:xfrm>
              <a:off x="8406693" y="2242040"/>
              <a:ext cx="438608" cy="215900"/>
            </a:xfrm>
            <a:prstGeom prst="roundRect">
              <a:avLst>
                <a:gd name="adj" fmla="val 50000"/>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1000">
                  <a:solidFill>
                    <a:schemeClr val="bg1"/>
                  </a:solidFill>
                  <a:sym typeface="+mn-lt"/>
                </a:rPr>
                <a:t>0%</a:t>
              </a:r>
            </a:p>
          </p:txBody>
        </p:sp>
        <p:sp>
          <p:nvSpPr>
            <p:cNvPr id="137" name="Rectangle: Rounded Corners 243">
              <a:extLst>
                <a:ext uri="{FF2B5EF4-FFF2-40B4-BE49-F238E27FC236}">
                  <a16:creationId xmlns:a16="http://schemas.microsoft.com/office/drawing/2014/main" id="{13D5B67E-5DC4-54E0-25F5-37CAD2C72857}"/>
                </a:ext>
              </a:extLst>
            </p:cNvPr>
            <p:cNvSpPr>
              <a:spLocks/>
            </p:cNvSpPr>
            <p:nvPr/>
          </p:nvSpPr>
          <p:spPr>
            <a:xfrm>
              <a:off x="7768237" y="3278902"/>
              <a:ext cx="438608" cy="215900"/>
            </a:xfrm>
            <a:prstGeom prst="roundRect">
              <a:avLst>
                <a:gd name="adj" fmla="val 50000"/>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1000">
                  <a:solidFill>
                    <a:schemeClr val="bg1"/>
                  </a:solidFill>
                  <a:sym typeface="+mn-lt"/>
                </a:rPr>
                <a:t>2%</a:t>
              </a:r>
            </a:p>
          </p:txBody>
        </p:sp>
        <p:sp>
          <p:nvSpPr>
            <p:cNvPr id="138" name="Rectangle: Rounded Corners 251">
              <a:extLst>
                <a:ext uri="{FF2B5EF4-FFF2-40B4-BE49-F238E27FC236}">
                  <a16:creationId xmlns:a16="http://schemas.microsoft.com/office/drawing/2014/main" id="{0E4FC283-D501-EF7A-05F8-B3942D204564}"/>
                </a:ext>
              </a:extLst>
            </p:cNvPr>
            <p:cNvSpPr>
              <a:spLocks/>
            </p:cNvSpPr>
            <p:nvPr/>
          </p:nvSpPr>
          <p:spPr>
            <a:xfrm>
              <a:off x="8406693" y="3278902"/>
              <a:ext cx="438608" cy="215900"/>
            </a:xfrm>
            <a:prstGeom prst="roundRect">
              <a:avLst>
                <a:gd name="adj" fmla="val 50000"/>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1000">
                  <a:solidFill>
                    <a:schemeClr val="bg1"/>
                  </a:solidFill>
                  <a:sym typeface="+mn-lt"/>
                </a:rPr>
                <a:t>1%</a:t>
              </a:r>
              <a:endParaRPr lang="en-US" sz="1000" err="1">
                <a:solidFill>
                  <a:schemeClr val="bg1"/>
                </a:solidFill>
                <a:sym typeface="+mn-lt"/>
              </a:endParaRPr>
            </a:p>
          </p:txBody>
        </p:sp>
      </p:grpSp>
      <p:sp>
        <p:nvSpPr>
          <p:cNvPr id="139" name="TextBox 1">
            <a:extLst>
              <a:ext uri="{FF2B5EF4-FFF2-40B4-BE49-F238E27FC236}">
                <a16:creationId xmlns:a16="http://schemas.microsoft.com/office/drawing/2014/main" id="{DB66BA4B-8FD4-AA1C-2248-88A872A8E98D}"/>
              </a:ext>
            </a:extLst>
          </p:cNvPr>
          <p:cNvSpPr txBox="1"/>
          <p:nvPr/>
        </p:nvSpPr>
        <p:spPr>
          <a:xfrm>
            <a:off x="170485" y="1389177"/>
            <a:ext cx="7579731" cy="276999"/>
          </a:xfrm>
          <a:prstGeom prst="rect">
            <a:avLst/>
          </a:prstGeom>
          <a:noFill/>
        </p:spPr>
        <p:txBody>
          <a:bodyPr wrap="square">
            <a:spAutoFit/>
          </a:bodyPr>
          <a:lstStyle/>
          <a:p>
            <a:r>
              <a:rPr lang="en-US" sz="1200" dirty="0">
                <a:solidFill>
                  <a:schemeClr val="tx2"/>
                </a:solidFill>
                <a:latin typeface="+mj-lt"/>
                <a:cs typeface="+mj-cs"/>
                <a:sym typeface="+mn-lt"/>
              </a:rPr>
              <a:t>Oil refinery capacity worldwide by region </a:t>
            </a:r>
            <a:endParaRPr lang="en-GB" sz="1200" dirty="0">
              <a:solidFill>
                <a:schemeClr val="tx2"/>
              </a:solidFill>
            </a:endParaRPr>
          </a:p>
        </p:txBody>
      </p:sp>
    </p:spTree>
    <p:extLst>
      <p:ext uri="{BB962C8B-B14F-4D97-AF65-F5344CB8AC3E}">
        <p14:creationId xmlns:p14="http://schemas.microsoft.com/office/powerpoint/2010/main" val="12673512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4">
            <a:extLst>
              <a:ext uri="{FF2B5EF4-FFF2-40B4-BE49-F238E27FC236}">
                <a16:creationId xmlns:a16="http://schemas.microsoft.com/office/drawing/2014/main" id="{FA86CEC4-F4FF-C9A4-049F-65E15836E1C4}"/>
              </a:ext>
            </a:extLst>
          </p:cNvPr>
          <p:cNvSpPr>
            <a:spLocks noGrp="1"/>
          </p:cNvSpPr>
          <p:nvPr>
            <p:ph type="title"/>
          </p:nvPr>
        </p:nvSpPr>
        <p:spPr>
          <a:xfrm>
            <a:off x="250825" y="1166813"/>
            <a:ext cx="7093636" cy="1622261"/>
          </a:xfrm>
        </p:spPr>
        <p:txBody>
          <a:bodyPr/>
          <a:lstStyle/>
          <a:p>
            <a:r>
              <a:rPr lang="en-US" sz="3200" dirty="0">
                <a:cs typeface="Arial" panose="020B0604020202020204" pitchFamily="34" charset="0"/>
              </a:rPr>
              <a:t>B.	Outlook on growing markets</a:t>
            </a:r>
            <a:endParaRPr lang="it-IT" sz="3200" dirty="0">
              <a:cs typeface="Arial" panose="020B0604020202020204" pitchFamily="34" charset="0"/>
            </a:endParaRPr>
          </a:p>
        </p:txBody>
      </p:sp>
    </p:spTree>
    <p:extLst>
      <p:ext uri="{BB962C8B-B14F-4D97-AF65-F5344CB8AC3E}">
        <p14:creationId xmlns:p14="http://schemas.microsoft.com/office/powerpoint/2010/main" val="39615799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B2ACBF7-5010-BED6-EDF4-1D8A7CF5EA39}"/>
              </a:ext>
            </a:extLst>
          </p:cNvPr>
          <p:cNvSpPr txBox="1">
            <a:spLocks/>
          </p:cNvSpPr>
          <p:nvPr/>
        </p:nvSpPr>
        <p:spPr>
          <a:xfrm>
            <a:off x="250825" y="842963"/>
            <a:ext cx="8642350" cy="576000"/>
          </a:xfrm>
          <a:prstGeom prst="rect">
            <a:avLst/>
          </a:prstGeom>
        </p:spPr>
        <p:txBody>
          <a:bodyPr vert="horz"/>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r>
              <a:rPr lang="en-US" sz="1800"/>
              <a:t>Climate change is driving four megatrends, which will shape energy systems and the evolution of industrial valve markets</a:t>
            </a:r>
            <a:endParaRPr lang="en-US" sz="1800" dirty="0"/>
          </a:p>
        </p:txBody>
      </p:sp>
      <p:sp>
        <p:nvSpPr>
          <p:cNvPr id="7" name="Formatted_text">
            <a:extLst>
              <a:ext uri="{FF2B5EF4-FFF2-40B4-BE49-F238E27FC236}">
                <a16:creationId xmlns:a16="http://schemas.microsoft.com/office/drawing/2014/main" id="{CF067248-704B-A10F-79B3-632EA5CBD17B}"/>
              </a:ext>
            </a:extLst>
          </p:cNvPr>
          <p:cNvSpPr txBox="1">
            <a:spLocks/>
          </p:cNvSpPr>
          <p:nvPr/>
        </p:nvSpPr>
        <p:spPr>
          <a:xfrm>
            <a:off x="2614891" y="2607218"/>
            <a:ext cx="1860452" cy="1582484"/>
          </a:xfrm>
          <a:prstGeom prst="rect">
            <a:avLst/>
          </a:prstGeom>
          <a:noFill/>
          <a:ln w="9525">
            <a:noFill/>
          </a:ln>
        </p:spPr>
        <p:txBody>
          <a:bodyPr vert="horz" wrap="square" lIns="0" tIns="0" rIns="0" bIns="0" rtlCol="0">
            <a:spAutoFit/>
          </a:bodyPr>
          <a:lstStyle/>
          <a:p>
            <a:pPr marL="78308" lvl="1" indent="-78308">
              <a:lnSpc>
                <a:spcPct val="90000"/>
              </a:lnSpc>
              <a:spcBef>
                <a:spcPts val="450"/>
              </a:spcBef>
              <a:buSzPct val="100000"/>
              <a:buFont typeface="+mn-lt"/>
              <a:buChar char="•"/>
            </a:pPr>
            <a:r>
              <a:rPr lang="en-US" sz="1050" b="1">
                <a:latin typeface="Arial" panose="020B0604020202020204" pitchFamily="34" charset="0"/>
                <a:cs typeface="Arial" panose="020B0604020202020204" pitchFamily="34" charset="0"/>
                <a:sym typeface="+mn-lt"/>
              </a:rPr>
              <a:t>Energy and industry sectors are increasingly growing together</a:t>
            </a:r>
            <a:r>
              <a:rPr lang="en-US" sz="1050">
                <a:latin typeface="Arial" panose="020B0604020202020204" pitchFamily="34" charset="0"/>
                <a:cs typeface="Arial" panose="020B0604020202020204" pitchFamily="34" charset="0"/>
                <a:sym typeface="+mn-lt"/>
              </a:rPr>
              <a:t>, creating </a:t>
            </a:r>
            <a:r>
              <a:rPr lang="en-US" sz="1050" b="1">
                <a:latin typeface="Arial" panose="020B0604020202020204" pitchFamily="34" charset="0"/>
                <a:cs typeface="Arial" panose="020B0604020202020204" pitchFamily="34" charset="0"/>
                <a:sym typeface="+mn-lt"/>
              </a:rPr>
              <a:t>need for</a:t>
            </a:r>
            <a:r>
              <a:rPr lang="en-US" sz="1050">
                <a:latin typeface="Arial" panose="020B0604020202020204" pitchFamily="34" charset="0"/>
                <a:cs typeface="Arial" panose="020B0604020202020204" pitchFamily="34" charset="0"/>
                <a:sym typeface="+mn-lt"/>
              </a:rPr>
              <a:t>:</a:t>
            </a:r>
          </a:p>
          <a:p>
            <a:pPr marL="149097" lvl="2" indent="-72323">
              <a:lnSpc>
                <a:spcPct val="90000"/>
              </a:lnSpc>
              <a:spcBef>
                <a:spcPts val="450"/>
              </a:spcBef>
              <a:buSzPct val="100000"/>
              <a:buFont typeface="+mn-lt"/>
              <a:buChar char="–"/>
            </a:pPr>
            <a:r>
              <a:rPr lang="en-US" sz="1050" b="1">
                <a:latin typeface="Arial" panose="020B0604020202020204" pitchFamily="34" charset="0"/>
                <a:cs typeface="Arial" panose="020B0604020202020204" pitchFamily="34" charset="0"/>
                <a:sym typeface="+mn-lt"/>
              </a:rPr>
              <a:t>Energy storage </a:t>
            </a:r>
            <a:r>
              <a:rPr lang="en-US" sz="1050">
                <a:latin typeface="Arial" panose="020B0604020202020204" pitchFamily="34" charset="0"/>
                <a:cs typeface="Arial" panose="020B0604020202020204" pitchFamily="34" charset="0"/>
                <a:sym typeface="+mn-lt"/>
              </a:rPr>
              <a:t>(e.g., excess electricity to </a:t>
            </a:r>
            <a:r>
              <a:rPr lang="en-US" sz="1050" err="1">
                <a:latin typeface="Arial" panose="020B0604020202020204" pitchFamily="34" charset="0"/>
                <a:cs typeface="Arial" panose="020B0604020202020204" pitchFamily="34" charset="0"/>
                <a:sym typeface="+mn-lt"/>
              </a:rPr>
              <a:t>H</a:t>
            </a:r>
            <a:r>
              <a:rPr lang="en-US" sz="1050" baseline="-25000" err="1">
                <a:latin typeface="Arial" panose="020B0604020202020204" pitchFamily="34" charset="0"/>
                <a:cs typeface="Arial" panose="020B0604020202020204" pitchFamily="34" charset="0"/>
                <a:sym typeface="+mn-lt"/>
              </a:rPr>
              <a:t>2</a:t>
            </a:r>
            <a:r>
              <a:rPr lang="en-US" sz="1050">
                <a:latin typeface="Arial" panose="020B0604020202020204" pitchFamily="34" charset="0"/>
                <a:cs typeface="Arial" panose="020B0604020202020204" pitchFamily="34" charset="0"/>
                <a:sym typeface="+mn-lt"/>
              </a:rPr>
              <a:t>, hydro-storage)</a:t>
            </a:r>
          </a:p>
          <a:p>
            <a:pPr marL="149097" lvl="2" indent="-72323">
              <a:lnSpc>
                <a:spcPct val="90000"/>
              </a:lnSpc>
              <a:spcBef>
                <a:spcPts val="450"/>
              </a:spcBef>
              <a:buSzPct val="100000"/>
              <a:buFont typeface="+mn-lt"/>
              <a:buChar char="–"/>
            </a:pPr>
            <a:r>
              <a:rPr lang="en-US" sz="1050" b="1">
                <a:latin typeface="Arial" panose="020B0604020202020204" pitchFamily="34" charset="0"/>
                <a:cs typeface="Arial" panose="020B0604020202020204" pitchFamily="34" charset="0"/>
                <a:sym typeface="+mn-lt"/>
              </a:rPr>
              <a:t>Pipeline infrastructure</a:t>
            </a:r>
            <a:r>
              <a:rPr lang="en-US" sz="1050">
                <a:latin typeface="Arial" panose="020B0604020202020204" pitchFamily="34" charset="0"/>
                <a:cs typeface="Arial" panose="020B0604020202020204" pitchFamily="34" charset="0"/>
                <a:sym typeface="+mn-lt"/>
              </a:rPr>
              <a:t> for natural gas &amp; heating transportation</a:t>
            </a:r>
          </a:p>
        </p:txBody>
      </p:sp>
      <p:sp>
        <p:nvSpPr>
          <p:cNvPr id="8" name="Rectangle 15">
            <a:extLst>
              <a:ext uri="{FF2B5EF4-FFF2-40B4-BE49-F238E27FC236}">
                <a16:creationId xmlns:a16="http://schemas.microsoft.com/office/drawing/2014/main" id="{37873F11-8004-B7AC-84FD-B8537F914831}"/>
              </a:ext>
            </a:extLst>
          </p:cNvPr>
          <p:cNvSpPr/>
          <p:nvPr/>
        </p:nvSpPr>
        <p:spPr>
          <a:xfrm>
            <a:off x="2546888" y="1713735"/>
            <a:ext cx="1996458" cy="272355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700">
              <a:solidFill>
                <a:schemeClr val="tx1"/>
              </a:solidFill>
              <a:latin typeface="Arial" panose="020B0604020202020204" pitchFamily="34" charset="0"/>
              <a:cs typeface="Arial" panose="020B0604020202020204" pitchFamily="34" charset="0"/>
              <a:sym typeface="+mn-lt"/>
            </a:endParaRPr>
          </a:p>
        </p:txBody>
      </p:sp>
      <p:sp>
        <p:nvSpPr>
          <p:cNvPr id="9" name="TextBox 16">
            <a:extLst>
              <a:ext uri="{FF2B5EF4-FFF2-40B4-BE49-F238E27FC236}">
                <a16:creationId xmlns:a16="http://schemas.microsoft.com/office/drawing/2014/main" id="{3B1AD068-42F8-99CF-7245-B3687DE8B841}"/>
              </a:ext>
            </a:extLst>
          </p:cNvPr>
          <p:cNvSpPr txBox="1">
            <a:spLocks/>
          </p:cNvSpPr>
          <p:nvPr/>
        </p:nvSpPr>
        <p:spPr>
          <a:xfrm>
            <a:off x="2614890" y="1634750"/>
            <a:ext cx="1349572" cy="145424"/>
          </a:xfrm>
          <a:prstGeom prst="rect">
            <a:avLst/>
          </a:prstGeom>
          <a:solidFill>
            <a:schemeClr val="bg1"/>
          </a:solidFill>
          <a:ln w="9525">
            <a:noFill/>
          </a:ln>
        </p:spPr>
        <p:txBody>
          <a:bodyPr vert="horz" wrap="square" lIns="54000" tIns="0" rIns="0" bIns="0" rtlCol="0">
            <a:spAutoFit/>
          </a:bodyPr>
          <a:lstStyle/>
          <a:p>
            <a:pPr>
              <a:lnSpc>
                <a:spcPct val="90000"/>
              </a:lnSpc>
              <a:spcBef>
                <a:spcPts val="300"/>
              </a:spcBef>
              <a:buSzPct val="100000"/>
              <a:buFont typeface=""/>
            </a:pPr>
            <a:r>
              <a:rPr lang="en-US" sz="1050" b="1">
                <a:latin typeface="Arial" panose="020B0604020202020204" pitchFamily="34" charset="0"/>
                <a:cs typeface="Arial" panose="020B0604020202020204" pitchFamily="34" charset="0"/>
                <a:sym typeface="+mn-lt"/>
              </a:rPr>
              <a:t>Sector coupling</a:t>
            </a:r>
          </a:p>
        </p:txBody>
      </p:sp>
      <p:sp>
        <p:nvSpPr>
          <p:cNvPr id="10" name="Formatted_text">
            <a:extLst>
              <a:ext uri="{FF2B5EF4-FFF2-40B4-BE49-F238E27FC236}">
                <a16:creationId xmlns:a16="http://schemas.microsoft.com/office/drawing/2014/main" id="{171A6ADB-4C27-9ADB-5230-F686D2017BB5}"/>
              </a:ext>
            </a:extLst>
          </p:cNvPr>
          <p:cNvSpPr txBox="1">
            <a:spLocks/>
          </p:cNvSpPr>
          <p:nvPr/>
        </p:nvSpPr>
        <p:spPr>
          <a:xfrm>
            <a:off x="439976" y="2607218"/>
            <a:ext cx="1860452" cy="1291636"/>
          </a:xfrm>
          <a:prstGeom prst="rect">
            <a:avLst/>
          </a:prstGeom>
          <a:noFill/>
          <a:ln w="9525">
            <a:noFill/>
          </a:ln>
        </p:spPr>
        <p:txBody>
          <a:bodyPr vert="horz" wrap="square" lIns="0" tIns="0" rIns="0" bIns="0" rtlCol="0">
            <a:spAutoFit/>
          </a:bodyPr>
          <a:lstStyle/>
          <a:p>
            <a:pPr marL="93970" lvl="1" indent="-93970">
              <a:lnSpc>
                <a:spcPct val="90000"/>
              </a:lnSpc>
              <a:spcBef>
                <a:spcPts val="450"/>
              </a:spcBef>
              <a:buSzPct val="100000"/>
              <a:buFont typeface="+mn-lt"/>
              <a:buChar char="•"/>
            </a:pPr>
            <a:r>
              <a:rPr lang="en-US" sz="1050" dirty="0">
                <a:latin typeface="Arial" panose="020B0604020202020204" pitchFamily="34" charset="0"/>
                <a:cs typeface="Arial" panose="020B0604020202020204" pitchFamily="34" charset="0"/>
                <a:sym typeface="+mn-lt"/>
              </a:rPr>
              <a:t>Significant </a:t>
            </a:r>
            <a:r>
              <a:rPr lang="en-US" sz="1050" b="1" dirty="0">
                <a:latin typeface="Arial" panose="020B0604020202020204" pitchFamily="34" charset="0"/>
                <a:cs typeface="Arial" panose="020B0604020202020204" pitchFamily="34" charset="0"/>
                <a:sym typeface="+mn-lt"/>
              </a:rPr>
              <a:t>growth in </a:t>
            </a:r>
            <a:r>
              <a:rPr lang="en-US" sz="1050" b="1" dirty="0" err="1">
                <a:latin typeface="Arial" panose="020B0604020202020204" pitchFamily="34" charset="0"/>
                <a:cs typeface="Arial" panose="020B0604020202020204" pitchFamily="34" charset="0"/>
                <a:sym typeface="+mn-lt"/>
              </a:rPr>
              <a:t>RES</a:t>
            </a:r>
            <a:r>
              <a:rPr lang="en-US" sz="1050" b="1" baseline="30000" dirty="0" err="1">
                <a:latin typeface="Arial" panose="020B0604020202020204" pitchFamily="34" charset="0"/>
                <a:cs typeface="Arial" panose="020B0604020202020204" pitchFamily="34" charset="0"/>
                <a:sym typeface="+mn-lt"/>
              </a:rPr>
              <a:t>1</a:t>
            </a:r>
            <a:r>
              <a:rPr lang="en-US" sz="1050" b="1" baseline="30000" dirty="0">
                <a:latin typeface="Arial" panose="020B0604020202020204" pitchFamily="34" charset="0"/>
                <a:cs typeface="Arial" panose="020B0604020202020204" pitchFamily="34" charset="0"/>
                <a:sym typeface="+mn-lt"/>
              </a:rPr>
              <a:t>)</a:t>
            </a:r>
            <a:r>
              <a:rPr lang="en-US" sz="1050" b="1" dirty="0">
                <a:latin typeface="Arial" panose="020B0604020202020204" pitchFamily="34" charset="0"/>
                <a:cs typeface="Arial" panose="020B0604020202020204" pitchFamily="34" charset="0"/>
                <a:sym typeface="+mn-lt"/>
              </a:rPr>
              <a:t> energy, hydro  and nuclear power</a:t>
            </a:r>
            <a:r>
              <a:rPr lang="en-US" sz="1050" dirty="0">
                <a:latin typeface="Arial" panose="020B0604020202020204" pitchFamily="34" charset="0"/>
                <a:cs typeface="Arial" panose="020B0604020202020204" pitchFamily="34" charset="0"/>
                <a:sym typeface="+mn-lt"/>
              </a:rPr>
              <a:t>, </a:t>
            </a:r>
          </a:p>
          <a:p>
            <a:pPr marL="93970" lvl="1" indent="-93970">
              <a:lnSpc>
                <a:spcPct val="90000"/>
              </a:lnSpc>
              <a:spcBef>
                <a:spcPts val="450"/>
              </a:spcBef>
              <a:buSzPct val="100000"/>
              <a:buFont typeface="+mn-lt"/>
              <a:buChar char="•"/>
            </a:pPr>
            <a:r>
              <a:rPr lang="en-US" sz="1050" dirty="0">
                <a:latin typeface="Arial" panose="020B0604020202020204" pitchFamily="34" charset="0"/>
                <a:cs typeface="Arial" panose="020B0604020202020204" pitchFamily="34" charset="0"/>
                <a:sym typeface="+mn-lt"/>
              </a:rPr>
              <a:t>Industry and mobility, switching </a:t>
            </a:r>
            <a:r>
              <a:rPr lang="en-US" sz="1050" b="1" dirty="0">
                <a:latin typeface="Arial" panose="020B0604020202020204" pitchFamily="34" charset="0"/>
                <a:cs typeface="Arial" panose="020B0604020202020204" pitchFamily="34" charset="0"/>
                <a:sym typeface="+mn-lt"/>
              </a:rPr>
              <a:t>to electrification and low-carbon fuels </a:t>
            </a:r>
          </a:p>
          <a:p>
            <a:pPr marL="93970" lvl="1" indent="-93970">
              <a:lnSpc>
                <a:spcPct val="90000"/>
              </a:lnSpc>
              <a:spcBef>
                <a:spcPts val="450"/>
              </a:spcBef>
              <a:buSzPct val="100000"/>
              <a:buFont typeface="+mn-lt"/>
              <a:buChar char="•"/>
            </a:pPr>
            <a:r>
              <a:rPr lang="en-US" sz="1050" b="1" dirty="0">
                <a:latin typeface="Arial" panose="020B0604020202020204" pitchFamily="34" charset="0"/>
                <a:cs typeface="Arial" panose="020B0604020202020204" pitchFamily="34" charset="0"/>
                <a:sym typeface="+mn-lt"/>
              </a:rPr>
              <a:t>Grid balance and peak load management </a:t>
            </a:r>
            <a:r>
              <a:rPr lang="en-US" sz="1050" dirty="0">
                <a:latin typeface="Arial" panose="020B0604020202020204" pitchFamily="34" charset="0"/>
                <a:cs typeface="Arial" panose="020B0604020202020204" pitchFamily="34" charset="0"/>
                <a:sym typeface="+mn-lt"/>
              </a:rPr>
              <a:t>required</a:t>
            </a:r>
          </a:p>
        </p:txBody>
      </p:sp>
      <p:sp>
        <p:nvSpPr>
          <p:cNvPr id="11" name="Rectangle 18">
            <a:extLst>
              <a:ext uri="{FF2B5EF4-FFF2-40B4-BE49-F238E27FC236}">
                <a16:creationId xmlns:a16="http://schemas.microsoft.com/office/drawing/2014/main" id="{1C5555B2-688A-3075-38DA-C4D098BDA423}"/>
              </a:ext>
            </a:extLst>
          </p:cNvPr>
          <p:cNvSpPr/>
          <p:nvPr/>
        </p:nvSpPr>
        <p:spPr>
          <a:xfrm>
            <a:off x="371974" y="1713735"/>
            <a:ext cx="1996458" cy="272355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700">
              <a:solidFill>
                <a:schemeClr val="tx1"/>
              </a:solidFill>
              <a:latin typeface="Arial" panose="020B0604020202020204" pitchFamily="34" charset="0"/>
              <a:cs typeface="Arial" panose="020B0604020202020204" pitchFamily="34" charset="0"/>
              <a:sym typeface="+mn-lt"/>
            </a:endParaRPr>
          </a:p>
        </p:txBody>
      </p:sp>
      <p:sp>
        <p:nvSpPr>
          <p:cNvPr id="12" name="TextBox 19">
            <a:extLst>
              <a:ext uri="{FF2B5EF4-FFF2-40B4-BE49-F238E27FC236}">
                <a16:creationId xmlns:a16="http://schemas.microsoft.com/office/drawing/2014/main" id="{10A621BD-B7FE-E016-7D31-2B552752156A}"/>
              </a:ext>
            </a:extLst>
          </p:cNvPr>
          <p:cNvSpPr txBox="1">
            <a:spLocks/>
          </p:cNvSpPr>
          <p:nvPr/>
        </p:nvSpPr>
        <p:spPr>
          <a:xfrm>
            <a:off x="439975" y="1634750"/>
            <a:ext cx="1349572" cy="145424"/>
          </a:xfrm>
          <a:prstGeom prst="rect">
            <a:avLst/>
          </a:prstGeom>
          <a:solidFill>
            <a:schemeClr val="bg1"/>
          </a:solidFill>
          <a:ln w="9525">
            <a:noFill/>
          </a:ln>
        </p:spPr>
        <p:txBody>
          <a:bodyPr vert="horz" wrap="square" lIns="54000" tIns="0" rIns="0" bIns="0" rtlCol="0">
            <a:spAutoFit/>
          </a:bodyPr>
          <a:lstStyle/>
          <a:p>
            <a:pPr>
              <a:lnSpc>
                <a:spcPct val="90000"/>
              </a:lnSpc>
              <a:spcBef>
                <a:spcPts val="300"/>
              </a:spcBef>
              <a:buSzPct val="100000"/>
              <a:buFont typeface=""/>
            </a:pPr>
            <a:r>
              <a:rPr lang="en-US" sz="1050" b="1">
                <a:latin typeface="Arial" panose="020B0604020202020204" pitchFamily="34" charset="0"/>
                <a:cs typeface="Arial" panose="020B0604020202020204" pitchFamily="34" charset="0"/>
                <a:sym typeface="+mn-lt"/>
              </a:rPr>
              <a:t>Decarbonization</a:t>
            </a:r>
          </a:p>
        </p:txBody>
      </p:sp>
      <p:sp>
        <p:nvSpPr>
          <p:cNvPr id="13" name="Formatted_text">
            <a:extLst>
              <a:ext uri="{FF2B5EF4-FFF2-40B4-BE49-F238E27FC236}">
                <a16:creationId xmlns:a16="http://schemas.microsoft.com/office/drawing/2014/main" id="{BABA2438-A6E8-14E7-836E-2CE4828D486D}"/>
              </a:ext>
            </a:extLst>
          </p:cNvPr>
          <p:cNvSpPr txBox="1">
            <a:spLocks/>
          </p:cNvSpPr>
          <p:nvPr/>
        </p:nvSpPr>
        <p:spPr>
          <a:xfrm>
            <a:off x="4765990" y="2607218"/>
            <a:ext cx="1928456" cy="1727909"/>
          </a:xfrm>
          <a:prstGeom prst="rect">
            <a:avLst/>
          </a:prstGeom>
          <a:noFill/>
          <a:ln w="9525">
            <a:noFill/>
          </a:ln>
        </p:spPr>
        <p:txBody>
          <a:bodyPr vert="horz" wrap="square" lIns="0" tIns="0" rIns="0" bIns="0" rtlCol="0">
            <a:spAutoFit/>
          </a:bodyPr>
          <a:lstStyle/>
          <a:p>
            <a:pPr marL="93970" lvl="1" indent="-93970">
              <a:lnSpc>
                <a:spcPct val="90000"/>
              </a:lnSpc>
              <a:spcBef>
                <a:spcPts val="450"/>
              </a:spcBef>
              <a:buSzPct val="100000"/>
              <a:buFont typeface="+mn-lt"/>
              <a:buChar char="•"/>
            </a:pPr>
            <a:r>
              <a:rPr lang="en-US" sz="1050" b="1">
                <a:latin typeface="Arial" panose="020B0604020202020204" pitchFamily="34" charset="0"/>
                <a:cs typeface="Arial" panose="020B0604020202020204" pitchFamily="34" charset="0"/>
                <a:sym typeface="+mn-lt"/>
              </a:rPr>
              <a:t>Centralized power plants </a:t>
            </a:r>
            <a:r>
              <a:rPr lang="en-US" sz="1050">
                <a:latin typeface="Arial" panose="020B0604020202020204" pitchFamily="34" charset="0"/>
                <a:cs typeface="Arial" panose="020B0604020202020204" pitchFamily="34" charset="0"/>
                <a:sym typeface="+mn-lt"/>
              </a:rPr>
              <a:t>and substituted by small-scale renewable energy plants and all producers are expected to generate </a:t>
            </a:r>
            <a:r>
              <a:rPr lang="en-US" sz="1050" b="1">
                <a:latin typeface="Arial" panose="020B0604020202020204" pitchFamily="34" charset="0"/>
                <a:cs typeface="Arial" panose="020B0604020202020204" pitchFamily="34" charset="0"/>
                <a:sym typeface="+mn-lt"/>
              </a:rPr>
              <a:t>heat or electricity decentralized</a:t>
            </a:r>
          </a:p>
          <a:p>
            <a:pPr marL="93970" lvl="1" indent="-93970">
              <a:lnSpc>
                <a:spcPct val="90000"/>
              </a:lnSpc>
              <a:spcBef>
                <a:spcPts val="450"/>
              </a:spcBef>
              <a:buSzPct val="100000"/>
              <a:buFont typeface="+mn-lt"/>
              <a:buChar char="•"/>
            </a:pPr>
            <a:r>
              <a:rPr lang="en-US" sz="1050" b="1">
                <a:latin typeface="Arial" panose="020B0604020202020204" pitchFamily="34" charset="0"/>
                <a:cs typeface="Arial" panose="020B0604020202020204" pitchFamily="34" charset="0"/>
                <a:sym typeface="+mn-lt"/>
              </a:rPr>
              <a:t>Load balancing and demand mgmt. </a:t>
            </a:r>
            <a:r>
              <a:rPr lang="en-US" sz="1050">
                <a:latin typeface="Arial" panose="020B0604020202020204" pitchFamily="34" charset="0"/>
                <a:cs typeface="Arial" panose="020B0604020202020204" pitchFamily="34" charset="0"/>
                <a:sym typeface="+mn-lt"/>
              </a:rPr>
              <a:t>becoming more </a:t>
            </a:r>
            <a:r>
              <a:rPr lang="en-US" sz="1050" b="1">
                <a:latin typeface="Arial" panose="020B0604020202020204" pitchFamily="34" charset="0"/>
                <a:cs typeface="Arial" panose="020B0604020202020204" pitchFamily="34" charset="0"/>
                <a:sym typeface="+mn-lt"/>
              </a:rPr>
              <a:t>complex</a:t>
            </a:r>
            <a:r>
              <a:rPr lang="en-US" sz="1050">
                <a:latin typeface="Arial" panose="020B0604020202020204" pitchFamily="34" charset="0"/>
                <a:cs typeface="Arial" panose="020B0604020202020204" pitchFamily="34" charset="0"/>
                <a:sym typeface="+mn-lt"/>
              </a:rPr>
              <a:t> </a:t>
            </a:r>
          </a:p>
          <a:p>
            <a:pPr marL="93970" lvl="1" indent="-93970">
              <a:lnSpc>
                <a:spcPct val="90000"/>
              </a:lnSpc>
              <a:spcBef>
                <a:spcPts val="450"/>
              </a:spcBef>
              <a:buSzPct val="100000"/>
              <a:buFont typeface="+mn-lt"/>
              <a:buChar char="•"/>
            </a:pPr>
            <a:r>
              <a:rPr lang="en-US" sz="1050" b="1" err="1">
                <a:latin typeface="Arial" panose="020B0604020202020204" pitchFamily="34" charset="0"/>
                <a:cs typeface="Arial" panose="020B0604020202020204" pitchFamily="34" charset="0"/>
                <a:sym typeface="+mn-lt"/>
              </a:rPr>
              <a:t>H</a:t>
            </a:r>
            <a:r>
              <a:rPr lang="en-US" sz="1050" b="1" baseline="-25000" err="1">
                <a:latin typeface="Arial" panose="020B0604020202020204" pitchFamily="34" charset="0"/>
                <a:cs typeface="Arial" panose="020B0604020202020204" pitchFamily="34" charset="0"/>
                <a:sym typeface="+mn-lt"/>
              </a:rPr>
              <a:t>2</a:t>
            </a:r>
            <a:r>
              <a:rPr lang="en-US" sz="1050" b="1">
                <a:latin typeface="Arial" panose="020B0604020202020204" pitchFamily="34" charset="0"/>
                <a:cs typeface="Arial" panose="020B0604020202020204" pitchFamily="34" charset="0"/>
                <a:sym typeface="+mn-lt"/>
              </a:rPr>
              <a:t>, nat. gas and water </a:t>
            </a:r>
            <a:r>
              <a:rPr lang="en-US" sz="1050">
                <a:latin typeface="Arial" panose="020B0604020202020204" pitchFamily="34" charset="0"/>
                <a:cs typeface="Arial" panose="020B0604020202020204" pitchFamily="34" charset="0"/>
                <a:sym typeface="+mn-lt"/>
              </a:rPr>
              <a:t>as effective </a:t>
            </a:r>
            <a:r>
              <a:rPr lang="en-US" sz="1050" b="1">
                <a:latin typeface="Arial" panose="020B0604020202020204" pitchFamily="34" charset="0"/>
                <a:cs typeface="Arial" panose="020B0604020202020204" pitchFamily="34" charset="0"/>
                <a:sym typeface="+mn-lt"/>
              </a:rPr>
              <a:t>energy storage</a:t>
            </a:r>
          </a:p>
        </p:txBody>
      </p:sp>
      <p:sp>
        <p:nvSpPr>
          <p:cNvPr id="14" name="Rectangle 24">
            <a:extLst>
              <a:ext uri="{FF2B5EF4-FFF2-40B4-BE49-F238E27FC236}">
                <a16:creationId xmlns:a16="http://schemas.microsoft.com/office/drawing/2014/main" id="{D6C1F272-08A3-5CD9-6147-474F9C041DBB}"/>
              </a:ext>
            </a:extLst>
          </p:cNvPr>
          <p:cNvSpPr/>
          <p:nvPr/>
        </p:nvSpPr>
        <p:spPr>
          <a:xfrm>
            <a:off x="4721803" y="1713735"/>
            <a:ext cx="1996458" cy="272726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lnSpc>
                <a:spcPct val="90000"/>
              </a:lnSpc>
              <a:spcBef>
                <a:spcPts val="300"/>
              </a:spcBef>
              <a:buSzPct val="100000"/>
            </a:pPr>
            <a:endParaRPr lang="en-US" sz="1100">
              <a:solidFill>
                <a:schemeClr val="tx1"/>
              </a:solidFill>
              <a:latin typeface="Arial" panose="020B0604020202020204" pitchFamily="34" charset="0"/>
              <a:cs typeface="Arial" panose="020B0604020202020204" pitchFamily="34" charset="0"/>
              <a:sym typeface="+mn-lt"/>
            </a:endParaRPr>
          </a:p>
        </p:txBody>
      </p:sp>
      <p:sp>
        <p:nvSpPr>
          <p:cNvPr id="15" name="TextBox 25">
            <a:extLst>
              <a:ext uri="{FF2B5EF4-FFF2-40B4-BE49-F238E27FC236}">
                <a16:creationId xmlns:a16="http://schemas.microsoft.com/office/drawing/2014/main" id="{51554837-3075-8A9D-0A8A-C838787BF8FA}"/>
              </a:ext>
            </a:extLst>
          </p:cNvPr>
          <p:cNvSpPr txBox="1">
            <a:spLocks/>
          </p:cNvSpPr>
          <p:nvPr/>
        </p:nvSpPr>
        <p:spPr>
          <a:xfrm>
            <a:off x="4808855" y="1634750"/>
            <a:ext cx="1245864" cy="145424"/>
          </a:xfrm>
          <a:prstGeom prst="rect">
            <a:avLst/>
          </a:prstGeom>
          <a:solidFill>
            <a:schemeClr val="bg1"/>
          </a:solidFill>
          <a:ln w="9525">
            <a:noFill/>
          </a:ln>
        </p:spPr>
        <p:txBody>
          <a:bodyPr vert="horz" wrap="square" lIns="54000" tIns="0" rIns="0" bIns="0" rtlCol="0">
            <a:spAutoFit/>
          </a:bodyPr>
          <a:lstStyle/>
          <a:p>
            <a:pPr>
              <a:lnSpc>
                <a:spcPct val="90000"/>
              </a:lnSpc>
              <a:spcBef>
                <a:spcPts val="300"/>
              </a:spcBef>
              <a:buSzPct val="100000"/>
              <a:buFont typeface=""/>
            </a:pPr>
            <a:r>
              <a:rPr lang="en-US" sz="1050" b="1">
                <a:latin typeface="Arial" panose="020B0604020202020204" pitchFamily="34" charset="0"/>
                <a:cs typeface="Arial" panose="020B0604020202020204" pitchFamily="34" charset="0"/>
                <a:sym typeface="+mn-lt"/>
              </a:rPr>
              <a:t>Decentralization</a:t>
            </a:r>
          </a:p>
        </p:txBody>
      </p:sp>
      <p:sp>
        <p:nvSpPr>
          <p:cNvPr id="16" name="Formatted_text">
            <a:extLst>
              <a:ext uri="{FF2B5EF4-FFF2-40B4-BE49-F238E27FC236}">
                <a16:creationId xmlns:a16="http://schemas.microsoft.com/office/drawing/2014/main" id="{E1715FB4-7D8C-4075-2CAC-248E3C9A5EEE}"/>
              </a:ext>
            </a:extLst>
          </p:cNvPr>
          <p:cNvSpPr txBox="1">
            <a:spLocks/>
          </p:cNvSpPr>
          <p:nvPr/>
        </p:nvSpPr>
        <p:spPr>
          <a:xfrm>
            <a:off x="6964719" y="2607218"/>
            <a:ext cx="1860452" cy="1727909"/>
          </a:xfrm>
          <a:prstGeom prst="rect">
            <a:avLst/>
          </a:prstGeom>
          <a:noFill/>
          <a:ln w="9525">
            <a:noFill/>
          </a:ln>
        </p:spPr>
        <p:txBody>
          <a:bodyPr vert="horz" wrap="square" lIns="0" tIns="0" rIns="0" bIns="0" rtlCol="0">
            <a:spAutoFit/>
          </a:bodyPr>
          <a:lstStyle/>
          <a:p>
            <a:pPr marL="93970" lvl="1" indent="-93970">
              <a:lnSpc>
                <a:spcPct val="90000"/>
              </a:lnSpc>
              <a:spcBef>
                <a:spcPts val="450"/>
              </a:spcBef>
              <a:buSzPct val="100000"/>
              <a:buFont typeface="+mn-lt"/>
              <a:buChar char="•"/>
            </a:pPr>
            <a:r>
              <a:rPr lang="en-US" sz="1050" b="1" dirty="0">
                <a:latin typeface="Arial" panose="020B0604020202020204" pitchFamily="34" charset="0"/>
                <a:cs typeface="Arial" panose="020B0604020202020204" pitchFamily="34" charset="0"/>
                <a:sym typeface="+mn-lt"/>
              </a:rPr>
              <a:t>Economic </a:t>
            </a:r>
            <a:r>
              <a:rPr lang="en-US" sz="1050" b="1">
                <a:latin typeface="Arial" panose="020B0604020202020204" pitchFamily="34" charset="0"/>
                <a:cs typeface="Arial" panose="020B0604020202020204" pitchFamily="34" charset="0"/>
                <a:sym typeface="+mn-lt"/>
              </a:rPr>
              <a:t>integration includes cross-border trade and moving of energy </a:t>
            </a:r>
          </a:p>
          <a:p>
            <a:pPr marL="93970" lvl="1" indent="-93970">
              <a:lnSpc>
                <a:spcPct val="90000"/>
              </a:lnSpc>
              <a:spcBef>
                <a:spcPts val="450"/>
              </a:spcBef>
              <a:buSzPct val="100000"/>
              <a:buFont typeface="+mn-lt"/>
              <a:buChar char="•"/>
            </a:pPr>
            <a:r>
              <a:rPr lang="en-US" sz="1050" b="1">
                <a:latin typeface="Arial" panose="020B0604020202020204" pitchFamily="34" charset="0"/>
                <a:cs typeface="Arial" panose="020B0604020202020204" pitchFamily="34" charset="0"/>
                <a:sym typeface="+mn-lt"/>
              </a:rPr>
              <a:t>Integration</a:t>
            </a:r>
            <a:r>
              <a:rPr lang="en-US" sz="1050">
                <a:latin typeface="Arial" panose="020B0604020202020204" pitchFamily="34" charset="0"/>
                <a:cs typeface="Arial" panose="020B0604020202020204" pitchFamily="34" charset="0"/>
                <a:sym typeface="+mn-lt"/>
              </a:rPr>
              <a:t> </a:t>
            </a:r>
            <a:r>
              <a:rPr lang="en-US" sz="1050" b="1">
                <a:latin typeface="Arial" panose="020B0604020202020204" pitchFamily="34" charset="0"/>
                <a:cs typeface="Arial" panose="020B0604020202020204" pitchFamily="34" charset="0"/>
                <a:sym typeface="+mn-lt"/>
              </a:rPr>
              <a:t>speed-up</a:t>
            </a:r>
            <a:r>
              <a:rPr lang="en-US" sz="1050">
                <a:latin typeface="Arial" panose="020B0604020202020204" pitchFamily="34" charset="0"/>
                <a:cs typeface="Arial" panose="020B0604020202020204" pitchFamily="34" charset="0"/>
                <a:sym typeface="+mn-lt"/>
              </a:rPr>
              <a:t> </a:t>
            </a:r>
            <a:r>
              <a:rPr lang="en-US" sz="1050" b="1">
                <a:latin typeface="Arial" panose="020B0604020202020204" pitchFamily="34" charset="0"/>
                <a:cs typeface="Arial" panose="020B0604020202020204" pitchFamily="34" charset="0"/>
                <a:sym typeface="+mn-lt"/>
              </a:rPr>
              <a:t>after RU-UA war</a:t>
            </a:r>
          </a:p>
          <a:p>
            <a:pPr marL="93970" lvl="1" indent="-93970">
              <a:lnSpc>
                <a:spcPct val="90000"/>
              </a:lnSpc>
              <a:spcBef>
                <a:spcPts val="450"/>
              </a:spcBef>
              <a:buSzPct val="100000"/>
              <a:buFont typeface="+mn-lt"/>
              <a:buChar char="•"/>
            </a:pPr>
            <a:r>
              <a:rPr lang="en-US" sz="1050" b="1">
                <a:latin typeface="Arial" panose="020B0604020202020204" pitchFamily="34" charset="0"/>
                <a:cs typeface="Arial" panose="020B0604020202020204" pitchFamily="34" charset="0"/>
                <a:sym typeface="+mn-lt"/>
              </a:rPr>
              <a:t>Further integration </a:t>
            </a:r>
            <a:r>
              <a:rPr lang="en-US" sz="1050">
                <a:latin typeface="Arial" panose="020B0604020202020204" pitchFamily="34" charset="0"/>
                <a:cs typeface="Arial" panose="020B0604020202020204" pitchFamily="34" charset="0"/>
                <a:sym typeface="+mn-lt"/>
              </a:rPr>
              <a:t>of energy markets via cross-border links (e.g., pipeline infrastructure) to </a:t>
            </a:r>
            <a:r>
              <a:rPr lang="en-US" sz="1050" b="1">
                <a:latin typeface="Arial" panose="020B0604020202020204" pitchFamily="34" charset="0"/>
                <a:cs typeface="Arial" panose="020B0604020202020204" pitchFamily="34" charset="0"/>
                <a:sym typeface="+mn-lt"/>
              </a:rPr>
              <a:t>improve resilience </a:t>
            </a:r>
            <a:r>
              <a:rPr lang="en-US" sz="1050">
                <a:latin typeface="Arial" panose="020B0604020202020204" pitchFamily="34" charset="0"/>
                <a:cs typeface="Arial" panose="020B0604020202020204" pitchFamily="34" charset="0"/>
                <a:sym typeface="+mn-lt"/>
              </a:rPr>
              <a:t>to </a:t>
            </a:r>
            <a:r>
              <a:rPr lang="en-US" sz="1050" b="1">
                <a:latin typeface="Arial" panose="020B0604020202020204" pitchFamily="34" charset="0"/>
                <a:cs typeface="Arial" panose="020B0604020202020204" pitchFamily="34" charset="0"/>
                <a:sym typeface="+mn-lt"/>
              </a:rPr>
              <a:t>nat. gas supply shocks</a:t>
            </a:r>
          </a:p>
        </p:txBody>
      </p:sp>
      <p:sp>
        <p:nvSpPr>
          <p:cNvPr id="17" name="Rectangle 49">
            <a:extLst>
              <a:ext uri="{FF2B5EF4-FFF2-40B4-BE49-F238E27FC236}">
                <a16:creationId xmlns:a16="http://schemas.microsoft.com/office/drawing/2014/main" id="{2950EA13-ED41-AD6B-9073-7894B6CD094B}"/>
              </a:ext>
            </a:extLst>
          </p:cNvPr>
          <p:cNvSpPr/>
          <p:nvPr/>
        </p:nvSpPr>
        <p:spPr>
          <a:xfrm>
            <a:off x="6896717" y="1713735"/>
            <a:ext cx="1996458" cy="272355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lnSpc>
                <a:spcPct val="90000"/>
              </a:lnSpc>
              <a:spcBef>
                <a:spcPts val="300"/>
              </a:spcBef>
              <a:buSzPct val="100000"/>
            </a:pPr>
            <a:endParaRPr lang="en-US" sz="1100">
              <a:solidFill>
                <a:schemeClr val="tx1"/>
              </a:solidFill>
              <a:latin typeface="Arial" panose="020B0604020202020204" pitchFamily="34" charset="0"/>
              <a:cs typeface="Arial" panose="020B0604020202020204" pitchFamily="34" charset="0"/>
              <a:sym typeface="+mn-lt"/>
            </a:endParaRPr>
          </a:p>
        </p:txBody>
      </p:sp>
      <p:sp>
        <p:nvSpPr>
          <p:cNvPr id="18" name="TextBox 50">
            <a:extLst>
              <a:ext uri="{FF2B5EF4-FFF2-40B4-BE49-F238E27FC236}">
                <a16:creationId xmlns:a16="http://schemas.microsoft.com/office/drawing/2014/main" id="{AC1D8255-0254-AA72-C1B8-143C05BA2341}"/>
              </a:ext>
            </a:extLst>
          </p:cNvPr>
          <p:cNvSpPr txBox="1">
            <a:spLocks/>
          </p:cNvSpPr>
          <p:nvPr/>
        </p:nvSpPr>
        <p:spPr>
          <a:xfrm>
            <a:off x="6983769" y="1545230"/>
            <a:ext cx="1707356" cy="290849"/>
          </a:xfrm>
          <a:prstGeom prst="rect">
            <a:avLst/>
          </a:prstGeom>
          <a:solidFill>
            <a:schemeClr val="bg1"/>
          </a:solidFill>
          <a:ln w="9525">
            <a:noFill/>
          </a:ln>
        </p:spPr>
        <p:txBody>
          <a:bodyPr vert="horz" wrap="square" lIns="54000" tIns="0" rIns="0" bIns="0" rtlCol="0">
            <a:spAutoFit/>
          </a:bodyPr>
          <a:lstStyle/>
          <a:p>
            <a:pPr>
              <a:lnSpc>
                <a:spcPct val="90000"/>
              </a:lnSpc>
              <a:spcBef>
                <a:spcPts val="300"/>
              </a:spcBef>
              <a:buSzPct val="100000"/>
              <a:buFont typeface=""/>
            </a:pPr>
            <a:r>
              <a:rPr lang="en-US" sz="1050" b="1">
                <a:latin typeface="Arial" panose="020B0604020202020204" pitchFamily="34" charset="0"/>
                <a:cs typeface="Arial" panose="020B0604020202020204" pitchFamily="34" charset="0"/>
                <a:sym typeface="+mn-lt"/>
              </a:rPr>
              <a:t>Integration of energy systems </a:t>
            </a:r>
          </a:p>
        </p:txBody>
      </p:sp>
      <p:pic>
        <p:nvPicPr>
          <p:cNvPr id="19" name="Picture 11">
            <a:extLst>
              <a:ext uri="{FF2B5EF4-FFF2-40B4-BE49-F238E27FC236}">
                <a16:creationId xmlns:a16="http://schemas.microsoft.com/office/drawing/2014/main" id="{0598AF56-73E2-12B3-4A83-C8397718572E}"/>
              </a:ext>
            </a:extLst>
          </p:cNvPr>
          <p:cNvPicPr>
            <a:picLocks/>
          </p:cNvPicPr>
          <p:nvPr/>
        </p:nvPicPr>
        <p:blipFill rotWithShape="1">
          <a:blip r:embed="rId2" cstate="screen">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428794" y="1907532"/>
            <a:ext cx="1860452" cy="625699"/>
          </a:xfrm>
          <a:prstGeom prst="roundRect">
            <a:avLst>
              <a:gd name="adj" fmla="val 17836"/>
            </a:avLst>
          </a:prstGeom>
          <a:noFill/>
        </p:spPr>
      </p:pic>
      <p:pic>
        <p:nvPicPr>
          <p:cNvPr id="20" name="Picture 22">
            <a:extLst>
              <a:ext uri="{FF2B5EF4-FFF2-40B4-BE49-F238E27FC236}">
                <a16:creationId xmlns:a16="http://schemas.microsoft.com/office/drawing/2014/main" id="{164281D5-6648-E1DE-52F5-7443818E6A32}"/>
              </a:ext>
            </a:extLst>
          </p:cNvPr>
          <p:cNvPicPr>
            <a:picLocks/>
          </p:cNvPicPr>
          <p:nvPr/>
        </p:nvPicPr>
        <p:blipFill rotWithShape="1">
          <a:blip r:embed="rId3" cstate="screen">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2614890" y="1907532"/>
            <a:ext cx="1860452" cy="625699"/>
          </a:xfrm>
          <a:prstGeom prst="roundRect">
            <a:avLst>
              <a:gd name="adj" fmla="val 17836"/>
            </a:avLst>
          </a:prstGeom>
          <a:noFill/>
        </p:spPr>
      </p:pic>
      <p:pic>
        <p:nvPicPr>
          <p:cNvPr id="21" name="Picture 38">
            <a:extLst>
              <a:ext uri="{FF2B5EF4-FFF2-40B4-BE49-F238E27FC236}">
                <a16:creationId xmlns:a16="http://schemas.microsoft.com/office/drawing/2014/main" id="{09526757-C7B8-3123-43C7-451C153C722D}"/>
              </a:ext>
            </a:extLst>
          </p:cNvPr>
          <p:cNvPicPr>
            <a:picLocks/>
          </p:cNvPicPr>
          <p:nvPr/>
        </p:nvPicPr>
        <p:blipFill rotWithShape="1">
          <a:blip r:embed="rId4" cstate="screen">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4789805" y="1907532"/>
            <a:ext cx="1860452" cy="625699"/>
          </a:xfrm>
          <a:prstGeom prst="roundRect">
            <a:avLst>
              <a:gd name="adj" fmla="val 17836"/>
            </a:avLst>
          </a:prstGeom>
          <a:noFill/>
        </p:spPr>
      </p:pic>
      <p:pic>
        <p:nvPicPr>
          <p:cNvPr id="22" name="Picture 42">
            <a:extLst>
              <a:ext uri="{FF2B5EF4-FFF2-40B4-BE49-F238E27FC236}">
                <a16:creationId xmlns:a16="http://schemas.microsoft.com/office/drawing/2014/main" id="{68003A8F-6F8F-747C-83EA-0F898D12120B}"/>
              </a:ext>
            </a:extLst>
          </p:cNvPr>
          <p:cNvPicPr>
            <a:picLocks/>
          </p:cNvPicPr>
          <p:nvPr/>
        </p:nvPicPr>
        <p:blipFill rotWithShape="1">
          <a:blip r:embed="rId5" cstate="screen">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6964720" y="1907532"/>
            <a:ext cx="1860452" cy="625699"/>
          </a:xfrm>
          <a:prstGeom prst="roundRect">
            <a:avLst>
              <a:gd name="adj" fmla="val 17836"/>
            </a:avLst>
          </a:prstGeom>
          <a:noFill/>
        </p:spPr>
      </p:pic>
      <p:sp>
        <p:nvSpPr>
          <p:cNvPr id="23" name="Notes">
            <a:extLst>
              <a:ext uri="{FF2B5EF4-FFF2-40B4-BE49-F238E27FC236}">
                <a16:creationId xmlns:a16="http://schemas.microsoft.com/office/drawing/2014/main" id="{2FBA5084-11DA-E8B8-B788-A5F6ABE53F34}"/>
              </a:ext>
            </a:extLst>
          </p:cNvPr>
          <p:cNvSpPr txBox="1">
            <a:spLocks/>
          </p:cNvSpPr>
          <p:nvPr/>
        </p:nvSpPr>
        <p:spPr>
          <a:xfrm>
            <a:off x="7036898" y="1319437"/>
            <a:ext cx="1856277" cy="61555"/>
          </a:xfrm>
          <a:prstGeom prst="rect">
            <a:avLst/>
          </a:prstGeom>
          <a:noFill/>
          <a:ln w="9525">
            <a:noFill/>
          </a:ln>
        </p:spPr>
        <p:txBody>
          <a:bodyPr vert="horz" wrap="square" lIns="0" tIns="0" rIns="0" bIns="0" rtlCol="0" anchor="b" anchorCtr="0">
            <a:spAutoFit/>
          </a:bodyPr>
          <a:lstStyle>
            <a:defPPr>
              <a:defRPr lang="en-EN"/>
            </a:defPPr>
            <a:lvl1pPr lvl="0">
              <a:lnSpc>
                <a:spcPct val="100000"/>
              </a:lnSpc>
              <a:spcBef>
                <a:spcPts val="0"/>
              </a:spcBef>
              <a:spcAft>
                <a:spcPts val="0"/>
              </a:spcAft>
              <a:buSzPct val="100000"/>
              <a:defRPr sz="800" b="0">
                <a:solidFill>
                  <a:schemeClr val="tx2"/>
                </a:solidFill>
                <a:latin typeface="+mn-lt"/>
              </a:defRPr>
            </a:lvl1pPr>
          </a:lstStyle>
          <a:p>
            <a:r>
              <a:rPr lang="en-US" sz="400" dirty="0">
                <a:latin typeface="Arial" panose="020B0604020202020204" pitchFamily="34" charset="0"/>
                <a:cs typeface="Arial" panose="020B0604020202020204" pitchFamily="34" charset="0"/>
                <a:sym typeface="+mn-lt"/>
              </a:rPr>
              <a:t>1) Renewable Energy Sources</a:t>
            </a:r>
          </a:p>
        </p:txBody>
      </p:sp>
      <p:sp>
        <p:nvSpPr>
          <p:cNvPr id="24" name="TextBox 21">
            <a:extLst>
              <a:ext uri="{FF2B5EF4-FFF2-40B4-BE49-F238E27FC236}">
                <a16:creationId xmlns:a16="http://schemas.microsoft.com/office/drawing/2014/main" id="{9D407573-7345-BC7C-45B7-230441965235}"/>
              </a:ext>
            </a:extLst>
          </p:cNvPr>
          <p:cNvSpPr txBox="1"/>
          <p:nvPr/>
        </p:nvSpPr>
        <p:spPr>
          <a:xfrm>
            <a:off x="229750" y="1323201"/>
            <a:ext cx="7579731" cy="261610"/>
          </a:xfrm>
          <a:prstGeom prst="rect">
            <a:avLst/>
          </a:prstGeom>
          <a:noFill/>
        </p:spPr>
        <p:txBody>
          <a:bodyPr wrap="square">
            <a:spAutoFit/>
          </a:bodyPr>
          <a:lstStyle/>
          <a:p>
            <a:r>
              <a:rPr lang="en-US" sz="1050">
                <a:solidFill>
                  <a:schemeClr val="tx2"/>
                </a:solidFill>
                <a:latin typeface="Arial" panose="020B0604020202020204" pitchFamily="34" charset="0"/>
                <a:cs typeface="Arial" panose="020B0604020202020204" pitchFamily="34" charset="0"/>
                <a:sym typeface="+mn-lt"/>
              </a:rPr>
              <a:t>Megatrends shaping tomorrow's energy system (selection)</a:t>
            </a:r>
          </a:p>
        </p:txBody>
      </p:sp>
      <p:sp>
        <p:nvSpPr>
          <p:cNvPr id="25" name="Source">
            <a:extLst>
              <a:ext uri="{FF2B5EF4-FFF2-40B4-BE49-F238E27FC236}">
                <a16:creationId xmlns:a16="http://schemas.microsoft.com/office/drawing/2014/main" id="{B254E64C-6911-63CA-3B3E-A4B64BDCB410}"/>
              </a:ext>
            </a:extLst>
          </p:cNvPr>
          <p:cNvSpPr txBox="1"/>
          <p:nvPr/>
        </p:nvSpPr>
        <p:spPr>
          <a:xfrm>
            <a:off x="7036898" y="1430931"/>
            <a:ext cx="1856277" cy="554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400">
                <a:latin typeface="Arial" panose="020B0604020202020204" pitchFamily="34" charset="0"/>
                <a:cs typeface="Arial" panose="020B0604020202020204" pitchFamily="34" charset="0"/>
                <a:sym typeface="+mn-lt"/>
              </a:rPr>
              <a:t>Source: Agora, International Energy Agency (IEA), desk research, Roland Berger</a:t>
            </a:r>
          </a:p>
        </p:txBody>
      </p:sp>
      <p:sp>
        <p:nvSpPr>
          <p:cNvPr id="26" name="Oval 4">
            <a:extLst>
              <a:ext uri="{FF2B5EF4-FFF2-40B4-BE49-F238E27FC236}">
                <a16:creationId xmlns:a16="http://schemas.microsoft.com/office/drawing/2014/main" id="{6C9625BF-B659-FE9D-41E4-E50CC7D5B170}"/>
              </a:ext>
            </a:extLst>
          </p:cNvPr>
          <p:cNvSpPr/>
          <p:nvPr/>
        </p:nvSpPr>
        <p:spPr>
          <a:xfrm>
            <a:off x="260571" y="1615509"/>
            <a:ext cx="216000" cy="216000"/>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1</a:t>
            </a:r>
          </a:p>
        </p:txBody>
      </p:sp>
      <p:sp>
        <p:nvSpPr>
          <p:cNvPr id="27" name="Oval 5">
            <a:extLst>
              <a:ext uri="{FF2B5EF4-FFF2-40B4-BE49-F238E27FC236}">
                <a16:creationId xmlns:a16="http://schemas.microsoft.com/office/drawing/2014/main" id="{6282FF2F-1CD3-AC83-596C-52030928B5B8}"/>
              </a:ext>
            </a:extLst>
          </p:cNvPr>
          <p:cNvSpPr/>
          <p:nvPr/>
        </p:nvSpPr>
        <p:spPr>
          <a:xfrm>
            <a:off x="2438888" y="1615509"/>
            <a:ext cx="216000" cy="216000"/>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lang="en-US" sz="800" b="1" dirty="0">
                <a:solidFill>
                  <a:srgbClr val="FFFFFF"/>
                </a:solidFill>
                <a:latin typeface="Arial" panose="020B0604020202020204" pitchFamily="34" charset="0"/>
                <a:ea typeface="Microsoft YaHei"/>
                <a:cs typeface="Arial" panose="020B0604020202020204" pitchFamily="34" charset="0"/>
              </a:rPr>
              <a:t>2</a:t>
            </a:r>
            <a:endParaRPr kumimoji="0" lang="en-US" sz="800" b="1"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endParaRPr>
          </a:p>
        </p:txBody>
      </p:sp>
      <p:sp>
        <p:nvSpPr>
          <p:cNvPr id="28" name="Oval 6">
            <a:extLst>
              <a:ext uri="{FF2B5EF4-FFF2-40B4-BE49-F238E27FC236}">
                <a16:creationId xmlns:a16="http://schemas.microsoft.com/office/drawing/2014/main" id="{5B2787EE-D8E3-D801-AD05-B58A6808EEC0}"/>
              </a:ext>
            </a:extLst>
          </p:cNvPr>
          <p:cNvSpPr/>
          <p:nvPr/>
        </p:nvSpPr>
        <p:spPr>
          <a:xfrm>
            <a:off x="4619754" y="1614242"/>
            <a:ext cx="216000" cy="216000"/>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lang="en-US" sz="800" b="1" dirty="0">
                <a:solidFill>
                  <a:srgbClr val="FFFFFF"/>
                </a:solidFill>
                <a:latin typeface="Arial" panose="020B0604020202020204" pitchFamily="34" charset="0"/>
                <a:ea typeface="Microsoft YaHei"/>
                <a:cs typeface="Arial" panose="020B0604020202020204" pitchFamily="34" charset="0"/>
              </a:rPr>
              <a:t>3</a:t>
            </a:r>
            <a:endParaRPr kumimoji="0" lang="en-US" sz="800" b="1"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endParaRPr>
          </a:p>
        </p:txBody>
      </p:sp>
      <p:sp>
        <p:nvSpPr>
          <p:cNvPr id="29" name="Oval 12">
            <a:extLst>
              <a:ext uri="{FF2B5EF4-FFF2-40B4-BE49-F238E27FC236}">
                <a16:creationId xmlns:a16="http://schemas.microsoft.com/office/drawing/2014/main" id="{033BBB3F-5920-E2C2-6578-E91CEAC1CAB6}"/>
              </a:ext>
            </a:extLst>
          </p:cNvPr>
          <p:cNvSpPr/>
          <p:nvPr/>
        </p:nvSpPr>
        <p:spPr>
          <a:xfrm>
            <a:off x="6792646" y="1621841"/>
            <a:ext cx="216000" cy="216000"/>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lang="en-US" sz="800" b="1" dirty="0">
                <a:solidFill>
                  <a:srgbClr val="FFFFFF"/>
                </a:solidFill>
                <a:latin typeface="Arial" panose="020B0604020202020204" pitchFamily="34" charset="0"/>
                <a:ea typeface="Microsoft YaHei"/>
                <a:cs typeface="Arial" panose="020B0604020202020204" pitchFamily="34" charset="0"/>
              </a:rPr>
              <a:t>4</a:t>
            </a:r>
            <a:endParaRPr kumimoji="0" lang="en-US" sz="800" b="1"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endParaRPr>
          </a:p>
        </p:txBody>
      </p:sp>
    </p:spTree>
    <p:extLst>
      <p:ext uri="{BB962C8B-B14F-4D97-AF65-F5344CB8AC3E}">
        <p14:creationId xmlns:p14="http://schemas.microsoft.com/office/powerpoint/2010/main" val="35594723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F79AD-503E-5D3A-76AA-1C676B5FEDD1}"/>
              </a:ext>
            </a:extLst>
          </p:cNvPr>
          <p:cNvSpPr txBox="1">
            <a:spLocks/>
          </p:cNvSpPr>
          <p:nvPr/>
        </p:nvSpPr>
        <p:spPr>
          <a:xfrm>
            <a:off x="117477" y="816011"/>
            <a:ext cx="8775698" cy="576000"/>
          </a:xfrm>
          <a:prstGeom prst="rect">
            <a:avLst/>
          </a:prstGeom>
        </p:spPr>
        <p:txBody>
          <a:bodyPr vert="horz"/>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r>
              <a:rPr lang="en-US" sz="2000" dirty="0"/>
              <a:t>The District Energy network is expected to grow driven by decarbonization and increasing technology competitiveness</a:t>
            </a:r>
            <a:endParaRPr lang="en-GB" sz="2000" dirty="0"/>
          </a:p>
        </p:txBody>
      </p:sp>
      <p:sp>
        <p:nvSpPr>
          <p:cNvPr id="3" name="TextBox 3">
            <a:extLst>
              <a:ext uri="{FF2B5EF4-FFF2-40B4-BE49-F238E27FC236}">
                <a16:creationId xmlns:a16="http://schemas.microsoft.com/office/drawing/2014/main" id="{BAFDA19D-811C-9E37-C7F2-955678AE8F08}"/>
              </a:ext>
            </a:extLst>
          </p:cNvPr>
          <p:cNvSpPr txBox="1"/>
          <p:nvPr/>
        </p:nvSpPr>
        <p:spPr>
          <a:xfrm>
            <a:off x="117477" y="1383025"/>
            <a:ext cx="7579731" cy="276999"/>
          </a:xfrm>
          <a:prstGeom prst="rect">
            <a:avLst/>
          </a:prstGeom>
          <a:noFill/>
        </p:spPr>
        <p:txBody>
          <a:bodyPr wrap="square">
            <a:spAutoFit/>
          </a:bodyPr>
          <a:lstStyle/>
          <a:p>
            <a:r>
              <a:rPr lang="en-US" sz="1200" dirty="0">
                <a:solidFill>
                  <a:schemeClr val="tx2"/>
                </a:solidFill>
                <a:latin typeface="+mj-lt"/>
                <a:cs typeface="+mj-cs"/>
                <a:sym typeface="+mn-lt"/>
              </a:rPr>
              <a:t>Long-term trench length development – Focus on Europe</a:t>
            </a:r>
          </a:p>
        </p:txBody>
      </p:sp>
      <p:graphicFrame>
        <p:nvGraphicFramePr>
          <p:cNvPr id="4" name="Chart 4">
            <a:extLst>
              <a:ext uri="{FF2B5EF4-FFF2-40B4-BE49-F238E27FC236}">
                <a16:creationId xmlns:a16="http://schemas.microsoft.com/office/drawing/2014/main" id="{A1C9724E-050B-B912-13AA-B701ADECD63F}"/>
              </a:ext>
            </a:extLst>
          </p:cNvPr>
          <p:cNvGraphicFramePr/>
          <p:nvPr>
            <p:custDataLst>
              <p:tags r:id="rId1"/>
            </p:custDataLst>
            <p:extLst>
              <p:ext uri="{D42A27DB-BD31-4B8C-83A1-F6EECF244321}">
                <p14:modId xmlns:p14="http://schemas.microsoft.com/office/powerpoint/2010/main" val="3228588158"/>
              </p:ext>
            </p:extLst>
          </p:nvPr>
        </p:nvGraphicFramePr>
        <p:xfrm>
          <a:off x="858110" y="3195265"/>
          <a:ext cx="7697788" cy="1370012"/>
        </p:xfrm>
        <a:graphic>
          <a:graphicData uri="http://schemas.openxmlformats.org/drawingml/2006/chart">
            <c:chart xmlns:c="http://schemas.openxmlformats.org/drawingml/2006/chart" xmlns:r="http://schemas.openxmlformats.org/officeDocument/2006/relationships" r:id="rId40"/>
          </a:graphicData>
        </a:graphic>
      </p:graphicFrame>
      <p:sp>
        <p:nvSpPr>
          <p:cNvPr id="5" name="Text Placeholder 2">
            <a:extLst>
              <a:ext uri="{FF2B5EF4-FFF2-40B4-BE49-F238E27FC236}">
                <a16:creationId xmlns:a16="http://schemas.microsoft.com/office/drawing/2014/main" id="{0B862234-F6A7-A66A-FDB4-6319C83CE00F}"/>
              </a:ext>
            </a:extLst>
          </p:cNvPr>
          <p:cNvSpPr>
            <a:spLocks noGrp="1"/>
          </p:cNvSpPr>
          <p:nvPr>
            <p:custDataLst>
              <p:tags r:id="rId2"/>
            </p:custDataLst>
          </p:nvPr>
        </p:nvSpPr>
        <p:spPr bwMode="gray">
          <a:xfrm>
            <a:off x="726348" y="4190627"/>
            <a:ext cx="11430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E7A714B7-ECB9-48DC-99CF-E09D8D24D1E2}" type="datetime'''''''''''''''''''5''''''0'''''''''''''''''''">
              <a:rPr lang="en-GB" altLang="en-US" sz="800" smtClean="0">
                <a:effectLst/>
              </a:rPr>
              <a:pPr marL="0" lvl="0" indent="0" algn="r">
                <a:spcBef>
                  <a:spcPct val="0"/>
                </a:spcBef>
                <a:spcAft>
                  <a:spcPct val="0"/>
                </a:spcAft>
                <a:buNone/>
              </a:pPr>
              <a:t>50</a:t>
            </a:fld>
            <a:endParaRPr lang="en-GB" sz="800"/>
          </a:p>
        </p:txBody>
      </p:sp>
      <p:sp>
        <p:nvSpPr>
          <p:cNvPr id="6" name="Text Placeholder">
            <a:extLst>
              <a:ext uri="{FF2B5EF4-FFF2-40B4-BE49-F238E27FC236}">
                <a16:creationId xmlns:a16="http://schemas.microsoft.com/office/drawing/2014/main" id="{EE3CBD22-6E3C-C995-6853-E00E821F070B}"/>
              </a:ext>
            </a:extLst>
          </p:cNvPr>
          <p:cNvSpPr>
            <a:spLocks noGrp="1"/>
          </p:cNvSpPr>
          <p:nvPr>
            <p:custDataLst>
              <p:tags r:id="rId3"/>
            </p:custDataLst>
          </p:nvPr>
        </p:nvSpPr>
        <p:spPr bwMode="gray">
          <a:xfrm>
            <a:off x="669198" y="3939802"/>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r" defTabSz="914400">
              <a:spcBef>
                <a:spcPct val="0"/>
              </a:spcBef>
              <a:buSzPct val="100000"/>
              <a:buFont typeface="+mn-lt" pitchFamily="34" charset="0"/>
            </a:pPr>
            <a:fld id="{EA5A3F53-F555-459A-9358-5F8ACA9DD490}" type="datetime'''1''''''''''''''''''''''''''0''''''''''''''0'''''''''''''''''">
              <a:rPr lang="en-GB" altLang="en-US" sz="800" smtClean="0"/>
              <a:pPr lvl="0" algn="r" defTabSz="914400">
                <a:spcBef>
                  <a:spcPct val="0"/>
                </a:spcBef>
                <a:buSzPct val="100000"/>
                <a:buFont typeface="+mn-lt" pitchFamily="34" charset="0"/>
              </a:pPr>
              <a:t>100</a:t>
            </a:fld>
            <a:endParaRPr lang="en-US" sz="800"/>
          </a:p>
        </p:txBody>
      </p:sp>
      <p:sp>
        <p:nvSpPr>
          <p:cNvPr id="7" name="Text Placeholder 2">
            <a:extLst>
              <a:ext uri="{FF2B5EF4-FFF2-40B4-BE49-F238E27FC236}">
                <a16:creationId xmlns:a16="http://schemas.microsoft.com/office/drawing/2014/main" id="{C6F6D562-DB46-FB64-AF02-B51397797921}"/>
              </a:ext>
            </a:extLst>
          </p:cNvPr>
          <p:cNvSpPr>
            <a:spLocks noGrp="1"/>
          </p:cNvSpPr>
          <p:nvPr>
            <p:custDataLst>
              <p:tags r:id="rId4"/>
            </p:custDataLst>
          </p:nvPr>
        </p:nvSpPr>
        <p:spPr bwMode="gray">
          <a:xfrm>
            <a:off x="669198" y="3709615"/>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86C129B5-BBC7-4B76-BDEB-74ECF9039D28}" type="datetime'''''1''''''''''''5''0'''''''''''''''''''''''''''''''">
              <a:rPr lang="en-GB" altLang="en-US" sz="800" smtClean="0">
                <a:effectLst/>
              </a:rPr>
              <a:pPr marL="0" lvl="0" indent="0" algn="r">
                <a:spcBef>
                  <a:spcPct val="0"/>
                </a:spcBef>
                <a:spcAft>
                  <a:spcPct val="0"/>
                </a:spcAft>
                <a:buNone/>
              </a:pPr>
              <a:t>150</a:t>
            </a:fld>
            <a:endParaRPr lang="en-GB" sz="800"/>
          </a:p>
        </p:txBody>
      </p:sp>
      <p:sp>
        <p:nvSpPr>
          <p:cNvPr id="8" name="Text Placeholder">
            <a:extLst>
              <a:ext uri="{FF2B5EF4-FFF2-40B4-BE49-F238E27FC236}">
                <a16:creationId xmlns:a16="http://schemas.microsoft.com/office/drawing/2014/main" id="{81963E8D-D05A-6795-99DE-4FF7E064BD77}"/>
              </a:ext>
            </a:extLst>
          </p:cNvPr>
          <p:cNvSpPr>
            <a:spLocks noGrp="1"/>
          </p:cNvSpPr>
          <p:nvPr>
            <p:custDataLst>
              <p:tags r:id="rId5"/>
            </p:custDataLst>
          </p:nvPr>
        </p:nvSpPr>
        <p:spPr bwMode="gray">
          <a:xfrm>
            <a:off x="669198" y="345879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r" defTabSz="914400">
              <a:spcBef>
                <a:spcPct val="0"/>
              </a:spcBef>
              <a:buSzPct val="100000"/>
              <a:buFont typeface="+mn-lt" pitchFamily="34" charset="0"/>
            </a:pPr>
            <a:fld id="{28933D0A-C54C-4AD4-9B49-89A6B165B6AF}" type="datetime'''''2''0''''''''0'''">
              <a:rPr lang="en-GB" altLang="en-US" sz="800" smtClean="0"/>
              <a:pPr lvl="0" algn="r" defTabSz="914400">
                <a:spcBef>
                  <a:spcPct val="0"/>
                </a:spcBef>
                <a:buSzPct val="100000"/>
                <a:buFont typeface="+mn-lt" pitchFamily="34" charset="0"/>
              </a:pPr>
              <a:t>200</a:t>
            </a:fld>
            <a:endParaRPr lang="en-US" sz="800" dirty="0"/>
          </a:p>
        </p:txBody>
      </p:sp>
      <p:sp>
        <p:nvSpPr>
          <p:cNvPr id="9" name="Text Placeholder 2">
            <a:extLst>
              <a:ext uri="{FF2B5EF4-FFF2-40B4-BE49-F238E27FC236}">
                <a16:creationId xmlns:a16="http://schemas.microsoft.com/office/drawing/2014/main" id="{A0F830F8-3CDB-0825-CD69-7A550C9CBFB8}"/>
              </a:ext>
            </a:extLst>
          </p:cNvPr>
          <p:cNvSpPr>
            <a:spLocks noGrp="1"/>
          </p:cNvSpPr>
          <p:nvPr>
            <p:custDataLst>
              <p:tags r:id="rId6"/>
            </p:custDataLst>
          </p:nvPr>
        </p:nvSpPr>
        <p:spPr bwMode="gray">
          <a:xfrm>
            <a:off x="669198" y="3227015"/>
            <a:ext cx="171450"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r">
              <a:spcBef>
                <a:spcPct val="0"/>
              </a:spcBef>
              <a:spcAft>
                <a:spcPct val="0"/>
              </a:spcAft>
              <a:buNone/>
            </a:pPr>
            <a:fld id="{8A005B54-A297-4DDE-9A61-1F7158B8EEEC}" type="datetime'''''''25''''''''''''''''''''''''''''''''''''''''''''''0'''''">
              <a:rPr lang="en-GB" altLang="en-US" sz="800" smtClean="0">
                <a:effectLst/>
              </a:rPr>
              <a:pPr marL="0" lvl="0" indent="0" algn="r">
                <a:spcBef>
                  <a:spcPct val="0"/>
                </a:spcBef>
                <a:spcAft>
                  <a:spcPct val="0"/>
                </a:spcAft>
                <a:buNone/>
              </a:pPr>
              <a:t>250</a:t>
            </a:fld>
            <a:endParaRPr lang="en-GB" sz="800"/>
          </a:p>
        </p:txBody>
      </p:sp>
      <p:sp>
        <p:nvSpPr>
          <p:cNvPr id="10" name="Text Placeholder">
            <a:extLst>
              <a:ext uri="{FF2B5EF4-FFF2-40B4-BE49-F238E27FC236}">
                <a16:creationId xmlns:a16="http://schemas.microsoft.com/office/drawing/2014/main" id="{D1E83A9A-5766-00F8-4F16-DBFF6407875F}"/>
              </a:ext>
            </a:extLst>
          </p:cNvPr>
          <p:cNvSpPr>
            <a:spLocks noGrp="1"/>
          </p:cNvSpPr>
          <p:nvPr>
            <p:custDataLst>
              <p:tags r:id="rId7"/>
            </p:custDataLst>
          </p:nvPr>
        </p:nvSpPr>
        <p:spPr bwMode="gray">
          <a:xfrm>
            <a:off x="783498" y="4422402"/>
            <a:ext cx="57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r" defTabSz="914400">
              <a:spcBef>
                <a:spcPct val="0"/>
              </a:spcBef>
              <a:buSzPct val="100000"/>
              <a:buFont typeface="+mn-lt" pitchFamily="34" charset="0"/>
            </a:pPr>
            <a:fld id="{927386AB-7011-4BFE-AA86-BB8F4379833D}" type="datetime'''''''''''''''''''''''''''''''''''''0'''''''''''">
              <a:rPr lang="en-GB" altLang="en-US" sz="800" smtClean="0"/>
              <a:pPr lvl="0" algn="r" defTabSz="914400">
                <a:spcBef>
                  <a:spcPct val="0"/>
                </a:spcBef>
                <a:buSzPct val="100000"/>
                <a:buFont typeface="+mn-lt" pitchFamily="34" charset="0"/>
              </a:pPr>
              <a:t>0</a:t>
            </a:fld>
            <a:endParaRPr lang="en-US" sz="800"/>
          </a:p>
        </p:txBody>
      </p:sp>
      <p:sp>
        <p:nvSpPr>
          <p:cNvPr id="11" name="Text Placeholder">
            <a:extLst>
              <a:ext uri="{FF2B5EF4-FFF2-40B4-BE49-F238E27FC236}">
                <a16:creationId xmlns:a16="http://schemas.microsoft.com/office/drawing/2014/main" id="{0AA82D26-6FFF-D4B8-C2BD-E90E6DEA2E7C}"/>
              </a:ext>
            </a:extLst>
          </p:cNvPr>
          <p:cNvSpPr>
            <a:spLocks noGrp="1"/>
          </p:cNvSpPr>
          <p:nvPr>
            <p:custDataLst>
              <p:tags r:id="rId8"/>
            </p:custDataLst>
          </p:nvPr>
        </p:nvSpPr>
        <p:spPr bwMode="auto">
          <a:xfrm>
            <a:off x="877160" y="4516065"/>
            <a:ext cx="127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534E4B05-EE18-45A7-B3FB-9E603A3B52E1}" type="datetime'1''''''''''''''''''''''''''''''''1'''''''''''''''''''''''''''">
              <a:rPr lang="en-GB" altLang="en-US" sz="800" smtClean="0"/>
              <a:pPr lvl="0" algn="ctr" defTabSz="914400">
                <a:spcBef>
                  <a:spcPct val="0"/>
                </a:spcBef>
                <a:buSzPct val="100000"/>
                <a:buFont typeface="+mn-lt" pitchFamily="34" charset="0"/>
              </a:pPr>
              <a:t>11</a:t>
            </a:fld>
            <a:endParaRPr lang="en-US" sz="800"/>
          </a:p>
        </p:txBody>
      </p:sp>
      <p:sp>
        <p:nvSpPr>
          <p:cNvPr id="12" name="Text Placeholder">
            <a:extLst>
              <a:ext uri="{FF2B5EF4-FFF2-40B4-BE49-F238E27FC236}">
                <a16:creationId xmlns:a16="http://schemas.microsoft.com/office/drawing/2014/main" id="{FCCC0374-30C8-4DB9-8CB6-92DCDC7D5812}"/>
              </a:ext>
            </a:extLst>
          </p:cNvPr>
          <p:cNvSpPr>
            <a:spLocks noGrp="1"/>
          </p:cNvSpPr>
          <p:nvPr>
            <p:custDataLst>
              <p:tags r:id="rId9"/>
            </p:custDataLst>
          </p:nvPr>
        </p:nvSpPr>
        <p:spPr bwMode="auto">
          <a:xfrm>
            <a:off x="1126398"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BC3343CE-0E08-4619-9B94-D786C37A7E96}" type="datetime'''’''''1''''''''''''''''''2'''''''''''''''''''''''''">
              <a:rPr lang="en-GB" altLang="en-US" sz="800" smtClean="0"/>
              <a:pPr lvl="0" algn="ctr" defTabSz="914400">
                <a:spcBef>
                  <a:spcPct val="0"/>
                </a:spcBef>
                <a:buSzPct val="100000"/>
                <a:buFont typeface="+mn-lt" pitchFamily="34" charset="0"/>
              </a:pPr>
              <a:t>’12</a:t>
            </a:fld>
            <a:endParaRPr lang="en-US" sz="800"/>
          </a:p>
        </p:txBody>
      </p:sp>
      <p:sp>
        <p:nvSpPr>
          <p:cNvPr id="13" name="Text Placeholder">
            <a:extLst>
              <a:ext uri="{FF2B5EF4-FFF2-40B4-BE49-F238E27FC236}">
                <a16:creationId xmlns:a16="http://schemas.microsoft.com/office/drawing/2014/main" id="{91396B5B-B7BB-CB53-1B6B-16BCEBEA26B6}"/>
              </a:ext>
            </a:extLst>
          </p:cNvPr>
          <p:cNvSpPr>
            <a:spLocks noGrp="1"/>
          </p:cNvSpPr>
          <p:nvPr>
            <p:custDataLst>
              <p:tags r:id="rId10"/>
            </p:custDataLst>
          </p:nvPr>
        </p:nvSpPr>
        <p:spPr bwMode="auto">
          <a:xfrm>
            <a:off x="1385160"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61DBE07B-A000-415B-AA60-059EC5F466B9}" type="datetime'''’''1''''''''''''''''''''''''''3'''''''">
              <a:rPr lang="en-GB" altLang="en-US" sz="800" smtClean="0"/>
              <a:pPr lvl="0" algn="ctr" defTabSz="914400">
                <a:spcBef>
                  <a:spcPct val="0"/>
                </a:spcBef>
                <a:buSzPct val="100000"/>
                <a:buFont typeface="+mn-lt" pitchFamily="34" charset="0"/>
              </a:pPr>
              <a:t>’13</a:t>
            </a:fld>
            <a:endParaRPr lang="en-US" sz="800"/>
          </a:p>
        </p:txBody>
      </p:sp>
      <p:sp>
        <p:nvSpPr>
          <p:cNvPr id="14" name="Text Placeholder">
            <a:extLst>
              <a:ext uri="{FF2B5EF4-FFF2-40B4-BE49-F238E27FC236}">
                <a16:creationId xmlns:a16="http://schemas.microsoft.com/office/drawing/2014/main" id="{D59A7194-F2CD-7D9A-BA5B-6B2A4937C636}"/>
              </a:ext>
            </a:extLst>
          </p:cNvPr>
          <p:cNvSpPr>
            <a:spLocks noGrp="1"/>
          </p:cNvSpPr>
          <p:nvPr>
            <p:custDataLst>
              <p:tags r:id="rId11"/>
            </p:custDataLst>
          </p:nvPr>
        </p:nvSpPr>
        <p:spPr bwMode="auto">
          <a:xfrm>
            <a:off x="1645510"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3D81E04E-699E-4CB3-8F11-9E577E2FDAB3}" type="datetime'''''''''’1''''''4'''">
              <a:rPr lang="en-GB" altLang="en-US" sz="800" smtClean="0"/>
              <a:pPr lvl="0" algn="ctr" defTabSz="914400">
                <a:spcBef>
                  <a:spcPct val="0"/>
                </a:spcBef>
                <a:buSzPct val="100000"/>
                <a:buFont typeface="+mn-lt" pitchFamily="34" charset="0"/>
              </a:pPr>
              <a:t>’14</a:t>
            </a:fld>
            <a:endParaRPr lang="en-US" sz="800"/>
          </a:p>
        </p:txBody>
      </p:sp>
      <p:sp>
        <p:nvSpPr>
          <p:cNvPr id="15" name="Text Placeholder">
            <a:extLst>
              <a:ext uri="{FF2B5EF4-FFF2-40B4-BE49-F238E27FC236}">
                <a16:creationId xmlns:a16="http://schemas.microsoft.com/office/drawing/2014/main" id="{34B52560-711F-630D-81A8-7DF59980F5BB}"/>
              </a:ext>
            </a:extLst>
          </p:cNvPr>
          <p:cNvSpPr>
            <a:spLocks noGrp="1"/>
          </p:cNvSpPr>
          <p:nvPr>
            <p:custDataLst>
              <p:tags r:id="rId12"/>
            </p:custDataLst>
          </p:nvPr>
        </p:nvSpPr>
        <p:spPr bwMode="auto">
          <a:xfrm>
            <a:off x="1904273"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1644C042-DB2F-4BCF-B53C-7FA844DD25BB}" type="datetime'''''''''''''''''''''''’1''''''''5'''''">
              <a:rPr lang="en-GB" altLang="en-US" sz="800" smtClean="0"/>
              <a:pPr lvl="0" algn="ctr" defTabSz="914400">
                <a:spcBef>
                  <a:spcPct val="0"/>
                </a:spcBef>
                <a:buSzPct val="100000"/>
                <a:buFont typeface="+mn-lt" pitchFamily="34" charset="0"/>
              </a:pPr>
              <a:t>’15</a:t>
            </a:fld>
            <a:endParaRPr lang="en-US" sz="800"/>
          </a:p>
        </p:txBody>
      </p:sp>
      <p:sp>
        <p:nvSpPr>
          <p:cNvPr id="16" name="Text Placeholder">
            <a:extLst>
              <a:ext uri="{FF2B5EF4-FFF2-40B4-BE49-F238E27FC236}">
                <a16:creationId xmlns:a16="http://schemas.microsoft.com/office/drawing/2014/main" id="{60298138-1400-B12E-E2EF-2BB61FFC6862}"/>
              </a:ext>
            </a:extLst>
          </p:cNvPr>
          <p:cNvSpPr>
            <a:spLocks noGrp="1"/>
          </p:cNvSpPr>
          <p:nvPr>
            <p:custDataLst>
              <p:tags r:id="rId13"/>
            </p:custDataLst>
          </p:nvPr>
        </p:nvSpPr>
        <p:spPr bwMode="auto">
          <a:xfrm>
            <a:off x="2164623"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034100EE-BDE6-4378-9620-D9913A5BE629}" type="datetime'''''''''''''''''''''''’''''''1''''6'''''''''">
              <a:rPr lang="en-GB" altLang="en-US" sz="800" smtClean="0"/>
              <a:pPr lvl="0" algn="ctr" defTabSz="914400">
                <a:spcBef>
                  <a:spcPct val="0"/>
                </a:spcBef>
                <a:buSzPct val="100000"/>
                <a:buFont typeface="+mn-lt" pitchFamily="34" charset="0"/>
              </a:pPr>
              <a:t>’16</a:t>
            </a:fld>
            <a:endParaRPr lang="en-US" sz="800"/>
          </a:p>
        </p:txBody>
      </p:sp>
      <p:sp>
        <p:nvSpPr>
          <p:cNvPr id="17" name="Text Placeholder">
            <a:extLst>
              <a:ext uri="{FF2B5EF4-FFF2-40B4-BE49-F238E27FC236}">
                <a16:creationId xmlns:a16="http://schemas.microsoft.com/office/drawing/2014/main" id="{5B15D4E9-B0AF-F2DD-2BAB-09CBC0C9BCFE}"/>
              </a:ext>
            </a:extLst>
          </p:cNvPr>
          <p:cNvSpPr>
            <a:spLocks noGrp="1"/>
          </p:cNvSpPr>
          <p:nvPr>
            <p:custDataLst>
              <p:tags r:id="rId14"/>
            </p:custDataLst>
          </p:nvPr>
        </p:nvSpPr>
        <p:spPr bwMode="auto">
          <a:xfrm>
            <a:off x="2424973"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3BAF0819-E6B1-4DE2-B13E-A2341B2A9A78}" type="datetime'''''''''''''’1''''''''''''''7'''''''''">
              <a:rPr lang="en-GB" altLang="en-US" sz="800" smtClean="0"/>
              <a:pPr lvl="0" algn="ctr" defTabSz="914400">
                <a:spcBef>
                  <a:spcPct val="0"/>
                </a:spcBef>
                <a:buSzPct val="100000"/>
                <a:buFont typeface="+mn-lt" pitchFamily="34" charset="0"/>
              </a:pPr>
              <a:t>’17</a:t>
            </a:fld>
            <a:endParaRPr lang="en-US" sz="800"/>
          </a:p>
        </p:txBody>
      </p:sp>
      <p:sp>
        <p:nvSpPr>
          <p:cNvPr id="18" name="Text Placeholder">
            <a:extLst>
              <a:ext uri="{FF2B5EF4-FFF2-40B4-BE49-F238E27FC236}">
                <a16:creationId xmlns:a16="http://schemas.microsoft.com/office/drawing/2014/main" id="{5216D28D-8E2B-AFFB-7411-3A5BA21B5CBE}"/>
              </a:ext>
            </a:extLst>
          </p:cNvPr>
          <p:cNvSpPr>
            <a:spLocks noGrp="1"/>
          </p:cNvSpPr>
          <p:nvPr>
            <p:custDataLst>
              <p:tags r:id="rId15"/>
            </p:custDataLst>
          </p:nvPr>
        </p:nvSpPr>
        <p:spPr bwMode="auto">
          <a:xfrm>
            <a:off x="2683735"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57971C88-E754-4E0F-B883-60CE7FC83742}" type="datetime'''''''''''’''''''''''''''''''1''''''''8'''''''''''">
              <a:rPr lang="en-GB" altLang="en-US" sz="800" smtClean="0"/>
              <a:pPr lvl="0" algn="ctr" defTabSz="914400">
                <a:spcBef>
                  <a:spcPct val="0"/>
                </a:spcBef>
                <a:buSzPct val="100000"/>
                <a:buFont typeface="+mn-lt" pitchFamily="34" charset="0"/>
              </a:pPr>
              <a:t>’18</a:t>
            </a:fld>
            <a:endParaRPr lang="en-US" sz="800"/>
          </a:p>
        </p:txBody>
      </p:sp>
      <p:sp>
        <p:nvSpPr>
          <p:cNvPr id="19" name="Text Placeholder">
            <a:extLst>
              <a:ext uri="{FF2B5EF4-FFF2-40B4-BE49-F238E27FC236}">
                <a16:creationId xmlns:a16="http://schemas.microsoft.com/office/drawing/2014/main" id="{072BB866-E48E-C6C9-C837-297F01D0E89A}"/>
              </a:ext>
            </a:extLst>
          </p:cNvPr>
          <p:cNvSpPr>
            <a:spLocks noGrp="1"/>
          </p:cNvSpPr>
          <p:nvPr>
            <p:custDataLst>
              <p:tags r:id="rId16"/>
            </p:custDataLst>
          </p:nvPr>
        </p:nvSpPr>
        <p:spPr bwMode="auto">
          <a:xfrm>
            <a:off x="2944085"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4F2009F9-BC2F-4C38-9FB1-6E2FA16FAAF3}" type="datetime'''''''''''''''''''''''''''''’''''''1''''9'''''''''''''">
              <a:rPr lang="en-GB" altLang="en-US" sz="800" smtClean="0"/>
              <a:pPr lvl="0" algn="ctr" defTabSz="914400">
                <a:spcBef>
                  <a:spcPct val="0"/>
                </a:spcBef>
                <a:buSzPct val="100000"/>
                <a:buFont typeface="+mn-lt" pitchFamily="34" charset="0"/>
              </a:pPr>
              <a:t>’19</a:t>
            </a:fld>
            <a:endParaRPr lang="en-US" sz="800"/>
          </a:p>
        </p:txBody>
      </p:sp>
      <p:sp>
        <p:nvSpPr>
          <p:cNvPr id="20" name="Text Placeholder">
            <a:extLst>
              <a:ext uri="{FF2B5EF4-FFF2-40B4-BE49-F238E27FC236}">
                <a16:creationId xmlns:a16="http://schemas.microsoft.com/office/drawing/2014/main" id="{77457421-B7E3-F41B-63D3-3C15EC0167A9}"/>
              </a:ext>
            </a:extLst>
          </p:cNvPr>
          <p:cNvSpPr>
            <a:spLocks noGrp="1"/>
          </p:cNvSpPr>
          <p:nvPr>
            <p:custDataLst>
              <p:tags r:id="rId17"/>
            </p:custDataLst>
          </p:nvPr>
        </p:nvSpPr>
        <p:spPr bwMode="auto">
          <a:xfrm>
            <a:off x="3204435"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5BA432DB-E5D6-4638-93A7-7C6B7CAE7699}" type="datetime'''''''''''''''''''''''''''’''''''''''''''''''''''2''''''0'">
              <a:rPr lang="en-GB" altLang="en-US" sz="800" smtClean="0"/>
              <a:pPr lvl="0" algn="ctr" defTabSz="914400">
                <a:spcBef>
                  <a:spcPct val="0"/>
                </a:spcBef>
                <a:buSzPct val="100000"/>
                <a:buFont typeface="+mn-lt" pitchFamily="34" charset="0"/>
              </a:pPr>
              <a:t>’20</a:t>
            </a:fld>
            <a:endParaRPr lang="en-US" sz="800"/>
          </a:p>
        </p:txBody>
      </p:sp>
      <p:sp>
        <p:nvSpPr>
          <p:cNvPr id="21" name="Text Placeholder">
            <a:extLst>
              <a:ext uri="{FF2B5EF4-FFF2-40B4-BE49-F238E27FC236}">
                <a16:creationId xmlns:a16="http://schemas.microsoft.com/office/drawing/2014/main" id="{7587CFA8-EA97-FCCC-6205-677C495229D7}"/>
              </a:ext>
            </a:extLst>
          </p:cNvPr>
          <p:cNvSpPr>
            <a:spLocks noGrp="1"/>
          </p:cNvSpPr>
          <p:nvPr>
            <p:custDataLst>
              <p:tags r:id="rId18"/>
            </p:custDataLst>
          </p:nvPr>
        </p:nvSpPr>
        <p:spPr bwMode="auto">
          <a:xfrm>
            <a:off x="3463198"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455AB3F8-D89B-48AC-93CA-BA49688C8903}" type="datetime'''’''''''''''''''''''''''''''''''''21'''''''''''''">
              <a:rPr lang="en-GB" altLang="en-US" sz="800" smtClean="0"/>
              <a:pPr lvl="0" algn="ctr" defTabSz="914400">
                <a:spcBef>
                  <a:spcPct val="0"/>
                </a:spcBef>
                <a:buSzPct val="100000"/>
                <a:buFont typeface="+mn-lt" pitchFamily="34" charset="0"/>
              </a:pPr>
              <a:t>’21</a:t>
            </a:fld>
            <a:endParaRPr lang="en-US" sz="800"/>
          </a:p>
        </p:txBody>
      </p:sp>
      <p:sp>
        <p:nvSpPr>
          <p:cNvPr id="22" name="Text Placeholder">
            <a:extLst>
              <a:ext uri="{FF2B5EF4-FFF2-40B4-BE49-F238E27FC236}">
                <a16:creationId xmlns:a16="http://schemas.microsoft.com/office/drawing/2014/main" id="{DB74A2DD-1F92-CA11-1A5E-DC710AE80F1F}"/>
              </a:ext>
            </a:extLst>
          </p:cNvPr>
          <p:cNvSpPr>
            <a:spLocks noGrp="1"/>
          </p:cNvSpPr>
          <p:nvPr>
            <p:custDataLst>
              <p:tags r:id="rId19"/>
            </p:custDataLst>
          </p:nvPr>
        </p:nvSpPr>
        <p:spPr bwMode="auto">
          <a:xfrm>
            <a:off x="3723548"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07FDE080-63D6-4168-A4EC-45242F11B427}" type="datetime'''''''''''''’''2''2'''''''''">
              <a:rPr lang="en-GB" altLang="en-US" sz="800" smtClean="0"/>
              <a:pPr lvl="0" algn="ctr" defTabSz="914400">
                <a:spcBef>
                  <a:spcPct val="0"/>
                </a:spcBef>
                <a:buSzPct val="100000"/>
                <a:buFont typeface="+mn-lt" pitchFamily="34" charset="0"/>
              </a:pPr>
              <a:t>’22</a:t>
            </a:fld>
            <a:endParaRPr lang="en-US" sz="800"/>
          </a:p>
        </p:txBody>
      </p:sp>
      <p:sp>
        <p:nvSpPr>
          <p:cNvPr id="23" name="Text Placeholder">
            <a:extLst>
              <a:ext uri="{FF2B5EF4-FFF2-40B4-BE49-F238E27FC236}">
                <a16:creationId xmlns:a16="http://schemas.microsoft.com/office/drawing/2014/main" id="{AA16AD36-2782-8640-72F8-BDBD46C95BB5}"/>
              </a:ext>
            </a:extLst>
          </p:cNvPr>
          <p:cNvSpPr>
            <a:spLocks noGrp="1"/>
          </p:cNvSpPr>
          <p:nvPr>
            <p:custDataLst>
              <p:tags r:id="rId20"/>
            </p:custDataLst>
          </p:nvPr>
        </p:nvSpPr>
        <p:spPr bwMode="auto">
          <a:xfrm>
            <a:off x="4242660"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385D279B-3F59-4D20-8D7D-1144B1AA84F4}" type="datetime'''’''''''''''''''2''''''''''4'''''''''''">
              <a:rPr lang="en-GB" altLang="en-US" sz="800" smtClean="0"/>
              <a:pPr lvl="0" algn="ctr" defTabSz="914400">
                <a:spcBef>
                  <a:spcPct val="0"/>
                </a:spcBef>
                <a:buSzPct val="100000"/>
                <a:buFont typeface="+mn-lt" pitchFamily="34" charset="0"/>
              </a:pPr>
              <a:t>’24</a:t>
            </a:fld>
            <a:endParaRPr lang="en-US" sz="800"/>
          </a:p>
        </p:txBody>
      </p:sp>
      <p:sp>
        <p:nvSpPr>
          <p:cNvPr id="24" name="Text Placeholder">
            <a:extLst>
              <a:ext uri="{FF2B5EF4-FFF2-40B4-BE49-F238E27FC236}">
                <a16:creationId xmlns:a16="http://schemas.microsoft.com/office/drawing/2014/main" id="{702B3846-AC96-7C6C-AA95-526DEF65D952}"/>
              </a:ext>
            </a:extLst>
          </p:cNvPr>
          <p:cNvSpPr>
            <a:spLocks noGrp="1"/>
          </p:cNvSpPr>
          <p:nvPr>
            <p:custDataLst>
              <p:tags r:id="rId21"/>
            </p:custDataLst>
          </p:nvPr>
        </p:nvSpPr>
        <p:spPr bwMode="auto">
          <a:xfrm>
            <a:off x="4503010"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56AEDE0A-EA08-437D-AC7B-5FE3836C7614}" type="datetime'’''''''''''2''5'''''''''''''''''''''''''''''''''''''">
              <a:rPr lang="en-GB" altLang="en-US" sz="800" smtClean="0"/>
              <a:pPr lvl="0" algn="ctr" defTabSz="914400">
                <a:spcBef>
                  <a:spcPct val="0"/>
                </a:spcBef>
                <a:buSzPct val="100000"/>
                <a:buFont typeface="+mn-lt" pitchFamily="34" charset="0"/>
              </a:pPr>
              <a:t>’25</a:t>
            </a:fld>
            <a:endParaRPr lang="en-US" sz="800"/>
          </a:p>
        </p:txBody>
      </p:sp>
      <p:sp>
        <p:nvSpPr>
          <p:cNvPr id="25" name="Text Placeholder">
            <a:extLst>
              <a:ext uri="{FF2B5EF4-FFF2-40B4-BE49-F238E27FC236}">
                <a16:creationId xmlns:a16="http://schemas.microsoft.com/office/drawing/2014/main" id="{7882799A-D338-A0DE-73D0-A96C02FB7E02}"/>
              </a:ext>
            </a:extLst>
          </p:cNvPr>
          <p:cNvSpPr>
            <a:spLocks noGrp="1"/>
          </p:cNvSpPr>
          <p:nvPr>
            <p:custDataLst>
              <p:tags r:id="rId22"/>
            </p:custDataLst>
          </p:nvPr>
        </p:nvSpPr>
        <p:spPr bwMode="auto">
          <a:xfrm>
            <a:off x="4761773"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0483CF9A-A084-459A-9B65-34DF7D18CA17}" type="datetime'''’''''''''''''''''2''''''''''''''''''''''''''''6'''''''">
              <a:rPr lang="en-GB" altLang="en-US" sz="800" smtClean="0"/>
              <a:pPr lvl="0" algn="ctr" defTabSz="914400">
                <a:spcBef>
                  <a:spcPct val="0"/>
                </a:spcBef>
                <a:buSzPct val="100000"/>
                <a:buFont typeface="+mn-lt" pitchFamily="34" charset="0"/>
              </a:pPr>
              <a:t>’26</a:t>
            </a:fld>
            <a:endParaRPr lang="en-US" sz="800"/>
          </a:p>
        </p:txBody>
      </p:sp>
      <p:sp>
        <p:nvSpPr>
          <p:cNvPr id="26" name="Text Placeholder">
            <a:extLst>
              <a:ext uri="{FF2B5EF4-FFF2-40B4-BE49-F238E27FC236}">
                <a16:creationId xmlns:a16="http://schemas.microsoft.com/office/drawing/2014/main" id="{2C4B0047-63D4-1638-98E4-7FA10A317789}"/>
              </a:ext>
            </a:extLst>
          </p:cNvPr>
          <p:cNvSpPr>
            <a:spLocks noGrp="1"/>
          </p:cNvSpPr>
          <p:nvPr>
            <p:custDataLst>
              <p:tags r:id="rId23"/>
            </p:custDataLst>
          </p:nvPr>
        </p:nvSpPr>
        <p:spPr bwMode="auto">
          <a:xfrm>
            <a:off x="5022123"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8A7EA98C-052F-4868-9860-1F8F41A28DA6}" type="datetime'’2''''''''''''''''''''''''''''''''''''''''''''7'''''''">
              <a:rPr lang="en-GB" altLang="en-US" sz="800" smtClean="0"/>
              <a:pPr lvl="0" algn="ctr" defTabSz="914400">
                <a:spcBef>
                  <a:spcPct val="0"/>
                </a:spcBef>
                <a:buSzPct val="100000"/>
                <a:buFont typeface="+mn-lt" pitchFamily="34" charset="0"/>
              </a:pPr>
              <a:t>’27</a:t>
            </a:fld>
            <a:endParaRPr lang="en-US" sz="800"/>
          </a:p>
        </p:txBody>
      </p:sp>
      <p:sp>
        <p:nvSpPr>
          <p:cNvPr id="27" name="Text Placeholder">
            <a:extLst>
              <a:ext uri="{FF2B5EF4-FFF2-40B4-BE49-F238E27FC236}">
                <a16:creationId xmlns:a16="http://schemas.microsoft.com/office/drawing/2014/main" id="{E5E0CEE4-A014-66FD-3A96-56623BC19B11}"/>
              </a:ext>
            </a:extLst>
          </p:cNvPr>
          <p:cNvSpPr>
            <a:spLocks noGrp="1"/>
          </p:cNvSpPr>
          <p:nvPr>
            <p:custDataLst>
              <p:tags r:id="rId24"/>
            </p:custDataLst>
          </p:nvPr>
        </p:nvSpPr>
        <p:spPr bwMode="auto">
          <a:xfrm>
            <a:off x="5282473"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141004D7-73A7-4C49-B503-6C7D687A2E2B}" type="datetime'''''''''''''''''''’''''''2''''''''''''8'''''''">
              <a:rPr lang="en-GB" altLang="en-US" sz="800" smtClean="0"/>
              <a:pPr lvl="0" algn="ctr" defTabSz="914400">
                <a:spcBef>
                  <a:spcPct val="0"/>
                </a:spcBef>
                <a:buSzPct val="100000"/>
                <a:buFont typeface="+mn-lt" pitchFamily="34" charset="0"/>
              </a:pPr>
              <a:t>’28</a:t>
            </a:fld>
            <a:endParaRPr lang="en-US" sz="800"/>
          </a:p>
        </p:txBody>
      </p:sp>
      <p:sp>
        <p:nvSpPr>
          <p:cNvPr id="28" name="Text Placeholder">
            <a:extLst>
              <a:ext uri="{FF2B5EF4-FFF2-40B4-BE49-F238E27FC236}">
                <a16:creationId xmlns:a16="http://schemas.microsoft.com/office/drawing/2014/main" id="{5DCBC56B-FCFE-E9FE-24E1-68C288F3F6AE}"/>
              </a:ext>
            </a:extLst>
          </p:cNvPr>
          <p:cNvSpPr>
            <a:spLocks noGrp="1"/>
          </p:cNvSpPr>
          <p:nvPr>
            <p:custDataLst>
              <p:tags r:id="rId25"/>
            </p:custDataLst>
          </p:nvPr>
        </p:nvSpPr>
        <p:spPr bwMode="auto">
          <a:xfrm>
            <a:off x="5541235"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8F8DC3DF-37FE-494E-B3B4-CE39AE2A6922}" type="datetime'''''''''''''''''''''''''''''''’''''''''''''''''''''''29'''">
              <a:rPr lang="en-GB" altLang="en-US" sz="800" smtClean="0"/>
              <a:pPr lvl="0" algn="ctr" defTabSz="914400">
                <a:spcBef>
                  <a:spcPct val="0"/>
                </a:spcBef>
                <a:buSzPct val="100000"/>
                <a:buFont typeface="+mn-lt" pitchFamily="34" charset="0"/>
              </a:pPr>
              <a:t>’29</a:t>
            </a:fld>
            <a:endParaRPr lang="en-US" sz="800"/>
          </a:p>
        </p:txBody>
      </p:sp>
      <p:sp>
        <p:nvSpPr>
          <p:cNvPr id="29" name="Text Placeholder">
            <a:extLst>
              <a:ext uri="{FF2B5EF4-FFF2-40B4-BE49-F238E27FC236}">
                <a16:creationId xmlns:a16="http://schemas.microsoft.com/office/drawing/2014/main" id="{D6A128F5-CA0F-E089-962D-F4835F1839D2}"/>
              </a:ext>
            </a:extLst>
          </p:cNvPr>
          <p:cNvSpPr>
            <a:spLocks noGrp="1"/>
          </p:cNvSpPr>
          <p:nvPr>
            <p:custDataLst>
              <p:tags r:id="rId26"/>
            </p:custDataLst>
          </p:nvPr>
        </p:nvSpPr>
        <p:spPr bwMode="auto">
          <a:xfrm>
            <a:off x="5801585"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179A294E-935C-43F9-A4E9-A05A94FC926F}" type="datetime'''’''''''''''''''3''''''''0'''''''''''''''''''''''''''">
              <a:rPr lang="en-GB" altLang="en-US" sz="800" smtClean="0"/>
              <a:pPr lvl="0" algn="ctr" defTabSz="914400">
                <a:spcBef>
                  <a:spcPct val="0"/>
                </a:spcBef>
                <a:buSzPct val="100000"/>
                <a:buFont typeface="+mn-lt" pitchFamily="34" charset="0"/>
              </a:pPr>
              <a:t>’30</a:t>
            </a:fld>
            <a:endParaRPr lang="en-US" sz="800"/>
          </a:p>
        </p:txBody>
      </p:sp>
      <p:sp>
        <p:nvSpPr>
          <p:cNvPr id="30" name="Text Placeholder">
            <a:extLst>
              <a:ext uri="{FF2B5EF4-FFF2-40B4-BE49-F238E27FC236}">
                <a16:creationId xmlns:a16="http://schemas.microsoft.com/office/drawing/2014/main" id="{A58907A9-0C50-8715-55E5-5A4693CECE4F}"/>
              </a:ext>
            </a:extLst>
          </p:cNvPr>
          <p:cNvSpPr>
            <a:spLocks noGrp="1"/>
          </p:cNvSpPr>
          <p:nvPr>
            <p:custDataLst>
              <p:tags r:id="rId27"/>
            </p:custDataLst>
          </p:nvPr>
        </p:nvSpPr>
        <p:spPr bwMode="auto">
          <a:xfrm>
            <a:off x="6060348"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1CA7B609-C801-4809-8CF8-74DAF136A65C}" type="datetime'''''''''''''''''''''''’''''''''''''''''''''31'''">
              <a:rPr lang="en-GB" altLang="en-US" sz="800" smtClean="0"/>
              <a:pPr lvl="0" algn="ctr" defTabSz="914400">
                <a:spcBef>
                  <a:spcPct val="0"/>
                </a:spcBef>
                <a:buSzPct val="100000"/>
                <a:buFont typeface="+mn-lt" pitchFamily="34" charset="0"/>
              </a:pPr>
              <a:t>’31</a:t>
            </a:fld>
            <a:endParaRPr lang="en-US" sz="800"/>
          </a:p>
        </p:txBody>
      </p:sp>
      <p:sp>
        <p:nvSpPr>
          <p:cNvPr id="31" name="Text Placeholder">
            <a:extLst>
              <a:ext uri="{FF2B5EF4-FFF2-40B4-BE49-F238E27FC236}">
                <a16:creationId xmlns:a16="http://schemas.microsoft.com/office/drawing/2014/main" id="{B9B8BA03-4F55-A11F-5114-1B15AFB7A82D}"/>
              </a:ext>
            </a:extLst>
          </p:cNvPr>
          <p:cNvSpPr>
            <a:spLocks noGrp="1"/>
          </p:cNvSpPr>
          <p:nvPr>
            <p:custDataLst>
              <p:tags r:id="rId28"/>
            </p:custDataLst>
          </p:nvPr>
        </p:nvSpPr>
        <p:spPr bwMode="auto">
          <a:xfrm>
            <a:off x="6320698"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4DAE4E58-D281-443D-8BE8-B255708746A9}" type="datetime'''''''''''''''''’''''''''''''''''''''''''''''3''''''2'''''''">
              <a:rPr lang="en-GB" altLang="en-US" sz="800" smtClean="0"/>
              <a:pPr lvl="0" algn="ctr" defTabSz="914400">
                <a:spcBef>
                  <a:spcPct val="0"/>
                </a:spcBef>
                <a:buSzPct val="100000"/>
                <a:buFont typeface="+mn-lt" pitchFamily="34" charset="0"/>
              </a:pPr>
              <a:t>’32</a:t>
            </a:fld>
            <a:endParaRPr lang="en-US" sz="800"/>
          </a:p>
        </p:txBody>
      </p:sp>
      <p:sp>
        <p:nvSpPr>
          <p:cNvPr id="32" name="Text Placeholder">
            <a:extLst>
              <a:ext uri="{FF2B5EF4-FFF2-40B4-BE49-F238E27FC236}">
                <a16:creationId xmlns:a16="http://schemas.microsoft.com/office/drawing/2014/main" id="{C292368F-997B-FF66-D8F2-884425A79282}"/>
              </a:ext>
            </a:extLst>
          </p:cNvPr>
          <p:cNvSpPr>
            <a:spLocks noGrp="1"/>
          </p:cNvSpPr>
          <p:nvPr>
            <p:custDataLst>
              <p:tags r:id="rId29"/>
            </p:custDataLst>
          </p:nvPr>
        </p:nvSpPr>
        <p:spPr bwMode="auto">
          <a:xfrm>
            <a:off x="6581048"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DB44468F-069B-49DD-BD82-BF966EE4E170}" type="datetime'''''''''''''''''''''''''''''''’''3''''''''''''3'''''''">
              <a:rPr lang="en-GB" altLang="en-US" sz="800" smtClean="0"/>
              <a:pPr lvl="0" algn="ctr" defTabSz="914400">
                <a:spcBef>
                  <a:spcPct val="0"/>
                </a:spcBef>
                <a:buSzPct val="100000"/>
                <a:buFont typeface="+mn-lt" pitchFamily="34" charset="0"/>
              </a:pPr>
              <a:t>’33</a:t>
            </a:fld>
            <a:endParaRPr lang="en-US" sz="800"/>
          </a:p>
        </p:txBody>
      </p:sp>
      <p:sp>
        <p:nvSpPr>
          <p:cNvPr id="33" name="Text Placeholder">
            <a:extLst>
              <a:ext uri="{FF2B5EF4-FFF2-40B4-BE49-F238E27FC236}">
                <a16:creationId xmlns:a16="http://schemas.microsoft.com/office/drawing/2014/main" id="{107C71D2-3649-7957-1F74-8E44669A4947}"/>
              </a:ext>
            </a:extLst>
          </p:cNvPr>
          <p:cNvSpPr>
            <a:spLocks noGrp="1"/>
          </p:cNvSpPr>
          <p:nvPr>
            <p:custDataLst>
              <p:tags r:id="rId30"/>
            </p:custDataLst>
          </p:nvPr>
        </p:nvSpPr>
        <p:spPr bwMode="auto">
          <a:xfrm>
            <a:off x="6839810"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33FE1FCA-B9C1-4B7F-8150-B2CF10A775E1}" type="datetime'''''''''''''''''''''’''''''''''''''''''''''34'">
              <a:rPr lang="en-GB" altLang="en-US" sz="800" smtClean="0"/>
              <a:pPr lvl="0" algn="ctr" defTabSz="914400">
                <a:spcBef>
                  <a:spcPct val="0"/>
                </a:spcBef>
                <a:buSzPct val="100000"/>
                <a:buFont typeface="+mn-lt" pitchFamily="34" charset="0"/>
              </a:pPr>
              <a:t>’34</a:t>
            </a:fld>
            <a:endParaRPr lang="en-US" sz="800"/>
          </a:p>
        </p:txBody>
      </p:sp>
      <p:sp>
        <p:nvSpPr>
          <p:cNvPr id="34" name="Text Placeholder">
            <a:extLst>
              <a:ext uri="{FF2B5EF4-FFF2-40B4-BE49-F238E27FC236}">
                <a16:creationId xmlns:a16="http://schemas.microsoft.com/office/drawing/2014/main" id="{F02CFF53-CF9B-1983-5118-1A6E40365218}"/>
              </a:ext>
            </a:extLst>
          </p:cNvPr>
          <p:cNvSpPr>
            <a:spLocks noGrp="1"/>
          </p:cNvSpPr>
          <p:nvPr>
            <p:custDataLst>
              <p:tags r:id="rId31"/>
            </p:custDataLst>
          </p:nvPr>
        </p:nvSpPr>
        <p:spPr bwMode="auto">
          <a:xfrm>
            <a:off x="7100160"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51ABDD3E-958D-496F-80FD-F525733F01B5}" type="datetime'''''’3''''''''5'''''''''">
              <a:rPr lang="en-GB" altLang="en-US" sz="800" smtClean="0"/>
              <a:pPr lvl="0" algn="ctr" defTabSz="914400">
                <a:spcBef>
                  <a:spcPct val="0"/>
                </a:spcBef>
                <a:buSzPct val="100000"/>
                <a:buFont typeface="+mn-lt" pitchFamily="34" charset="0"/>
              </a:pPr>
              <a:t>’35</a:t>
            </a:fld>
            <a:endParaRPr lang="en-US" sz="800"/>
          </a:p>
        </p:txBody>
      </p:sp>
      <p:sp>
        <p:nvSpPr>
          <p:cNvPr id="35" name="Text Placeholder">
            <a:extLst>
              <a:ext uri="{FF2B5EF4-FFF2-40B4-BE49-F238E27FC236}">
                <a16:creationId xmlns:a16="http://schemas.microsoft.com/office/drawing/2014/main" id="{F45A60B8-08F9-A878-AFEC-9CD1F383D3AC}"/>
              </a:ext>
            </a:extLst>
          </p:cNvPr>
          <p:cNvSpPr>
            <a:spLocks noGrp="1"/>
          </p:cNvSpPr>
          <p:nvPr>
            <p:custDataLst>
              <p:tags r:id="rId32"/>
            </p:custDataLst>
          </p:nvPr>
        </p:nvSpPr>
        <p:spPr bwMode="auto">
          <a:xfrm>
            <a:off x="7360510"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1BAF833A-BC44-42B3-AE0D-1ACFF7550BDE}" type="datetime'’''''''3''''''''''''''''''''''6'''''''''''''''''''''''''''">
              <a:rPr lang="en-GB" altLang="en-US" sz="800" smtClean="0"/>
              <a:pPr lvl="0" algn="ctr" defTabSz="914400">
                <a:spcBef>
                  <a:spcPct val="0"/>
                </a:spcBef>
                <a:buSzPct val="100000"/>
                <a:buFont typeface="+mn-lt" pitchFamily="34" charset="0"/>
              </a:pPr>
              <a:t>’36</a:t>
            </a:fld>
            <a:endParaRPr lang="en-US" sz="800"/>
          </a:p>
        </p:txBody>
      </p:sp>
      <p:sp>
        <p:nvSpPr>
          <p:cNvPr id="36" name="Text Placeholder">
            <a:extLst>
              <a:ext uri="{FF2B5EF4-FFF2-40B4-BE49-F238E27FC236}">
                <a16:creationId xmlns:a16="http://schemas.microsoft.com/office/drawing/2014/main" id="{ACD83EFE-D904-9AE9-BF98-67D41D881422}"/>
              </a:ext>
            </a:extLst>
          </p:cNvPr>
          <p:cNvSpPr>
            <a:spLocks noGrp="1"/>
          </p:cNvSpPr>
          <p:nvPr>
            <p:custDataLst>
              <p:tags r:id="rId33"/>
            </p:custDataLst>
          </p:nvPr>
        </p:nvSpPr>
        <p:spPr bwMode="auto">
          <a:xfrm>
            <a:off x="7619273"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6C23A2EA-3DEF-42EA-91B0-0E6AB1986A04}" type="datetime'’''''''3''''''''''''''''''''''''''''''7'''''''''''''">
              <a:rPr lang="en-GB" altLang="en-US" sz="800" smtClean="0"/>
              <a:pPr lvl="0" algn="ctr" defTabSz="914400">
                <a:spcBef>
                  <a:spcPct val="0"/>
                </a:spcBef>
                <a:buSzPct val="100000"/>
                <a:buFont typeface="+mn-lt" pitchFamily="34" charset="0"/>
              </a:pPr>
              <a:t>’37</a:t>
            </a:fld>
            <a:endParaRPr lang="en-US" sz="800"/>
          </a:p>
        </p:txBody>
      </p:sp>
      <p:sp>
        <p:nvSpPr>
          <p:cNvPr id="37" name="Text Placeholder">
            <a:extLst>
              <a:ext uri="{FF2B5EF4-FFF2-40B4-BE49-F238E27FC236}">
                <a16:creationId xmlns:a16="http://schemas.microsoft.com/office/drawing/2014/main" id="{5734152D-488C-BD41-2965-3F00944D136B}"/>
              </a:ext>
            </a:extLst>
          </p:cNvPr>
          <p:cNvSpPr>
            <a:spLocks noGrp="1"/>
          </p:cNvSpPr>
          <p:nvPr>
            <p:custDataLst>
              <p:tags r:id="rId34"/>
            </p:custDataLst>
          </p:nvPr>
        </p:nvSpPr>
        <p:spPr bwMode="auto">
          <a:xfrm>
            <a:off x="7879623"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748F468F-72A0-48C9-852D-C5FE6BAE164B}" type="datetime'’''''''''''''''''''''''''''''''3''''''''''8'''''''''''''''''">
              <a:rPr lang="en-GB" altLang="en-US" sz="800" smtClean="0"/>
              <a:pPr lvl="0" algn="ctr" defTabSz="914400">
                <a:spcBef>
                  <a:spcPct val="0"/>
                </a:spcBef>
                <a:buSzPct val="100000"/>
                <a:buFont typeface="+mn-lt" pitchFamily="34" charset="0"/>
              </a:pPr>
              <a:t>’38</a:t>
            </a:fld>
            <a:endParaRPr lang="en-US" sz="800"/>
          </a:p>
        </p:txBody>
      </p:sp>
      <p:sp>
        <p:nvSpPr>
          <p:cNvPr id="38" name="Text Placeholder">
            <a:extLst>
              <a:ext uri="{FF2B5EF4-FFF2-40B4-BE49-F238E27FC236}">
                <a16:creationId xmlns:a16="http://schemas.microsoft.com/office/drawing/2014/main" id="{173FE264-4DAD-EB11-8BFB-3C02E6E1C09C}"/>
              </a:ext>
            </a:extLst>
          </p:cNvPr>
          <p:cNvSpPr>
            <a:spLocks noGrp="1"/>
          </p:cNvSpPr>
          <p:nvPr>
            <p:custDataLst>
              <p:tags r:id="rId35"/>
            </p:custDataLst>
          </p:nvPr>
        </p:nvSpPr>
        <p:spPr bwMode="auto">
          <a:xfrm>
            <a:off x="8138385"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28584C67-D596-48AB-9F6C-592F892D3711}" type="datetime'''''''''''’''''''''''''''''''3''''9'''''''''''''">
              <a:rPr lang="en-GB" altLang="en-US" sz="800" smtClean="0"/>
              <a:pPr lvl="0" algn="ctr" defTabSz="914400">
                <a:spcBef>
                  <a:spcPct val="0"/>
                </a:spcBef>
                <a:buSzPct val="100000"/>
                <a:buFont typeface="+mn-lt" pitchFamily="34" charset="0"/>
              </a:pPr>
              <a:t>’39</a:t>
            </a:fld>
            <a:endParaRPr lang="en-US" sz="800"/>
          </a:p>
        </p:txBody>
      </p:sp>
      <p:sp>
        <p:nvSpPr>
          <p:cNvPr id="39" name="Text Placeholder">
            <a:extLst>
              <a:ext uri="{FF2B5EF4-FFF2-40B4-BE49-F238E27FC236}">
                <a16:creationId xmlns:a16="http://schemas.microsoft.com/office/drawing/2014/main" id="{6A27474E-FFDC-F04B-2A62-A82E29E63617}"/>
              </a:ext>
            </a:extLst>
          </p:cNvPr>
          <p:cNvSpPr>
            <a:spLocks noGrp="1"/>
          </p:cNvSpPr>
          <p:nvPr>
            <p:custDataLst>
              <p:tags r:id="rId36"/>
            </p:custDataLst>
          </p:nvPr>
        </p:nvSpPr>
        <p:spPr bwMode="auto">
          <a:xfrm>
            <a:off x="8398735"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27CECD47-429B-48D1-A838-D3D40C209ABF}" type="datetime'’4''''''''''''''0'">
              <a:rPr lang="en-GB" altLang="en-US" sz="800" smtClean="0"/>
              <a:pPr lvl="0" algn="ctr" defTabSz="914400">
                <a:spcBef>
                  <a:spcPct val="0"/>
                </a:spcBef>
                <a:buSzPct val="100000"/>
                <a:buFont typeface="+mn-lt" pitchFamily="34" charset="0"/>
              </a:pPr>
              <a:t>’40</a:t>
            </a:fld>
            <a:endParaRPr lang="en-US" sz="800"/>
          </a:p>
        </p:txBody>
      </p:sp>
      <p:sp>
        <p:nvSpPr>
          <p:cNvPr id="40" name="Text Placeholder">
            <a:extLst>
              <a:ext uri="{FF2B5EF4-FFF2-40B4-BE49-F238E27FC236}">
                <a16:creationId xmlns:a16="http://schemas.microsoft.com/office/drawing/2014/main" id="{B4DD6B3B-1D27-ADA1-40FA-5E9CAEAD3C49}"/>
              </a:ext>
            </a:extLst>
          </p:cNvPr>
          <p:cNvSpPr>
            <a:spLocks noGrp="1"/>
          </p:cNvSpPr>
          <p:nvPr>
            <p:custDataLst>
              <p:tags r:id="rId37"/>
            </p:custDataLst>
          </p:nvPr>
        </p:nvSpPr>
        <p:spPr bwMode="auto">
          <a:xfrm>
            <a:off x="3982310" y="4516065"/>
            <a:ext cx="149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1E3D6980-12E7-4C7C-82B9-E9E2E1F60FA0}" type="datetime'''''''''''''''''''''''''''''''’''23'''''''''''''''''">
              <a:rPr lang="en-GB" altLang="en-US" sz="800" smtClean="0"/>
              <a:pPr lvl="0" algn="ctr" defTabSz="914400">
                <a:spcBef>
                  <a:spcPct val="0"/>
                </a:spcBef>
                <a:buSzPct val="100000"/>
                <a:buFont typeface="+mn-lt" pitchFamily="34" charset="0"/>
              </a:pPr>
              <a:t>’23</a:t>
            </a:fld>
            <a:endParaRPr lang="en-US" sz="800"/>
          </a:p>
        </p:txBody>
      </p:sp>
      <p:sp>
        <p:nvSpPr>
          <p:cNvPr id="41" name="Rectangle 47">
            <a:extLst>
              <a:ext uri="{FF2B5EF4-FFF2-40B4-BE49-F238E27FC236}">
                <a16:creationId xmlns:a16="http://schemas.microsoft.com/office/drawing/2014/main" id="{07F6AA95-DF72-0448-7A4B-66695F5922D7}"/>
              </a:ext>
            </a:extLst>
          </p:cNvPr>
          <p:cNvSpPr/>
          <p:nvPr/>
        </p:nvSpPr>
        <p:spPr>
          <a:xfrm>
            <a:off x="204790" y="2903164"/>
            <a:ext cx="682625" cy="306388"/>
          </a:xfrm>
          <a:prstGeom prst="rect">
            <a:avLst/>
          </a:prstGeom>
        </p:spPr>
        <p:txBody>
          <a:bodyPr wrap="square" lIns="0" tIns="0" rIns="0" bIns="0">
            <a:spAutoFit/>
          </a:bodyPr>
          <a:lstStyle/>
          <a:p>
            <a:pPr>
              <a:spcBef>
                <a:spcPts val="0"/>
              </a:spcBef>
              <a:buSzPct val="100000"/>
            </a:pPr>
            <a:r>
              <a:rPr lang="en-US" sz="1000" b="1">
                <a:solidFill>
                  <a:schemeClr val="dk1"/>
                </a:solidFill>
                <a:sym typeface="+mn-lt"/>
              </a:rPr>
              <a:t>Valves</a:t>
            </a:r>
            <a:br>
              <a:rPr lang="en-US" sz="1000" b="1">
                <a:solidFill>
                  <a:schemeClr val="dk1"/>
                </a:solidFill>
                <a:sym typeface="+mn-lt"/>
              </a:rPr>
            </a:br>
            <a:r>
              <a:rPr lang="en-US" sz="1000" b="1">
                <a:solidFill>
                  <a:schemeClr val="dk1"/>
                </a:solidFill>
                <a:sym typeface="+mn-lt"/>
              </a:rPr>
              <a:t>per km</a:t>
            </a:r>
            <a:endParaRPr lang="en-US" sz="1000" b="1"/>
          </a:p>
        </p:txBody>
      </p:sp>
      <p:sp>
        <p:nvSpPr>
          <p:cNvPr id="42" name="Rectangle 48">
            <a:extLst>
              <a:ext uri="{FF2B5EF4-FFF2-40B4-BE49-F238E27FC236}">
                <a16:creationId xmlns:a16="http://schemas.microsoft.com/office/drawing/2014/main" id="{2EAB8956-50CF-7F42-42C2-4005978D6955}"/>
              </a:ext>
            </a:extLst>
          </p:cNvPr>
          <p:cNvSpPr/>
          <p:nvPr/>
        </p:nvSpPr>
        <p:spPr>
          <a:xfrm>
            <a:off x="204790" y="2555184"/>
            <a:ext cx="965200" cy="307975"/>
          </a:xfrm>
          <a:prstGeom prst="rect">
            <a:avLst/>
          </a:prstGeom>
        </p:spPr>
        <p:txBody>
          <a:bodyPr wrap="square" lIns="0" tIns="0" rIns="0" bIns="0">
            <a:spAutoFit/>
          </a:bodyPr>
          <a:lstStyle/>
          <a:p>
            <a:pPr>
              <a:spcBef>
                <a:spcPts val="0"/>
              </a:spcBef>
              <a:buSzPct val="100000"/>
            </a:pPr>
            <a:r>
              <a:rPr lang="en-US" sz="1000" b="1">
                <a:solidFill>
                  <a:schemeClr val="dk1"/>
                </a:solidFill>
                <a:sym typeface="+mn-lt"/>
              </a:rPr>
              <a:t>Ø growth </a:t>
            </a:r>
            <a:br>
              <a:rPr lang="en-US" sz="1000" b="1">
                <a:solidFill>
                  <a:schemeClr val="dk1"/>
                </a:solidFill>
                <a:sym typeface="+mn-lt"/>
              </a:rPr>
            </a:br>
            <a:r>
              <a:rPr lang="en-US" sz="1000" b="1">
                <a:solidFill>
                  <a:schemeClr val="dk1"/>
                </a:solidFill>
                <a:sym typeface="+mn-lt"/>
              </a:rPr>
              <a:t>p.a. [km]</a:t>
            </a:r>
            <a:endParaRPr lang="en-US" sz="1000" b="1"/>
          </a:p>
        </p:txBody>
      </p:sp>
      <p:grpSp>
        <p:nvGrpSpPr>
          <p:cNvPr id="43" name="Group 49">
            <a:extLst>
              <a:ext uri="{FF2B5EF4-FFF2-40B4-BE49-F238E27FC236}">
                <a16:creationId xmlns:a16="http://schemas.microsoft.com/office/drawing/2014/main" id="{3130F1EA-4EF0-CEF5-B13D-21FB43F7BF4A}"/>
              </a:ext>
            </a:extLst>
          </p:cNvPr>
          <p:cNvGrpSpPr/>
          <p:nvPr/>
        </p:nvGrpSpPr>
        <p:grpSpPr>
          <a:xfrm>
            <a:off x="898527" y="1773814"/>
            <a:ext cx="7539038" cy="724535"/>
            <a:chOff x="723900" y="1979659"/>
            <a:chExt cx="7930469" cy="724411"/>
          </a:xfrm>
        </p:grpSpPr>
        <p:sp>
          <p:nvSpPr>
            <p:cNvPr id="44" name="RBArrowOption1 0159">
              <a:extLst>
                <a:ext uri="{FF2B5EF4-FFF2-40B4-BE49-F238E27FC236}">
                  <a16:creationId xmlns:a16="http://schemas.microsoft.com/office/drawing/2014/main" id="{3217191F-8155-E5D7-8C3B-FF3F6D10CD30}"/>
                </a:ext>
              </a:extLst>
            </p:cNvPr>
            <p:cNvSpPr>
              <a:spLocks/>
            </p:cNvSpPr>
            <p:nvPr/>
          </p:nvSpPr>
          <p:spPr>
            <a:xfrm>
              <a:off x="723900" y="2227820"/>
              <a:ext cx="2537505" cy="476250"/>
            </a:xfrm>
            <a:custGeom>
              <a:avLst/>
              <a:gdLst>
                <a:gd name="connsiteX0" fmla="*/ 0 w 5580607"/>
                <a:gd name="connsiteY0" fmla="*/ 0 h 476250"/>
                <a:gd name="connsiteX1" fmla="*/ 5415007 w 5580607"/>
                <a:gd name="connsiteY1" fmla="*/ 0 h 476250"/>
                <a:gd name="connsiteX2" fmla="*/ 5580607 w 5580607"/>
                <a:gd name="connsiteY2" fmla="*/ 238125 h 476250"/>
                <a:gd name="connsiteX3" fmla="*/ 5415007 w 5580607"/>
                <a:gd name="connsiteY3" fmla="*/ 476250 h 476250"/>
                <a:gd name="connsiteX4" fmla="*/ 0 w 5580607"/>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607" h="476250">
                  <a:moveTo>
                    <a:pt x="0" y="0"/>
                  </a:moveTo>
                  <a:lnTo>
                    <a:pt x="5415007" y="0"/>
                  </a:lnTo>
                  <a:lnTo>
                    <a:pt x="5580607" y="238125"/>
                  </a:lnTo>
                  <a:lnTo>
                    <a:pt x="5415007" y="476250"/>
                  </a:lnTo>
                  <a:lnTo>
                    <a:pt x="0" y="476250"/>
                  </a:lnTo>
                </a:path>
              </a:pathLst>
            </a:custGeom>
            <a:ln w="19050" cmpd="sng">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0" tIns="0" rIns="73152" bIns="0" rtlCol="0" anchor="ctr"/>
            <a:lstStyle/>
            <a:p>
              <a:pPr>
                <a:spcBef>
                  <a:spcPts val="0"/>
                </a:spcBef>
                <a:buSzPct val="100000"/>
              </a:pPr>
              <a:r>
                <a:rPr lang="en-US" sz="1000"/>
                <a:t>Historical period with slower growth and lower valves density..</a:t>
              </a:r>
            </a:p>
          </p:txBody>
        </p:sp>
        <p:sp>
          <p:nvSpPr>
            <p:cNvPr id="45" name="RBArrowOption1 1161">
              <a:extLst>
                <a:ext uri="{FF2B5EF4-FFF2-40B4-BE49-F238E27FC236}">
                  <a16:creationId xmlns:a16="http://schemas.microsoft.com/office/drawing/2014/main" id="{2FC34B7A-839B-24E0-35F0-D7D06F7941A2}"/>
                </a:ext>
              </a:extLst>
            </p:cNvPr>
            <p:cNvSpPr>
              <a:spLocks/>
            </p:cNvSpPr>
            <p:nvPr/>
          </p:nvSpPr>
          <p:spPr>
            <a:xfrm>
              <a:off x="3420382" y="2227820"/>
              <a:ext cx="2537505" cy="476250"/>
            </a:xfrm>
            <a:custGeom>
              <a:avLst/>
              <a:gdLst>
                <a:gd name="connsiteX0" fmla="*/ 0 w 5580607"/>
                <a:gd name="connsiteY0" fmla="*/ 0 h 476250"/>
                <a:gd name="connsiteX1" fmla="*/ 5415007 w 5580607"/>
                <a:gd name="connsiteY1" fmla="*/ 0 h 476250"/>
                <a:gd name="connsiteX2" fmla="*/ 5580607 w 5580607"/>
                <a:gd name="connsiteY2" fmla="*/ 238125 h 476250"/>
                <a:gd name="connsiteX3" fmla="*/ 5415007 w 5580607"/>
                <a:gd name="connsiteY3" fmla="*/ 476250 h 476250"/>
                <a:gd name="connsiteX4" fmla="*/ 0 w 5580607"/>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607" h="476250">
                  <a:moveTo>
                    <a:pt x="0" y="0"/>
                  </a:moveTo>
                  <a:lnTo>
                    <a:pt x="5415007" y="0"/>
                  </a:lnTo>
                  <a:lnTo>
                    <a:pt x="5580607" y="238125"/>
                  </a:lnTo>
                  <a:lnTo>
                    <a:pt x="5415007" y="476250"/>
                  </a:lnTo>
                  <a:lnTo>
                    <a:pt x="0" y="476250"/>
                  </a:lnTo>
                </a:path>
              </a:pathLst>
            </a:custGeom>
            <a:ln w="19050" cmpd="sng">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0" tIns="0" rIns="73152" bIns="0" rtlCol="0" anchor="ctr"/>
            <a:lstStyle/>
            <a:p>
              <a:pPr>
                <a:spcBef>
                  <a:spcPts val="0"/>
                </a:spcBef>
                <a:buSzPct val="100000"/>
              </a:pPr>
              <a:r>
                <a:rPr lang="en-US" sz="1000" dirty="0"/>
                <a:t>..With upcoming higher growth and increasing densification..</a:t>
              </a:r>
            </a:p>
          </p:txBody>
        </p:sp>
        <p:sp>
          <p:nvSpPr>
            <p:cNvPr id="46" name="RBArrowOption1 1161">
              <a:extLst>
                <a:ext uri="{FF2B5EF4-FFF2-40B4-BE49-F238E27FC236}">
                  <a16:creationId xmlns:a16="http://schemas.microsoft.com/office/drawing/2014/main" id="{3B14959C-0AF6-6802-8155-28CFB839DE5D}"/>
                </a:ext>
              </a:extLst>
            </p:cNvPr>
            <p:cNvSpPr>
              <a:spLocks/>
            </p:cNvSpPr>
            <p:nvPr/>
          </p:nvSpPr>
          <p:spPr>
            <a:xfrm>
              <a:off x="6116864" y="2227820"/>
              <a:ext cx="2537505" cy="476250"/>
            </a:xfrm>
            <a:custGeom>
              <a:avLst/>
              <a:gdLst>
                <a:gd name="connsiteX0" fmla="*/ 0 w 5580607"/>
                <a:gd name="connsiteY0" fmla="*/ 0 h 476250"/>
                <a:gd name="connsiteX1" fmla="*/ 5415007 w 5580607"/>
                <a:gd name="connsiteY1" fmla="*/ 0 h 476250"/>
                <a:gd name="connsiteX2" fmla="*/ 5580607 w 5580607"/>
                <a:gd name="connsiteY2" fmla="*/ 238125 h 476250"/>
                <a:gd name="connsiteX3" fmla="*/ 5415007 w 5580607"/>
                <a:gd name="connsiteY3" fmla="*/ 476250 h 476250"/>
                <a:gd name="connsiteX4" fmla="*/ 0 w 5580607"/>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607" h="476250">
                  <a:moveTo>
                    <a:pt x="0" y="0"/>
                  </a:moveTo>
                  <a:lnTo>
                    <a:pt x="5415007" y="0"/>
                  </a:lnTo>
                  <a:lnTo>
                    <a:pt x="5580607" y="238125"/>
                  </a:lnTo>
                  <a:lnTo>
                    <a:pt x="5415007" y="476250"/>
                  </a:lnTo>
                  <a:lnTo>
                    <a:pt x="0" y="476250"/>
                  </a:lnTo>
                </a:path>
              </a:pathLst>
            </a:cu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0" tIns="0" rIns="73152" bIns="0" rtlCol="0" anchor="ctr"/>
            <a:lstStyle/>
            <a:p>
              <a:pPr>
                <a:spcBef>
                  <a:spcPts val="0"/>
                </a:spcBef>
                <a:buSzPct val="100000"/>
              </a:pPr>
              <a:r>
                <a:rPr lang="en-US" sz="1000"/>
                <a:t>.. With accelerating growth in 30s driven by increasingly stringent regulation</a:t>
              </a:r>
            </a:p>
          </p:txBody>
        </p:sp>
        <p:sp>
          <p:nvSpPr>
            <p:cNvPr id="47" name="rbStamp_Instructions">
              <a:extLst>
                <a:ext uri="{FF2B5EF4-FFF2-40B4-BE49-F238E27FC236}">
                  <a16:creationId xmlns:a16="http://schemas.microsoft.com/office/drawing/2014/main" id="{18631F42-025B-E2E0-237E-42C23DA11578}"/>
                </a:ext>
              </a:extLst>
            </p:cNvPr>
            <p:cNvSpPr txBox="1"/>
            <p:nvPr/>
          </p:nvSpPr>
          <p:spPr>
            <a:xfrm>
              <a:off x="732089" y="1979659"/>
              <a:ext cx="940250" cy="288097"/>
            </a:xfrm>
            <a:prstGeom prst="rect">
              <a:avLst/>
            </a:prstGeom>
            <a:noFill/>
            <a:ln w="9525">
              <a:noFill/>
            </a:ln>
          </p:spPr>
          <p:txBody>
            <a:bodyPr vert="horz" wrap="square" lIns="0" tIns="0" rIns="0" bIns="72000" rtlCol="0" anchor="t">
              <a:spAutoFit/>
            </a:bodyPr>
            <a:lstStyle/>
            <a:p>
              <a:pPr fontAlgn="base">
                <a:lnSpc>
                  <a:spcPct val="100000"/>
                </a:lnSpc>
                <a:spcBef>
                  <a:spcPts val="400"/>
                </a:spcBef>
                <a:spcAft>
                  <a:spcPct val="0"/>
                </a:spcAft>
                <a:buSzPct val="100000"/>
              </a:pPr>
              <a:r>
                <a:rPr lang="en-US" sz="1400" b="1">
                  <a:solidFill>
                    <a:schemeClr val="accent3"/>
                  </a:solidFill>
                  <a:sym typeface="+mn-lt"/>
                </a:rPr>
                <a:t>2011-2024</a:t>
              </a:r>
            </a:p>
          </p:txBody>
        </p:sp>
        <p:sp>
          <p:nvSpPr>
            <p:cNvPr id="48" name="rbStamp_Instructions">
              <a:extLst>
                <a:ext uri="{FF2B5EF4-FFF2-40B4-BE49-F238E27FC236}">
                  <a16:creationId xmlns:a16="http://schemas.microsoft.com/office/drawing/2014/main" id="{04D0CB77-B93C-4F09-BDFA-D41FC8215058}"/>
                </a:ext>
              </a:extLst>
            </p:cNvPr>
            <p:cNvSpPr txBox="1"/>
            <p:nvPr/>
          </p:nvSpPr>
          <p:spPr>
            <a:xfrm>
              <a:off x="3424694" y="1979662"/>
              <a:ext cx="940250" cy="288097"/>
            </a:xfrm>
            <a:prstGeom prst="rect">
              <a:avLst/>
            </a:prstGeom>
            <a:noFill/>
            <a:ln w="9525">
              <a:noFill/>
            </a:ln>
          </p:spPr>
          <p:txBody>
            <a:bodyPr vert="horz" wrap="square" lIns="0" tIns="0" rIns="0" bIns="72000" rtlCol="0" anchor="t">
              <a:spAutoFit/>
            </a:bodyPr>
            <a:lstStyle/>
            <a:p>
              <a:pPr>
                <a:spcBef>
                  <a:spcPts val="400"/>
                </a:spcBef>
                <a:buSzPct val="100000"/>
              </a:pPr>
              <a:r>
                <a:rPr lang="en-US" sz="1400" b="1">
                  <a:solidFill>
                    <a:schemeClr val="accent4"/>
                  </a:solidFill>
                  <a:sym typeface="+mn-lt"/>
                </a:rPr>
                <a:t>2024-2030</a:t>
              </a:r>
            </a:p>
          </p:txBody>
        </p:sp>
        <p:sp>
          <p:nvSpPr>
            <p:cNvPr id="49" name="rbStamp_Instructions">
              <a:extLst>
                <a:ext uri="{FF2B5EF4-FFF2-40B4-BE49-F238E27FC236}">
                  <a16:creationId xmlns:a16="http://schemas.microsoft.com/office/drawing/2014/main" id="{DDC4447E-412A-899C-C167-342CF8DA7BB8}"/>
                </a:ext>
              </a:extLst>
            </p:cNvPr>
            <p:cNvSpPr txBox="1"/>
            <p:nvPr/>
          </p:nvSpPr>
          <p:spPr>
            <a:xfrm>
              <a:off x="6116864" y="1979662"/>
              <a:ext cx="940250" cy="288097"/>
            </a:xfrm>
            <a:prstGeom prst="rect">
              <a:avLst/>
            </a:prstGeom>
            <a:noFill/>
            <a:ln w="9525">
              <a:noFill/>
            </a:ln>
          </p:spPr>
          <p:txBody>
            <a:bodyPr vert="horz" wrap="square" lIns="0" tIns="0" rIns="0" bIns="72000" rtlCol="0" anchor="t">
              <a:spAutoFit/>
            </a:bodyPr>
            <a:lstStyle/>
            <a:p>
              <a:pPr>
                <a:spcBef>
                  <a:spcPts val="400"/>
                </a:spcBef>
                <a:buSzPct val="100000"/>
              </a:pPr>
              <a:r>
                <a:rPr lang="en-US" sz="1400" b="1">
                  <a:solidFill>
                    <a:schemeClr val="accent6"/>
                  </a:solidFill>
                  <a:sym typeface="+mn-lt"/>
                </a:rPr>
                <a:t>2030-2040</a:t>
              </a:r>
            </a:p>
          </p:txBody>
        </p:sp>
      </p:grpSp>
      <p:sp>
        <p:nvSpPr>
          <p:cNvPr id="50" name="Rectangle: Rounded Corners 56">
            <a:extLst>
              <a:ext uri="{FF2B5EF4-FFF2-40B4-BE49-F238E27FC236}">
                <a16:creationId xmlns:a16="http://schemas.microsoft.com/office/drawing/2014/main" id="{FD72B3FB-6CE4-4140-D1CD-8FA5903F821C}"/>
              </a:ext>
            </a:extLst>
          </p:cNvPr>
          <p:cNvSpPr/>
          <p:nvPr/>
        </p:nvSpPr>
        <p:spPr>
          <a:xfrm>
            <a:off x="1423990" y="2590109"/>
            <a:ext cx="701675" cy="238125"/>
          </a:xfrm>
          <a:prstGeom prst="roundRect">
            <a:avLst>
              <a:gd name="adj" fmla="val 50000"/>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72000" tIns="72000" rIns="72000" bIns="72000" rtlCol="0" anchor="ctr" anchorCtr="1"/>
          <a:lstStyle/>
          <a:p>
            <a:pPr algn="ctr" fontAlgn="base">
              <a:lnSpc>
                <a:spcPct val="100000"/>
              </a:lnSpc>
              <a:spcBef>
                <a:spcPts val="400"/>
              </a:spcBef>
              <a:spcAft>
                <a:spcPct val="0"/>
              </a:spcAft>
              <a:buSzPct val="100000"/>
            </a:pPr>
            <a:r>
              <a:rPr lang="en-US" sz="1200" b="0">
                <a:solidFill>
                  <a:schemeClr val="tx1"/>
                </a:solidFill>
                <a:sym typeface="+mn-lt"/>
              </a:rPr>
              <a:t>2,134</a:t>
            </a:r>
          </a:p>
        </p:txBody>
      </p:sp>
      <p:sp>
        <p:nvSpPr>
          <p:cNvPr id="51" name="Rectangle: Rounded Corners 57">
            <a:extLst>
              <a:ext uri="{FF2B5EF4-FFF2-40B4-BE49-F238E27FC236}">
                <a16:creationId xmlns:a16="http://schemas.microsoft.com/office/drawing/2014/main" id="{8D04FDE8-1DA5-9670-987C-9262CCC175BC}"/>
              </a:ext>
            </a:extLst>
          </p:cNvPr>
          <p:cNvSpPr/>
          <p:nvPr/>
        </p:nvSpPr>
        <p:spPr>
          <a:xfrm>
            <a:off x="1423990" y="2936502"/>
            <a:ext cx="701675" cy="239713"/>
          </a:xfrm>
          <a:prstGeom prst="roundRect">
            <a:avLst>
              <a:gd name="adj" fmla="val 50000"/>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chorCtr="1"/>
          <a:lstStyle/>
          <a:p>
            <a:pPr algn="ctr" fontAlgn="base">
              <a:lnSpc>
                <a:spcPct val="100000"/>
              </a:lnSpc>
              <a:spcBef>
                <a:spcPts val="400"/>
              </a:spcBef>
              <a:spcAft>
                <a:spcPct val="0"/>
              </a:spcAft>
              <a:buSzPct val="100000"/>
            </a:pPr>
            <a:r>
              <a:rPr lang="en-US" sz="1200" b="0">
                <a:solidFill>
                  <a:schemeClr val="tx1"/>
                </a:solidFill>
                <a:sym typeface="+mn-lt"/>
              </a:rPr>
              <a:t>15</a:t>
            </a:r>
          </a:p>
        </p:txBody>
      </p:sp>
      <p:sp>
        <p:nvSpPr>
          <p:cNvPr id="52" name="Rectangle: Rounded Corners 58">
            <a:extLst>
              <a:ext uri="{FF2B5EF4-FFF2-40B4-BE49-F238E27FC236}">
                <a16:creationId xmlns:a16="http://schemas.microsoft.com/office/drawing/2014/main" id="{753312B5-3EAA-36D8-8F3D-ECE670841D97}"/>
              </a:ext>
            </a:extLst>
          </p:cNvPr>
          <p:cNvSpPr/>
          <p:nvPr/>
        </p:nvSpPr>
        <p:spPr>
          <a:xfrm>
            <a:off x="4121152" y="2590109"/>
            <a:ext cx="701675" cy="238125"/>
          </a:xfrm>
          <a:prstGeom prst="roundRect">
            <a:avLst>
              <a:gd name="adj" fmla="val 50000"/>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72000" tIns="72000" rIns="72000" bIns="72000" rtlCol="0" anchor="ctr" anchorCtr="1"/>
          <a:lstStyle/>
          <a:p>
            <a:pPr algn="ctr" fontAlgn="base">
              <a:lnSpc>
                <a:spcPct val="100000"/>
              </a:lnSpc>
              <a:spcBef>
                <a:spcPts val="400"/>
              </a:spcBef>
              <a:spcAft>
                <a:spcPct val="0"/>
              </a:spcAft>
              <a:buSzPct val="100000"/>
            </a:pPr>
            <a:r>
              <a:rPr lang="en-US" sz="1200" b="0">
                <a:solidFill>
                  <a:schemeClr val="tx1"/>
                </a:solidFill>
                <a:sym typeface="+mn-lt"/>
              </a:rPr>
              <a:t>3,022</a:t>
            </a:r>
          </a:p>
        </p:txBody>
      </p:sp>
      <p:sp>
        <p:nvSpPr>
          <p:cNvPr id="53" name="Rectangle: Rounded Corners 59">
            <a:extLst>
              <a:ext uri="{FF2B5EF4-FFF2-40B4-BE49-F238E27FC236}">
                <a16:creationId xmlns:a16="http://schemas.microsoft.com/office/drawing/2014/main" id="{03E8B115-8157-D0FE-F1DD-5DD0F694F809}"/>
              </a:ext>
            </a:extLst>
          </p:cNvPr>
          <p:cNvSpPr/>
          <p:nvPr/>
        </p:nvSpPr>
        <p:spPr>
          <a:xfrm>
            <a:off x="4121152" y="2936502"/>
            <a:ext cx="701675" cy="239713"/>
          </a:xfrm>
          <a:prstGeom prst="roundRect">
            <a:avLst>
              <a:gd name="adj" fmla="val 50000"/>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chorCtr="1"/>
          <a:lstStyle/>
          <a:p>
            <a:pPr algn="ctr" fontAlgn="base">
              <a:lnSpc>
                <a:spcPct val="100000"/>
              </a:lnSpc>
              <a:spcBef>
                <a:spcPts val="400"/>
              </a:spcBef>
              <a:spcAft>
                <a:spcPct val="0"/>
              </a:spcAft>
              <a:buSzPct val="100000"/>
            </a:pPr>
            <a:r>
              <a:rPr lang="en-US" sz="1200" b="0">
                <a:solidFill>
                  <a:schemeClr val="tx1"/>
                </a:solidFill>
                <a:sym typeface="+mn-lt"/>
              </a:rPr>
              <a:t>16</a:t>
            </a:r>
          </a:p>
        </p:txBody>
      </p:sp>
      <p:sp>
        <p:nvSpPr>
          <p:cNvPr id="54" name="Rectangle: Rounded Corners 60">
            <a:extLst>
              <a:ext uri="{FF2B5EF4-FFF2-40B4-BE49-F238E27FC236}">
                <a16:creationId xmlns:a16="http://schemas.microsoft.com/office/drawing/2014/main" id="{F3DFA1DA-CE9A-D57A-943B-288F8D781868}"/>
              </a:ext>
            </a:extLst>
          </p:cNvPr>
          <p:cNvSpPr/>
          <p:nvPr/>
        </p:nvSpPr>
        <p:spPr>
          <a:xfrm>
            <a:off x="6816727" y="2590109"/>
            <a:ext cx="701675" cy="238125"/>
          </a:xfrm>
          <a:prstGeom prst="roundRect">
            <a:avLst>
              <a:gd name="adj" fmla="val 50000"/>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72000" tIns="72000" rIns="72000" bIns="72000" rtlCol="0" anchor="ctr" anchorCtr="1"/>
          <a:lstStyle/>
          <a:p>
            <a:pPr algn="ctr" fontAlgn="base">
              <a:lnSpc>
                <a:spcPct val="100000"/>
              </a:lnSpc>
              <a:spcBef>
                <a:spcPts val="400"/>
              </a:spcBef>
              <a:spcAft>
                <a:spcPct val="0"/>
              </a:spcAft>
              <a:buSzPct val="100000"/>
            </a:pPr>
            <a:r>
              <a:rPr lang="en-US" sz="1200" b="0">
                <a:solidFill>
                  <a:schemeClr val="tx1"/>
                </a:solidFill>
                <a:sym typeface="+mn-lt"/>
              </a:rPr>
              <a:t>4,255</a:t>
            </a:r>
          </a:p>
        </p:txBody>
      </p:sp>
      <p:sp>
        <p:nvSpPr>
          <p:cNvPr id="55" name="Rectangle: Rounded Corners 61">
            <a:extLst>
              <a:ext uri="{FF2B5EF4-FFF2-40B4-BE49-F238E27FC236}">
                <a16:creationId xmlns:a16="http://schemas.microsoft.com/office/drawing/2014/main" id="{0479DF55-DB09-896B-69B0-FC6F17149E6E}"/>
              </a:ext>
            </a:extLst>
          </p:cNvPr>
          <p:cNvSpPr/>
          <p:nvPr/>
        </p:nvSpPr>
        <p:spPr>
          <a:xfrm>
            <a:off x="6816727" y="2936502"/>
            <a:ext cx="701675" cy="239713"/>
          </a:xfrm>
          <a:prstGeom prst="roundRect">
            <a:avLst>
              <a:gd name="adj" fmla="val 50000"/>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chorCtr="1"/>
          <a:lstStyle/>
          <a:p>
            <a:pPr algn="ctr" fontAlgn="base">
              <a:lnSpc>
                <a:spcPct val="100000"/>
              </a:lnSpc>
              <a:spcBef>
                <a:spcPts val="400"/>
              </a:spcBef>
              <a:spcAft>
                <a:spcPct val="0"/>
              </a:spcAft>
              <a:buSzPct val="100000"/>
            </a:pPr>
            <a:r>
              <a:rPr lang="en-US" sz="1200" b="0">
                <a:solidFill>
                  <a:schemeClr val="tx1"/>
                </a:solidFill>
                <a:sym typeface="+mn-lt"/>
              </a:rPr>
              <a:t>17</a:t>
            </a:r>
          </a:p>
        </p:txBody>
      </p:sp>
      <p:sp>
        <p:nvSpPr>
          <p:cNvPr id="56" name="Freeform: Shape 62">
            <a:extLst>
              <a:ext uri="{FF2B5EF4-FFF2-40B4-BE49-F238E27FC236}">
                <a16:creationId xmlns:a16="http://schemas.microsoft.com/office/drawing/2014/main" id="{453F88A4-E041-66C2-14FA-3541A9D7617F}"/>
              </a:ext>
            </a:extLst>
          </p:cNvPr>
          <p:cNvSpPr/>
          <p:nvPr/>
        </p:nvSpPr>
        <p:spPr>
          <a:xfrm>
            <a:off x="940660" y="2936502"/>
            <a:ext cx="7535863" cy="1547813"/>
          </a:xfrm>
          <a:custGeom>
            <a:avLst/>
            <a:gdLst>
              <a:gd name="connsiteX0" fmla="*/ 0 w 7926670"/>
              <a:gd name="connsiteY0" fmla="*/ 964888 h 2361732"/>
              <a:gd name="connsiteX1" fmla="*/ 319760 w 7926670"/>
              <a:gd name="connsiteY1" fmla="*/ 953668 h 2361732"/>
              <a:gd name="connsiteX2" fmla="*/ 1761483 w 7926670"/>
              <a:gd name="connsiteY2" fmla="*/ 858302 h 2361732"/>
              <a:gd name="connsiteX3" fmla="*/ 2199048 w 7926670"/>
              <a:gd name="connsiteY3" fmla="*/ 830253 h 2361732"/>
              <a:gd name="connsiteX4" fmla="*/ 2967593 w 7926670"/>
              <a:gd name="connsiteY4" fmla="*/ 723666 h 2361732"/>
              <a:gd name="connsiteX5" fmla="*/ 3932481 w 7926670"/>
              <a:gd name="connsiteY5" fmla="*/ 622689 h 2361732"/>
              <a:gd name="connsiteX6" fmla="*/ 4914199 w 7926670"/>
              <a:gd name="connsiteY6" fmla="*/ 499273 h 2361732"/>
              <a:gd name="connsiteX7" fmla="*/ 6019333 w 7926670"/>
              <a:gd name="connsiteY7" fmla="*/ 342199 h 2361732"/>
              <a:gd name="connsiteX8" fmla="*/ 6838366 w 7926670"/>
              <a:gd name="connsiteY8" fmla="*/ 201953 h 2361732"/>
              <a:gd name="connsiteX9" fmla="*/ 7573252 w 7926670"/>
              <a:gd name="connsiteY9" fmla="*/ 67318 h 2361732"/>
              <a:gd name="connsiteX10" fmla="*/ 7926670 w 7926670"/>
              <a:gd name="connsiteY10" fmla="*/ 0 h 2361732"/>
              <a:gd name="connsiteX11" fmla="*/ 7926670 w 7926670"/>
              <a:gd name="connsiteY11" fmla="*/ 2361732 h 2361732"/>
              <a:gd name="connsiteX12" fmla="*/ 11220 w 7926670"/>
              <a:gd name="connsiteY12" fmla="*/ 2361732 h 2361732"/>
              <a:gd name="connsiteX13" fmla="*/ 0 w 7926670"/>
              <a:gd name="connsiteY13" fmla="*/ 964888 h 236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26670" h="2361732">
                <a:moveTo>
                  <a:pt x="0" y="964888"/>
                </a:moveTo>
                <a:lnTo>
                  <a:pt x="319760" y="953668"/>
                </a:lnTo>
                <a:lnTo>
                  <a:pt x="1761483" y="858302"/>
                </a:lnTo>
                <a:lnTo>
                  <a:pt x="2199048" y="830253"/>
                </a:lnTo>
                <a:lnTo>
                  <a:pt x="2967593" y="723666"/>
                </a:lnTo>
                <a:lnTo>
                  <a:pt x="3932481" y="622689"/>
                </a:lnTo>
                <a:lnTo>
                  <a:pt x="4914199" y="499273"/>
                </a:lnTo>
                <a:lnTo>
                  <a:pt x="6019333" y="342199"/>
                </a:lnTo>
                <a:lnTo>
                  <a:pt x="6838366" y="201953"/>
                </a:lnTo>
                <a:lnTo>
                  <a:pt x="7573252" y="67318"/>
                </a:lnTo>
                <a:lnTo>
                  <a:pt x="7926670" y="0"/>
                </a:lnTo>
                <a:lnTo>
                  <a:pt x="7926670" y="2361732"/>
                </a:lnTo>
                <a:lnTo>
                  <a:pt x="11220" y="2361732"/>
                </a:lnTo>
                <a:lnTo>
                  <a:pt x="0" y="964888"/>
                </a:lnTo>
                <a:close/>
              </a:path>
            </a:pathLst>
          </a:custGeom>
          <a:gradFill flip="none" rotWithShape="1">
            <a:gsLst>
              <a:gs pos="58000">
                <a:schemeClr val="accent4"/>
              </a:gs>
              <a:gs pos="0">
                <a:schemeClr val="accent6"/>
              </a:gs>
              <a:gs pos="100000">
                <a:schemeClr val="accent3"/>
              </a:gs>
            </a:gsLst>
            <a:lin ang="10800000" scaled="1"/>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lstStyle/>
          <a:p>
            <a:pPr algn="l" fontAlgn="base">
              <a:lnSpc>
                <a:spcPct val="100000"/>
              </a:lnSpc>
              <a:spcBef>
                <a:spcPts val="400"/>
              </a:spcBef>
              <a:spcAft>
                <a:spcPct val="0"/>
              </a:spcAft>
              <a:buSzPct val="100000"/>
            </a:pPr>
            <a:endParaRPr lang="en-US" sz="1200" b="0" err="1">
              <a:solidFill>
                <a:schemeClr val="tx1"/>
              </a:solidFill>
              <a:sym typeface="+mn-lt"/>
            </a:endParaRPr>
          </a:p>
        </p:txBody>
      </p:sp>
      <p:sp>
        <p:nvSpPr>
          <p:cNvPr id="57" name="Rectangle 63">
            <a:extLst>
              <a:ext uri="{FF2B5EF4-FFF2-40B4-BE49-F238E27FC236}">
                <a16:creationId xmlns:a16="http://schemas.microsoft.com/office/drawing/2014/main" id="{6303CF9B-2F84-B7D3-0ADB-56F6607A6B67}"/>
              </a:ext>
            </a:extLst>
          </p:cNvPr>
          <p:cNvSpPr/>
          <p:nvPr/>
        </p:nvSpPr>
        <p:spPr>
          <a:xfrm rot="16200000">
            <a:off x="-349978" y="3811215"/>
            <a:ext cx="1423665" cy="153988"/>
          </a:xfrm>
          <a:prstGeom prst="rect">
            <a:avLst/>
          </a:prstGeom>
        </p:spPr>
        <p:txBody>
          <a:bodyPr wrap="square" lIns="0" tIns="0" rIns="0" bIns="0">
            <a:spAutoFit/>
          </a:bodyPr>
          <a:lstStyle/>
          <a:p>
            <a:pPr algn="ctr">
              <a:spcBef>
                <a:spcPts val="0"/>
              </a:spcBef>
              <a:buSzPct val="100000"/>
            </a:pPr>
            <a:r>
              <a:rPr lang="en-US" sz="1000" b="1">
                <a:solidFill>
                  <a:schemeClr val="dk1"/>
                </a:solidFill>
                <a:sym typeface="+mn-lt"/>
              </a:rPr>
              <a:t>Trench length ['000 km]</a:t>
            </a:r>
            <a:endParaRPr lang="en-US" sz="1000" b="1"/>
          </a:p>
        </p:txBody>
      </p:sp>
      <p:sp>
        <p:nvSpPr>
          <p:cNvPr id="58" name="Source">
            <a:extLst>
              <a:ext uri="{FF2B5EF4-FFF2-40B4-BE49-F238E27FC236}">
                <a16:creationId xmlns:a16="http://schemas.microsoft.com/office/drawing/2014/main" id="{C33DC149-1474-AFE1-A762-84E2E33CE300}"/>
              </a:ext>
            </a:extLst>
          </p:cNvPr>
          <p:cNvSpPr txBox="1"/>
          <p:nvPr/>
        </p:nvSpPr>
        <p:spPr>
          <a:xfrm>
            <a:off x="250825" y="4687280"/>
            <a:ext cx="2244204"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a:sym typeface="+mn-lt"/>
              </a:rPr>
              <a:t>Source: Euro Heat and Power, interviews with market participants</a:t>
            </a:r>
          </a:p>
        </p:txBody>
      </p:sp>
      <p:grpSp>
        <p:nvGrpSpPr>
          <p:cNvPr id="59" name="Group 14">
            <a:extLst>
              <a:ext uri="{FF2B5EF4-FFF2-40B4-BE49-F238E27FC236}">
                <a16:creationId xmlns:a16="http://schemas.microsoft.com/office/drawing/2014/main" id="{26816D50-DB88-6623-4357-F963BF44B9E8}"/>
              </a:ext>
            </a:extLst>
          </p:cNvPr>
          <p:cNvGrpSpPr/>
          <p:nvPr/>
        </p:nvGrpSpPr>
        <p:grpSpPr>
          <a:xfrm>
            <a:off x="264329" y="15388"/>
            <a:ext cx="2037445" cy="215444"/>
            <a:chOff x="267604" y="19166"/>
            <a:chExt cx="2037445" cy="215444"/>
          </a:xfrm>
        </p:grpSpPr>
        <p:sp>
          <p:nvSpPr>
            <p:cNvPr id="60" name="Oval 16">
              <a:extLst>
                <a:ext uri="{FF2B5EF4-FFF2-40B4-BE49-F238E27FC236}">
                  <a16:creationId xmlns:a16="http://schemas.microsoft.com/office/drawing/2014/main" id="{8571D6BB-8034-DE74-0283-F9EE6BC2C3A5}"/>
                </a:ext>
              </a:extLst>
            </p:cNvPr>
            <p:cNvSpPr/>
            <p:nvPr/>
          </p:nvSpPr>
          <p:spPr>
            <a:xfrm>
              <a:off x="267604" y="45746"/>
              <a:ext cx="162285" cy="162285"/>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A</a:t>
              </a:r>
            </a:p>
          </p:txBody>
        </p:sp>
        <p:sp>
          <p:nvSpPr>
            <p:cNvPr id="61" name="TextBox 64">
              <a:extLst>
                <a:ext uri="{FF2B5EF4-FFF2-40B4-BE49-F238E27FC236}">
                  <a16:creationId xmlns:a16="http://schemas.microsoft.com/office/drawing/2014/main" id="{66461F65-7AF6-A0A9-DCC7-A028C339ABB4}"/>
                </a:ext>
              </a:extLst>
            </p:cNvPr>
            <p:cNvSpPr txBox="1"/>
            <p:nvPr/>
          </p:nvSpPr>
          <p:spPr>
            <a:xfrm>
              <a:off x="362200" y="19166"/>
              <a:ext cx="1942849" cy="215444"/>
            </a:xfrm>
            <a:prstGeom prst="rect">
              <a:avLst/>
            </a:prstGeom>
            <a:noFill/>
          </p:spPr>
          <p:txBody>
            <a:bodyPr wrap="square" rtlCol="0" anchor="ctr">
              <a:spAutoFit/>
            </a:bodyPr>
            <a:lstStyle/>
            <a:p>
              <a:r>
                <a:rPr lang="en-GB" sz="800" dirty="0">
                  <a:latin typeface="Arial" panose="020B0604020202020204" pitchFamily="34" charset="0"/>
                  <a:cs typeface="Arial" panose="020B0604020202020204" pitchFamily="34" charset="0"/>
                </a:rPr>
                <a:t>District energy infrastructure</a:t>
              </a:r>
            </a:p>
          </p:txBody>
        </p:sp>
      </p:grpSp>
    </p:spTree>
    <p:extLst>
      <p:ext uri="{BB962C8B-B14F-4D97-AF65-F5344CB8AC3E}">
        <p14:creationId xmlns:p14="http://schemas.microsoft.com/office/powerpoint/2010/main" val="1676082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itle 1">
            <a:extLst>
              <a:ext uri="{FF2B5EF4-FFF2-40B4-BE49-F238E27FC236}">
                <a16:creationId xmlns:a16="http://schemas.microsoft.com/office/drawing/2014/main" id="{CA0B4356-7AF0-C5EB-82FD-49F7FE70BCAB}"/>
              </a:ext>
            </a:extLst>
          </p:cNvPr>
          <p:cNvSpPr txBox="1">
            <a:spLocks/>
          </p:cNvSpPr>
          <p:nvPr/>
        </p:nvSpPr>
        <p:spPr>
          <a:xfrm>
            <a:off x="153035" y="832808"/>
            <a:ext cx="8741728" cy="576000"/>
          </a:xfrm>
          <a:prstGeom prst="rect">
            <a:avLst/>
          </a:prstGeom>
        </p:spPr>
        <p:txBody>
          <a:bodyPr vert="horz"/>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r>
              <a:rPr lang="en-US" sz="2000" dirty="0"/>
              <a:t>Green heat production and new storage facilities will play a key role and further support the need for industrial valves</a:t>
            </a:r>
            <a:endParaRPr lang="en-GB" sz="2000" dirty="0"/>
          </a:p>
        </p:txBody>
      </p:sp>
      <p:sp>
        <p:nvSpPr>
          <p:cNvPr id="63" name="TextBox 4">
            <a:extLst>
              <a:ext uri="{FF2B5EF4-FFF2-40B4-BE49-F238E27FC236}">
                <a16:creationId xmlns:a16="http://schemas.microsoft.com/office/drawing/2014/main" id="{D68500E5-F15E-D971-4D11-21D9C4A11F0A}"/>
              </a:ext>
            </a:extLst>
          </p:cNvPr>
          <p:cNvSpPr txBox="1">
            <a:spLocks/>
          </p:cNvSpPr>
          <p:nvPr/>
        </p:nvSpPr>
        <p:spPr>
          <a:xfrm>
            <a:off x="284136" y="1680748"/>
            <a:ext cx="1008782" cy="523875"/>
          </a:xfrm>
          <a:prstGeom prst="rect">
            <a:avLst/>
          </a:prstGeom>
          <a:noFill/>
          <a:ln w="9525">
            <a:noFill/>
          </a:ln>
        </p:spPr>
        <p:txBody>
          <a:bodyPr vert="horz" wrap="square" lIns="0" tIns="0" rIns="0" bIns="0" rtlCol="0" anchor="t">
            <a:noAutofit/>
          </a:bodyPr>
          <a:lstStyle/>
          <a:p>
            <a:pPr>
              <a:spcBef>
                <a:spcPts val="400"/>
              </a:spcBef>
              <a:buSzPct val="100000"/>
              <a:buFont typeface=""/>
              <a:defRPr/>
            </a:pPr>
            <a:r>
              <a:rPr kumimoji="0" lang="en-US" sz="1000" b="1" i="0" u="none" strike="noStrike" kern="1200" cap="none" spc="0" normalizeH="0" baseline="0" noProof="0" dirty="0">
                <a:ln>
                  <a:noFill/>
                </a:ln>
                <a:solidFill>
                  <a:schemeClr val="accent5"/>
                </a:solidFill>
                <a:effectLst/>
                <a:uLnTx/>
                <a:uFillTx/>
                <a:latin typeface="Arial" panose="020B0604020202020204" pitchFamily="34" charset="0"/>
                <a:cs typeface="Arial" panose="020B0604020202020204" pitchFamily="34" charset="0"/>
                <a:sym typeface="+mn-lt"/>
              </a:rPr>
              <a:t>Application area</a:t>
            </a:r>
          </a:p>
        </p:txBody>
      </p:sp>
      <p:sp>
        <p:nvSpPr>
          <p:cNvPr id="64" name="TextBox 30">
            <a:extLst>
              <a:ext uri="{FF2B5EF4-FFF2-40B4-BE49-F238E27FC236}">
                <a16:creationId xmlns:a16="http://schemas.microsoft.com/office/drawing/2014/main" id="{7758B9E1-ABE4-113D-E53A-2DAA088B2D65}"/>
              </a:ext>
            </a:extLst>
          </p:cNvPr>
          <p:cNvSpPr txBox="1">
            <a:spLocks/>
          </p:cNvSpPr>
          <p:nvPr/>
        </p:nvSpPr>
        <p:spPr>
          <a:xfrm>
            <a:off x="285567" y="2936173"/>
            <a:ext cx="1008782" cy="581025"/>
          </a:xfrm>
          <a:prstGeom prst="rect">
            <a:avLst/>
          </a:prstGeom>
          <a:noFill/>
          <a:ln w="9525">
            <a:noFill/>
          </a:ln>
        </p:spPr>
        <p:txBody>
          <a:bodyPr vert="horz" wrap="square" lIns="0" tIns="0" rIns="0" bIns="0" rtlCol="0" anchor="t">
            <a:noAutofit/>
          </a:bodyPr>
          <a:lstStyle/>
          <a:p>
            <a:pPr>
              <a:spcBef>
                <a:spcPts val="0"/>
              </a:spcBef>
              <a:buSzPct val="100000"/>
              <a:buFont typeface=""/>
              <a:defRPr/>
            </a:pPr>
            <a:r>
              <a:rPr kumimoji="0" lang="en-US" sz="1200" b="1" i="0" u="none" strike="noStrike" kern="1200" cap="none" spc="0" normalizeH="0" baseline="0" noProof="0">
                <a:ln>
                  <a:noFill/>
                </a:ln>
                <a:solidFill>
                  <a:schemeClr val="accent5"/>
                </a:solidFill>
                <a:effectLst/>
                <a:uLnTx/>
                <a:uFillTx/>
                <a:latin typeface="+mn-lt"/>
                <a:ea typeface="+mn-ea"/>
                <a:cs typeface="Calibri"/>
                <a:sym typeface="+mn-lt"/>
              </a:rPr>
              <a:t>Growth drivers</a:t>
            </a:r>
          </a:p>
        </p:txBody>
      </p:sp>
      <p:sp>
        <p:nvSpPr>
          <p:cNvPr id="65" name="TextBox 31">
            <a:extLst>
              <a:ext uri="{FF2B5EF4-FFF2-40B4-BE49-F238E27FC236}">
                <a16:creationId xmlns:a16="http://schemas.microsoft.com/office/drawing/2014/main" id="{0B4AB199-389F-71CB-D39C-3F9337328366}"/>
              </a:ext>
            </a:extLst>
          </p:cNvPr>
          <p:cNvSpPr txBox="1">
            <a:spLocks/>
          </p:cNvSpPr>
          <p:nvPr/>
        </p:nvSpPr>
        <p:spPr>
          <a:xfrm>
            <a:off x="284136" y="3631499"/>
            <a:ext cx="1008782" cy="581025"/>
          </a:xfrm>
          <a:prstGeom prst="rect">
            <a:avLst/>
          </a:prstGeom>
          <a:noFill/>
          <a:ln w="9525">
            <a:noFill/>
          </a:ln>
        </p:spPr>
        <p:txBody>
          <a:bodyPr vert="horz" wrap="square" lIns="0" tIns="0" rIns="0" bIns="0" rtlCol="0" anchor="t">
            <a:noAutofit/>
          </a:bodyPr>
          <a:lstStyle/>
          <a:p>
            <a:pPr>
              <a:spcBef>
                <a:spcPts val="0"/>
              </a:spcBef>
              <a:buSzPct val="100000"/>
              <a:buFont typeface=""/>
              <a:defRPr/>
            </a:pPr>
            <a:r>
              <a:rPr kumimoji="0" lang="en-US" sz="1200" b="1" i="0" u="none" strike="noStrike" kern="1200" cap="none" spc="0" normalizeH="0" baseline="0" noProof="0" dirty="0">
                <a:ln>
                  <a:noFill/>
                </a:ln>
                <a:solidFill>
                  <a:schemeClr val="accent5"/>
                </a:solidFill>
                <a:effectLst/>
                <a:uLnTx/>
                <a:uFillTx/>
                <a:latin typeface="+mn-lt"/>
                <a:ea typeface="+mn-ea"/>
                <a:cs typeface="Calibri"/>
                <a:sym typeface="+mn-lt"/>
              </a:rPr>
              <a:t>Development</a:t>
            </a:r>
          </a:p>
        </p:txBody>
      </p:sp>
      <p:sp>
        <p:nvSpPr>
          <p:cNvPr id="66" name="TextBox 33">
            <a:extLst>
              <a:ext uri="{FF2B5EF4-FFF2-40B4-BE49-F238E27FC236}">
                <a16:creationId xmlns:a16="http://schemas.microsoft.com/office/drawing/2014/main" id="{4011B87E-CA3E-A7F6-FFB7-0C77D9793EF1}"/>
              </a:ext>
            </a:extLst>
          </p:cNvPr>
          <p:cNvSpPr txBox="1">
            <a:spLocks/>
          </p:cNvSpPr>
          <p:nvPr/>
        </p:nvSpPr>
        <p:spPr>
          <a:xfrm>
            <a:off x="285567" y="2590097"/>
            <a:ext cx="1008782" cy="215900"/>
          </a:xfrm>
          <a:prstGeom prst="rect">
            <a:avLst/>
          </a:prstGeom>
          <a:noFill/>
          <a:ln w="9525">
            <a:noFill/>
          </a:ln>
        </p:spPr>
        <p:txBody>
          <a:bodyPr vert="horz" wrap="square" lIns="0" tIns="0" rIns="0" bIns="0" rtlCol="0" anchor="t">
            <a:noAutofit/>
          </a:bodyPr>
          <a:lstStyle/>
          <a:p>
            <a:pPr>
              <a:spcBef>
                <a:spcPts val="0"/>
              </a:spcBef>
              <a:buSzPct val="100000"/>
              <a:buFont typeface=""/>
              <a:defRPr/>
            </a:pPr>
            <a:r>
              <a:rPr kumimoji="0" lang="en-US" sz="1200" b="1" i="0" u="none" strike="noStrike" kern="1200" cap="none" spc="0" normalizeH="0" baseline="0" noProof="0" dirty="0">
                <a:ln>
                  <a:noFill/>
                </a:ln>
                <a:solidFill>
                  <a:schemeClr val="accent5"/>
                </a:solidFill>
                <a:effectLst/>
                <a:uLnTx/>
                <a:uFillTx/>
                <a:latin typeface="+mn-lt"/>
                <a:ea typeface="+mn-ea"/>
                <a:cs typeface="Calibri"/>
                <a:sym typeface="+mn-lt"/>
              </a:rPr>
              <a:t>Location</a:t>
            </a:r>
          </a:p>
        </p:txBody>
      </p:sp>
      <p:graphicFrame>
        <p:nvGraphicFramePr>
          <p:cNvPr id="67" name="Chart 85">
            <a:extLst>
              <a:ext uri="{FF2B5EF4-FFF2-40B4-BE49-F238E27FC236}">
                <a16:creationId xmlns:a16="http://schemas.microsoft.com/office/drawing/2014/main" id="{6D5AA3CA-FF48-4063-8EF9-9EC5377EB0ED}"/>
              </a:ext>
            </a:extLst>
          </p:cNvPr>
          <p:cNvGraphicFramePr/>
          <p:nvPr>
            <p:custDataLst>
              <p:tags r:id="rId1"/>
            </p:custDataLst>
            <p:extLst>
              <p:ext uri="{D42A27DB-BD31-4B8C-83A1-F6EECF244321}">
                <p14:modId xmlns:p14="http://schemas.microsoft.com/office/powerpoint/2010/main" val="2325675962"/>
              </p:ext>
            </p:extLst>
          </p:nvPr>
        </p:nvGraphicFramePr>
        <p:xfrm>
          <a:off x="1327483" y="3945824"/>
          <a:ext cx="1425575" cy="654050"/>
        </p:xfrm>
        <a:graphic>
          <a:graphicData uri="http://schemas.openxmlformats.org/drawingml/2006/chart">
            <c:chart xmlns:c="http://schemas.openxmlformats.org/drawingml/2006/chart" xmlns:r="http://schemas.openxmlformats.org/officeDocument/2006/relationships" r:id="rId38"/>
          </a:graphicData>
        </a:graphic>
      </p:graphicFrame>
      <p:sp>
        <p:nvSpPr>
          <p:cNvPr id="68" name="Text Placeholder">
            <a:extLst>
              <a:ext uri="{FF2B5EF4-FFF2-40B4-BE49-F238E27FC236}">
                <a16:creationId xmlns:a16="http://schemas.microsoft.com/office/drawing/2014/main" id="{BCAFFEAB-79D1-C62E-8746-E3846BC95D77}"/>
              </a:ext>
            </a:extLst>
          </p:cNvPr>
          <p:cNvSpPr>
            <a:spLocks noGrp="1"/>
          </p:cNvSpPr>
          <p:nvPr>
            <p:custDataLst>
              <p:tags r:id="rId2"/>
            </p:custDataLst>
          </p:nvPr>
        </p:nvSpPr>
        <p:spPr bwMode="auto">
          <a:xfrm>
            <a:off x="1529096" y="4560187"/>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D8132A37-43C7-4A45-9A73-AA012A3FD8A9}" type="datetime'''''''''''’''''''''''''''''''2''''3'''''''''''''''''''''''''''">
              <a:rPr lang="en-GB" altLang="en-US" sz="1000" smtClean="0"/>
              <a:pPr lvl="0" algn="ctr" defTabSz="914400">
                <a:spcBef>
                  <a:spcPct val="0"/>
                </a:spcBef>
                <a:buSzPct val="100000"/>
                <a:buFont typeface="+mn-lt" pitchFamily="34" charset="0"/>
              </a:pPr>
              <a:t>’23</a:t>
            </a:fld>
            <a:endParaRPr lang="en-GB" sz="1000" dirty="0"/>
          </a:p>
        </p:txBody>
      </p:sp>
      <p:sp>
        <p:nvSpPr>
          <p:cNvPr id="69" name="Text Placeholder">
            <a:extLst>
              <a:ext uri="{FF2B5EF4-FFF2-40B4-BE49-F238E27FC236}">
                <a16:creationId xmlns:a16="http://schemas.microsoft.com/office/drawing/2014/main" id="{7A41924C-5938-F448-E31B-2036BBD3B1D4}"/>
              </a:ext>
            </a:extLst>
          </p:cNvPr>
          <p:cNvSpPr>
            <a:spLocks noGrp="1"/>
          </p:cNvSpPr>
          <p:nvPr>
            <p:custDataLst>
              <p:tags r:id="rId3"/>
            </p:custDataLst>
          </p:nvPr>
        </p:nvSpPr>
        <p:spPr bwMode="auto">
          <a:xfrm>
            <a:off x="1949783" y="4560187"/>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24EAF5A1-F813-4731-9C9A-4EE20386D418}" type="datetime'''''’''''''3''''''''''''''''0'''''''''">
              <a:rPr lang="en-GB" altLang="en-US" sz="1000" smtClean="0"/>
              <a:pPr lvl="0" algn="ctr" defTabSz="914400">
                <a:spcBef>
                  <a:spcPct val="0"/>
                </a:spcBef>
                <a:buSzPct val="100000"/>
                <a:buFont typeface="+mn-lt" pitchFamily="34" charset="0"/>
              </a:pPr>
              <a:t>’30</a:t>
            </a:fld>
            <a:endParaRPr lang="en-GB" sz="1000"/>
          </a:p>
        </p:txBody>
      </p:sp>
      <p:sp>
        <p:nvSpPr>
          <p:cNvPr id="70" name="Text Placeholder">
            <a:extLst>
              <a:ext uri="{FF2B5EF4-FFF2-40B4-BE49-F238E27FC236}">
                <a16:creationId xmlns:a16="http://schemas.microsoft.com/office/drawing/2014/main" id="{2E4D6059-5825-A03C-BD85-B1BAFC38BB87}"/>
              </a:ext>
            </a:extLst>
          </p:cNvPr>
          <p:cNvSpPr>
            <a:spLocks noGrp="1"/>
          </p:cNvSpPr>
          <p:nvPr>
            <p:custDataLst>
              <p:tags r:id="rId4"/>
            </p:custDataLst>
          </p:nvPr>
        </p:nvSpPr>
        <p:spPr bwMode="auto">
          <a:xfrm>
            <a:off x="2368883" y="4560187"/>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20290F6B-C664-4494-8252-48C4B4D7AF8B}" type="datetime'''''’4''''''''''''''''0'''''''''''''''''''''''''''''''''">
              <a:rPr lang="en-GB" altLang="en-US" sz="1000" smtClean="0"/>
              <a:pPr lvl="0" algn="ctr" defTabSz="914400">
                <a:spcBef>
                  <a:spcPct val="0"/>
                </a:spcBef>
                <a:buSzPct val="100000"/>
                <a:buFont typeface="+mn-lt" pitchFamily="34" charset="0"/>
              </a:pPr>
              <a:t>’40</a:t>
            </a:fld>
            <a:endParaRPr lang="en-GB" sz="1000"/>
          </a:p>
        </p:txBody>
      </p:sp>
      <p:sp>
        <p:nvSpPr>
          <p:cNvPr id="71" name="Text Placeholder">
            <a:extLst>
              <a:ext uri="{FF2B5EF4-FFF2-40B4-BE49-F238E27FC236}">
                <a16:creationId xmlns:a16="http://schemas.microsoft.com/office/drawing/2014/main" id="{047897AC-02AC-A3E0-17EC-75718E11C372}"/>
              </a:ext>
            </a:extLst>
          </p:cNvPr>
          <p:cNvSpPr>
            <a:spLocks noGrp="1"/>
          </p:cNvSpPr>
          <p:nvPr>
            <p:custDataLst>
              <p:tags r:id="rId5"/>
            </p:custDataLst>
          </p:nvPr>
        </p:nvSpPr>
        <p:spPr bwMode="gray">
          <a:xfrm>
            <a:off x="1495758" y="3995037"/>
            <a:ext cx="2476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58CE8789-B337-440C-8BB3-448B52790BD5}" type="datetime'''''''''''''''''''15''''2'''''''''">
              <a:rPr lang="en-GB" altLang="en-US" sz="1000" b="1" smtClean="0"/>
              <a:pPr lvl="0" algn="ctr" defTabSz="914400">
                <a:spcBef>
                  <a:spcPct val="0"/>
                </a:spcBef>
                <a:buSzPct val="100000"/>
                <a:buFont typeface="+mn-lt" pitchFamily="34" charset="0"/>
              </a:pPr>
              <a:t>152</a:t>
            </a:fld>
            <a:endParaRPr lang="en-GB" sz="1000" b="1"/>
          </a:p>
        </p:txBody>
      </p:sp>
      <p:sp>
        <p:nvSpPr>
          <p:cNvPr id="72" name="Text Placeholder">
            <a:extLst>
              <a:ext uri="{FF2B5EF4-FFF2-40B4-BE49-F238E27FC236}">
                <a16:creationId xmlns:a16="http://schemas.microsoft.com/office/drawing/2014/main" id="{FD492B62-874D-75FE-CC1A-48AEF1D247B5}"/>
              </a:ext>
            </a:extLst>
          </p:cNvPr>
          <p:cNvSpPr>
            <a:spLocks noGrp="1"/>
          </p:cNvSpPr>
          <p:nvPr>
            <p:custDataLst>
              <p:tags r:id="rId6"/>
            </p:custDataLst>
          </p:nvPr>
        </p:nvSpPr>
        <p:spPr bwMode="gray">
          <a:xfrm>
            <a:off x="1916446" y="3947412"/>
            <a:ext cx="2476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F72E6DA5-531F-4DBC-BB2A-579ABDFD0249}" type="datetime'''''''''''''''''''''''''1''''''''''''''''7''''''''3'''''''''''">
              <a:rPr lang="en-GB" altLang="en-US" sz="1000" b="1" smtClean="0"/>
              <a:pPr lvl="0" algn="ctr" defTabSz="914400">
                <a:spcBef>
                  <a:spcPct val="0"/>
                </a:spcBef>
                <a:buSzPct val="100000"/>
                <a:buFont typeface="+mn-lt" pitchFamily="34" charset="0"/>
              </a:pPr>
              <a:t>173</a:t>
            </a:fld>
            <a:endParaRPr lang="en-GB" sz="1000" b="1"/>
          </a:p>
        </p:txBody>
      </p:sp>
      <p:sp>
        <p:nvSpPr>
          <p:cNvPr id="73" name="Text Placeholder">
            <a:extLst>
              <a:ext uri="{FF2B5EF4-FFF2-40B4-BE49-F238E27FC236}">
                <a16:creationId xmlns:a16="http://schemas.microsoft.com/office/drawing/2014/main" id="{3DC87E7E-BC65-3227-A721-0C431750594F}"/>
              </a:ext>
            </a:extLst>
          </p:cNvPr>
          <p:cNvSpPr>
            <a:spLocks noGrp="1"/>
          </p:cNvSpPr>
          <p:nvPr>
            <p:custDataLst>
              <p:tags r:id="rId7"/>
            </p:custDataLst>
          </p:nvPr>
        </p:nvSpPr>
        <p:spPr bwMode="gray">
          <a:xfrm>
            <a:off x="2335546" y="3850574"/>
            <a:ext cx="2476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61362117-EB3D-4570-9184-346B536C3E43}" type="datetime'''''''''2''''''''''1''''''''''''''''''''''''''''''6'''''''''">
              <a:rPr lang="en-GB" altLang="en-US" sz="1000" b="1" smtClean="0"/>
              <a:pPr lvl="0" algn="ctr" defTabSz="914400">
                <a:spcBef>
                  <a:spcPct val="0"/>
                </a:spcBef>
                <a:buSzPct val="100000"/>
                <a:buFont typeface="+mn-lt" pitchFamily="34" charset="0"/>
              </a:pPr>
              <a:t>216</a:t>
            </a:fld>
            <a:endParaRPr lang="en-GB" sz="1000" b="1"/>
          </a:p>
        </p:txBody>
      </p:sp>
      <p:sp>
        <p:nvSpPr>
          <p:cNvPr id="74" name="TextBox 7">
            <a:extLst>
              <a:ext uri="{FF2B5EF4-FFF2-40B4-BE49-F238E27FC236}">
                <a16:creationId xmlns:a16="http://schemas.microsoft.com/office/drawing/2014/main" id="{7174FE6F-46DD-D781-18A6-FD8C1883A965}"/>
              </a:ext>
            </a:extLst>
          </p:cNvPr>
          <p:cNvSpPr txBox="1">
            <a:spLocks/>
          </p:cNvSpPr>
          <p:nvPr/>
        </p:nvSpPr>
        <p:spPr>
          <a:xfrm>
            <a:off x="1411133" y="2885373"/>
            <a:ext cx="1257012" cy="727075"/>
          </a:xfrm>
          <a:prstGeom prst="roundRect">
            <a:avLst>
              <a:gd name="adj" fmla="val 7368"/>
            </a:avLst>
          </a:prstGeom>
          <a:solidFill>
            <a:srgbClr val="F0F0F0"/>
          </a:solidFill>
          <a:ln w="9525">
            <a:noFill/>
          </a:ln>
        </p:spPr>
        <p:txBody>
          <a:bodyPr vert="horz" wrap="square" lIns="72000" tIns="72000" rIns="72000" bIns="0" rtlCol="0" anchor="t">
            <a:noAutofit/>
          </a:bodyPr>
          <a:lstStyle>
            <a:defPPr>
              <a:defRPr lang="en-EN"/>
            </a:defPPr>
            <a:lvl1pPr marL="0" marR="0" lvl="0" indent="0" defTabSz="914400" eaLnBrk="1" latinLnBrk="0" hangingPunct="1">
              <a:lnSpc>
                <a:spcPct val="90000"/>
              </a:lnSpc>
              <a:spcBef>
                <a:spcPts val="400"/>
              </a:spcBef>
              <a:buClrTx/>
              <a:buSzPct val="100000"/>
              <a:buFontTx/>
              <a:buNone/>
              <a:tabLst/>
              <a:defRPr kumimoji="0" sz="1400" i="0" u="none" strike="noStrike" cap="none" spc="0" normalizeH="0" baseline="0">
                <a:ln>
                  <a:noFill/>
                </a:ln>
                <a:effectLst/>
                <a:uLnTx/>
                <a:uFillTx/>
                <a:latin typeface="Arial Nova Cond"/>
                <a:cs typeface="Calibri"/>
              </a:defRPr>
            </a:lvl1pPr>
          </a:lstStyle>
          <a:p>
            <a:pPr marL="104411" lvl="1" indent="-104411">
              <a:spcBef>
                <a:spcPts val="400"/>
              </a:spcBef>
              <a:buSzPct val="100000"/>
              <a:buFont typeface="+mn-lt"/>
              <a:buChar char="•"/>
            </a:pPr>
            <a:r>
              <a:rPr lang="en-US" sz="900" b="0" dirty="0">
                <a:latin typeface="+mn-lt"/>
                <a:sym typeface="+mn-lt"/>
              </a:rPr>
              <a:t>Pipeline length</a:t>
            </a:r>
          </a:p>
          <a:p>
            <a:pPr marL="104411" lvl="1" indent="-104411">
              <a:spcBef>
                <a:spcPts val="400"/>
              </a:spcBef>
              <a:buSzPct val="100000"/>
              <a:buFont typeface="+mn-lt"/>
              <a:buChar char="•"/>
            </a:pPr>
            <a:r>
              <a:rPr lang="en-US" sz="900" b="0" dirty="0">
                <a:latin typeface="+mn-lt"/>
                <a:sym typeface="+mn-lt"/>
              </a:rPr>
              <a:t>Pipeline age</a:t>
            </a:r>
          </a:p>
          <a:p>
            <a:pPr marL="104411" lvl="1" indent="-104411">
              <a:spcBef>
                <a:spcPts val="400"/>
              </a:spcBef>
              <a:buSzPct val="100000"/>
              <a:buFont typeface="+mn-lt"/>
              <a:buChar char="•"/>
            </a:pPr>
            <a:r>
              <a:rPr lang="en-US" sz="900" b="0" dirty="0">
                <a:latin typeface="+mn-lt"/>
                <a:sym typeface="+mn-lt"/>
              </a:rPr>
              <a:t>Valve densification</a:t>
            </a:r>
          </a:p>
        </p:txBody>
      </p:sp>
      <p:pic>
        <p:nvPicPr>
          <p:cNvPr id="75" name="Picture 2" descr="What is a District Heating Network? | Rapid Energy">
            <a:extLst>
              <a:ext uri="{FF2B5EF4-FFF2-40B4-BE49-F238E27FC236}">
                <a16:creationId xmlns:a16="http://schemas.microsoft.com/office/drawing/2014/main" id="{16E44C90-BB87-2D4D-13D0-4483E87D9DE6}"/>
              </a:ext>
            </a:extLst>
          </p:cNvPr>
          <p:cNvPicPr>
            <a:picLocks noChangeAspect="1" noChangeArrowheads="1"/>
          </p:cNvPicPr>
          <p:nvPr/>
        </p:nvPicPr>
        <p:blipFill rotWithShape="1">
          <a:blip r:embed="rId39" cstate="hqprint">
            <a:extLst>
              <a:ext uri="{28A0092B-C50C-407E-A947-70E740481C1C}">
                <a14:useLocalDpi xmlns:a14="http://schemas.microsoft.com/office/drawing/2010/main"/>
              </a:ext>
            </a:extLst>
          </a:blip>
          <a:srcRect t="34360" b="20564"/>
          <a:stretch/>
        </p:blipFill>
        <p:spPr bwMode="auto">
          <a:xfrm>
            <a:off x="1389927" y="2073381"/>
            <a:ext cx="1259898" cy="377663"/>
          </a:xfrm>
          <a:prstGeom prst="roundRect">
            <a:avLst>
              <a:gd name="adj" fmla="val 17836"/>
            </a:avLst>
          </a:prstGeom>
          <a:noFill/>
          <a:extLst>
            <a:ext uri="{909E8E84-426E-40DD-AFC4-6F175D3DCCD1}">
              <a14:hiddenFill xmlns:a14="http://schemas.microsoft.com/office/drawing/2010/main">
                <a:solidFill>
                  <a:srgbClr val="FFFFFF"/>
                </a:solidFill>
              </a14:hiddenFill>
            </a:ext>
          </a:extLst>
        </p:spPr>
      </p:pic>
      <p:sp>
        <p:nvSpPr>
          <p:cNvPr id="76" name="RbLeanShape Left Angle 32">
            <a:extLst>
              <a:ext uri="{FF2B5EF4-FFF2-40B4-BE49-F238E27FC236}">
                <a16:creationId xmlns:a16="http://schemas.microsoft.com/office/drawing/2014/main" id="{60C354F9-8D05-EA88-CA3A-C92B3284081C}"/>
              </a:ext>
            </a:extLst>
          </p:cNvPr>
          <p:cNvSpPr/>
          <p:nvPr/>
        </p:nvSpPr>
        <p:spPr>
          <a:xfrm>
            <a:off x="1330502" y="1660110"/>
            <a:ext cx="1402249" cy="3260726"/>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19050" cmpd="sng">
            <a:solidFill>
              <a:schemeClr val="accent5"/>
            </a:solidFill>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spcBef>
                <a:spcPts val="400"/>
              </a:spcBef>
            </a:pPr>
            <a:endParaRPr lang="en-US" sz="1000">
              <a:solidFill>
                <a:schemeClr val="dk1"/>
              </a:solidFill>
            </a:endParaRPr>
          </a:p>
        </p:txBody>
      </p:sp>
      <p:sp>
        <p:nvSpPr>
          <p:cNvPr id="77" name="Title22">
            <a:extLst>
              <a:ext uri="{FF2B5EF4-FFF2-40B4-BE49-F238E27FC236}">
                <a16:creationId xmlns:a16="http://schemas.microsoft.com/office/drawing/2014/main" id="{C0F106C5-16E7-4AF5-5B79-5BF9AA0ADE73}"/>
              </a:ext>
            </a:extLst>
          </p:cNvPr>
          <p:cNvSpPr txBox="1"/>
          <p:nvPr/>
        </p:nvSpPr>
        <p:spPr>
          <a:xfrm>
            <a:off x="1329071" y="1723604"/>
            <a:ext cx="1310957" cy="379419"/>
          </a:xfrm>
          <a:prstGeom prst="rect">
            <a:avLst/>
          </a:prstGeom>
          <a:noFill/>
          <a:ln w="9525">
            <a:noFill/>
          </a:ln>
        </p:spPr>
        <p:txBody>
          <a:bodyPr vert="horz" wrap="square" lIns="108000" tIns="0" rIns="0" bIns="70950" rtlCol="0" anchor="b">
            <a:spAutoFit/>
          </a:bodyPr>
          <a:lstStyle/>
          <a:p>
            <a:pPr>
              <a:spcBef>
                <a:spcPts val="400"/>
              </a:spcBef>
              <a:buSzPct val="100000"/>
              <a:buFont typeface=""/>
              <a:defRPr/>
            </a:pPr>
            <a:r>
              <a:rPr kumimoji="0" lang="en-US" sz="1000" i="0" u="none" strike="noStrike" kern="1200" cap="none" spc="0" normalizeH="0" baseline="0" noProof="0" dirty="0">
                <a:ln>
                  <a:noFill/>
                </a:ln>
                <a:solidFill>
                  <a:schemeClr val="accent5"/>
                </a:solidFill>
                <a:effectLst/>
                <a:uLnTx/>
                <a:uFillTx/>
                <a:latin typeface="Arial" panose="020B0604020202020204" pitchFamily="34" charset="0"/>
                <a:cs typeface="Arial" panose="020B0604020202020204" pitchFamily="34" charset="0"/>
                <a:sym typeface="+mn-lt"/>
              </a:rPr>
              <a:t>Transmission </a:t>
            </a:r>
            <a:br>
              <a:rPr kumimoji="0" lang="en-US" sz="1000" i="0" u="none" strike="noStrike" kern="1200" cap="none" spc="0" normalizeH="0" baseline="0" noProof="0" dirty="0">
                <a:ln>
                  <a:noFill/>
                </a:ln>
                <a:solidFill>
                  <a:schemeClr val="accent5"/>
                </a:solidFill>
                <a:effectLst/>
                <a:uLnTx/>
                <a:uFillTx/>
                <a:latin typeface="Arial" panose="020B0604020202020204" pitchFamily="34" charset="0"/>
                <a:cs typeface="Arial" panose="020B0604020202020204" pitchFamily="34" charset="0"/>
                <a:sym typeface="+mn-lt"/>
              </a:rPr>
            </a:br>
            <a:r>
              <a:rPr kumimoji="0" lang="en-US" sz="1000" i="0" u="none" strike="noStrike" kern="1200" cap="none" spc="0" normalizeH="0" baseline="0" noProof="0" dirty="0">
                <a:ln>
                  <a:noFill/>
                </a:ln>
                <a:solidFill>
                  <a:schemeClr val="accent5"/>
                </a:solidFill>
                <a:effectLst/>
                <a:uLnTx/>
                <a:uFillTx/>
                <a:latin typeface="Arial" panose="020B0604020202020204" pitchFamily="34" charset="0"/>
                <a:cs typeface="Arial" panose="020B0604020202020204" pitchFamily="34" charset="0"/>
                <a:sym typeface="+mn-lt"/>
              </a:rPr>
              <a:t>&amp; distribution</a:t>
            </a:r>
          </a:p>
        </p:txBody>
      </p:sp>
      <p:sp>
        <p:nvSpPr>
          <p:cNvPr id="78" name="TextBox 36">
            <a:extLst>
              <a:ext uri="{FF2B5EF4-FFF2-40B4-BE49-F238E27FC236}">
                <a16:creationId xmlns:a16="http://schemas.microsoft.com/office/drawing/2014/main" id="{7B988D05-8396-05FA-FD26-A29F7F66129E}"/>
              </a:ext>
            </a:extLst>
          </p:cNvPr>
          <p:cNvSpPr txBox="1">
            <a:spLocks/>
          </p:cNvSpPr>
          <p:nvPr/>
        </p:nvSpPr>
        <p:spPr>
          <a:xfrm>
            <a:off x="1411133" y="2555173"/>
            <a:ext cx="1257012" cy="233363"/>
          </a:xfrm>
          <a:prstGeom prst="roundRect">
            <a:avLst>
              <a:gd name="adj" fmla="val 7368"/>
            </a:avLst>
          </a:prstGeom>
          <a:solidFill>
            <a:srgbClr val="F0F0F0"/>
          </a:solidFill>
          <a:ln w="9525">
            <a:noFill/>
          </a:ln>
        </p:spPr>
        <p:txBody>
          <a:bodyPr vert="horz" wrap="square" lIns="0" tIns="0" rIns="0" bIns="0" rtlCol="0" anchor="ctr">
            <a:noAutofit/>
          </a:bodyPr>
          <a:lstStyle>
            <a:defPPr>
              <a:defRPr lang="en-EN"/>
            </a:defPPr>
            <a:lvl1pPr marL="0" marR="0" lvl="0" indent="0" defTabSz="914400" eaLnBrk="1" latinLnBrk="0" hangingPunct="1">
              <a:lnSpc>
                <a:spcPct val="90000"/>
              </a:lnSpc>
              <a:spcBef>
                <a:spcPts val="400"/>
              </a:spcBef>
              <a:buClrTx/>
              <a:buSzPct val="100000"/>
              <a:buFontTx/>
              <a:buNone/>
              <a:tabLst/>
              <a:defRPr kumimoji="0" sz="1400" i="0" u="none" strike="noStrike" cap="none" spc="0" normalizeH="0" baseline="0">
                <a:ln>
                  <a:noFill/>
                </a:ln>
                <a:effectLst/>
                <a:uLnTx/>
                <a:uFillTx/>
                <a:latin typeface="Arial Nova Cond"/>
                <a:cs typeface="Calibri"/>
              </a:defRPr>
            </a:lvl1pPr>
            <a:lvl2pPr marL="104411" lvl="1" indent="-104411" algn="ctr">
              <a:spcBef>
                <a:spcPts val="400"/>
              </a:spcBef>
              <a:buSzPct val="100000"/>
              <a:buFont typeface="+mn-lt"/>
              <a:buChar char="•"/>
              <a:defRPr sz="1000" b="0">
                <a:latin typeface="+mn-lt"/>
              </a:defRPr>
            </a:lvl2pPr>
          </a:lstStyle>
          <a:p>
            <a:pPr marL="0" lvl="1" indent="0">
              <a:buNone/>
            </a:pPr>
            <a:r>
              <a:rPr lang="en-US" sz="900">
                <a:sym typeface="+mn-lt"/>
              </a:rPr>
              <a:t>Mostly underground</a:t>
            </a:r>
          </a:p>
        </p:txBody>
      </p:sp>
      <p:sp>
        <p:nvSpPr>
          <p:cNvPr id="79" name="TextBox 46">
            <a:extLst>
              <a:ext uri="{FF2B5EF4-FFF2-40B4-BE49-F238E27FC236}">
                <a16:creationId xmlns:a16="http://schemas.microsoft.com/office/drawing/2014/main" id="{50F0AF6C-EA2A-B983-68F1-FA7ED038041B}"/>
              </a:ext>
            </a:extLst>
          </p:cNvPr>
          <p:cNvSpPr txBox="1">
            <a:spLocks/>
          </p:cNvSpPr>
          <p:nvPr/>
        </p:nvSpPr>
        <p:spPr>
          <a:xfrm>
            <a:off x="1411998" y="3631499"/>
            <a:ext cx="1143812" cy="222250"/>
          </a:xfrm>
          <a:prstGeom prst="rect">
            <a:avLst/>
          </a:prstGeom>
          <a:noFill/>
          <a:ln w="9525">
            <a:noFill/>
          </a:ln>
        </p:spPr>
        <p:txBody>
          <a:bodyPr vert="horz" wrap="square" lIns="0" tIns="0" rIns="0" bIns="0" rtlCol="0" anchor="t">
            <a:noAutofit/>
          </a:bodyPr>
          <a:lstStyle/>
          <a:p>
            <a:pPr>
              <a:spcBef>
                <a:spcPts val="0"/>
              </a:spcBef>
              <a:buSzPct val="100000"/>
              <a:buFont typeface=""/>
              <a:defRPr/>
            </a:pPr>
            <a:r>
              <a:rPr kumimoji="0" lang="en-US" sz="900" i="0" u="none" strike="noStrike" kern="1200" cap="none" spc="0" normalizeH="0" baseline="0" noProof="0" dirty="0">
                <a:ln>
                  <a:noFill/>
                </a:ln>
                <a:effectLst/>
                <a:uLnTx/>
                <a:uFillTx/>
                <a:latin typeface="+mn-lt"/>
                <a:ea typeface="+mn-ea"/>
                <a:cs typeface="Calibri"/>
                <a:sym typeface="+mn-lt"/>
              </a:rPr>
              <a:t>Trench length </a:t>
            </a:r>
            <a:br>
              <a:rPr kumimoji="0" lang="en-US" sz="900" i="0" u="none" strike="noStrike" kern="1200" cap="none" spc="0" normalizeH="0" baseline="0" noProof="0" dirty="0">
                <a:ln>
                  <a:noFill/>
                </a:ln>
                <a:effectLst/>
                <a:uLnTx/>
                <a:uFillTx/>
                <a:latin typeface="+mn-lt"/>
                <a:ea typeface="+mn-ea"/>
                <a:cs typeface="Calibri"/>
                <a:sym typeface="+mn-lt"/>
              </a:rPr>
            </a:br>
            <a:r>
              <a:rPr kumimoji="0" lang="en-US" sz="900" i="0" u="none" strike="noStrike" kern="1200" cap="none" spc="0" normalizeH="0" baseline="0" noProof="0" dirty="0">
                <a:ln>
                  <a:noFill/>
                </a:ln>
                <a:effectLst/>
                <a:uLnTx/>
                <a:uFillTx/>
                <a:latin typeface="+mn-lt"/>
                <a:ea typeface="+mn-ea"/>
                <a:cs typeface="Calibri"/>
                <a:sym typeface="+mn-lt"/>
              </a:rPr>
              <a:t>[ '000 km]</a:t>
            </a:r>
          </a:p>
        </p:txBody>
      </p:sp>
      <p:sp>
        <p:nvSpPr>
          <p:cNvPr id="80" name="TextBox 5">
            <a:extLst>
              <a:ext uri="{FF2B5EF4-FFF2-40B4-BE49-F238E27FC236}">
                <a16:creationId xmlns:a16="http://schemas.microsoft.com/office/drawing/2014/main" id="{C6BDDC77-6EE2-8AA5-4544-D1FC8F24EE55}"/>
              </a:ext>
            </a:extLst>
          </p:cNvPr>
          <p:cNvSpPr txBox="1">
            <a:spLocks/>
          </p:cNvSpPr>
          <p:nvPr/>
        </p:nvSpPr>
        <p:spPr>
          <a:xfrm>
            <a:off x="2951519" y="2885373"/>
            <a:ext cx="1260475" cy="727075"/>
          </a:xfrm>
          <a:prstGeom prst="roundRect">
            <a:avLst>
              <a:gd name="adj" fmla="val 7368"/>
            </a:avLst>
          </a:prstGeom>
          <a:solidFill>
            <a:srgbClr val="F0F0F0"/>
          </a:solidFill>
          <a:ln w="9525">
            <a:noFill/>
          </a:ln>
        </p:spPr>
        <p:txBody>
          <a:bodyPr vert="horz" wrap="square" lIns="72000" tIns="72000" rIns="72000" bIns="0" rtlCol="0" anchor="t">
            <a:noAutofit/>
          </a:bodyPr>
          <a:lstStyle>
            <a:defPPr>
              <a:defRPr lang="en-EN"/>
            </a:defPPr>
            <a:lvl1pPr marL="0" marR="0" lvl="0" indent="0" defTabSz="914400" eaLnBrk="1" latinLnBrk="0" hangingPunct="1">
              <a:lnSpc>
                <a:spcPct val="90000"/>
              </a:lnSpc>
              <a:spcBef>
                <a:spcPts val="400"/>
              </a:spcBef>
              <a:buClrTx/>
              <a:buSzPct val="100000"/>
              <a:buFontTx/>
              <a:buNone/>
              <a:tabLst/>
              <a:defRPr kumimoji="0" sz="1400" i="0" u="none" strike="noStrike" cap="none" spc="0" normalizeH="0" baseline="0">
                <a:ln>
                  <a:noFill/>
                </a:ln>
                <a:effectLst/>
                <a:uLnTx/>
                <a:uFillTx/>
                <a:latin typeface="Arial Nova Cond"/>
                <a:cs typeface="Calibri"/>
              </a:defRPr>
            </a:lvl1pPr>
          </a:lstStyle>
          <a:p>
            <a:pPr marL="104411" lvl="1" indent="-104411">
              <a:spcBef>
                <a:spcPts val="400"/>
              </a:spcBef>
              <a:buSzPct val="100000"/>
              <a:buFont typeface="+mn-lt"/>
              <a:buChar char="•"/>
            </a:pPr>
            <a:r>
              <a:rPr lang="en-US" sz="900" b="0">
                <a:latin typeface="+mn-lt"/>
                <a:sym typeface="+mn-lt"/>
              </a:rPr>
              <a:t>Number of pipelines</a:t>
            </a:r>
          </a:p>
          <a:p>
            <a:pPr marL="104411" lvl="1" indent="-104411">
              <a:spcBef>
                <a:spcPts val="400"/>
              </a:spcBef>
              <a:buSzPct val="100000"/>
              <a:buFont typeface="+mn-lt"/>
              <a:buChar char="•"/>
            </a:pPr>
            <a:r>
              <a:rPr lang="en-US" sz="900" b="0">
                <a:latin typeface="+mn-lt"/>
                <a:sym typeface="+mn-lt"/>
              </a:rPr>
              <a:t>Pipeline age</a:t>
            </a:r>
          </a:p>
        </p:txBody>
      </p:sp>
      <p:pic>
        <p:nvPicPr>
          <p:cNvPr id="81" name="Picture 4" descr="District Heating Heatpumps &amp; Systems - Star Renewable Energy">
            <a:extLst>
              <a:ext uri="{FF2B5EF4-FFF2-40B4-BE49-F238E27FC236}">
                <a16:creationId xmlns:a16="http://schemas.microsoft.com/office/drawing/2014/main" id="{EBA53009-8271-8AA4-F67B-DCA3DBF44DB9}"/>
              </a:ext>
            </a:extLst>
          </p:cNvPr>
          <p:cNvPicPr>
            <a:picLocks noChangeAspect="1" noChangeArrowheads="1"/>
          </p:cNvPicPr>
          <p:nvPr/>
        </p:nvPicPr>
        <p:blipFill rotWithShape="1">
          <a:blip r:embed="rId40" cstate="screen">
            <a:extLst>
              <a:ext uri="{28A0092B-C50C-407E-A947-70E740481C1C}">
                <a14:useLocalDpi xmlns:a14="http://schemas.microsoft.com/office/drawing/2010/main"/>
              </a:ext>
            </a:extLst>
          </a:blip>
          <a:srcRect/>
          <a:stretch/>
        </p:blipFill>
        <p:spPr bwMode="auto">
          <a:xfrm>
            <a:off x="2930169" y="2073542"/>
            <a:ext cx="1262063" cy="379715"/>
          </a:xfrm>
          <a:prstGeom prst="roundRect">
            <a:avLst>
              <a:gd name="adj" fmla="val 17770"/>
            </a:avLst>
          </a:prstGeom>
          <a:noFill/>
          <a:extLst>
            <a:ext uri="{909E8E84-426E-40DD-AFC4-6F175D3DCCD1}">
              <a14:hiddenFill xmlns:a14="http://schemas.microsoft.com/office/drawing/2010/main">
                <a:solidFill>
                  <a:srgbClr val="FFFFFF"/>
                </a:solidFill>
              </a14:hiddenFill>
            </a:ext>
          </a:extLst>
        </p:spPr>
      </p:pic>
      <p:sp>
        <p:nvSpPr>
          <p:cNvPr id="82" name="RbLeanShape Left Angle 32">
            <a:extLst>
              <a:ext uri="{FF2B5EF4-FFF2-40B4-BE49-F238E27FC236}">
                <a16:creationId xmlns:a16="http://schemas.microsoft.com/office/drawing/2014/main" id="{4D31DF68-188B-C17A-4269-8C265ADB027B}"/>
              </a:ext>
            </a:extLst>
          </p:cNvPr>
          <p:cNvSpPr/>
          <p:nvPr/>
        </p:nvSpPr>
        <p:spPr>
          <a:xfrm>
            <a:off x="2861032" y="1660110"/>
            <a:ext cx="1398693" cy="3260726"/>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19050" cmpd="sng">
            <a:solidFill>
              <a:schemeClr val="accent5"/>
            </a:solidFill>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spcBef>
                <a:spcPts val="400"/>
              </a:spcBef>
            </a:pPr>
            <a:endParaRPr lang="en-US" sz="1000">
              <a:solidFill>
                <a:schemeClr val="dk1"/>
              </a:solidFill>
            </a:endParaRPr>
          </a:p>
        </p:txBody>
      </p:sp>
      <p:sp>
        <p:nvSpPr>
          <p:cNvPr id="83" name="Title22">
            <a:extLst>
              <a:ext uri="{FF2B5EF4-FFF2-40B4-BE49-F238E27FC236}">
                <a16:creationId xmlns:a16="http://schemas.microsoft.com/office/drawing/2014/main" id="{334ED66E-8EC9-E1BE-4BCF-A64ECD22FF67}"/>
              </a:ext>
            </a:extLst>
          </p:cNvPr>
          <p:cNvSpPr txBox="1"/>
          <p:nvPr/>
        </p:nvSpPr>
        <p:spPr>
          <a:xfrm>
            <a:off x="2885001" y="1714198"/>
            <a:ext cx="1312863" cy="379419"/>
          </a:xfrm>
          <a:prstGeom prst="rect">
            <a:avLst/>
          </a:prstGeom>
          <a:noFill/>
          <a:ln w="9525">
            <a:noFill/>
          </a:ln>
        </p:spPr>
        <p:txBody>
          <a:bodyPr vert="horz" wrap="square" lIns="108000" tIns="0" rIns="0" bIns="70950" rtlCol="0" anchor="b">
            <a:spAutoFit/>
          </a:bodyPr>
          <a:lstStyle/>
          <a:p>
            <a:pPr>
              <a:spcBef>
                <a:spcPts val="400"/>
              </a:spcBef>
              <a:buSzPct val="100000"/>
              <a:buFont typeface=""/>
              <a:defRPr/>
            </a:pPr>
            <a:r>
              <a:rPr kumimoji="0" lang="en-US" sz="1000" i="0" u="none" strike="noStrike" kern="1200" cap="none" spc="0" normalizeH="0" baseline="0" noProof="0" dirty="0">
                <a:ln>
                  <a:noFill/>
                </a:ln>
                <a:solidFill>
                  <a:schemeClr val="accent5"/>
                </a:solidFill>
                <a:effectLst/>
                <a:uLnTx/>
                <a:uFillTx/>
                <a:latin typeface="Arial" panose="020B0604020202020204" pitchFamily="34" charset="0"/>
                <a:cs typeface="Arial" panose="020B0604020202020204" pitchFamily="34" charset="0"/>
                <a:sym typeface="+mn-lt"/>
              </a:rPr>
              <a:t>Pumping </a:t>
            </a:r>
            <a:br>
              <a:rPr kumimoji="0" lang="en-US" sz="1000" i="0" u="none" strike="noStrike" kern="1200" cap="none" spc="0" normalizeH="0" baseline="0" noProof="0" dirty="0">
                <a:ln>
                  <a:noFill/>
                </a:ln>
                <a:solidFill>
                  <a:schemeClr val="accent5"/>
                </a:solidFill>
                <a:effectLst/>
                <a:uLnTx/>
                <a:uFillTx/>
                <a:latin typeface="Arial" panose="020B0604020202020204" pitchFamily="34" charset="0"/>
                <a:cs typeface="Arial" panose="020B0604020202020204" pitchFamily="34" charset="0"/>
                <a:sym typeface="+mn-lt"/>
              </a:rPr>
            </a:br>
            <a:r>
              <a:rPr kumimoji="0" lang="en-US" sz="1000" i="0" u="none" strike="noStrike" kern="1200" cap="none" spc="0" normalizeH="0" baseline="0" noProof="0" dirty="0">
                <a:ln>
                  <a:noFill/>
                </a:ln>
                <a:solidFill>
                  <a:schemeClr val="accent5"/>
                </a:solidFill>
                <a:effectLst/>
                <a:uLnTx/>
                <a:uFillTx/>
                <a:latin typeface="Arial" panose="020B0604020202020204" pitchFamily="34" charset="0"/>
                <a:cs typeface="Arial" panose="020B0604020202020204" pitchFamily="34" charset="0"/>
                <a:sym typeface="+mn-lt"/>
              </a:rPr>
              <a:t>stations</a:t>
            </a:r>
          </a:p>
        </p:txBody>
      </p:sp>
      <p:sp>
        <p:nvSpPr>
          <p:cNvPr id="84" name="TextBox 34">
            <a:extLst>
              <a:ext uri="{FF2B5EF4-FFF2-40B4-BE49-F238E27FC236}">
                <a16:creationId xmlns:a16="http://schemas.microsoft.com/office/drawing/2014/main" id="{8255B64B-D171-0F4F-CBBF-77F322DF40C6}"/>
              </a:ext>
            </a:extLst>
          </p:cNvPr>
          <p:cNvSpPr txBox="1">
            <a:spLocks/>
          </p:cNvSpPr>
          <p:nvPr/>
        </p:nvSpPr>
        <p:spPr>
          <a:xfrm>
            <a:off x="2951519" y="2555173"/>
            <a:ext cx="1260475" cy="233363"/>
          </a:xfrm>
          <a:prstGeom prst="roundRect">
            <a:avLst>
              <a:gd name="adj" fmla="val 7368"/>
            </a:avLst>
          </a:prstGeom>
          <a:solidFill>
            <a:srgbClr val="F0F0F0"/>
          </a:solidFill>
          <a:ln w="9525">
            <a:noFill/>
          </a:ln>
        </p:spPr>
        <p:txBody>
          <a:bodyPr vert="horz" wrap="square" lIns="0" tIns="0" rIns="0" bIns="0" rtlCol="0" anchor="ctr">
            <a:noAutofit/>
          </a:bodyPr>
          <a:lstStyle>
            <a:defPPr>
              <a:defRPr lang="en-EN"/>
            </a:defPPr>
            <a:lvl1pPr marL="0" marR="0" lvl="0" indent="0" defTabSz="914400" eaLnBrk="1" latinLnBrk="0" hangingPunct="1">
              <a:lnSpc>
                <a:spcPct val="90000"/>
              </a:lnSpc>
              <a:spcBef>
                <a:spcPts val="400"/>
              </a:spcBef>
              <a:buClrTx/>
              <a:buSzPct val="100000"/>
              <a:buFontTx/>
              <a:buNone/>
              <a:tabLst/>
              <a:defRPr kumimoji="0" sz="1400" i="0" u="none" strike="noStrike" cap="none" spc="0" normalizeH="0" baseline="0">
                <a:ln>
                  <a:noFill/>
                </a:ln>
                <a:effectLst/>
                <a:uLnTx/>
                <a:uFillTx/>
                <a:latin typeface="Arial Nova Cond"/>
                <a:cs typeface="Calibri"/>
              </a:defRPr>
            </a:lvl1pPr>
            <a:lvl2pPr marL="104411" lvl="1" indent="-104411" algn="ctr">
              <a:spcBef>
                <a:spcPts val="400"/>
              </a:spcBef>
              <a:buSzPct val="100000"/>
              <a:buFont typeface="+mn-lt"/>
              <a:buChar char="•"/>
              <a:defRPr sz="1000" b="0">
                <a:latin typeface="+mn-lt"/>
              </a:defRPr>
            </a:lvl2pPr>
          </a:lstStyle>
          <a:p>
            <a:pPr marL="0" lvl="1" indent="0">
              <a:buNone/>
            </a:pPr>
            <a:r>
              <a:rPr lang="en-US" sz="900">
                <a:sym typeface="+mn-lt"/>
              </a:rPr>
              <a:t>Overground</a:t>
            </a:r>
          </a:p>
        </p:txBody>
      </p:sp>
      <p:sp>
        <p:nvSpPr>
          <p:cNvPr id="85" name="TextBox 47">
            <a:extLst>
              <a:ext uri="{FF2B5EF4-FFF2-40B4-BE49-F238E27FC236}">
                <a16:creationId xmlns:a16="http://schemas.microsoft.com/office/drawing/2014/main" id="{CE2D7096-426C-AD83-B3AE-1E282F1C62F4}"/>
              </a:ext>
            </a:extLst>
          </p:cNvPr>
          <p:cNvSpPr txBox="1">
            <a:spLocks/>
          </p:cNvSpPr>
          <p:nvPr/>
        </p:nvSpPr>
        <p:spPr>
          <a:xfrm>
            <a:off x="2984001" y="3631499"/>
            <a:ext cx="1145005" cy="222250"/>
          </a:xfrm>
          <a:prstGeom prst="rect">
            <a:avLst/>
          </a:prstGeom>
          <a:noFill/>
          <a:ln w="9525">
            <a:noFill/>
          </a:ln>
        </p:spPr>
        <p:txBody>
          <a:bodyPr vert="horz" wrap="square" lIns="0" tIns="0" rIns="0" bIns="0" rtlCol="0" anchor="t">
            <a:noAutofit/>
          </a:bodyPr>
          <a:lstStyle>
            <a:defPPr>
              <a:defRPr lang="en-EN"/>
            </a:defPPr>
            <a:lvl1pPr>
              <a:spcBef>
                <a:spcPts val="0"/>
              </a:spcBef>
              <a:buSzPct val="100000"/>
              <a:buFont typeface=""/>
              <a:defRPr kumimoji="0" sz="1000" i="0" u="none" strike="noStrike" cap="none" spc="0" normalizeH="0" baseline="0">
                <a:ln>
                  <a:noFill/>
                </a:ln>
                <a:effectLst/>
                <a:uLnTx/>
                <a:uFillTx/>
                <a:latin typeface="+mn-lt"/>
                <a:cs typeface="Calibri"/>
              </a:defRPr>
            </a:lvl1pPr>
          </a:lstStyle>
          <a:p>
            <a:r>
              <a:rPr lang="en-US" sz="900" dirty="0">
                <a:sym typeface="+mn-lt"/>
              </a:rPr>
              <a:t>Pumping stations </a:t>
            </a:r>
            <a:br>
              <a:rPr lang="en-US" sz="900" dirty="0">
                <a:sym typeface="+mn-lt"/>
              </a:rPr>
            </a:br>
            <a:r>
              <a:rPr lang="en-US" sz="900" dirty="0">
                <a:sym typeface="+mn-lt"/>
              </a:rPr>
              <a:t>['000 #]</a:t>
            </a:r>
          </a:p>
        </p:txBody>
      </p:sp>
      <p:sp>
        <p:nvSpPr>
          <p:cNvPr id="86" name="TextBox 8">
            <a:extLst>
              <a:ext uri="{FF2B5EF4-FFF2-40B4-BE49-F238E27FC236}">
                <a16:creationId xmlns:a16="http://schemas.microsoft.com/office/drawing/2014/main" id="{935DC7D8-C7DD-85D3-CC73-87BF1C534058}"/>
              </a:ext>
            </a:extLst>
          </p:cNvPr>
          <p:cNvSpPr txBox="1">
            <a:spLocks/>
          </p:cNvSpPr>
          <p:nvPr/>
        </p:nvSpPr>
        <p:spPr>
          <a:xfrm>
            <a:off x="4480080" y="2885373"/>
            <a:ext cx="1258888" cy="727075"/>
          </a:xfrm>
          <a:prstGeom prst="roundRect">
            <a:avLst>
              <a:gd name="adj" fmla="val 7368"/>
            </a:avLst>
          </a:prstGeom>
          <a:solidFill>
            <a:srgbClr val="F0F0F0"/>
          </a:solidFill>
          <a:ln w="9525">
            <a:noFill/>
          </a:ln>
        </p:spPr>
        <p:txBody>
          <a:bodyPr vert="horz" wrap="square" lIns="72000" tIns="72000" rIns="72000" bIns="0" rtlCol="0" anchor="t">
            <a:noAutofit/>
          </a:bodyPr>
          <a:lstStyle>
            <a:defPPr>
              <a:defRPr lang="en-EN"/>
            </a:defPPr>
            <a:lvl1pPr marL="0" marR="0" lvl="0" indent="0" defTabSz="914400" eaLnBrk="1" latinLnBrk="0" hangingPunct="1">
              <a:lnSpc>
                <a:spcPct val="90000"/>
              </a:lnSpc>
              <a:spcBef>
                <a:spcPts val="400"/>
              </a:spcBef>
              <a:buClrTx/>
              <a:buSzPct val="100000"/>
              <a:buFontTx/>
              <a:buNone/>
              <a:tabLst/>
              <a:defRPr kumimoji="0" sz="1400" i="0" u="none" strike="noStrike" cap="none" spc="0" normalizeH="0" baseline="0">
                <a:ln>
                  <a:noFill/>
                </a:ln>
                <a:effectLst/>
                <a:uLnTx/>
                <a:uFillTx/>
                <a:latin typeface="Arial Nova Cond"/>
                <a:cs typeface="Calibri"/>
              </a:defRPr>
            </a:lvl1pPr>
          </a:lstStyle>
          <a:p>
            <a:pPr marL="104411" lvl="1" indent="-104411">
              <a:spcBef>
                <a:spcPts val="400"/>
              </a:spcBef>
              <a:buSzPct val="100000"/>
              <a:buFont typeface="+mn-lt"/>
              <a:buChar char="•"/>
            </a:pPr>
            <a:r>
              <a:rPr lang="en-US" sz="900" b="0">
                <a:latin typeface="+mn-lt"/>
                <a:sym typeface="+mn-lt"/>
              </a:rPr>
              <a:t>Number of connected households</a:t>
            </a:r>
          </a:p>
        </p:txBody>
      </p:sp>
      <p:sp>
        <p:nvSpPr>
          <p:cNvPr id="87" name="RbLeanShape Left Angle 32">
            <a:extLst>
              <a:ext uri="{FF2B5EF4-FFF2-40B4-BE49-F238E27FC236}">
                <a16:creationId xmlns:a16="http://schemas.microsoft.com/office/drawing/2014/main" id="{20201B71-2DFC-C996-8620-7109E058D45A}"/>
              </a:ext>
            </a:extLst>
          </p:cNvPr>
          <p:cNvSpPr/>
          <p:nvPr/>
        </p:nvSpPr>
        <p:spPr>
          <a:xfrm>
            <a:off x="4388005" y="1660110"/>
            <a:ext cx="1403664" cy="3260726"/>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19050" cmpd="sng">
            <a:solidFill>
              <a:schemeClr val="accent5"/>
            </a:solidFill>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spcBef>
                <a:spcPts val="400"/>
              </a:spcBef>
            </a:pPr>
            <a:endParaRPr lang="en-US" sz="1000">
              <a:solidFill>
                <a:schemeClr val="dk1"/>
              </a:solidFill>
            </a:endParaRPr>
          </a:p>
        </p:txBody>
      </p:sp>
      <p:sp>
        <p:nvSpPr>
          <p:cNvPr id="88" name="Title22">
            <a:extLst>
              <a:ext uri="{FF2B5EF4-FFF2-40B4-BE49-F238E27FC236}">
                <a16:creationId xmlns:a16="http://schemas.microsoft.com/office/drawing/2014/main" id="{130AF4FB-2096-647E-9D95-BF6D6E194D18}"/>
              </a:ext>
            </a:extLst>
          </p:cNvPr>
          <p:cNvSpPr txBox="1"/>
          <p:nvPr/>
        </p:nvSpPr>
        <p:spPr>
          <a:xfrm>
            <a:off x="4415149" y="1723604"/>
            <a:ext cx="1311275" cy="379419"/>
          </a:xfrm>
          <a:prstGeom prst="rect">
            <a:avLst/>
          </a:prstGeom>
          <a:noFill/>
          <a:ln w="9525">
            <a:noFill/>
          </a:ln>
        </p:spPr>
        <p:txBody>
          <a:bodyPr vert="horz" wrap="square" lIns="108000" tIns="0" rIns="0" bIns="70950" rtlCol="0" anchor="b">
            <a:spAutoFit/>
          </a:bodyPr>
          <a:lstStyle/>
          <a:p>
            <a:pPr>
              <a:spcBef>
                <a:spcPts val="400"/>
              </a:spcBef>
              <a:buSzPct val="100000"/>
              <a:buFont typeface=""/>
              <a:defRPr/>
            </a:pPr>
            <a:r>
              <a:rPr kumimoji="0" lang="en-US" sz="1000" i="0" u="none" strike="noStrike" kern="1200" cap="none" spc="0" normalizeH="0" baseline="0" noProof="0">
                <a:ln>
                  <a:noFill/>
                </a:ln>
                <a:solidFill>
                  <a:schemeClr val="accent5"/>
                </a:solidFill>
                <a:effectLst/>
                <a:uLnTx/>
                <a:uFillTx/>
                <a:latin typeface="Arial" panose="020B0604020202020204" pitchFamily="34" charset="0"/>
                <a:cs typeface="Arial" panose="020B0604020202020204" pitchFamily="34" charset="0"/>
                <a:sym typeface="+mn-lt"/>
              </a:rPr>
              <a:t>Sub-</a:t>
            </a:r>
            <a:br>
              <a:rPr kumimoji="0" lang="en-US" sz="1000" i="0" u="none" strike="noStrike" kern="1200" cap="none" spc="0" normalizeH="0" baseline="0" noProof="0">
                <a:ln>
                  <a:noFill/>
                </a:ln>
                <a:solidFill>
                  <a:schemeClr val="accent5"/>
                </a:solidFill>
                <a:effectLst/>
                <a:uLnTx/>
                <a:uFillTx/>
                <a:latin typeface="Arial" panose="020B0604020202020204" pitchFamily="34" charset="0"/>
                <a:cs typeface="Arial" panose="020B0604020202020204" pitchFamily="34" charset="0"/>
                <a:sym typeface="+mn-lt"/>
              </a:rPr>
            </a:br>
            <a:r>
              <a:rPr kumimoji="0" lang="en-US" sz="1000" i="0" u="none" strike="noStrike" kern="1200" cap="none" spc="0" normalizeH="0" baseline="0" noProof="0">
                <a:ln>
                  <a:noFill/>
                </a:ln>
                <a:solidFill>
                  <a:schemeClr val="accent5"/>
                </a:solidFill>
                <a:effectLst/>
                <a:uLnTx/>
                <a:uFillTx/>
                <a:latin typeface="Arial" panose="020B0604020202020204" pitchFamily="34" charset="0"/>
                <a:cs typeface="Arial" panose="020B0604020202020204" pitchFamily="34" charset="0"/>
                <a:sym typeface="+mn-lt"/>
              </a:rPr>
              <a:t>stations</a:t>
            </a:r>
          </a:p>
        </p:txBody>
      </p:sp>
      <p:pic>
        <p:nvPicPr>
          <p:cNvPr id="89" name="Picture 6" descr="District heating substation - Wikipedia">
            <a:extLst>
              <a:ext uri="{FF2B5EF4-FFF2-40B4-BE49-F238E27FC236}">
                <a16:creationId xmlns:a16="http://schemas.microsoft.com/office/drawing/2014/main" id="{6E387CC5-1BBD-3067-28CE-EC2C76C6627C}"/>
              </a:ext>
            </a:extLst>
          </p:cNvPr>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a:stretch/>
        </p:blipFill>
        <p:spPr bwMode="auto">
          <a:xfrm>
            <a:off x="4458730" y="2073543"/>
            <a:ext cx="1260475" cy="379237"/>
          </a:xfrm>
          <a:prstGeom prst="roundRect">
            <a:avLst>
              <a:gd name="adj" fmla="val 17770"/>
            </a:avLst>
          </a:prstGeom>
          <a:noFill/>
          <a:extLst>
            <a:ext uri="{909E8E84-426E-40DD-AFC4-6F175D3DCCD1}">
              <a14:hiddenFill xmlns:a14="http://schemas.microsoft.com/office/drawing/2010/main">
                <a:solidFill>
                  <a:srgbClr val="FFFFFF"/>
                </a:solidFill>
              </a14:hiddenFill>
            </a:ext>
          </a:extLst>
        </p:spPr>
      </p:pic>
      <p:sp>
        <p:nvSpPr>
          <p:cNvPr id="90" name="TextBox 37">
            <a:extLst>
              <a:ext uri="{FF2B5EF4-FFF2-40B4-BE49-F238E27FC236}">
                <a16:creationId xmlns:a16="http://schemas.microsoft.com/office/drawing/2014/main" id="{A6E5AEE1-5150-D924-B2DB-E232A1038764}"/>
              </a:ext>
            </a:extLst>
          </p:cNvPr>
          <p:cNvSpPr txBox="1">
            <a:spLocks/>
          </p:cNvSpPr>
          <p:nvPr/>
        </p:nvSpPr>
        <p:spPr>
          <a:xfrm>
            <a:off x="4480080" y="2555173"/>
            <a:ext cx="1258888" cy="233363"/>
          </a:xfrm>
          <a:prstGeom prst="roundRect">
            <a:avLst>
              <a:gd name="adj" fmla="val 7368"/>
            </a:avLst>
          </a:prstGeom>
          <a:solidFill>
            <a:srgbClr val="F0F0F0"/>
          </a:solidFill>
          <a:ln w="9525">
            <a:noFill/>
          </a:ln>
        </p:spPr>
        <p:txBody>
          <a:bodyPr vert="horz" wrap="square" lIns="0" tIns="0" rIns="0" bIns="0" rtlCol="0" anchor="ctr">
            <a:noAutofit/>
          </a:bodyPr>
          <a:lstStyle>
            <a:defPPr>
              <a:defRPr lang="en-EN"/>
            </a:defPPr>
            <a:lvl1pPr marL="0" marR="0" lvl="0" indent="0" defTabSz="914400" eaLnBrk="1" latinLnBrk="0" hangingPunct="1">
              <a:lnSpc>
                <a:spcPct val="90000"/>
              </a:lnSpc>
              <a:spcBef>
                <a:spcPts val="400"/>
              </a:spcBef>
              <a:buClrTx/>
              <a:buSzPct val="100000"/>
              <a:buFontTx/>
              <a:buNone/>
              <a:tabLst/>
              <a:defRPr kumimoji="0" sz="1400" i="0" u="none" strike="noStrike" cap="none" spc="0" normalizeH="0" baseline="0">
                <a:ln>
                  <a:noFill/>
                </a:ln>
                <a:effectLst/>
                <a:uLnTx/>
                <a:uFillTx/>
                <a:latin typeface="Arial Nova Cond"/>
                <a:cs typeface="Calibri"/>
              </a:defRPr>
            </a:lvl1pPr>
            <a:lvl2pPr marL="104411" lvl="1" indent="-104411" algn="ctr">
              <a:spcBef>
                <a:spcPts val="400"/>
              </a:spcBef>
              <a:buSzPct val="100000"/>
              <a:buFont typeface="+mn-lt"/>
              <a:buChar char="•"/>
              <a:defRPr sz="1000" b="0">
                <a:latin typeface="+mn-lt"/>
              </a:defRPr>
            </a:lvl2pPr>
          </a:lstStyle>
          <a:p>
            <a:pPr marL="0" lvl="1" indent="0">
              <a:buNone/>
            </a:pPr>
            <a:r>
              <a:rPr lang="en-US" sz="900">
                <a:sym typeface="+mn-lt"/>
              </a:rPr>
              <a:t>Overground</a:t>
            </a:r>
          </a:p>
        </p:txBody>
      </p:sp>
      <p:sp>
        <p:nvSpPr>
          <p:cNvPr id="91" name="TextBox 48">
            <a:extLst>
              <a:ext uri="{FF2B5EF4-FFF2-40B4-BE49-F238E27FC236}">
                <a16:creationId xmlns:a16="http://schemas.microsoft.com/office/drawing/2014/main" id="{6FB8F3EC-54ED-0294-C2A9-50997F65A680}"/>
              </a:ext>
            </a:extLst>
          </p:cNvPr>
          <p:cNvSpPr txBox="1">
            <a:spLocks/>
          </p:cNvSpPr>
          <p:nvPr/>
        </p:nvSpPr>
        <p:spPr>
          <a:xfrm>
            <a:off x="4504624" y="3631499"/>
            <a:ext cx="1145005" cy="222250"/>
          </a:xfrm>
          <a:prstGeom prst="rect">
            <a:avLst/>
          </a:prstGeom>
          <a:noFill/>
          <a:ln w="9525">
            <a:noFill/>
          </a:ln>
        </p:spPr>
        <p:txBody>
          <a:bodyPr vert="horz" wrap="square" lIns="0" tIns="0" rIns="0" bIns="0" rtlCol="0" anchor="t">
            <a:noAutofit/>
          </a:bodyPr>
          <a:lstStyle>
            <a:defPPr>
              <a:defRPr lang="en-EN"/>
            </a:defPPr>
            <a:lvl1pPr>
              <a:spcBef>
                <a:spcPts val="0"/>
              </a:spcBef>
              <a:buSzPct val="100000"/>
              <a:buFont typeface=""/>
              <a:defRPr kumimoji="0" sz="1000" i="0" u="none" strike="noStrike" cap="none" spc="0" normalizeH="0" baseline="0">
                <a:ln>
                  <a:noFill/>
                </a:ln>
                <a:effectLst/>
                <a:uLnTx/>
                <a:uFillTx/>
                <a:latin typeface="+mn-lt"/>
                <a:cs typeface="Calibri"/>
              </a:defRPr>
            </a:lvl1pPr>
          </a:lstStyle>
          <a:p>
            <a:r>
              <a:rPr lang="en-US" sz="900">
                <a:sym typeface="+mn-lt"/>
              </a:rPr>
              <a:t>Sub-stations </a:t>
            </a:r>
            <a:br>
              <a:rPr lang="en-US" sz="900">
                <a:sym typeface="+mn-lt"/>
              </a:rPr>
            </a:br>
            <a:r>
              <a:rPr lang="en-US" sz="900">
                <a:sym typeface="+mn-lt"/>
              </a:rPr>
              <a:t>[m #]</a:t>
            </a:r>
          </a:p>
        </p:txBody>
      </p:sp>
      <p:sp>
        <p:nvSpPr>
          <p:cNvPr id="92" name="TextBox 6">
            <a:extLst>
              <a:ext uri="{FF2B5EF4-FFF2-40B4-BE49-F238E27FC236}">
                <a16:creationId xmlns:a16="http://schemas.microsoft.com/office/drawing/2014/main" id="{9F1A7A7B-5DD1-6AF9-6F2C-C51F784E411D}"/>
              </a:ext>
            </a:extLst>
          </p:cNvPr>
          <p:cNvSpPr txBox="1">
            <a:spLocks/>
          </p:cNvSpPr>
          <p:nvPr/>
        </p:nvSpPr>
        <p:spPr>
          <a:xfrm>
            <a:off x="6008848" y="2885373"/>
            <a:ext cx="1260475" cy="727075"/>
          </a:xfrm>
          <a:prstGeom prst="roundRect">
            <a:avLst>
              <a:gd name="adj" fmla="val 7368"/>
            </a:avLst>
          </a:prstGeom>
          <a:solidFill>
            <a:srgbClr val="F0F0F0"/>
          </a:solidFill>
          <a:ln w="9525">
            <a:noFill/>
          </a:ln>
        </p:spPr>
        <p:txBody>
          <a:bodyPr vert="horz" wrap="square" lIns="72000" tIns="72000" rIns="72000" bIns="0" rtlCol="0" anchor="t">
            <a:noAutofit/>
          </a:bodyPr>
          <a:lstStyle>
            <a:defPPr>
              <a:defRPr lang="en-EN"/>
            </a:defPPr>
            <a:lvl1pPr marL="0" marR="0" lvl="0" indent="0" defTabSz="914400" eaLnBrk="1" latinLnBrk="0" hangingPunct="1">
              <a:lnSpc>
                <a:spcPct val="90000"/>
              </a:lnSpc>
              <a:spcBef>
                <a:spcPts val="400"/>
              </a:spcBef>
              <a:buClrTx/>
              <a:buSzPct val="100000"/>
              <a:buFontTx/>
              <a:buNone/>
              <a:tabLst/>
              <a:defRPr kumimoji="0" sz="1400" i="0" u="none" strike="noStrike" cap="none" spc="0" normalizeH="0" baseline="0">
                <a:ln>
                  <a:noFill/>
                </a:ln>
                <a:effectLst/>
                <a:uLnTx/>
                <a:uFillTx/>
                <a:latin typeface="Arial Nova Cond"/>
                <a:cs typeface="Calibri"/>
              </a:defRPr>
            </a:lvl1pPr>
          </a:lstStyle>
          <a:p>
            <a:pPr marL="104411" lvl="1" indent="-104411">
              <a:spcBef>
                <a:spcPts val="400"/>
              </a:spcBef>
              <a:buSzPct val="100000"/>
              <a:buFont typeface="+mn-lt"/>
              <a:buChar char="•"/>
            </a:pPr>
            <a:r>
              <a:rPr lang="en-US" sz="900" b="0" dirty="0">
                <a:latin typeface="+mn-lt"/>
                <a:sym typeface="+mn-lt"/>
              </a:rPr>
              <a:t>Number of power plants to be retired</a:t>
            </a:r>
          </a:p>
          <a:p>
            <a:pPr marL="104411" lvl="1" indent="-104411">
              <a:spcBef>
                <a:spcPts val="400"/>
              </a:spcBef>
              <a:buSzPct val="100000"/>
              <a:buFont typeface="+mn-lt"/>
              <a:buChar char="•"/>
            </a:pPr>
            <a:r>
              <a:rPr lang="en-US" sz="900" b="0" dirty="0">
                <a:latin typeface="+mn-lt"/>
                <a:sym typeface="+mn-lt"/>
              </a:rPr>
              <a:t>DE penetration</a:t>
            </a:r>
          </a:p>
        </p:txBody>
      </p:sp>
      <p:pic>
        <p:nvPicPr>
          <p:cNvPr id="93" name="Picture 8" descr="Heat exchanger for district heating - Geckointech">
            <a:extLst>
              <a:ext uri="{FF2B5EF4-FFF2-40B4-BE49-F238E27FC236}">
                <a16:creationId xmlns:a16="http://schemas.microsoft.com/office/drawing/2014/main" id="{9DB934CD-9466-9FFD-A2E5-D430498EB128}"/>
              </a:ext>
            </a:extLst>
          </p:cNvPr>
          <p:cNvPicPr>
            <a:picLocks noChangeAspect="1" noChangeArrowheads="1"/>
          </p:cNvPicPr>
          <p:nvPr/>
        </p:nvPicPr>
        <p:blipFill rotWithShape="1">
          <a:blip r:embed="rId42" cstate="screen">
            <a:extLst>
              <a:ext uri="{28A0092B-C50C-407E-A947-70E740481C1C}">
                <a14:useLocalDpi xmlns:a14="http://schemas.microsoft.com/office/drawing/2010/main"/>
              </a:ext>
            </a:extLst>
          </a:blip>
          <a:srcRect/>
          <a:stretch/>
        </p:blipFill>
        <p:spPr bwMode="auto">
          <a:xfrm>
            <a:off x="5987498" y="2073542"/>
            <a:ext cx="1262063" cy="379715"/>
          </a:xfrm>
          <a:prstGeom prst="roundRect">
            <a:avLst>
              <a:gd name="adj" fmla="val 17630"/>
            </a:avLst>
          </a:prstGeom>
          <a:noFill/>
          <a:extLst>
            <a:ext uri="{909E8E84-426E-40DD-AFC4-6F175D3DCCD1}">
              <a14:hiddenFill xmlns:a14="http://schemas.microsoft.com/office/drawing/2010/main">
                <a:solidFill>
                  <a:srgbClr val="FFFFFF"/>
                </a:solidFill>
              </a14:hiddenFill>
            </a:ext>
          </a:extLst>
        </p:spPr>
      </p:pic>
      <p:sp>
        <p:nvSpPr>
          <p:cNvPr id="94" name="RbLeanShape Left Angle 32">
            <a:extLst>
              <a:ext uri="{FF2B5EF4-FFF2-40B4-BE49-F238E27FC236}">
                <a16:creationId xmlns:a16="http://schemas.microsoft.com/office/drawing/2014/main" id="{E366DCEB-C86B-FF5F-6FC6-52E1A06873EA}"/>
              </a:ext>
            </a:extLst>
          </p:cNvPr>
          <p:cNvSpPr/>
          <p:nvPr/>
        </p:nvSpPr>
        <p:spPr>
          <a:xfrm>
            <a:off x="5919949" y="1660110"/>
            <a:ext cx="1409700" cy="3260726"/>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19050" cmpd="sng">
            <a:solidFill>
              <a:schemeClr val="accent5"/>
            </a:solidFill>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spcBef>
                <a:spcPts val="400"/>
              </a:spcBef>
            </a:pPr>
            <a:endParaRPr lang="en-US" sz="1000">
              <a:solidFill>
                <a:schemeClr val="dk1"/>
              </a:solidFill>
            </a:endParaRPr>
          </a:p>
        </p:txBody>
      </p:sp>
      <p:sp>
        <p:nvSpPr>
          <p:cNvPr id="95" name="Title22">
            <a:extLst>
              <a:ext uri="{FF2B5EF4-FFF2-40B4-BE49-F238E27FC236}">
                <a16:creationId xmlns:a16="http://schemas.microsoft.com/office/drawing/2014/main" id="{96A29CE9-819F-95D4-2C5A-6A2FCD3E7773}"/>
              </a:ext>
            </a:extLst>
          </p:cNvPr>
          <p:cNvSpPr txBox="1"/>
          <p:nvPr/>
        </p:nvSpPr>
        <p:spPr>
          <a:xfrm>
            <a:off x="5945504" y="1877492"/>
            <a:ext cx="1312863" cy="225531"/>
          </a:xfrm>
          <a:prstGeom prst="rect">
            <a:avLst/>
          </a:prstGeom>
          <a:noFill/>
          <a:ln w="9525">
            <a:noFill/>
          </a:ln>
        </p:spPr>
        <p:txBody>
          <a:bodyPr vert="horz" wrap="square" lIns="108000" tIns="0" rIns="0" bIns="70950" rtlCol="0" anchor="b">
            <a:spAutoFit/>
          </a:bodyPr>
          <a:lstStyle/>
          <a:p>
            <a:pPr>
              <a:spcBef>
                <a:spcPts val="400"/>
              </a:spcBef>
              <a:buSzPct val="100000"/>
              <a:buFont typeface=""/>
              <a:defRPr/>
            </a:pPr>
            <a:r>
              <a:rPr kumimoji="0" lang="en-US" sz="1000" i="0" u="none" strike="noStrike" kern="1200" cap="none" spc="0" normalizeH="0" baseline="0" noProof="0">
                <a:ln>
                  <a:noFill/>
                </a:ln>
                <a:solidFill>
                  <a:schemeClr val="accent5"/>
                </a:solidFill>
                <a:effectLst/>
                <a:uLnTx/>
                <a:uFillTx/>
                <a:latin typeface="Arial" panose="020B0604020202020204" pitchFamily="34" charset="0"/>
                <a:cs typeface="Arial" panose="020B0604020202020204" pitchFamily="34" charset="0"/>
                <a:sym typeface="+mn-lt"/>
              </a:rPr>
              <a:t>Heat prod. facilities</a:t>
            </a:r>
          </a:p>
        </p:txBody>
      </p:sp>
      <p:sp>
        <p:nvSpPr>
          <p:cNvPr id="96" name="TextBox 35">
            <a:extLst>
              <a:ext uri="{FF2B5EF4-FFF2-40B4-BE49-F238E27FC236}">
                <a16:creationId xmlns:a16="http://schemas.microsoft.com/office/drawing/2014/main" id="{AD86EB8B-019D-F4E6-7290-1762DF4E182D}"/>
              </a:ext>
            </a:extLst>
          </p:cNvPr>
          <p:cNvSpPr txBox="1">
            <a:spLocks/>
          </p:cNvSpPr>
          <p:nvPr/>
        </p:nvSpPr>
        <p:spPr>
          <a:xfrm>
            <a:off x="6008848" y="2555173"/>
            <a:ext cx="1260475" cy="233363"/>
          </a:xfrm>
          <a:prstGeom prst="roundRect">
            <a:avLst>
              <a:gd name="adj" fmla="val 7368"/>
            </a:avLst>
          </a:prstGeom>
          <a:solidFill>
            <a:srgbClr val="F0F0F0"/>
          </a:solidFill>
          <a:ln w="9525">
            <a:noFill/>
          </a:ln>
        </p:spPr>
        <p:txBody>
          <a:bodyPr vert="horz" wrap="square" lIns="0" tIns="0" rIns="0" bIns="0" rtlCol="0" anchor="ctr">
            <a:noAutofit/>
          </a:bodyPr>
          <a:lstStyle>
            <a:defPPr>
              <a:defRPr lang="en-EN"/>
            </a:defPPr>
            <a:lvl1pPr marL="0" marR="0" lvl="0" indent="0" defTabSz="914400" eaLnBrk="1" latinLnBrk="0" hangingPunct="1">
              <a:lnSpc>
                <a:spcPct val="90000"/>
              </a:lnSpc>
              <a:spcBef>
                <a:spcPts val="400"/>
              </a:spcBef>
              <a:buClrTx/>
              <a:buSzPct val="100000"/>
              <a:buFontTx/>
              <a:buNone/>
              <a:tabLst/>
              <a:defRPr kumimoji="0" sz="1400" i="0" u="none" strike="noStrike" cap="none" spc="0" normalizeH="0" baseline="0">
                <a:ln>
                  <a:noFill/>
                </a:ln>
                <a:effectLst/>
                <a:uLnTx/>
                <a:uFillTx/>
                <a:latin typeface="Arial Nova Cond"/>
                <a:cs typeface="Calibri"/>
              </a:defRPr>
            </a:lvl1pPr>
            <a:lvl2pPr marL="104411" lvl="1" indent="-104411" algn="ctr">
              <a:spcBef>
                <a:spcPts val="400"/>
              </a:spcBef>
              <a:buSzPct val="100000"/>
              <a:buFont typeface="+mn-lt"/>
              <a:buChar char="•"/>
              <a:defRPr sz="1000" b="0">
                <a:latin typeface="+mn-lt"/>
              </a:defRPr>
            </a:lvl2pPr>
          </a:lstStyle>
          <a:p>
            <a:pPr marL="0" lvl="1" indent="0">
              <a:buNone/>
            </a:pPr>
            <a:r>
              <a:rPr lang="en-US" sz="900">
                <a:sym typeface="+mn-lt"/>
              </a:rPr>
              <a:t>Overground</a:t>
            </a:r>
          </a:p>
        </p:txBody>
      </p:sp>
      <p:sp>
        <p:nvSpPr>
          <p:cNvPr id="97" name="TextBox 49">
            <a:extLst>
              <a:ext uri="{FF2B5EF4-FFF2-40B4-BE49-F238E27FC236}">
                <a16:creationId xmlns:a16="http://schemas.microsoft.com/office/drawing/2014/main" id="{237AB5E7-61C8-683E-C851-4B93933046B0}"/>
              </a:ext>
            </a:extLst>
          </p:cNvPr>
          <p:cNvSpPr txBox="1">
            <a:spLocks/>
          </p:cNvSpPr>
          <p:nvPr/>
        </p:nvSpPr>
        <p:spPr>
          <a:xfrm>
            <a:off x="6034979" y="3631499"/>
            <a:ext cx="1145005" cy="222250"/>
          </a:xfrm>
          <a:prstGeom prst="rect">
            <a:avLst/>
          </a:prstGeom>
          <a:noFill/>
          <a:ln w="9525">
            <a:noFill/>
          </a:ln>
        </p:spPr>
        <p:txBody>
          <a:bodyPr vert="horz" wrap="square" lIns="0" tIns="0" rIns="0" bIns="0" rtlCol="0" anchor="t">
            <a:noAutofit/>
          </a:bodyPr>
          <a:lstStyle>
            <a:defPPr>
              <a:defRPr lang="en-EN"/>
            </a:defPPr>
            <a:lvl1pPr>
              <a:spcBef>
                <a:spcPts val="0"/>
              </a:spcBef>
              <a:buSzPct val="100000"/>
              <a:buFont typeface=""/>
              <a:defRPr kumimoji="0" sz="1000" i="0" u="none" strike="noStrike" cap="none" spc="0" normalizeH="0" baseline="0">
                <a:ln>
                  <a:noFill/>
                </a:ln>
                <a:effectLst/>
                <a:uLnTx/>
                <a:uFillTx/>
                <a:latin typeface="+mn-lt"/>
                <a:cs typeface="Calibri"/>
              </a:defRPr>
            </a:lvl1pPr>
          </a:lstStyle>
          <a:p>
            <a:r>
              <a:rPr lang="en-US" sz="900" dirty="0">
                <a:sym typeface="+mn-lt"/>
              </a:rPr>
              <a:t>Heat sources </a:t>
            </a:r>
            <a:br>
              <a:rPr lang="en-US" sz="900" dirty="0">
                <a:sym typeface="+mn-lt"/>
              </a:rPr>
            </a:br>
            <a:r>
              <a:rPr lang="en-US" sz="900" dirty="0">
                <a:sym typeface="+mn-lt"/>
              </a:rPr>
              <a:t>['000 #]</a:t>
            </a:r>
          </a:p>
        </p:txBody>
      </p:sp>
      <p:sp>
        <p:nvSpPr>
          <p:cNvPr id="98" name="TextBox 9">
            <a:extLst>
              <a:ext uri="{FF2B5EF4-FFF2-40B4-BE49-F238E27FC236}">
                <a16:creationId xmlns:a16="http://schemas.microsoft.com/office/drawing/2014/main" id="{16909792-CC3A-AEC2-2546-87773B6DCBDB}"/>
              </a:ext>
            </a:extLst>
          </p:cNvPr>
          <p:cNvSpPr txBox="1">
            <a:spLocks/>
          </p:cNvSpPr>
          <p:nvPr/>
        </p:nvSpPr>
        <p:spPr>
          <a:xfrm>
            <a:off x="7555571" y="2885373"/>
            <a:ext cx="1259505" cy="727075"/>
          </a:xfrm>
          <a:prstGeom prst="roundRect">
            <a:avLst>
              <a:gd name="adj" fmla="val 7368"/>
            </a:avLst>
          </a:prstGeom>
          <a:solidFill>
            <a:srgbClr val="F0F0F0"/>
          </a:solidFill>
          <a:ln w="9525">
            <a:noFill/>
          </a:ln>
        </p:spPr>
        <p:txBody>
          <a:bodyPr vert="horz" wrap="square" lIns="72000" tIns="72000" rIns="72000" bIns="0" rtlCol="0" anchor="t">
            <a:noAutofit/>
          </a:bodyPr>
          <a:lstStyle>
            <a:defPPr>
              <a:defRPr lang="en-EN"/>
            </a:defPPr>
            <a:lvl1pPr marL="0" marR="0" lvl="0" indent="0" defTabSz="914400" eaLnBrk="1" latinLnBrk="0" hangingPunct="1">
              <a:lnSpc>
                <a:spcPct val="90000"/>
              </a:lnSpc>
              <a:spcBef>
                <a:spcPts val="400"/>
              </a:spcBef>
              <a:buClrTx/>
              <a:buSzPct val="100000"/>
              <a:buFontTx/>
              <a:buNone/>
              <a:tabLst/>
              <a:defRPr kumimoji="0" sz="1400" i="0" u="none" strike="noStrike" cap="none" spc="0" normalizeH="0" baseline="0">
                <a:ln>
                  <a:noFill/>
                </a:ln>
                <a:effectLst/>
                <a:uLnTx/>
                <a:uFillTx/>
                <a:latin typeface="Arial Nova Cond"/>
                <a:cs typeface="Calibri"/>
              </a:defRPr>
            </a:lvl1pPr>
          </a:lstStyle>
          <a:p>
            <a:pPr marL="104411" lvl="1" indent="-104411">
              <a:spcBef>
                <a:spcPts val="400"/>
              </a:spcBef>
              <a:buSzPct val="100000"/>
              <a:buFont typeface="+mn-lt"/>
              <a:buChar char="•"/>
            </a:pPr>
            <a:r>
              <a:rPr lang="en-US" sz="900" b="0">
                <a:latin typeface="+mn-lt"/>
                <a:sym typeface="+mn-lt"/>
              </a:rPr>
              <a:t>Number of </a:t>
            </a:r>
            <a:br>
              <a:rPr lang="en-US" sz="900" b="0">
                <a:latin typeface="+mn-lt"/>
                <a:sym typeface="+mn-lt"/>
              </a:rPr>
            </a:br>
            <a:r>
              <a:rPr lang="en-US" sz="900" b="0">
                <a:latin typeface="+mn-lt"/>
                <a:sym typeface="+mn-lt"/>
              </a:rPr>
              <a:t>storage facilities</a:t>
            </a:r>
          </a:p>
        </p:txBody>
      </p:sp>
      <p:sp>
        <p:nvSpPr>
          <p:cNvPr id="99" name="RbLeanShape Left Angle 32">
            <a:extLst>
              <a:ext uri="{FF2B5EF4-FFF2-40B4-BE49-F238E27FC236}">
                <a16:creationId xmlns:a16="http://schemas.microsoft.com/office/drawing/2014/main" id="{21265A8C-FCCA-E1DB-324F-15D4BCEAC36C}"/>
              </a:ext>
            </a:extLst>
          </p:cNvPr>
          <p:cNvSpPr/>
          <p:nvPr/>
        </p:nvSpPr>
        <p:spPr>
          <a:xfrm>
            <a:off x="7457930" y="1660110"/>
            <a:ext cx="1409700" cy="3260726"/>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19050" cmpd="sng">
            <a:solidFill>
              <a:schemeClr val="accent5"/>
            </a:solidFill>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spcBef>
                <a:spcPts val="400"/>
              </a:spcBef>
            </a:pPr>
            <a:endParaRPr lang="en-US" sz="1000">
              <a:solidFill>
                <a:schemeClr val="dk1"/>
              </a:solidFill>
            </a:endParaRPr>
          </a:p>
        </p:txBody>
      </p:sp>
      <p:sp>
        <p:nvSpPr>
          <p:cNvPr id="100" name="Title22">
            <a:extLst>
              <a:ext uri="{FF2B5EF4-FFF2-40B4-BE49-F238E27FC236}">
                <a16:creationId xmlns:a16="http://schemas.microsoft.com/office/drawing/2014/main" id="{C76A4AD4-C284-699E-EC24-F26897B2271C}"/>
              </a:ext>
            </a:extLst>
          </p:cNvPr>
          <p:cNvSpPr txBox="1"/>
          <p:nvPr/>
        </p:nvSpPr>
        <p:spPr>
          <a:xfrm>
            <a:off x="7488567" y="1723604"/>
            <a:ext cx="1310957" cy="379419"/>
          </a:xfrm>
          <a:prstGeom prst="rect">
            <a:avLst/>
          </a:prstGeom>
          <a:noFill/>
          <a:ln w="9525">
            <a:noFill/>
          </a:ln>
        </p:spPr>
        <p:txBody>
          <a:bodyPr vert="horz" wrap="square" lIns="108000" tIns="0" rIns="0" bIns="70950" rtlCol="0" anchor="b">
            <a:spAutoFit/>
          </a:bodyPr>
          <a:lstStyle/>
          <a:p>
            <a:pPr>
              <a:spcBef>
                <a:spcPts val="400"/>
              </a:spcBef>
              <a:buSzPct val="100000"/>
              <a:buFont typeface=""/>
              <a:defRPr/>
            </a:pPr>
            <a:r>
              <a:rPr kumimoji="0" lang="en-US" sz="1000" i="0" u="none" strike="noStrike" kern="1200" cap="none" spc="0" normalizeH="0" baseline="0" noProof="0" dirty="0">
                <a:ln>
                  <a:noFill/>
                </a:ln>
                <a:solidFill>
                  <a:schemeClr val="accent5"/>
                </a:solidFill>
                <a:effectLst/>
                <a:uLnTx/>
                <a:uFillTx/>
                <a:latin typeface="Arial" panose="020B0604020202020204" pitchFamily="34" charset="0"/>
                <a:cs typeface="Arial" panose="020B0604020202020204" pitchFamily="34" charset="0"/>
                <a:sym typeface="+mn-lt"/>
              </a:rPr>
              <a:t>Storage </a:t>
            </a:r>
            <a:br>
              <a:rPr kumimoji="0" lang="en-US" sz="1000" i="0" u="none" strike="noStrike" kern="1200" cap="none" spc="0" normalizeH="0" baseline="0" noProof="0" dirty="0">
                <a:ln>
                  <a:noFill/>
                </a:ln>
                <a:solidFill>
                  <a:schemeClr val="accent5"/>
                </a:solidFill>
                <a:effectLst/>
                <a:uLnTx/>
                <a:uFillTx/>
                <a:latin typeface="Arial" panose="020B0604020202020204" pitchFamily="34" charset="0"/>
                <a:cs typeface="Arial" panose="020B0604020202020204" pitchFamily="34" charset="0"/>
                <a:sym typeface="+mn-lt"/>
              </a:rPr>
            </a:br>
            <a:r>
              <a:rPr kumimoji="0" lang="en-US" sz="1000" i="0" u="none" strike="noStrike" kern="1200" cap="none" spc="0" normalizeH="0" baseline="0" noProof="0" dirty="0">
                <a:ln>
                  <a:noFill/>
                </a:ln>
                <a:solidFill>
                  <a:schemeClr val="accent5"/>
                </a:solidFill>
                <a:effectLst/>
                <a:uLnTx/>
                <a:uFillTx/>
                <a:latin typeface="Arial" panose="020B0604020202020204" pitchFamily="34" charset="0"/>
                <a:cs typeface="Arial" panose="020B0604020202020204" pitchFamily="34" charset="0"/>
                <a:sym typeface="+mn-lt"/>
              </a:rPr>
              <a:t>facilities</a:t>
            </a:r>
          </a:p>
        </p:txBody>
      </p:sp>
      <p:pic>
        <p:nvPicPr>
          <p:cNvPr id="101" name="Picture 4" descr="Construction of rock cavern heat storage facility starts | Helen">
            <a:extLst>
              <a:ext uri="{FF2B5EF4-FFF2-40B4-BE49-F238E27FC236}">
                <a16:creationId xmlns:a16="http://schemas.microsoft.com/office/drawing/2014/main" id="{4281995C-1262-E255-6361-1CDFE02CA136}"/>
              </a:ext>
            </a:extLst>
          </p:cNvPr>
          <p:cNvPicPr>
            <a:picLocks noChangeArrowheads="1"/>
          </p:cNvPicPr>
          <p:nvPr/>
        </p:nvPicPr>
        <p:blipFill rotWithShape="1">
          <a:blip r:embed="rId43" cstate="screen">
            <a:extLst>
              <a:ext uri="{28A0092B-C50C-407E-A947-70E740481C1C}">
                <a14:useLocalDpi xmlns:a14="http://schemas.microsoft.com/office/drawing/2010/main"/>
              </a:ext>
            </a:extLst>
          </a:blip>
          <a:srcRect/>
          <a:stretch/>
        </p:blipFill>
        <p:spPr bwMode="auto">
          <a:xfrm>
            <a:off x="7534772" y="2033712"/>
            <a:ext cx="1264752" cy="457200"/>
          </a:xfrm>
          <a:prstGeom prst="roundRect">
            <a:avLst/>
          </a:prstGeom>
          <a:noFill/>
          <a:extLst>
            <a:ext uri="{909E8E84-426E-40DD-AFC4-6F175D3DCCD1}">
              <a14:hiddenFill xmlns:a14="http://schemas.microsoft.com/office/drawing/2010/main">
                <a:solidFill>
                  <a:srgbClr val="FFFFFF"/>
                </a:solidFill>
              </a14:hiddenFill>
            </a:ext>
          </a:extLst>
        </p:spPr>
      </p:pic>
      <p:sp>
        <p:nvSpPr>
          <p:cNvPr id="102" name="TextBox 38">
            <a:extLst>
              <a:ext uri="{FF2B5EF4-FFF2-40B4-BE49-F238E27FC236}">
                <a16:creationId xmlns:a16="http://schemas.microsoft.com/office/drawing/2014/main" id="{7EBC5DD2-466B-946E-3F68-0C8635A8899F}"/>
              </a:ext>
            </a:extLst>
          </p:cNvPr>
          <p:cNvSpPr txBox="1">
            <a:spLocks/>
          </p:cNvSpPr>
          <p:nvPr/>
        </p:nvSpPr>
        <p:spPr>
          <a:xfrm>
            <a:off x="7555571" y="2555173"/>
            <a:ext cx="1259505" cy="233363"/>
          </a:xfrm>
          <a:prstGeom prst="roundRect">
            <a:avLst>
              <a:gd name="adj" fmla="val 7368"/>
            </a:avLst>
          </a:prstGeom>
          <a:solidFill>
            <a:srgbClr val="F0F0F0"/>
          </a:solidFill>
          <a:ln w="9525">
            <a:noFill/>
          </a:ln>
        </p:spPr>
        <p:txBody>
          <a:bodyPr vert="horz" wrap="square" lIns="0" tIns="0" rIns="0" bIns="0" rtlCol="0" anchor="ctr">
            <a:noAutofit/>
          </a:bodyPr>
          <a:lstStyle>
            <a:defPPr>
              <a:defRPr lang="en-EN"/>
            </a:defPPr>
            <a:lvl1pPr marL="0" marR="0" lvl="0" indent="0" defTabSz="914400" eaLnBrk="1" latinLnBrk="0" hangingPunct="1">
              <a:lnSpc>
                <a:spcPct val="90000"/>
              </a:lnSpc>
              <a:spcBef>
                <a:spcPts val="400"/>
              </a:spcBef>
              <a:buClrTx/>
              <a:buSzPct val="100000"/>
              <a:buFontTx/>
              <a:buNone/>
              <a:tabLst/>
              <a:defRPr kumimoji="0" sz="1400" i="0" u="none" strike="noStrike" cap="none" spc="0" normalizeH="0" baseline="0">
                <a:ln>
                  <a:noFill/>
                </a:ln>
                <a:effectLst/>
                <a:uLnTx/>
                <a:uFillTx/>
                <a:latin typeface="Arial Nova Cond"/>
                <a:cs typeface="Calibri"/>
              </a:defRPr>
            </a:lvl1pPr>
            <a:lvl2pPr marL="104411" lvl="1" indent="-104411" algn="ctr">
              <a:spcBef>
                <a:spcPts val="400"/>
              </a:spcBef>
              <a:buSzPct val="100000"/>
              <a:buFont typeface="+mn-lt"/>
              <a:buChar char="•"/>
              <a:defRPr sz="1000" b="0">
                <a:latin typeface="+mn-lt"/>
              </a:defRPr>
            </a:lvl2pPr>
          </a:lstStyle>
          <a:p>
            <a:pPr marL="0" lvl="1" indent="0">
              <a:buNone/>
            </a:pPr>
            <a:r>
              <a:rPr lang="en-US" sz="900">
                <a:sym typeface="+mn-lt"/>
              </a:rPr>
              <a:t>Over/underground</a:t>
            </a:r>
          </a:p>
        </p:txBody>
      </p:sp>
      <p:sp>
        <p:nvSpPr>
          <p:cNvPr id="103" name="TextBox 50">
            <a:extLst>
              <a:ext uri="{FF2B5EF4-FFF2-40B4-BE49-F238E27FC236}">
                <a16:creationId xmlns:a16="http://schemas.microsoft.com/office/drawing/2014/main" id="{1EB357E8-2B4D-9C9D-3B6D-25C47E3E1D9C}"/>
              </a:ext>
            </a:extLst>
          </p:cNvPr>
          <p:cNvSpPr txBox="1">
            <a:spLocks/>
          </p:cNvSpPr>
          <p:nvPr/>
        </p:nvSpPr>
        <p:spPr>
          <a:xfrm>
            <a:off x="7574867" y="3631499"/>
            <a:ext cx="1145005" cy="222250"/>
          </a:xfrm>
          <a:prstGeom prst="rect">
            <a:avLst/>
          </a:prstGeom>
          <a:noFill/>
          <a:ln w="9525">
            <a:noFill/>
          </a:ln>
        </p:spPr>
        <p:txBody>
          <a:bodyPr vert="horz" wrap="square" lIns="0" tIns="0" rIns="0" bIns="0" rtlCol="0" anchor="t">
            <a:noAutofit/>
          </a:bodyPr>
          <a:lstStyle>
            <a:defPPr>
              <a:defRPr lang="en-EN"/>
            </a:defPPr>
            <a:lvl1pPr>
              <a:spcBef>
                <a:spcPts val="0"/>
              </a:spcBef>
              <a:buSzPct val="100000"/>
              <a:buFont typeface=""/>
              <a:defRPr kumimoji="0" sz="1000" i="0" u="none" strike="noStrike" cap="none" spc="0" normalizeH="0" baseline="0">
                <a:ln>
                  <a:noFill/>
                </a:ln>
                <a:effectLst/>
                <a:uLnTx/>
                <a:uFillTx/>
                <a:latin typeface="+mn-lt"/>
                <a:cs typeface="Calibri"/>
              </a:defRPr>
            </a:lvl1pPr>
          </a:lstStyle>
          <a:p>
            <a:r>
              <a:rPr lang="en-US" sz="900" dirty="0">
                <a:sym typeface="+mn-lt"/>
              </a:rPr>
              <a:t>Storage facilities</a:t>
            </a:r>
            <a:br>
              <a:rPr lang="en-US" sz="900" dirty="0">
                <a:sym typeface="+mn-lt"/>
              </a:rPr>
            </a:br>
            <a:r>
              <a:rPr lang="en-US" sz="900" dirty="0">
                <a:sym typeface="+mn-lt"/>
              </a:rPr>
              <a:t>['000 #]</a:t>
            </a:r>
          </a:p>
        </p:txBody>
      </p:sp>
      <p:graphicFrame>
        <p:nvGraphicFramePr>
          <p:cNvPr id="104" name="Chart 86">
            <a:extLst>
              <a:ext uri="{FF2B5EF4-FFF2-40B4-BE49-F238E27FC236}">
                <a16:creationId xmlns:a16="http://schemas.microsoft.com/office/drawing/2014/main" id="{AE7B5C5B-00C3-FF42-5D5F-08226D4E9998}"/>
              </a:ext>
            </a:extLst>
          </p:cNvPr>
          <p:cNvGraphicFramePr/>
          <p:nvPr>
            <p:custDataLst>
              <p:tags r:id="rId8"/>
            </p:custDataLst>
            <p:extLst>
              <p:ext uri="{D42A27DB-BD31-4B8C-83A1-F6EECF244321}">
                <p14:modId xmlns:p14="http://schemas.microsoft.com/office/powerpoint/2010/main" val="1712207059"/>
              </p:ext>
            </p:extLst>
          </p:nvPr>
        </p:nvGraphicFramePr>
        <p:xfrm>
          <a:off x="2861008" y="3945824"/>
          <a:ext cx="1412875" cy="654050"/>
        </p:xfrm>
        <a:graphic>
          <a:graphicData uri="http://schemas.openxmlformats.org/drawingml/2006/chart">
            <c:chart xmlns:c="http://schemas.openxmlformats.org/drawingml/2006/chart" xmlns:r="http://schemas.openxmlformats.org/officeDocument/2006/relationships" r:id="rId44"/>
          </a:graphicData>
        </a:graphic>
      </p:graphicFrame>
      <p:sp>
        <p:nvSpPr>
          <p:cNvPr id="105" name="Text Placeholder">
            <a:extLst>
              <a:ext uri="{FF2B5EF4-FFF2-40B4-BE49-F238E27FC236}">
                <a16:creationId xmlns:a16="http://schemas.microsoft.com/office/drawing/2014/main" id="{AFEBF764-C0B0-BE17-7159-C178DBDDD52E}"/>
              </a:ext>
            </a:extLst>
          </p:cNvPr>
          <p:cNvSpPr>
            <a:spLocks noGrp="1"/>
          </p:cNvSpPr>
          <p:nvPr>
            <p:custDataLst>
              <p:tags r:id="rId9"/>
            </p:custDataLst>
          </p:nvPr>
        </p:nvSpPr>
        <p:spPr bwMode="auto">
          <a:xfrm>
            <a:off x="3059446" y="4560187"/>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D51312DB-7634-498F-9882-2FA2B8F79352}" type="datetime'''''''''''''''’''''''''''''2''''''''''''''3'''''''''''">
              <a:rPr lang="en-GB" altLang="en-US" sz="1000" smtClean="0"/>
              <a:pPr lvl="0" algn="ctr" defTabSz="914400">
                <a:spcBef>
                  <a:spcPct val="0"/>
                </a:spcBef>
                <a:buSzPct val="100000"/>
                <a:buFont typeface="+mn-lt" pitchFamily="34" charset="0"/>
              </a:pPr>
              <a:t>’23</a:t>
            </a:fld>
            <a:endParaRPr lang="en-GB" sz="1000"/>
          </a:p>
        </p:txBody>
      </p:sp>
      <p:sp>
        <p:nvSpPr>
          <p:cNvPr id="106" name="Text Placeholder">
            <a:extLst>
              <a:ext uri="{FF2B5EF4-FFF2-40B4-BE49-F238E27FC236}">
                <a16:creationId xmlns:a16="http://schemas.microsoft.com/office/drawing/2014/main" id="{1D29743E-E39F-53E3-40C0-83FECD84778A}"/>
              </a:ext>
            </a:extLst>
          </p:cNvPr>
          <p:cNvSpPr>
            <a:spLocks noGrp="1"/>
          </p:cNvSpPr>
          <p:nvPr>
            <p:custDataLst>
              <p:tags r:id="rId10"/>
            </p:custDataLst>
          </p:nvPr>
        </p:nvSpPr>
        <p:spPr bwMode="auto">
          <a:xfrm>
            <a:off x="3475371" y="4560187"/>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D70DE24E-3721-4B25-BA9B-40C1E774F612}" type="datetime'''''''''''''’''''''''''''''''''''''''3''''''0'">
              <a:rPr lang="en-GB" altLang="en-US" sz="1000" smtClean="0"/>
              <a:pPr lvl="0" algn="ctr" defTabSz="914400">
                <a:spcBef>
                  <a:spcPct val="0"/>
                </a:spcBef>
                <a:buSzPct val="100000"/>
                <a:buFont typeface="+mn-lt" pitchFamily="34" charset="0"/>
              </a:pPr>
              <a:t>’30</a:t>
            </a:fld>
            <a:endParaRPr lang="en-GB" sz="1000"/>
          </a:p>
        </p:txBody>
      </p:sp>
      <p:sp>
        <p:nvSpPr>
          <p:cNvPr id="107" name="Text Placeholder">
            <a:extLst>
              <a:ext uri="{FF2B5EF4-FFF2-40B4-BE49-F238E27FC236}">
                <a16:creationId xmlns:a16="http://schemas.microsoft.com/office/drawing/2014/main" id="{D6922118-943D-1FD8-4290-5C82B00C7ACC}"/>
              </a:ext>
            </a:extLst>
          </p:cNvPr>
          <p:cNvSpPr>
            <a:spLocks noGrp="1"/>
          </p:cNvSpPr>
          <p:nvPr>
            <p:custDataLst>
              <p:tags r:id="rId11"/>
            </p:custDataLst>
          </p:nvPr>
        </p:nvSpPr>
        <p:spPr bwMode="auto">
          <a:xfrm>
            <a:off x="3891296" y="4560187"/>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F791B14E-F160-400F-A4F9-5F06365A3C68}" type="datetime'''''''''''''’''''''''''''''''4''''''''''''''''0'''">
              <a:rPr lang="en-GB" altLang="en-US" sz="1000" smtClean="0"/>
              <a:pPr lvl="0" algn="ctr" defTabSz="914400">
                <a:spcBef>
                  <a:spcPct val="0"/>
                </a:spcBef>
                <a:buSzPct val="100000"/>
                <a:buFont typeface="+mn-lt" pitchFamily="34" charset="0"/>
              </a:pPr>
              <a:t>’40</a:t>
            </a:fld>
            <a:endParaRPr lang="en-GB" sz="1000"/>
          </a:p>
        </p:txBody>
      </p:sp>
      <p:sp>
        <p:nvSpPr>
          <p:cNvPr id="108" name="Text Placeholder">
            <a:extLst>
              <a:ext uri="{FF2B5EF4-FFF2-40B4-BE49-F238E27FC236}">
                <a16:creationId xmlns:a16="http://schemas.microsoft.com/office/drawing/2014/main" id="{717511FF-7661-280F-6E01-FA3F6416B715}"/>
              </a:ext>
            </a:extLst>
          </p:cNvPr>
          <p:cNvSpPr>
            <a:spLocks noGrp="1"/>
          </p:cNvSpPr>
          <p:nvPr>
            <p:custDataLst>
              <p:tags r:id="rId12"/>
            </p:custDataLst>
          </p:nvPr>
        </p:nvSpPr>
        <p:spPr bwMode="gray">
          <a:xfrm>
            <a:off x="3061033" y="4053774"/>
            <a:ext cx="177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009DAD07-89E8-4BDC-ADD5-1440E4FE5754}" type="datetime'''''1''''''''''''''''''''''''''''''''''''''7'''">
              <a:rPr lang="en-GB" altLang="en-US" sz="1000" b="1" smtClean="0"/>
              <a:pPr lvl="0" algn="ctr" defTabSz="914400">
                <a:spcBef>
                  <a:spcPct val="0"/>
                </a:spcBef>
                <a:buSzPct val="100000"/>
                <a:buFont typeface="+mn-lt" pitchFamily="34" charset="0"/>
              </a:pPr>
              <a:t>17</a:t>
            </a:fld>
            <a:endParaRPr lang="en-GB" sz="1000" b="1"/>
          </a:p>
        </p:txBody>
      </p:sp>
      <p:sp>
        <p:nvSpPr>
          <p:cNvPr id="109" name="Text Placeholder">
            <a:extLst>
              <a:ext uri="{FF2B5EF4-FFF2-40B4-BE49-F238E27FC236}">
                <a16:creationId xmlns:a16="http://schemas.microsoft.com/office/drawing/2014/main" id="{C23C6CFA-E6CE-2535-D086-10408E0ED052}"/>
              </a:ext>
            </a:extLst>
          </p:cNvPr>
          <p:cNvSpPr>
            <a:spLocks noGrp="1"/>
          </p:cNvSpPr>
          <p:nvPr>
            <p:custDataLst>
              <p:tags r:id="rId13"/>
            </p:custDataLst>
          </p:nvPr>
        </p:nvSpPr>
        <p:spPr bwMode="gray">
          <a:xfrm>
            <a:off x="3476958" y="3991862"/>
            <a:ext cx="177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32D07A0E-B72F-433E-8E90-E28E42364168}" type="datetime'''''''''''''''''2''''''''''''''''''''''''''''''1'''''">
              <a:rPr lang="en-GB" altLang="en-US" sz="1000" b="1" smtClean="0"/>
              <a:pPr lvl="0" algn="ctr" defTabSz="914400">
                <a:spcBef>
                  <a:spcPct val="0"/>
                </a:spcBef>
                <a:buSzPct val="100000"/>
                <a:buFont typeface="+mn-lt" pitchFamily="34" charset="0"/>
              </a:pPr>
              <a:t>21</a:t>
            </a:fld>
            <a:endParaRPr lang="en-GB" sz="1000" b="1"/>
          </a:p>
        </p:txBody>
      </p:sp>
      <p:sp>
        <p:nvSpPr>
          <p:cNvPr id="110" name="Text Placeholder">
            <a:extLst>
              <a:ext uri="{FF2B5EF4-FFF2-40B4-BE49-F238E27FC236}">
                <a16:creationId xmlns:a16="http://schemas.microsoft.com/office/drawing/2014/main" id="{424697C5-18DC-32CA-DAEE-26090BE9B225}"/>
              </a:ext>
            </a:extLst>
          </p:cNvPr>
          <p:cNvSpPr>
            <a:spLocks noGrp="1"/>
          </p:cNvSpPr>
          <p:nvPr>
            <p:custDataLst>
              <p:tags r:id="rId14"/>
            </p:custDataLst>
          </p:nvPr>
        </p:nvSpPr>
        <p:spPr bwMode="gray">
          <a:xfrm>
            <a:off x="3892883" y="3850574"/>
            <a:ext cx="177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CF557C44-0F93-40BA-AD4D-86E292E04786}" type="datetime'''''''''3''''''''0'''''''">
              <a:rPr lang="en-GB" altLang="en-US" sz="1000" b="1" smtClean="0"/>
              <a:pPr lvl="0" algn="ctr" defTabSz="914400">
                <a:spcBef>
                  <a:spcPct val="0"/>
                </a:spcBef>
                <a:buSzPct val="100000"/>
                <a:buFont typeface="+mn-lt" pitchFamily="34" charset="0"/>
              </a:pPr>
              <a:t>30</a:t>
            </a:fld>
            <a:endParaRPr lang="en-GB" sz="1000" b="1"/>
          </a:p>
        </p:txBody>
      </p:sp>
      <p:graphicFrame>
        <p:nvGraphicFramePr>
          <p:cNvPr id="111" name="Chart 87">
            <a:extLst>
              <a:ext uri="{FF2B5EF4-FFF2-40B4-BE49-F238E27FC236}">
                <a16:creationId xmlns:a16="http://schemas.microsoft.com/office/drawing/2014/main" id="{1938FDAB-FD19-6EA8-4CA7-AA7CC2C8D156}"/>
              </a:ext>
            </a:extLst>
          </p:cNvPr>
          <p:cNvGraphicFramePr/>
          <p:nvPr>
            <p:custDataLst>
              <p:tags r:id="rId15"/>
            </p:custDataLst>
            <p:extLst>
              <p:ext uri="{D42A27DB-BD31-4B8C-83A1-F6EECF244321}">
                <p14:modId xmlns:p14="http://schemas.microsoft.com/office/powerpoint/2010/main" val="1706579968"/>
              </p:ext>
            </p:extLst>
          </p:nvPr>
        </p:nvGraphicFramePr>
        <p:xfrm>
          <a:off x="4385008" y="3945824"/>
          <a:ext cx="1425575" cy="654050"/>
        </p:xfrm>
        <a:graphic>
          <a:graphicData uri="http://schemas.openxmlformats.org/drawingml/2006/chart">
            <c:chart xmlns:c="http://schemas.openxmlformats.org/drawingml/2006/chart" xmlns:r="http://schemas.openxmlformats.org/officeDocument/2006/relationships" r:id="rId45"/>
          </a:graphicData>
        </a:graphic>
      </p:graphicFrame>
      <p:sp>
        <p:nvSpPr>
          <p:cNvPr id="112" name="Text Placeholder">
            <a:extLst>
              <a:ext uri="{FF2B5EF4-FFF2-40B4-BE49-F238E27FC236}">
                <a16:creationId xmlns:a16="http://schemas.microsoft.com/office/drawing/2014/main" id="{61D7BC21-DCC2-B453-AEC8-29F00EFE8430}"/>
              </a:ext>
            </a:extLst>
          </p:cNvPr>
          <p:cNvSpPr>
            <a:spLocks noGrp="1"/>
          </p:cNvSpPr>
          <p:nvPr>
            <p:custDataLst>
              <p:tags r:id="rId16"/>
            </p:custDataLst>
          </p:nvPr>
        </p:nvSpPr>
        <p:spPr bwMode="auto">
          <a:xfrm>
            <a:off x="4586621" y="4560187"/>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45C2F91A-50A4-47CD-B342-2064829462FC}" type="datetime'''''''’''2''''''''''''''''''''''''''''''''''''''''3'''''''''''">
              <a:rPr lang="en-GB" altLang="en-US" sz="1000" smtClean="0"/>
              <a:pPr lvl="0" algn="ctr" defTabSz="914400">
                <a:spcBef>
                  <a:spcPct val="0"/>
                </a:spcBef>
                <a:buSzPct val="100000"/>
                <a:buFont typeface="+mn-lt" pitchFamily="34" charset="0"/>
              </a:pPr>
              <a:t>’23</a:t>
            </a:fld>
            <a:endParaRPr lang="en-GB" sz="1000"/>
          </a:p>
        </p:txBody>
      </p:sp>
      <p:sp>
        <p:nvSpPr>
          <p:cNvPr id="113" name="Text Placeholder">
            <a:extLst>
              <a:ext uri="{FF2B5EF4-FFF2-40B4-BE49-F238E27FC236}">
                <a16:creationId xmlns:a16="http://schemas.microsoft.com/office/drawing/2014/main" id="{EB0FD8D8-BCE8-8D72-5762-DC8EA40DF71B}"/>
              </a:ext>
            </a:extLst>
          </p:cNvPr>
          <p:cNvSpPr>
            <a:spLocks noGrp="1"/>
          </p:cNvSpPr>
          <p:nvPr>
            <p:custDataLst>
              <p:tags r:id="rId17"/>
            </p:custDataLst>
          </p:nvPr>
        </p:nvSpPr>
        <p:spPr bwMode="auto">
          <a:xfrm>
            <a:off x="5007308" y="4560187"/>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89CC65AE-D12F-44AF-B334-20DF1F5A0734}" type="datetime'''''''''''’''''''''''''''''''''''''''''''''''''3''''''''0'''">
              <a:rPr lang="en-GB" altLang="en-US" sz="1000" smtClean="0"/>
              <a:pPr lvl="0" algn="ctr" defTabSz="914400">
                <a:spcBef>
                  <a:spcPct val="0"/>
                </a:spcBef>
                <a:buSzPct val="100000"/>
                <a:buFont typeface="+mn-lt" pitchFamily="34" charset="0"/>
              </a:pPr>
              <a:t>’30</a:t>
            </a:fld>
            <a:endParaRPr lang="en-GB" sz="1000"/>
          </a:p>
        </p:txBody>
      </p:sp>
      <p:sp>
        <p:nvSpPr>
          <p:cNvPr id="114" name="Text Placeholder">
            <a:extLst>
              <a:ext uri="{FF2B5EF4-FFF2-40B4-BE49-F238E27FC236}">
                <a16:creationId xmlns:a16="http://schemas.microsoft.com/office/drawing/2014/main" id="{8B54D523-0615-F15E-FF8E-B84BA47B8AAD}"/>
              </a:ext>
            </a:extLst>
          </p:cNvPr>
          <p:cNvSpPr>
            <a:spLocks noGrp="1"/>
          </p:cNvSpPr>
          <p:nvPr>
            <p:custDataLst>
              <p:tags r:id="rId18"/>
            </p:custDataLst>
          </p:nvPr>
        </p:nvSpPr>
        <p:spPr bwMode="auto">
          <a:xfrm>
            <a:off x="5426408" y="4560187"/>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704634F9-E3EF-44EE-8D9B-7601D95E1BB8}" type="datetime'''''''''''''''''''’''''''''''''''''''''''4''''''''''''''0'''">
              <a:rPr lang="en-GB" altLang="en-US" sz="1000" smtClean="0"/>
              <a:pPr lvl="0" algn="ctr" defTabSz="914400">
                <a:spcBef>
                  <a:spcPct val="0"/>
                </a:spcBef>
                <a:buSzPct val="100000"/>
                <a:buFont typeface="+mn-lt" pitchFamily="34" charset="0"/>
              </a:pPr>
              <a:t>’40</a:t>
            </a:fld>
            <a:endParaRPr lang="en-GB" sz="1000"/>
          </a:p>
        </p:txBody>
      </p:sp>
      <p:sp>
        <p:nvSpPr>
          <p:cNvPr id="115" name="Text Placeholder">
            <a:extLst>
              <a:ext uri="{FF2B5EF4-FFF2-40B4-BE49-F238E27FC236}">
                <a16:creationId xmlns:a16="http://schemas.microsoft.com/office/drawing/2014/main" id="{F37FD799-FF69-0705-D2E4-30375DF81CAB}"/>
              </a:ext>
            </a:extLst>
          </p:cNvPr>
          <p:cNvSpPr>
            <a:spLocks noGrp="1"/>
          </p:cNvSpPr>
          <p:nvPr>
            <p:custDataLst>
              <p:tags r:id="rId19"/>
            </p:custDataLst>
          </p:nvPr>
        </p:nvSpPr>
        <p:spPr bwMode="gray">
          <a:xfrm>
            <a:off x="4570746" y="3998212"/>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F801E3B9-D53D-4BED-831D-5D94880CEF4D}" type="datetime'''''''''''''''''''''''''1''''.''''''''''3'''''''''">
              <a:rPr lang="en-GB" altLang="en-US" sz="1000" b="1" smtClean="0"/>
              <a:pPr lvl="0" algn="ctr" defTabSz="914400">
                <a:spcBef>
                  <a:spcPct val="0"/>
                </a:spcBef>
                <a:buSzPct val="100000"/>
                <a:buFont typeface="+mn-lt" pitchFamily="34" charset="0"/>
              </a:pPr>
              <a:t>1.3</a:t>
            </a:fld>
            <a:endParaRPr lang="en-GB" sz="1000" b="1"/>
          </a:p>
        </p:txBody>
      </p:sp>
      <p:sp>
        <p:nvSpPr>
          <p:cNvPr id="116" name="Text Placeholder">
            <a:extLst>
              <a:ext uri="{FF2B5EF4-FFF2-40B4-BE49-F238E27FC236}">
                <a16:creationId xmlns:a16="http://schemas.microsoft.com/office/drawing/2014/main" id="{A8BA1562-49E9-1283-6A64-BFCA67D11582}"/>
              </a:ext>
            </a:extLst>
          </p:cNvPr>
          <p:cNvSpPr>
            <a:spLocks noGrp="1"/>
          </p:cNvSpPr>
          <p:nvPr>
            <p:custDataLst>
              <p:tags r:id="rId20"/>
            </p:custDataLst>
          </p:nvPr>
        </p:nvSpPr>
        <p:spPr bwMode="gray">
          <a:xfrm>
            <a:off x="4991433" y="3947412"/>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96B009C6-2880-4B68-89E7-AD8D8D23E4F6}" type="datetime'''''''''''''''''''''''1''''''''.''''''''''''''''''''''5'">
              <a:rPr lang="en-GB" altLang="en-US" sz="1000" b="1" smtClean="0"/>
              <a:pPr lvl="0" algn="ctr" defTabSz="914400">
                <a:spcBef>
                  <a:spcPct val="0"/>
                </a:spcBef>
                <a:buSzPct val="100000"/>
                <a:buFont typeface="+mn-lt" pitchFamily="34" charset="0"/>
              </a:pPr>
              <a:t>1.5</a:t>
            </a:fld>
            <a:endParaRPr lang="en-GB" sz="1000" b="1"/>
          </a:p>
        </p:txBody>
      </p:sp>
      <p:sp>
        <p:nvSpPr>
          <p:cNvPr id="117" name="Text Placeholder">
            <a:extLst>
              <a:ext uri="{FF2B5EF4-FFF2-40B4-BE49-F238E27FC236}">
                <a16:creationId xmlns:a16="http://schemas.microsoft.com/office/drawing/2014/main" id="{051E7AA5-6B15-38A3-47A9-1C9C49FD89CC}"/>
              </a:ext>
            </a:extLst>
          </p:cNvPr>
          <p:cNvSpPr>
            <a:spLocks noGrp="1"/>
          </p:cNvSpPr>
          <p:nvPr>
            <p:custDataLst>
              <p:tags r:id="rId21"/>
            </p:custDataLst>
          </p:nvPr>
        </p:nvSpPr>
        <p:spPr bwMode="gray">
          <a:xfrm>
            <a:off x="5410533" y="3850574"/>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013F3F9F-ACCE-4DA9-A8B8-E22D1083D647}" type="datetime'''1''.''''''''9'''''''''''''''''''''''''''''''''''">
              <a:rPr lang="en-GB" altLang="en-US" sz="1000" b="1" smtClean="0"/>
              <a:pPr lvl="0" algn="ctr" defTabSz="914400">
                <a:spcBef>
                  <a:spcPct val="0"/>
                </a:spcBef>
                <a:buSzPct val="100000"/>
                <a:buFont typeface="+mn-lt" pitchFamily="34" charset="0"/>
              </a:pPr>
              <a:t>1.9</a:t>
            </a:fld>
            <a:endParaRPr lang="en-GB" sz="1000" b="1"/>
          </a:p>
        </p:txBody>
      </p:sp>
      <p:graphicFrame>
        <p:nvGraphicFramePr>
          <p:cNvPr id="118" name="Chart 91">
            <a:extLst>
              <a:ext uri="{FF2B5EF4-FFF2-40B4-BE49-F238E27FC236}">
                <a16:creationId xmlns:a16="http://schemas.microsoft.com/office/drawing/2014/main" id="{EB88EE46-A932-2123-3A5C-945FB4633888}"/>
              </a:ext>
            </a:extLst>
          </p:cNvPr>
          <p:cNvGraphicFramePr/>
          <p:nvPr>
            <p:custDataLst>
              <p:tags r:id="rId22"/>
            </p:custDataLst>
            <p:extLst>
              <p:ext uri="{D42A27DB-BD31-4B8C-83A1-F6EECF244321}">
                <p14:modId xmlns:p14="http://schemas.microsoft.com/office/powerpoint/2010/main" val="611927831"/>
              </p:ext>
            </p:extLst>
          </p:nvPr>
        </p:nvGraphicFramePr>
        <p:xfrm>
          <a:off x="5939171" y="3945824"/>
          <a:ext cx="1427162" cy="654050"/>
        </p:xfrm>
        <a:graphic>
          <a:graphicData uri="http://schemas.openxmlformats.org/drawingml/2006/chart">
            <c:chart xmlns:c="http://schemas.openxmlformats.org/drawingml/2006/chart" xmlns:r="http://schemas.openxmlformats.org/officeDocument/2006/relationships" r:id="rId46"/>
          </a:graphicData>
        </a:graphic>
      </p:graphicFrame>
      <p:sp>
        <p:nvSpPr>
          <p:cNvPr id="119" name="Text Placeholder">
            <a:extLst>
              <a:ext uri="{FF2B5EF4-FFF2-40B4-BE49-F238E27FC236}">
                <a16:creationId xmlns:a16="http://schemas.microsoft.com/office/drawing/2014/main" id="{6F2F3C3F-1A0F-E816-9ACD-30BF8E89C066}"/>
              </a:ext>
            </a:extLst>
          </p:cNvPr>
          <p:cNvSpPr>
            <a:spLocks noGrp="1"/>
          </p:cNvSpPr>
          <p:nvPr>
            <p:custDataLst>
              <p:tags r:id="rId23"/>
            </p:custDataLst>
          </p:nvPr>
        </p:nvSpPr>
        <p:spPr bwMode="auto">
          <a:xfrm>
            <a:off x="6140783" y="4560187"/>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4B170A14-336D-487B-89D6-209D6D8B8107}" type="datetime'''''''''''''''''''''''''''''''''''''''''''''''''’2''''3'''''''">
              <a:rPr lang="en-GB" altLang="en-US" sz="1000" smtClean="0"/>
              <a:pPr lvl="0" algn="ctr" defTabSz="914400">
                <a:spcBef>
                  <a:spcPct val="0"/>
                </a:spcBef>
                <a:buSzPct val="100000"/>
                <a:buFont typeface="+mn-lt" pitchFamily="34" charset="0"/>
              </a:pPr>
              <a:t>’23</a:t>
            </a:fld>
            <a:endParaRPr lang="en-GB" sz="1000"/>
          </a:p>
        </p:txBody>
      </p:sp>
      <p:sp>
        <p:nvSpPr>
          <p:cNvPr id="120" name="Text Placeholder">
            <a:extLst>
              <a:ext uri="{FF2B5EF4-FFF2-40B4-BE49-F238E27FC236}">
                <a16:creationId xmlns:a16="http://schemas.microsoft.com/office/drawing/2014/main" id="{F7966AB1-5842-8A13-66F5-4F115BC7310A}"/>
              </a:ext>
            </a:extLst>
          </p:cNvPr>
          <p:cNvSpPr>
            <a:spLocks noGrp="1"/>
          </p:cNvSpPr>
          <p:nvPr>
            <p:custDataLst>
              <p:tags r:id="rId24"/>
            </p:custDataLst>
          </p:nvPr>
        </p:nvSpPr>
        <p:spPr bwMode="auto">
          <a:xfrm>
            <a:off x="6561471" y="4560187"/>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7DCCDF78-8262-4069-9A71-F255051DC26A}" type="datetime'''''''''’''''''3''''0'''''''''''''''''''''''''''">
              <a:rPr lang="en-GB" altLang="en-US" sz="1000" smtClean="0"/>
              <a:pPr lvl="0" algn="ctr" defTabSz="914400">
                <a:spcBef>
                  <a:spcPct val="0"/>
                </a:spcBef>
                <a:buSzPct val="100000"/>
                <a:buFont typeface="+mn-lt" pitchFamily="34" charset="0"/>
              </a:pPr>
              <a:t>’30</a:t>
            </a:fld>
            <a:endParaRPr lang="en-GB" sz="1000"/>
          </a:p>
        </p:txBody>
      </p:sp>
      <p:sp>
        <p:nvSpPr>
          <p:cNvPr id="121" name="Text Placeholder">
            <a:extLst>
              <a:ext uri="{FF2B5EF4-FFF2-40B4-BE49-F238E27FC236}">
                <a16:creationId xmlns:a16="http://schemas.microsoft.com/office/drawing/2014/main" id="{D38F922A-217A-4EA3-C34D-C49EEC3AABF6}"/>
              </a:ext>
            </a:extLst>
          </p:cNvPr>
          <p:cNvSpPr>
            <a:spLocks noGrp="1"/>
          </p:cNvSpPr>
          <p:nvPr>
            <p:custDataLst>
              <p:tags r:id="rId25"/>
            </p:custDataLst>
          </p:nvPr>
        </p:nvSpPr>
        <p:spPr bwMode="auto">
          <a:xfrm>
            <a:off x="6982158" y="4560187"/>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00703090-397E-4BD6-849A-65AA998DA71E}" type="datetime'''''''''’4''0'''''''''''">
              <a:rPr lang="en-GB" altLang="en-US" sz="1000" smtClean="0"/>
              <a:pPr lvl="0" algn="ctr" defTabSz="914400">
                <a:spcBef>
                  <a:spcPct val="0"/>
                </a:spcBef>
                <a:buSzPct val="100000"/>
                <a:buFont typeface="+mn-lt" pitchFamily="34" charset="0"/>
              </a:pPr>
              <a:t>’40</a:t>
            </a:fld>
            <a:endParaRPr lang="en-GB" sz="1000"/>
          </a:p>
        </p:txBody>
      </p:sp>
      <p:sp>
        <p:nvSpPr>
          <p:cNvPr id="122" name="Text Placeholder 2">
            <a:extLst>
              <a:ext uri="{FF2B5EF4-FFF2-40B4-BE49-F238E27FC236}">
                <a16:creationId xmlns:a16="http://schemas.microsoft.com/office/drawing/2014/main" id="{9E709888-BC03-B40D-D1EF-F30B2C8F09A7}"/>
              </a:ext>
            </a:extLst>
          </p:cNvPr>
          <p:cNvSpPr>
            <a:spLocks noGrp="1"/>
          </p:cNvSpPr>
          <p:nvPr>
            <p:custDataLst>
              <p:tags r:id="rId26"/>
            </p:custDataLst>
          </p:nvPr>
        </p:nvSpPr>
        <p:spPr bwMode="gray">
          <a:xfrm>
            <a:off x="6124908" y="4202999"/>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lnSpc>
                <a:spcPct val="100000"/>
              </a:lnSpc>
              <a:spcBef>
                <a:spcPct val="0"/>
              </a:spcBef>
              <a:spcAft>
                <a:spcPct val="0"/>
              </a:spcAft>
              <a:buNone/>
            </a:pPr>
            <a:fld id="{342C1E49-6994-4F12-ABD6-EDD64F4A82D4}" type="datetime'''''0''''''''''''''.''''5'''''''">
              <a:rPr lang="en-GB" altLang="en-US" sz="1000" b="1" smtClean="0">
                <a:effectLst/>
              </a:rPr>
              <a:pPr marL="0" lvl="0" indent="0" algn="ctr">
                <a:lnSpc>
                  <a:spcPct val="100000"/>
                </a:lnSpc>
                <a:spcBef>
                  <a:spcPct val="0"/>
                </a:spcBef>
                <a:spcAft>
                  <a:spcPct val="0"/>
                </a:spcAft>
                <a:buNone/>
              </a:pPr>
              <a:t>0.5</a:t>
            </a:fld>
            <a:endParaRPr lang="en-GB" sz="1000" b="1" dirty="0"/>
          </a:p>
        </p:txBody>
      </p:sp>
      <p:sp>
        <p:nvSpPr>
          <p:cNvPr id="123" name="Text Placeholder 2">
            <a:extLst>
              <a:ext uri="{FF2B5EF4-FFF2-40B4-BE49-F238E27FC236}">
                <a16:creationId xmlns:a16="http://schemas.microsoft.com/office/drawing/2014/main" id="{5F654B94-36B6-CCBD-79D8-FD197835E9F2}"/>
              </a:ext>
            </a:extLst>
          </p:cNvPr>
          <p:cNvSpPr>
            <a:spLocks noGrp="1"/>
          </p:cNvSpPr>
          <p:nvPr>
            <p:custDataLst>
              <p:tags r:id="rId27"/>
            </p:custDataLst>
          </p:nvPr>
        </p:nvSpPr>
        <p:spPr bwMode="gray">
          <a:xfrm>
            <a:off x="6545596" y="4068062"/>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lnSpc>
                <a:spcPct val="100000"/>
              </a:lnSpc>
              <a:spcBef>
                <a:spcPct val="0"/>
              </a:spcBef>
              <a:spcAft>
                <a:spcPct val="0"/>
              </a:spcAft>
              <a:buNone/>
            </a:pPr>
            <a:fld id="{F75FCEA1-131F-418D-B7E2-F175BFBCF736}" type="datetime'''''''''''''''''''''''''''''''''1''''''''''''.''''''0'''">
              <a:rPr lang="en-GB" altLang="en-US" sz="1000" b="1" smtClean="0">
                <a:effectLst/>
              </a:rPr>
              <a:pPr marL="0" lvl="0" indent="0" algn="ctr">
                <a:lnSpc>
                  <a:spcPct val="100000"/>
                </a:lnSpc>
                <a:spcBef>
                  <a:spcPct val="0"/>
                </a:spcBef>
                <a:spcAft>
                  <a:spcPct val="0"/>
                </a:spcAft>
                <a:buNone/>
              </a:pPr>
              <a:t>1.0</a:t>
            </a:fld>
            <a:endParaRPr lang="en-GB" sz="1000" b="1" dirty="0"/>
          </a:p>
        </p:txBody>
      </p:sp>
      <p:sp>
        <p:nvSpPr>
          <p:cNvPr id="124" name="Text Placeholder 2">
            <a:extLst>
              <a:ext uri="{FF2B5EF4-FFF2-40B4-BE49-F238E27FC236}">
                <a16:creationId xmlns:a16="http://schemas.microsoft.com/office/drawing/2014/main" id="{18D170F7-4867-650C-CF1F-472DD96CA332}"/>
              </a:ext>
            </a:extLst>
          </p:cNvPr>
          <p:cNvSpPr>
            <a:spLocks noGrp="1"/>
          </p:cNvSpPr>
          <p:nvPr>
            <p:custDataLst>
              <p:tags r:id="rId28"/>
            </p:custDataLst>
          </p:nvPr>
        </p:nvSpPr>
        <p:spPr bwMode="gray">
          <a:xfrm>
            <a:off x="6966283" y="3850574"/>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lnSpc>
                <a:spcPct val="100000"/>
              </a:lnSpc>
              <a:spcBef>
                <a:spcPct val="0"/>
              </a:spcBef>
              <a:spcAft>
                <a:spcPct val="0"/>
              </a:spcAft>
              <a:buNone/>
            </a:pPr>
            <a:fld id="{D35F89B0-2545-476D-A81A-D64AC98A4005}" type="datetime'''''''''''''''''''''''''''''''1''.''''8'''''''''''''">
              <a:rPr lang="en-GB" altLang="en-US" sz="1000" b="1" smtClean="0">
                <a:effectLst/>
              </a:rPr>
              <a:pPr marL="0" lvl="0" indent="0" algn="ctr">
                <a:lnSpc>
                  <a:spcPct val="100000"/>
                </a:lnSpc>
                <a:spcBef>
                  <a:spcPct val="0"/>
                </a:spcBef>
                <a:spcAft>
                  <a:spcPct val="0"/>
                </a:spcAft>
                <a:buNone/>
              </a:pPr>
              <a:t>1.8</a:t>
            </a:fld>
            <a:endParaRPr lang="en-GB" sz="1000" b="1" dirty="0"/>
          </a:p>
        </p:txBody>
      </p:sp>
      <p:graphicFrame>
        <p:nvGraphicFramePr>
          <p:cNvPr id="125" name="Chart 92">
            <a:extLst>
              <a:ext uri="{FF2B5EF4-FFF2-40B4-BE49-F238E27FC236}">
                <a16:creationId xmlns:a16="http://schemas.microsoft.com/office/drawing/2014/main" id="{E8225127-97C1-355F-8324-DAFC7CF05872}"/>
              </a:ext>
            </a:extLst>
          </p:cNvPr>
          <p:cNvGraphicFramePr/>
          <p:nvPr>
            <p:custDataLst>
              <p:tags r:id="rId29"/>
            </p:custDataLst>
            <p:extLst>
              <p:ext uri="{D42A27DB-BD31-4B8C-83A1-F6EECF244321}">
                <p14:modId xmlns:p14="http://schemas.microsoft.com/office/powerpoint/2010/main" val="3614757366"/>
              </p:ext>
            </p:extLst>
          </p:nvPr>
        </p:nvGraphicFramePr>
        <p:xfrm>
          <a:off x="7491746" y="3945824"/>
          <a:ext cx="1409700" cy="654050"/>
        </p:xfrm>
        <a:graphic>
          <a:graphicData uri="http://schemas.openxmlformats.org/drawingml/2006/chart">
            <c:chart xmlns:c="http://schemas.openxmlformats.org/drawingml/2006/chart" xmlns:r="http://schemas.openxmlformats.org/officeDocument/2006/relationships" r:id="rId47"/>
          </a:graphicData>
        </a:graphic>
      </p:graphicFrame>
      <p:sp>
        <p:nvSpPr>
          <p:cNvPr id="126" name="Text Placeholder">
            <a:extLst>
              <a:ext uri="{FF2B5EF4-FFF2-40B4-BE49-F238E27FC236}">
                <a16:creationId xmlns:a16="http://schemas.microsoft.com/office/drawing/2014/main" id="{604DACEE-82A4-23C0-06E8-F72463330406}"/>
              </a:ext>
            </a:extLst>
          </p:cNvPr>
          <p:cNvSpPr>
            <a:spLocks noGrp="1"/>
          </p:cNvSpPr>
          <p:nvPr>
            <p:custDataLst>
              <p:tags r:id="rId30"/>
            </p:custDataLst>
          </p:nvPr>
        </p:nvSpPr>
        <p:spPr bwMode="auto">
          <a:xfrm>
            <a:off x="7690183" y="4560187"/>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B0AE5794-B687-4EF7-B6E3-65843FE01CA7}" type="datetime'''’''''''''''''''''''''''''''''''''2''3'''''''''''''''''''''">
              <a:rPr lang="en-GB" altLang="en-US" sz="1000" smtClean="0"/>
              <a:pPr lvl="0" algn="ctr" defTabSz="914400">
                <a:spcBef>
                  <a:spcPct val="0"/>
                </a:spcBef>
                <a:buSzPct val="100000"/>
                <a:buFont typeface="+mn-lt" pitchFamily="34" charset="0"/>
              </a:pPr>
              <a:t>’23</a:t>
            </a:fld>
            <a:endParaRPr lang="en-GB" sz="1000"/>
          </a:p>
        </p:txBody>
      </p:sp>
      <p:sp>
        <p:nvSpPr>
          <p:cNvPr id="127" name="Text Placeholder">
            <a:extLst>
              <a:ext uri="{FF2B5EF4-FFF2-40B4-BE49-F238E27FC236}">
                <a16:creationId xmlns:a16="http://schemas.microsoft.com/office/drawing/2014/main" id="{ECFE9A22-A90B-393E-9440-526AFB9B35A0}"/>
              </a:ext>
            </a:extLst>
          </p:cNvPr>
          <p:cNvSpPr>
            <a:spLocks noGrp="1"/>
          </p:cNvSpPr>
          <p:nvPr>
            <p:custDataLst>
              <p:tags r:id="rId31"/>
            </p:custDataLst>
          </p:nvPr>
        </p:nvSpPr>
        <p:spPr bwMode="auto">
          <a:xfrm>
            <a:off x="8104521" y="4560187"/>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104C7D85-7DA2-4755-A41D-E6FAE3E44D5A}" type="datetime'''''''''''''''''''’''''''''''3''''''''0'''''''''''''''''''">
              <a:rPr lang="en-GB" altLang="en-US" sz="1000" smtClean="0"/>
              <a:pPr lvl="0" algn="ctr" defTabSz="914400">
                <a:spcBef>
                  <a:spcPct val="0"/>
                </a:spcBef>
                <a:buSzPct val="100000"/>
                <a:buFont typeface="+mn-lt" pitchFamily="34" charset="0"/>
              </a:pPr>
              <a:t>’30</a:t>
            </a:fld>
            <a:endParaRPr lang="en-GB" sz="1000"/>
          </a:p>
        </p:txBody>
      </p:sp>
      <p:sp>
        <p:nvSpPr>
          <p:cNvPr id="128" name="Text Placeholder">
            <a:extLst>
              <a:ext uri="{FF2B5EF4-FFF2-40B4-BE49-F238E27FC236}">
                <a16:creationId xmlns:a16="http://schemas.microsoft.com/office/drawing/2014/main" id="{D33D65C7-7997-593C-BD89-28E27BAD4091}"/>
              </a:ext>
            </a:extLst>
          </p:cNvPr>
          <p:cNvSpPr>
            <a:spLocks noGrp="1"/>
          </p:cNvSpPr>
          <p:nvPr>
            <p:custDataLst>
              <p:tags r:id="rId32"/>
            </p:custDataLst>
          </p:nvPr>
        </p:nvSpPr>
        <p:spPr bwMode="auto">
          <a:xfrm>
            <a:off x="8520446" y="4560187"/>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E8605DA8-965B-445B-B86F-B1A0246C3778}" type="datetime'’''''''''''''''''''''''''''40'''''">
              <a:rPr lang="en-GB" altLang="en-US" sz="1000" smtClean="0"/>
              <a:pPr lvl="0" algn="ctr" defTabSz="914400">
                <a:spcBef>
                  <a:spcPct val="0"/>
                </a:spcBef>
                <a:buSzPct val="100000"/>
                <a:buFont typeface="+mn-lt" pitchFamily="34" charset="0"/>
              </a:pPr>
              <a:t>’40</a:t>
            </a:fld>
            <a:endParaRPr lang="en-GB" sz="1000"/>
          </a:p>
        </p:txBody>
      </p:sp>
      <p:sp>
        <p:nvSpPr>
          <p:cNvPr id="129" name="Text Placeholder">
            <a:extLst>
              <a:ext uri="{FF2B5EF4-FFF2-40B4-BE49-F238E27FC236}">
                <a16:creationId xmlns:a16="http://schemas.microsoft.com/office/drawing/2014/main" id="{12DE7F17-1AF8-7DBC-9881-FE350E424465}"/>
              </a:ext>
            </a:extLst>
          </p:cNvPr>
          <p:cNvSpPr>
            <a:spLocks noGrp="1"/>
          </p:cNvSpPr>
          <p:nvPr>
            <p:custDataLst>
              <p:tags r:id="rId33"/>
            </p:custDataLst>
          </p:nvPr>
        </p:nvSpPr>
        <p:spPr bwMode="gray">
          <a:xfrm>
            <a:off x="7674308" y="4264912"/>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6F76BA58-FB3E-4050-A1BC-68A3079E5237}" type="datetime'''''''''''''1''''''''''''''.''''''''''''''''''''8'">
              <a:rPr lang="en-GB" altLang="en-US" sz="1000" b="1" smtClean="0"/>
              <a:pPr lvl="0" algn="ctr" defTabSz="914400">
                <a:spcBef>
                  <a:spcPct val="0"/>
                </a:spcBef>
                <a:buSzPct val="100000"/>
                <a:buFont typeface="+mn-lt" pitchFamily="34" charset="0"/>
              </a:pPr>
              <a:t>1.8</a:t>
            </a:fld>
            <a:endParaRPr lang="en-GB" sz="1000" b="1"/>
          </a:p>
        </p:txBody>
      </p:sp>
      <p:sp>
        <p:nvSpPr>
          <p:cNvPr id="130" name="Text Placeholder">
            <a:extLst>
              <a:ext uri="{FF2B5EF4-FFF2-40B4-BE49-F238E27FC236}">
                <a16:creationId xmlns:a16="http://schemas.microsoft.com/office/drawing/2014/main" id="{C92CA912-8707-4571-BE6C-7F288225CD2B}"/>
              </a:ext>
            </a:extLst>
          </p:cNvPr>
          <p:cNvSpPr>
            <a:spLocks noGrp="1"/>
          </p:cNvSpPr>
          <p:nvPr>
            <p:custDataLst>
              <p:tags r:id="rId34"/>
            </p:custDataLst>
          </p:nvPr>
        </p:nvSpPr>
        <p:spPr bwMode="gray">
          <a:xfrm>
            <a:off x="8088646" y="4174424"/>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0FE13EE4-F73F-4B6F-B0F0-826548A7A813}" type="datetime'''''''''''''''''''''''''''''''''4.''''''''''''''''0'">
              <a:rPr lang="en-GB" altLang="en-US" sz="1000" b="1" smtClean="0"/>
              <a:pPr lvl="0" algn="ctr" defTabSz="914400">
                <a:spcBef>
                  <a:spcPct val="0"/>
                </a:spcBef>
                <a:buSzPct val="100000"/>
                <a:buFont typeface="+mn-lt" pitchFamily="34" charset="0"/>
              </a:pPr>
              <a:t>4.0</a:t>
            </a:fld>
            <a:endParaRPr lang="en-GB" sz="1000" b="1"/>
          </a:p>
        </p:txBody>
      </p:sp>
      <p:sp>
        <p:nvSpPr>
          <p:cNvPr id="131" name="Text Placeholder">
            <a:extLst>
              <a:ext uri="{FF2B5EF4-FFF2-40B4-BE49-F238E27FC236}">
                <a16:creationId xmlns:a16="http://schemas.microsoft.com/office/drawing/2014/main" id="{BC28E816-EDB6-8DFE-3CA0-79BB613C1E52}"/>
              </a:ext>
            </a:extLst>
          </p:cNvPr>
          <p:cNvSpPr>
            <a:spLocks noGrp="1"/>
          </p:cNvSpPr>
          <p:nvPr>
            <p:custDataLst>
              <p:tags r:id="rId35"/>
            </p:custDataLst>
          </p:nvPr>
        </p:nvSpPr>
        <p:spPr bwMode="gray">
          <a:xfrm>
            <a:off x="8469646" y="3850574"/>
            <a:ext cx="282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lvl="0" algn="ctr" defTabSz="914400">
              <a:spcBef>
                <a:spcPct val="0"/>
              </a:spcBef>
              <a:buSzPct val="100000"/>
              <a:buFont typeface="+mn-lt" pitchFamily="34" charset="0"/>
            </a:pPr>
            <a:fld id="{B632AEC5-80A2-4EA9-A455-4E7F6198B7F9}" type="datetime'''''''1''''''''''''''''''''''''''''''''''''''''1''.''8'''''''">
              <a:rPr lang="en-GB" altLang="en-US" sz="1000" b="1" smtClean="0"/>
              <a:pPr lvl="0" algn="ctr" defTabSz="914400">
                <a:spcBef>
                  <a:spcPct val="0"/>
                </a:spcBef>
                <a:buSzPct val="100000"/>
                <a:buFont typeface="+mn-lt" pitchFamily="34" charset="0"/>
              </a:pPr>
              <a:t>11.8</a:t>
            </a:fld>
            <a:endParaRPr lang="en-GB" sz="1000" b="1"/>
          </a:p>
        </p:txBody>
      </p:sp>
      <p:sp>
        <p:nvSpPr>
          <p:cNvPr id="132" name="Source">
            <a:extLst>
              <a:ext uri="{FF2B5EF4-FFF2-40B4-BE49-F238E27FC236}">
                <a16:creationId xmlns:a16="http://schemas.microsoft.com/office/drawing/2014/main" id="{36FCA7CE-E988-9AC7-97E2-A1E22EBC0D45}"/>
              </a:ext>
            </a:extLst>
          </p:cNvPr>
          <p:cNvSpPr txBox="1"/>
          <p:nvPr/>
        </p:nvSpPr>
        <p:spPr>
          <a:xfrm>
            <a:off x="5738968" y="1483939"/>
            <a:ext cx="3555460"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dirty="0">
                <a:sym typeface="+mn-lt"/>
              </a:rPr>
              <a:t>Source: European Commission, Eurostat, COM (2020) 299 final, Heat Roadmap Europe, Roland Berger</a:t>
            </a:r>
          </a:p>
        </p:txBody>
      </p:sp>
      <p:sp>
        <p:nvSpPr>
          <p:cNvPr id="133" name="TextBox 226">
            <a:extLst>
              <a:ext uri="{FF2B5EF4-FFF2-40B4-BE49-F238E27FC236}">
                <a16:creationId xmlns:a16="http://schemas.microsoft.com/office/drawing/2014/main" id="{19CB7B52-0C15-4281-C61B-37667C7B9BDE}"/>
              </a:ext>
            </a:extLst>
          </p:cNvPr>
          <p:cNvSpPr txBox="1"/>
          <p:nvPr/>
        </p:nvSpPr>
        <p:spPr>
          <a:xfrm>
            <a:off x="149133" y="1383111"/>
            <a:ext cx="7579731" cy="276999"/>
          </a:xfrm>
          <a:prstGeom prst="rect">
            <a:avLst/>
          </a:prstGeom>
          <a:noFill/>
        </p:spPr>
        <p:txBody>
          <a:bodyPr wrap="square">
            <a:spAutoFit/>
          </a:bodyPr>
          <a:lstStyle/>
          <a:p>
            <a:r>
              <a:rPr lang="en-US" sz="1200" dirty="0">
                <a:solidFill>
                  <a:schemeClr val="tx2"/>
                </a:solidFill>
                <a:latin typeface="+mj-lt"/>
                <a:cs typeface="+mj-cs"/>
                <a:sym typeface="+mn-lt"/>
              </a:rPr>
              <a:t>Overview of district heating underlying infrastructure by segment</a:t>
            </a:r>
          </a:p>
        </p:txBody>
      </p:sp>
      <p:grpSp>
        <p:nvGrpSpPr>
          <p:cNvPr id="134" name="Group 94">
            <a:extLst>
              <a:ext uri="{FF2B5EF4-FFF2-40B4-BE49-F238E27FC236}">
                <a16:creationId xmlns:a16="http://schemas.microsoft.com/office/drawing/2014/main" id="{E6C3A6B3-3909-2D97-4FA3-60617BF96166}"/>
              </a:ext>
            </a:extLst>
          </p:cNvPr>
          <p:cNvGrpSpPr/>
          <p:nvPr/>
        </p:nvGrpSpPr>
        <p:grpSpPr>
          <a:xfrm>
            <a:off x="267604" y="-985"/>
            <a:ext cx="2037445" cy="246221"/>
            <a:chOff x="267604" y="3778"/>
            <a:chExt cx="2037445" cy="246221"/>
          </a:xfrm>
        </p:grpSpPr>
        <p:sp>
          <p:nvSpPr>
            <p:cNvPr id="135" name="Oval 95">
              <a:extLst>
                <a:ext uri="{FF2B5EF4-FFF2-40B4-BE49-F238E27FC236}">
                  <a16:creationId xmlns:a16="http://schemas.microsoft.com/office/drawing/2014/main" id="{6FB26889-A095-E25E-06C0-DD392BC01BE8}"/>
                </a:ext>
              </a:extLst>
            </p:cNvPr>
            <p:cNvSpPr/>
            <p:nvPr/>
          </p:nvSpPr>
          <p:spPr>
            <a:xfrm>
              <a:off x="267604" y="45746"/>
              <a:ext cx="162285" cy="162285"/>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RB Office"/>
                  <a:ea typeface="Microsoft YaHei"/>
                  <a:cs typeface="Calibri"/>
                </a:rPr>
                <a:t>A</a:t>
              </a:r>
            </a:p>
          </p:txBody>
        </p:sp>
        <p:sp>
          <p:nvSpPr>
            <p:cNvPr id="136" name="TextBox 96">
              <a:extLst>
                <a:ext uri="{FF2B5EF4-FFF2-40B4-BE49-F238E27FC236}">
                  <a16:creationId xmlns:a16="http://schemas.microsoft.com/office/drawing/2014/main" id="{FB8AAD38-E5D2-A30F-0DC8-96E0F8E5AB2D}"/>
                </a:ext>
              </a:extLst>
            </p:cNvPr>
            <p:cNvSpPr txBox="1"/>
            <p:nvPr/>
          </p:nvSpPr>
          <p:spPr>
            <a:xfrm>
              <a:off x="362200" y="3778"/>
              <a:ext cx="1942849" cy="246221"/>
            </a:xfrm>
            <a:prstGeom prst="rect">
              <a:avLst/>
            </a:prstGeom>
            <a:noFill/>
          </p:spPr>
          <p:txBody>
            <a:bodyPr wrap="square" rtlCol="0" anchor="ctr">
              <a:spAutoFit/>
            </a:bodyPr>
            <a:lstStyle/>
            <a:p>
              <a:r>
                <a:rPr lang="en-GB" sz="1000" dirty="0"/>
                <a:t>District energy infrastructure</a:t>
              </a:r>
            </a:p>
          </p:txBody>
        </p:sp>
      </p:grpSp>
    </p:spTree>
    <p:extLst>
      <p:ext uri="{BB962C8B-B14F-4D97-AF65-F5344CB8AC3E}">
        <p14:creationId xmlns:p14="http://schemas.microsoft.com/office/powerpoint/2010/main" val="22386741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4">
            <a:extLst>
              <a:ext uri="{FF2B5EF4-FFF2-40B4-BE49-F238E27FC236}">
                <a16:creationId xmlns:a16="http://schemas.microsoft.com/office/drawing/2014/main" id="{404A7496-5E22-C44B-8B76-78EFE50AE9CC}"/>
              </a:ext>
            </a:extLst>
          </p:cNvPr>
          <p:cNvSpPr txBox="1">
            <a:spLocks/>
          </p:cNvSpPr>
          <p:nvPr/>
        </p:nvSpPr>
        <p:spPr>
          <a:xfrm>
            <a:off x="187325" y="800357"/>
            <a:ext cx="8705850" cy="576000"/>
          </a:xfrm>
          <a:prstGeom prst="rect">
            <a:avLst/>
          </a:prstGeom>
        </p:spPr>
        <p:txBody>
          <a:bodyPr vert="horz"/>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r>
              <a:rPr lang="en-US" sz="2000" dirty="0"/>
              <a:t>With H2 demand increasing massively over the next years, a significant infrastructures build-out will be required</a:t>
            </a:r>
            <a:endParaRPr lang="en-GB" sz="2000" dirty="0"/>
          </a:p>
        </p:txBody>
      </p:sp>
      <p:graphicFrame>
        <p:nvGraphicFramePr>
          <p:cNvPr id="3" name="Chart 10">
            <a:extLst>
              <a:ext uri="{FF2B5EF4-FFF2-40B4-BE49-F238E27FC236}">
                <a16:creationId xmlns:a16="http://schemas.microsoft.com/office/drawing/2014/main" id="{DA263AD2-16EC-3F1A-8193-9EB5F275C153}"/>
              </a:ext>
            </a:extLst>
          </p:cNvPr>
          <p:cNvGraphicFramePr/>
          <p:nvPr>
            <p:custDataLst>
              <p:tags r:id="rId1"/>
            </p:custDataLst>
            <p:extLst>
              <p:ext uri="{D42A27DB-BD31-4B8C-83A1-F6EECF244321}">
                <p14:modId xmlns:p14="http://schemas.microsoft.com/office/powerpoint/2010/main" val="57946620"/>
              </p:ext>
            </p:extLst>
          </p:nvPr>
        </p:nvGraphicFramePr>
        <p:xfrm>
          <a:off x="3206170" y="2116321"/>
          <a:ext cx="2698750" cy="2271713"/>
        </p:xfrm>
        <a:graphic>
          <a:graphicData uri="http://schemas.openxmlformats.org/drawingml/2006/chart">
            <c:chart xmlns:c="http://schemas.openxmlformats.org/drawingml/2006/chart" xmlns:r="http://schemas.openxmlformats.org/officeDocument/2006/relationships" r:id="rId63"/>
          </a:graphicData>
        </a:graphic>
      </p:graphicFrame>
      <p:cxnSp>
        <p:nvCxnSpPr>
          <p:cNvPr id="4" name="Straight Connector 20">
            <a:extLst>
              <a:ext uri="{FF2B5EF4-FFF2-40B4-BE49-F238E27FC236}">
                <a16:creationId xmlns:a16="http://schemas.microsoft.com/office/drawing/2014/main" id="{4DADECB0-A61F-F831-B019-193BBDDCD482}"/>
              </a:ext>
            </a:extLst>
          </p:cNvPr>
          <p:cNvCxnSpPr/>
          <p:nvPr>
            <p:custDataLst>
              <p:tags r:id="rId2"/>
            </p:custDataLst>
          </p:nvPr>
        </p:nvCxnSpPr>
        <p:spPr bwMode="auto">
          <a:xfrm flipH="1">
            <a:off x="3743539" y="4225045"/>
            <a:ext cx="61913" cy="84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Text Placeholder">
            <a:extLst>
              <a:ext uri="{FF2B5EF4-FFF2-40B4-BE49-F238E27FC236}">
                <a16:creationId xmlns:a16="http://schemas.microsoft.com/office/drawing/2014/main" id="{49016040-F3A8-1F55-9496-933DF8026355}"/>
              </a:ext>
            </a:extLst>
          </p:cNvPr>
          <p:cNvSpPr>
            <a:spLocks noGrp="1"/>
          </p:cNvSpPr>
          <p:nvPr>
            <p:custDataLst>
              <p:tags r:id="rId3"/>
            </p:custDataLst>
          </p:nvPr>
        </p:nvSpPr>
        <p:spPr bwMode="gray">
          <a:xfrm>
            <a:off x="3472870" y="4235634"/>
            <a:ext cx="2635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860" tIns="0" rIns="1786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AFF94B6B-ADA7-4217-99D8-21E41689127F}" type="datetime'''9''''''''''''''''9''''''''''''''''''''%'''''''''''''''''''">
              <a:rPr lang="en-GB" altLang="en-US" sz="900" smtClean="0">
                <a:solidFill>
                  <a:schemeClr val="bg1"/>
                </a:solidFill>
              </a:rPr>
              <a:pPr/>
              <a:t>99%</a:t>
            </a:fld>
            <a:endParaRPr lang="en-GB" sz="900">
              <a:solidFill>
                <a:schemeClr val="bg1"/>
              </a:solidFill>
            </a:endParaRPr>
          </a:p>
        </p:txBody>
      </p:sp>
      <p:sp>
        <p:nvSpPr>
          <p:cNvPr id="6" name="Text Placeholder">
            <a:extLst>
              <a:ext uri="{FF2B5EF4-FFF2-40B4-BE49-F238E27FC236}">
                <a16:creationId xmlns:a16="http://schemas.microsoft.com/office/drawing/2014/main" id="{CD621658-B5D1-79A1-549E-78ADB266E1F8}"/>
              </a:ext>
            </a:extLst>
          </p:cNvPr>
          <p:cNvSpPr>
            <a:spLocks noGrp="1"/>
          </p:cNvSpPr>
          <p:nvPr>
            <p:custDataLst>
              <p:tags r:id="rId4"/>
            </p:custDataLst>
          </p:nvPr>
        </p:nvSpPr>
        <p:spPr bwMode="gray">
          <a:xfrm>
            <a:off x="3806245" y="4163132"/>
            <a:ext cx="200025" cy="123825"/>
          </a:xfrm>
          <a:prstGeom prst="rect">
            <a:avLst/>
          </a:prstGeom>
          <a:noFill/>
          <a:ln>
            <a:noFill/>
          </a:ln>
          <a:effectLst/>
          <a:extLst>
            <a:ext uri="{909E8E84-426E-40DD-AFC4-6F175D3DCCD1}">
              <a14:hiddenFill xmlns:a14="http://schemas.microsoft.com/office/drawing/2010/main">
                <a:solidFill>
                  <a:srgbClr val="000082"/>
                </a:solidFill>
              </a14:hiddenFill>
            </a:ext>
          </a:extLst>
        </p:spPr>
        <p:txBody>
          <a:bodyPr vert="horz" wrap="none" lIns="17860" tIns="0" rIns="1786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1EBC51A1-56AF-4B0A-9113-0B59B447FD02}" type="datetime'''''''''''''''''''''''''''''''''''1''''''''''''''''''%'">
              <a:rPr lang="en-GB" altLang="en-US" sz="900" smtClean="0"/>
              <a:pPr/>
              <a:t>1%</a:t>
            </a:fld>
            <a:endParaRPr lang="en-GB" sz="900"/>
          </a:p>
        </p:txBody>
      </p:sp>
      <p:sp>
        <p:nvSpPr>
          <p:cNvPr id="7" name="Text Placeholder">
            <a:extLst>
              <a:ext uri="{FF2B5EF4-FFF2-40B4-BE49-F238E27FC236}">
                <a16:creationId xmlns:a16="http://schemas.microsoft.com/office/drawing/2014/main" id="{30329830-35DB-B1D3-F298-01166F517CF5}"/>
              </a:ext>
            </a:extLst>
          </p:cNvPr>
          <p:cNvSpPr>
            <a:spLocks noGrp="1"/>
          </p:cNvSpPr>
          <p:nvPr>
            <p:custDataLst>
              <p:tags r:id="rId5"/>
            </p:custDataLst>
          </p:nvPr>
        </p:nvSpPr>
        <p:spPr bwMode="auto">
          <a:xfrm>
            <a:off x="3471283" y="4350457"/>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D599E768-F39C-4083-839D-DBBD34C3163C}" type="datetime'''2''''''022'''''''''''''''''''''''''''''''''''''">
              <a:rPr lang="en-GB" altLang="en-US" sz="900" smtClean="0"/>
              <a:pPr/>
              <a:t>2022</a:t>
            </a:fld>
            <a:endParaRPr lang="en-GB" sz="900"/>
          </a:p>
        </p:txBody>
      </p:sp>
      <p:sp>
        <p:nvSpPr>
          <p:cNvPr id="8" name="Text Placeholder">
            <a:extLst>
              <a:ext uri="{FF2B5EF4-FFF2-40B4-BE49-F238E27FC236}">
                <a16:creationId xmlns:a16="http://schemas.microsoft.com/office/drawing/2014/main" id="{6F37B8B2-27ED-4BC6-85C2-8274775DCAC4}"/>
              </a:ext>
            </a:extLst>
          </p:cNvPr>
          <p:cNvSpPr>
            <a:spLocks noGrp="1"/>
          </p:cNvSpPr>
          <p:nvPr>
            <p:custDataLst>
              <p:tags r:id="rId6"/>
            </p:custDataLst>
          </p:nvPr>
        </p:nvSpPr>
        <p:spPr bwMode="gray">
          <a:xfrm>
            <a:off x="4106283" y="3897496"/>
            <a:ext cx="2635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860" tIns="0" rIns="1786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24A1329D-3571-4A64-AAAE-723CE7355108}" type="datetime'''''''''''''''''''5''''''''''''''4''''''''''''''%'">
              <a:rPr lang="en-GB" altLang="en-US" sz="900" smtClean="0">
                <a:solidFill>
                  <a:schemeClr val="bg1"/>
                </a:solidFill>
              </a:rPr>
              <a:pPr/>
              <a:t>54%</a:t>
            </a:fld>
            <a:endParaRPr lang="en-GB" sz="900">
              <a:solidFill>
                <a:schemeClr val="bg1"/>
              </a:solidFill>
            </a:endParaRPr>
          </a:p>
        </p:txBody>
      </p:sp>
      <p:sp>
        <p:nvSpPr>
          <p:cNvPr id="9" name="Text Placeholder">
            <a:extLst>
              <a:ext uri="{FF2B5EF4-FFF2-40B4-BE49-F238E27FC236}">
                <a16:creationId xmlns:a16="http://schemas.microsoft.com/office/drawing/2014/main" id="{025C987D-8D44-D9BE-0854-CE7DD43F5217}"/>
              </a:ext>
            </a:extLst>
          </p:cNvPr>
          <p:cNvSpPr>
            <a:spLocks noGrp="1"/>
          </p:cNvSpPr>
          <p:nvPr>
            <p:custDataLst>
              <p:tags r:id="rId7"/>
            </p:custDataLst>
          </p:nvPr>
        </p:nvSpPr>
        <p:spPr bwMode="gray">
          <a:xfrm>
            <a:off x="4106283" y="4168959"/>
            <a:ext cx="263525" cy="123825"/>
          </a:xfrm>
          <a:prstGeom prst="rect">
            <a:avLst/>
          </a:prstGeom>
          <a:solidFill>
            <a:srgbClr val="000082"/>
          </a:solidFill>
          <a:ln>
            <a:noFill/>
          </a:ln>
          <a:effectLst/>
        </p:spPr>
        <p:txBody>
          <a:bodyPr vert="horz" wrap="none" lIns="17860" tIns="0" rIns="1786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D52BB200-0D8D-4F4A-BAAD-B24325926B5F}" type="datetime'''1''''2''''''''''''''%'''''''''''">
              <a:rPr lang="en-GB" altLang="en-US" sz="900" smtClean="0">
                <a:solidFill>
                  <a:schemeClr val="bg1"/>
                </a:solidFill>
              </a:rPr>
              <a:pPr/>
              <a:t>12%</a:t>
            </a:fld>
            <a:endParaRPr lang="en-GB" sz="900">
              <a:solidFill>
                <a:schemeClr val="bg1"/>
              </a:solidFill>
            </a:endParaRPr>
          </a:p>
        </p:txBody>
      </p:sp>
      <p:sp>
        <p:nvSpPr>
          <p:cNvPr id="10" name="Text Placeholder">
            <a:extLst>
              <a:ext uri="{FF2B5EF4-FFF2-40B4-BE49-F238E27FC236}">
                <a16:creationId xmlns:a16="http://schemas.microsoft.com/office/drawing/2014/main" id="{DE6E2BB3-9AB3-1659-F212-F3D5C2148F5C}"/>
              </a:ext>
            </a:extLst>
          </p:cNvPr>
          <p:cNvSpPr>
            <a:spLocks noGrp="1"/>
          </p:cNvSpPr>
          <p:nvPr>
            <p:custDataLst>
              <p:tags r:id="rId8"/>
            </p:custDataLst>
          </p:nvPr>
        </p:nvSpPr>
        <p:spPr bwMode="gray">
          <a:xfrm>
            <a:off x="4106283" y="4110745"/>
            <a:ext cx="2635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860" tIns="0" rIns="1786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7E7D16BB-1737-4A06-BCF0-41F95A7A7535}" type="datetime'''''''''''''''''''''''''3''''''4''''''''%'''''''''''''''''''">
              <a:rPr lang="en-GB" altLang="en-US" sz="900" smtClean="0">
                <a:solidFill>
                  <a:schemeClr val="bg1"/>
                </a:solidFill>
              </a:rPr>
              <a:pPr/>
              <a:t>34%</a:t>
            </a:fld>
            <a:endParaRPr lang="en-GB" sz="900">
              <a:solidFill>
                <a:schemeClr val="bg1"/>
              </a:solidFill>
            </a:endParaRPr>
          </a:p>
        </p:txBody>
      </p:sp>
      <p:sp>
        <p:nvSpPr>
          <p:cNvPr id="11" name="Text Placeholder">
            <a:extLst>
              <a:ext uri="{FF2B5EF4-FFF2-40B4-BE49-F238E27FC236}">
                <a16:creationId xmlns:a16="http://schemas.microsoft.com/office/drawing/2014/main" id="{A692D639-1E22-ED9C-DB12-2A64E6B9FFB4}"/>
              </a:ext>
            </a:extLst>
          </p:cNvPr>
          <p:cNvSpPr>
            <a:spLocks noGrp="1"/>
          </p:cNvSpPr>
          <p:nvPr>
            <p:custDataLst>
              <p:tags r:id="rId9"/>
            </p:custDataLst>
          </p:nvPr>
        </p:nvSpPr>
        <p:spPr bwMode="auto">
          <a:xfrm>
            <a:off x="4104695" y="4350457"/>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20CF13E5-DA6A-42FF-B599-624B5E4DDC17}" type="datetime'2''''''''0''''''''''3''''''0'''''''''''''''''''''''''">
              <a:rPr lang="en-GB" altLang="en-US" sz="900" smtClean="0"/>
              <a:pPr/>
              <a:t>2030</a:t>
            </a:fld>
            <a:endParaRPr lang="en-GB" sz="900"/>
          </a:p>
        </p:txBody>
      </p:sp>
      <p:sp>
        <p:nvSpPr>
          <p:cNvPr id="12" name="Text Placeholder">
            <a:extLst>
              <a:ext uri="{FF2B5EF4-FFF2-40B4-BE49-F238E27FC236}">
                <a16:creationId xmlns:a16="http://schemas.microsoft.com/office/drawing/2014/main" id="{016FE1F7-CADC-EB9E-8CB8-CD0308E7D26B}"/>
              </a:ext>
            </a:extLst>
          </p:cNvPr>
          <p:cNvSpPr>
            <a:spLocks noGrp="1"/>
          </p:cNvSpPr>
          <p:nvPr>
            <p:custDataLst>
              <p:tags r:id="rId10"/>
            </p:custDataLst>
          </p:nvPr>
        </p:nvSpPr>
        <p:spPr bwMode="gray">
          <a:xfrm>
            <a:off x="4739695" y="3495859"/>
            <a:ext cx="2635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860" tIns="0" rIns="1786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D9AE057F-609A-4937-A9C7-7EAF7DE83F65}" type="datetime'''''''''''''''3''''''''0''''''''''''''''''''''''%'">
              <a:rPr lang="en-GB" altLang="en-US" sz="900" smtClean="0">
                <a:solidFill>
                  <a:schemeClr val="bg1"/>
                </a:solidFill>
              </a:rPr>
              <a:pPr/>
              <a:t>30%</a:t>
            </a:fld>
            <a:endParaRPr lang="en-GB" sz="900">
              <a:solidFill>
                <a:schemeClr val="bg1"/>
              </a:solidFill>
            </a:endParaRPr>
          </a:p>
        </p:txBody>
      </p:sp>
      <p:sp>
        <p:nvSpPr>
          <p:cNvPr id="13" name="Text Placeholder">
            <a:extLst>
              <a:ext uri="{FF2B5EF4-FFF2-40B4-BE49-F238E27FC236}">
                <a16:creationId xmlns:a16="http://schemas.microsoft.com/office/drawing/2014/main" id="{B3D50180-F23C-1B96-2D77-C477AD5B6E59}"/>
              </a:ext>
            </a:extLst>
          </p:cNvPr>
          <p:cNvSpPr>
            <a:spLocks noGrp="1"/>
          </p:cNvSpPr>
          <p:nvPr>
            <p:custDataLst>
              <p:tags r:id="rId11"/>
            </p:custDataLst>
          </p:nvPr>
        </p:nvSpPr>
        <p:spPr bwMode="gray">
          <a:xfrm>
            <a:off x="4739695" y="3768909"/>
            <a:ext cx="263525" cy="123825"/>
          </a:xfrm>
          <a:prstGeom prst="rect">
            <a:avLst/>
          </a:prstGeom>
          <a:noFill/>
          <a:ln>
            <a:noFill/>
          </a:ln>
          <a:effectLst/>
          <a:extLst>
            <a:ext uri="{909E8E84-426E-40DD-AFC4-6F175D3DCCD1}">
              <a14:hiddenFill xmlns:a14="http://schemas.microsoft.com/office/drawing/2010/main">
                <a:solidFill>
                  <a:srgbClr val="000082"/>
                </a:solidFill>
              </a14:hiddenFill>
            </a:ext>
          </a:extLst>
        </p:spPr>
        <p:txBody>
          <a:bodyPr vert="horz" wrap="none" lIns="17860" tIns="0" rIns="1786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F1C274DC-AAF2-4AA0-B4E9-D828B774BC8B}" type="datetime'''''''''''''''1''''''6''''''''''''''%'''''''''''''''">
              <a:rPr lang="en-GB" altLang="en-US" sz="900" smtClean="0">
                <a:solidFill>
                  <a:schemeClr val="bg1"/>
                </a:solidFill>
              </a:rPr>
              <a:pPr/>
              <a:t>16%</a:t>
            </a:fld>
            <a:endParaRPr lang="en-GB" sz="900">
              <a:solidFill>
                <a:schemeClr val="bg1"/>
              </a:solidFill>
            </a:endParaRPr>
          </a:p>
        </p:txBody>
      </p:sp>
      <p:sp>
        <p:nvSpPr>
          <p:cNvPr id="14" name="Text Placeholder">
            <a:extLst>
              <a:ext uri="{FF2B5EF4-FFF2-40B4-BE49-F238E27FC236}">
                <a16:creationId xmlns:a16="http://schemas.microsoft.com/office/drawing/2014/main" id="{65249778-920B-4EF4-606F-CC40F69E4217}"/>
              </a:ext>
            </a:extLst>
          </p:cNvPr>
          <p:cNvSpPr>
            <a:spLocks noGrp="1"/>
          </p:cNvSpPr>
          <p:nvPr>
            <p:custDataLst>
              <p:tags r:id="rId12"/>
            </p:custDataLst>
          </p:nvPr>
        </p:nvSpPr>
        <p:spPr bwMode="gray">
          <a:xfrm>
            <a:off x="4739695" y="4180071"/>
            <a:ext cx="2635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860" tIns="0" rIns="1786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8282CAC5-4A83-464A-9BFB-4F386B483478}" type="datetime'''5''''''''''''''''''4''''%'''''''''''''''''''''''">
              <a:rPr lang="en-GB" altLang="en-US" sz="900" smtClean="0">
                <a:solidFill>
                  <a:schemeClr val="bg1"/>
                </a:solidFill>
              </a:rPr>
              <a:pPr/>
              <a:t>54%</a:t>
            </a:fld>
            <a:endParaRPr lang="en-GB" sz="900">
              <a:solidFill>
                <a:schemeClr val="bg1"/>
              </a:solidFill>
            </a:endParaRPr>
          </a:p>
        </p:txBody>
      </p:sp>
      <p:sp>
        <p:nvSpPr>
          <p:cNvPr id="15" name="Text Placeholder">
            <a:extLst>
              <a:ext uri="{FF2B5EF4-FFF2-40B4-BE49-F238E27FC236}">
                <a16:creationId xmlns:a16="http://schemas.microsoft.com/office/drawing/2014/main" id="{2E11FF5A-7BBC-48B1-5997-7CE2781E2391}"/>
              </a:ext>
            </a:extLst>
          </p:cNvPr>
          <p:cNvSpPr>
            <a:spLocks noGrp="1"/>
          </p:cNvSpPr>
          <p:nvPr>
            <p:custDataLst>
              <p:tags r:id="rId13"/>
            </p:custDataLst>
          </p:nvPr>
        </p:nvSpPr>
        <p:spPr bwMode="auto">
          <a:xfrm>
            <a:off x="4738108" y="4350457"/>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89ECBBF1-A444-49EB-9A45-62214B31EADA}" type="datetime'''''2''''''''0''''''''''''''''''''''''''''''3''''''''''''5'''">
              <a:rPr lang="en-GB" altLang="en-US" sz="900" smtClean="0"/>
              <a:pPr/>
              <a:t>2035</a:t>
            </a:fld>
            <a:endParaRPr lang="en-GB" sz="900"/>
          </a:p>
        </p:txBody>
      </p:sp>
      <p:sp>
        <p:nvSpPr>
          <p:cNvPr id="16" name="Text Placeholder">
            <a:extLst>
              <a:ext uri="{FF2B5EF4-FFF2-40B4-BE49-F238E27FC236}">
                <a16:creationId xmlns:a16="http://schemas.microsoft.com/office/drawing/2014/main" id="{BC9A3C42-0DE4-6610-F225-BC8DBA004B42}"/>
              </a:ext>
            </a:extLst>
          </p:cNvPr>
          <p:cNvSpPr>
            <a:spLocks noGrp="1"/>
          </p:cNvSpPr>
          <p:nvPr>
            <p:custDataLst>
              <p:tags r:id="rId14"/>
            </p:custDataLst>
          </p:nvPr>
        </p:nvSpPr>
        <p:spPr bwMode="gray">
          <a:xfrm>
            <a:off x="5404858" y="2175059"/>
            <a:ext cx="200025" cy="123825"/>
          </a:xfrm>
          <a:prstGeom prst="rect">
            <a:avLst/>
          </a:prstGeom>
          <a:solidFill>
            <a:schemeClr val="tx2"/>
          </a:solidFill>
          <a:ln>
            <a:noFill/>
          </a:ln>
          <a:effectLst/>
        </p:spPr>
        <p:txBody>
          <a:bodyPr vert="horz" wrap="none" lIns="17860" tIns="0" rIns="1786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A0B24348-6285-493B-A554-8972C6C83786}" type="datetime'''''''''''''''''''''''''''''''''''''3''''''''''''%'''''''">
              <a:rPr lang="en-GB" altLang="en-US" sz="900" smtClean="0">
                <a:solidFill>
                  <a:schemeClr val="bg1"/>
                </a:solidFill>
                <a:effectLst/>
              </a:rPr>
              <a:pPr/>
              <a:t>3%</a:t>
            </a:fld>
            <a:endParaRPr lang="en-GB" sz="900">
              <a:solidFill>
                <a:schemeClr val="bg1"/>
              </a:solidFill>
            </a:endParaRPr>
          </a:p>
        </p:txBody>
      </p:sp>
      <p:sp>
        <p:nvSpPr>
          <p:cNvPr id="17" name="Text Placeholder">
            <a:extLst>
              <a:ext uri="{FF2B5EF4-FFF2-40B4-BE49-F238E27FC236}">
                <a16:creationId xmlns:a16="http://schemas.microsoft.com/office/drawing/2014/main" id="{5C4C349A-D950-62E7-A5F2-690056FE769E}"/>
              </a:ext>
            </a:extLst>
          </p:cNvPr>
          <p:cNvSpPr>
            <a:spLocks noGrp="1"/>
          </p:cNvSpPr>
          <p:nvPr>
            <p:custDataLst>
              <p:tags r:id="rId15"/>
            </p:custDataLst>
          </p:nvPr>
        </p:nvSpPr>
        <p:spPr bwMode="gray">
          <a:xfrm>
            <a:off x="5373108" y="2457634"/>
            <a:ext cx="2635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860" tIns="0" rIns="1786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D8C33D91-4E62-4969-9326-8EF3BDB70F3C}" type="datetime'2''''''''''1''''''''%'''''''''''''''''''''''''''">
              <a:rPr lang="en-GB" altLang="en-US" sz="900" smtClean="0">
                <a:solidFill>
                  <a:schemeClr val="bg1"/>
                </a:solidFill>
              </a:rPr>
              <a:pPr/>
              <a:t>21%</a:t>
            </a:fld>
            <a:endParaRPr lang="en-GB" sz="900">
              <a:solidFill>
                <a:schemeClr val="bg1"/>
              </a:solidFill>
            </a:endParaRPr>
          </a:p>
        </p:txBody>
      </p:sp>
      <p:sp>
        <p:nvSpPr>
          <p:cNvPr id="18" name="Text Placeholder">
            <a:extLst>
              <a:ext uri="{FF2B5EF4-FFF2-40B4-BE49-F238E27FC236}">
                <a16:creationId xmlns:a16="http://schemas.microsoft.com/office/drawing/2014/main" id="{8966DC7E-56E1-9B20-6FCF-2F1582B41EE6}"/>
              </a:ext>
            </a:extLst>
          </p:cNvPr>
          <p:cNvSpPr>
            <a:spLocks noGrp="1"/>
          </p:cNvSpPr>
          <p:nvPr>
            <p:custDataLst>
              <p:tags r:id="rId16"/>
            </p:custDataLst>
          </p:nvPr>
        </p:nvSpPr>
        <p:spPr bwMode="gray">
          <a:xfrm>
            <a:off x="5373108" y="3600634"/>
            <a:ext cx="26352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860" tIns="0" rIns="1786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371DC439-EB69-4016-8416-A034BD1A77E4}" type="datetime'''''''''''''''7''''''''''''''''''''''''''''6''''''%'''''''''''">
              <a:rPr lang="en-GB" altLang="en-US" sz="900" smtClean="0">
                <a:solidFill>
                  <a:schemeClr val="bg1"/>
                </a:solidFill>
              </a:rPr>
              <a:pPr/>
              <a:t>76%</a:t>
            </a:fld>
            <a:endParaRPr lang="en-GB" sz="900">
              <a:solidFill>
                <a:schemeClr val="bg1"/>
              </a:solidFill>
            </a:endParaRPr>
          </a:p>
        </p:txBody>
      </p:sp>
      <p:sp>
        <p:nvSpPr>
          <p:cNvPr id="19" name="Text Placeholder">
            <a:extLst>
              <a:ext uri="{FF2B5EF4-FFF2-40B4-BE49-F238E27FC236}">
                <a16:creationId xmlns:a16="http://schemas.microsoft.com/office/drawing/2014/main" id="{E5571BD9-1E7D-B6F5-9EEF-F0186FB8BC92}"/>
              </a:ext>
            </a:extLst>
          </p:cNvPr>
          <p:cNvSpPr>
            <a:spLocks noGrp="1"/>
          </p:cNvSpPr>
          <p:nvPr>
            <p:custDataLst>
              <p:tags r:id="rId17"/>
            </p:custDataLst>
          </p:nvPr>
        </p:nvSpPr>
        <p:spPr bwMode="auto">
          <a:xfrm>
            <a:off x="5371520" y="4350457"/>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CFD5D765-46BA-4F23-A829-27AE70EE6A7F}" type="datetime'''''''2''''''''''''''''''0''5''''''''''''0'''''''''">
              <a:rPr lang="en-GB" altLang="en-US" sz="900" smtClean="0"/>
              <a:pPr/>
              <a:t>2050</a:t>
            </a:fld>
            <a:endParaRPr lang="en-GB" sz="900"/>
          </a:p>
        </p:txBody>
      </p:sp>
      <p:sp>
        <p:nvSpPr>
          <p:cNvPr id="20" name="Text Placeholder">
            <a:extLst>
              <a:ext uri="{FF2B5EF4-FFF2-40B4-BE49-F238E27FC236}">
                <a16:creationId xmlns:a16="http://schemas.microsoft.com/office/drawing/2014/main" id="{874C9981-326A-5EAA-18DD-F078F864C59A}"/>
              </a:ext>
            </a:extLst>
          </p:cNvPr>
          <p:cNvSpPr>
            <a:spLocks noGrp="1"/>
          </p:cNvSpPr>
          <p:nvPr>
            <p:custDataLst>
              <p:tags r:id="rId18"/>
            </p:custDataLst>
          </p:nvPr>
        </p:nvSpPr>
        <p:spPr bwMode="gray">
          <a:xfrm>
            <a:off x="3515732" y="3724452"/>
            <a:ext cx="177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6CE65D9-9203-4C5E-9957-729D337A0C1C}" type="datetime'''9''''''5'''''''">
              <a:rPr lang="en-GB" altLang="en-US" sz="1000" b="1" smtClean="0"/>
              <a:pPr/>
              <a:t>95</a:t>
            </a:fld>
            <a:endParaRPr lang="en-GB" sz="1000" b="1" dirty="0"/>
          </a:p>
        </p:txBody>
      </p:sp>
      <p:sp>
        <p:nvSpPr>
          <p:cNvPr id="21" name="Text Placeholder">
            <a:extLst>
              <a:ext uri="{FF2B5EF4-FFF2-40B4-BE49-F238E27FC236}">
                <a16:creationId xmlns:a16="http://schemas.microsoft.com/office/drawing/2014/main" id="{46C81AAA-99F7-668B-1779-DE8676284588}"/>
              </a:ext>
            </a:extLst>
          </p:cNvPr>
          <p:cNvSpPr>
            <a:spLocks noGrp="1"/>
          </p:cNvSpPr>
          <p:nvPr>
            <p:custDataLst>
              <p:tags r:id="rId19"/>
            </p:custDataLst>
          </p:nvPr>
        </p:nvSpPr>
        <p:spPr bwMode="gray">
          <a:xfrm>
            <a:off x="4114219" y="3394256"/>
            <a:ext cx="2476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124797C1-8473-45F2-A980-E98189D7D0C5}" type="datetime'''''''''''''''''''''1''''''''''5''''''''''''''''''0'''''''''">
              <a:rPr lang="en-GB" altLang="en-US" sz="1000" b="1" smtClean="0"/>
              <a:pPr/>
              <a:t>150</a:t>
            </a:fld>
            <a:endParaRPr lang="en-GB" sz="1000" b="1" dirty="0"/>
          </a:p>
        </p:txBody>
      </p:sp>
      <p:sp>
        <p:nvSpPr>
          <p:cNvPr id="22" name="Text Placeholder">
            <a:extLst>
              <a:ext uri="{FF2B5EF4-FFF2-40B4-BE49-F238E27FC236}">
                <a16:creationId xmlns:a16="http://schemas.microsoft.com/office/drawing/2014/main" id="{02A63F81-8DA2-5F90-EB7C-DABE21D70F15}"/>
              </a:ext>
            </a:extLst>
          </p:cNvPr>
          <p:cNvSpPr>
            <a:spLocks noGrp="1"/>
          </p:cNvSpPr>
          <p:nvPr>
            <p:custDataLst>
              <p:tags r:id="rId20"/>
            </p:custDataLst>
          </p:nvPr>
        </p:nvSpPr>
        <p:spPr bwMode="gray">
          <a:xfrm>
            <a:off x="4747632" y="3122792"/>
            <a:ext cx="247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6B71035A-0E74-4579-B530-BE69AEC2AC06}" type="datetime'''''''''''''''''''''''''''215'''''''''''''''''''''''">
              <a:rPr lang="en-GB" altLang="en-US" sz="1000" b="1" smtClean="0"/>
              <a:pPr/>
              <a:t>215</a:t>
            </a:fld>
            <a:endParaRPr lang="en-GB" sz="1000" b="1" dirty="0"/>
          </a:p>
        </p:txBody>
      </p:sp>
      <p:sp>
        <p:nvSpPr>
          <p:cNvPr id="23" name="Text Placeholder">
            <a:extLst>
              <a:ext uri="{FF2B5EF4-FFF2-40B4-BE49-F238E27FC236}">
                <a16:creationId xmlns:a16="http://schemas.microsoft.com/office/drawing/2014/main" id="{E952A096-EC13-F9ED-8ADF-2CFCBE5C1757}"/>
              </a:ext>
            </a:extLst>
          </p:cNvPr>
          <p:cNvSpPr>
            <a:spLocks noGrp="1"/>
          </p:cNvSpPr>
          <p:nvPr>
            <p:custDataLst>
              <p:tags r:id="rId21"/>
            </p:custDataLst>
          </p:nvPr>
        </p:nvSpPr>
        <p:spPr bwMode="gray">
          <a:xfrm>
            <a:off x="5381044" y="2036946"/>
            <a:ext cx="2476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D3915435-6782-45FE-AB6E-75DE4BC4EC03}" type="datetime'''''''''''''''''4''''''''''''''3''''''''0'''''">
              <a:rPr lang="en-GB" altLang="en-US" sz="1000" b="1" smtClean="0"/>
              <a:pPr/>
              <a:t>430</a:t>
            </a:fld>
            <a:endParaRPr lang="en-GB" sz="1000" b="1" dirty="0"/>
          </a:p>
        </p:txBody>
      </p:sp>
      <p:sp>
        <p:nvSpPr>
          <p:cNvPr id="24" name="Rectangle 48">
            <a:extLst>
              <a:ext uri="{FF2B5EF4-FFF2-40B4-BE49-F238E27FC236}">
                <a16:creationId xmlns:a16="http://schemas.microsoft.com/office/drawing/2014/main" id="{66063996-ECE6-0756-8482-5B23231C2563}"/>
              </a:ext>
            </a:extLst>
          </p:cNvPr>
          <p:cNvSpPr/>
          <p:nvPr>
            <p:custDataLst>
              <p:tags r:id="rId22"/>
            </p:custDataLst>
          </p:nvPr>
        </p:nvSpPr>
        <p:spPr bwMode="auto">
          <a:xfrm>
            <a:off x="3323645" y="2109971"/>
            <a:ext cx="93663" cy="93663"/>
          </a:xfrm>
          <a:prstGeom prst="rect">
            <a:avLst/>
          </a:prstGeom>
          <a:solidFill>
            <a:schemeClr val="tx2"/>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GB" sz="1125"/>
          </a:p>
        </p:txBody>
      </p:sp>
      <p:sp>
        <p:nvSpPr>
          <p:cNvPr id="25" name="Rectangle 49">
            <a:extLst>
              <a:ext uri="{FF2B5EF4-FFF2-40B4-BE49-F238E27FC236}">
                <a16:creationId xmlns:a16="http://schemas.microsoft.com/office/drawing/2014/main" id="{FD15B585-B8E1-32A4-B251-DA3A9EAED206}"/>
              </a:ext>
            </a:extLst>
          </p:cNvPr>
          <p:cNvSpPr/>
          <p:nvPr>
            <p:custDataLst>
              <p:tags r:id="rId23"/>
            </p:custDataLst>
          </p:nvPr>
        </p:nvSpPr>
        <p:spPr bwMode="auto">
          <a:xfrm>
            <a:off x="3323645" y="2259196"/>
            <a:ext cx="93663" cy="93663"/>
          </a:xfrm>
          <a:prstGeom prst="rect">
            <a:avLst/>
          </a:prstGeom>
          <a:solidFill>
            <a:srgbClr val="000082"/>
          </a:solidFill>
          <a:ln w="9525"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GB" sz="900">
              <a:solidFill>
                <a:schemeClr val="tx1"/>
              </a:solidFill>
              <a:sym typeface="+mn-lt"/>
            </a:endParaRPr>
          </a:p>
        </p:txBody>
      </p:sp>
      <p:sp>
        <p:nvSpPr>
          <p:cNvPr id="26" name="Rectangle 51">
            <a:extLst>
              <a:ext uri="{FF2B5EF4-FFF2-40B4-BE49-F238E27FC236}">
                <a16:creationId xmlns:a16="http://schemas.microsoft.com/office/drawing/2014/main" id="{FC64F522-6FE7-FEAC-FEC4-9C01B0B915F1}"/>
              </a:ext>
            </a:extLst>
          </p:cNvPr>
          <p:cNvSpPr/>
          <p:nvPr>
            <p:custDataLst>
              <p:tags r:id="rId24"/>
            </p:custDataLst>
          </p:nvPr>
        </p:nvSpPr>
        <p:spPr bwMode="auto">
          <a:xfrm>
            <a:off x="3323645" y="2408421"/>
            <a:ext cx="93663" cy="93663"/>
          </a:xfrm>
          <a:prstGeom prst="rect">
            <a:avLst/>
          </a:prstGeom>
          <a:solidFill>
            <a:srgbClr val="00B050"/>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GB" sz="1125"/>
          </a:p>
        </p:txBody>
      </p:sp>
      <p:sp>
        <p:nvSpPr>
          <p:cNvPr id="27" name="Text Placeholder">
            <a:extLst>
              <a:ext uri="{FF2B5EF4-FFF2-40B4-BE49-F238E27FC236}">
                <a16:creationId xmlns:a16="http://schemas.microsoft.com/office/drawing/2014/main" id="{DDB6B36F-1FA9-FCEC-F47D-3E3F25FFFEBC}"/>
              </a:ext>
            </a:extLst>
          </p:cNvPr>
          <p:cNvSpPr>
            <a:spLocks noGrp="1"/>
          </p:cNvSpPr>
          <p:nvPr>
            <p:custDataLst>
              <p:tags r:id="rId25"/>
            </p:custDataLst>
          </p:nvPr>
        </p:nvSpPr>
        <p:spPr bwMode="auto">
          <a:xfrm>
            <a:off x="3468108" y="2116321"/>
            <a:ext cx="676275" cy="92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AA52B317-2D8E-4433-9C7A-BBF002617B79}" type="datetime'Fo''s''s''i''''''''l'' fu''''e''l''''s'''' ''''''(''gr''ey)'">
              <a:rPr lang="en-GB" altLang="en-US" sz="675" smtClean="0"/>
              <a:pPr/>
              <a:t>Fossil fuels (grey)</a:t>
            </a:fld>
            <a:endParaRPr lang="en-GB" sz="675"/>
          </a:p>
        </p:txBody>
      </p:sp>
      <p:sp>
        <p:nvSpPr>
          <p:cNvPr id="28" name="Text Placeholder">
            <a:extLst>
              <a:ext uri="{FF2B5EF4-FFF2-40B4-BE49-F238E27FC236}">
                <a16:creationId xmlns:a16="http://schemas.microsoft.com/office/drawing/2014/main" id="{47134DCA-E8ED-D01C-DB23-A0F522070D17}"/>
              </a:ext>
            </a:extLst>
          </p:cNvPr>
          <p:cNvSpPr>
            <a:spLocks noGrp="1"/>
          </p:cNvSpPr>
          <p:nvPr>
            <p:custDataLst>
              <p:tags r:id="rId26"/>
            </p:custDataLst>
          </p:nvPr>
        </p:nvSpPr>
        <p:spPr bwMode="auto">
          <a:xfrm>
            <a:off x="3468108" y="2265546"/>
            <a:ext cx="712788" cy="92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r>
              <a:rPr lang="en-GB" altLang="en-US" sz="675"/>
              <a:t>with CCUS</a:t>
            </a:r>
            <a:r>
              <a:rPr lang="en-GB" altLang="en-US" sz="675" baseline="30000"/>
              <a:t>2)</a:t>
            </a:r>
            <a:r>
              <a:rPr lang="en-GB" altLang="en-US" sz="675"/>
              <a:t> (blue)</a:t>
            </a:r>
            <a:endParaRPr lang="en-GB" sz="675"/>
          </a:p>
        </p:txBody>
      </p:sp>
      <p:sp>
        <p:nvSpPr>
          <p:cNvPr id="29" name="Text Placeholder">
            <a:extLst>
              <a:ext uri="{FF2B5EF4-FFF2-40B4-BE49-F238E27FC236}">
                <a16:creationId xmlns:a16="http://schemas.microsoft.com/office/drawing/2014/main" id="{E70EEED9-5445-4FF5-BCD6-0ED402625EC2}"/>
              </a:ext>
            </a:extLst>
          </p:cNvPr>
          <p:cNvSpPr>
            <a:spLocks noGrp="1"/>
          </p:cNvSpPr>
          <p:nvPr>
            <p:custDataLst>
              <p:tags r:id="rId27"/>
            </p:custDataLst>
          </p:nvPr>
        </p:nvSpPr>
        <p:spPr bwMode="auto">
          <a:xfrm>
            <a:off x="3468108" y="2414771"/>
            <a:ext cx="922338" cy="92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E19106B2-4D5D-49E2-AB50-E41838867C73}" type="datetime'E''l''e''c''tr''ici''''t''y'' (g''r''e''''''''en, p''''ink)'''">
              <a:rPr lang="en-GB" altLang="en-US" sz="675" smtClean="0"/>
              <a:pPr/>
              <a:t>Electricity (green, pink)</a:t>
            </a:fld>
            <a:r>
              <a:rPr lang="en-GB" altLang="en-US" sz="675" baseline="30000"/>
              <a:t>3)</a:t>
            </a:r>
            <a:endParaRPr lang="en-GB" sz="675" baseline="30000"/>
          </a:p>
        </p:txBody>
      </p:sp>
      <p:sp>
        <p:nvSpPr>
          <p:cNvPr id="30" name="ListLeanHorizontalTextTopic4">
            <a:extLst>
              <a:ext uri="{FF2B5EF4-FFF2-40B4-BE49-F238E27FC236}">
                <a16:creationId xmlns:a16="http://schemas.microsoft.com/office/drawing/2014/main" id="{B5EE88CF-77C3-958B-2482-FC3BCF6384FB}"/>
              </a:ext>
            </a:extLst>
          </p:cNvPr>
          <p:cNvSpPr txBox="1">
            <a:spLocks/>
          </p:cNvSpPr>
          <p:nvPr/>
        </p:nvSpPr>
        <p:spPr>
          <a:xfrm>
            <a:off x="2472181" y="2006639"/>
            <a:ext cx="590867" cy="192232"/>
          </a:xfrm>
          <a:prstGeom prst="rect">
            <a:avLst/>
          </a:prstGeom>
          <a:noFill/>
        </p:spPr>
        <p:txBody>
          <a:bodyPr vert="horz" wrap="square" lIns="0" tIns="0" rIns="0" bIns="53213" rtlCol="0" anchor="b">
            <a:spAutoFit/>
          </a:bodyPr>
          <a:lstStyle>
            <a:defPPr>
              <a:defRPr lang="de-DE"/>
            </a:defPPr>
            <a:lvl1pPr>
              <a:lnSpc>
                <a:spcPct val="90000"/>
              </a:lnSpc>
              <a:defRPr/>
            </a:lvl1pPr>
          </a:lstStyle>
          <a:p>
            <a:pPr algn="ctr">
              <a:defRPr/>
            </a:pPr>
            <a:r>
              <a:rPr lang="en-GB" sz="1000" dirty="0" err="1">
                <a:latin typeface="+mj-lt"/>
              </a:rPr>
              <a:t>CAGR</a:t>
            </a:r>
            <a:r>
              <a:rPr lang="en-GB" sz="1000" baseline="-25000" dirty="0" err="1">
                <a:latin typeface="+mj-lt"/>
              </a:rPr>
              <a:t>30</a:t>
            </a:r>
            <a:r>
              <a:rPr lang="en-GB" sz="1000" baseline="-25000" dirty="0">
                <a:latin typeface="+mj-lt"/>
              </a:rPr>
              <a:t>-50</a:t>
            </a:r>
          </a:p>
        </p:txBody>
      </p:sp>
      <p:graphicFrame>
        <p:nvGraphicFramePr>
          <p:cNvPr id="31" name="Chart 11">
            <a:extLst>
              <a:ext uri="{FF2B5EF4-FFF2-40B4-BE49-F238E27FC236}">
                <a16:creationId xmlns:a16="http://schemas.microsoft.com/office/drawing/2014/main" id="{0B8B72B6-7F10-14DE-A251-EDC7BA710D65}"/>
              </a:ext>
            </a:extLst>
          </p:cNvPr>
          <p:cNvGraphicFramePr/>
          <p:nvPr>
            <p:custDataLst>
              <p:tags r:id="rId28"/>
            </p:custDataLst>
            <p:extLst>
              <p:ext uri="{D42A27DB-BD31-4B8C-83A1-F6EECF244321}">
                <p14:modId xmlns:p14="http://schemas.microsoft.com/office/powerpoint/2010/main" val="1598461507"/>
              </p:ext>
            </p:extLst>
          </p:nvPr>
        </p:nvGraphicFramePr>
        <p:xfrm>
          <a:off x="250245" y="2116321"/>
          <a:ext cx="2303463" cy="2206625"/>
        </p:xfrm>
        <a:graphic>
          <a:graphicData uri="http://schemas.openxmlformats.org/drawingml/2006/chart">
            <c:chart xmlns:c="http://schemas.openxmlformats.org/drawingml/2006/chart" xmlns:r="http://schemas.openxmlformats.org/officeDocument/2006/relationships" r:id="rId64"/>
          </a:graphicData>
        </a:graphic>
      </p:graphicFrame>
      <p:sp>
        <p:nvSpPr>
          <p:cNvPr id="32" name="Text Placeholder">
            <a:extLst>
              <a:ext uri="{FF2B5EF4-FFF2-40B4-BE49-F238E27FC236}">
                <a16:creationId xmlns:a16="http://schemas.microsoft.com/office/drawing/2014/main" id="{E15806D9-6494-60CC-D170-28640E062E27}"/>
              </a:ext>
            </a:extLst>
          </p:cNvPr>
          <p:cNvSpPr>
            <a:spLocks noGrp="1"/>
          </p:cNvSpPr>
          <p:nvPr>
            <p:custDataLst>
              <p:tags r:id="rId29"/>
            </p:custDataLst>
          </p:nvPr>
        </p:nvSpPr>
        <p:spPr bwMode="gray">
          <a:xfrm>
            <a:off x="435983" y="3930953"/>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7C5F79C1-57D0-435B-AA94-2B20D01B42C9}" type="datetime'''''''''1''''''''''0''''''''''''''0''''%'''''''''''''">
              <a:rPr lang="en-GB" altLang="en-US" sz="900" smtClean="0">
                <a:solidFill>
                  <a:schemeClr val="bg1"/>
                </a:solidFill>
              </a:rPr>
              <a:pPr/>
              <a:t>100%</a:t>
            </a:fld>
            <a:endParaRPr lang="en-GB" sz="900" dirty="0">
              <a:solidFill>
                <a:schemeClr val="bg1"/>
              </a:solidFill>
            </a:endParaRPr>
          </a:p>
        </p:txBody>
      </p:sp>
      <p:sp>
        <p:nvSpPr>
          <p:cNvPr id="33" name="Text Placeholder">
            <a:extLst>
              <a:ext uri="{FF2B5EF4-FFF2-40B4-BE49-F238E27FC236}">
                <a16:creationId xmlns:a16="http://schemas.microsoft.com/office/drawing/2014/main" id="{5342CDBA-7F36-9EB6-DFC0-EA58019D7E2B}"/>
              </a:ext>
            </a:extLst>
          </p:cNvPr>
          <p:cNvSpPr>
            <a:spLocks noGrp="1"/>
          </p:cNvSpPr>
          <p:nvPr>
            <p:custDataLst>
              <p:tags r:id="rId30"/>
            </p:custDataLst>
          </p:nvPr>
        </p:nvSpPr>
        <p:spPr bwMode="auto">
          <a:xfrm>
            <a:off x="434395" y="4299253"/>
            <a:ext cx="330200"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r>
              <a:rPr lang="en-GB" altLang="en-US" sz="900"/>
              <a:t>Today</a:t>
            </a:r>
            <a:endParaRPr lang="en-GB" sz="900"/>
          </a:p>
        </p:txBody>
      </p:sp>
      <p:sp>
        <p:nvSpPr>
          <p:cNvPr id="34" name="Text Placeholder">
            <a:extLst>
              <a:ext uri="{FF2B5EF4-FFF2-40B4-BE49-F238E27FC236}">
                <a16:creationId xmlns:a16="http://schemas.microsoft.com/office/drawing/2014/main" id="{B77E1B7F-9DC4-FE44-D78A-C8B8FB692226}"/>
              </a:ext>
            </a:extLst>
          </p:cNvPr>
          <p:cNvSpPr>
            <a:spLocks noGrp="1"/>
          </p:cNvSpPr>
          <p:nvPr>
            <p:custDataLst>
              <p:tags r:id="rId31"/>
            </p:custDataLst>
          </p:nvPr>
        </p:nvSpPr>
        <p:spPr bwMode="gray">
          <a:xfrm>
            <a:off x="1002720" y="3716517"/>
            <a:ext cx="2635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FF1FDF91-3DEC-4EEA-9A0D-8AA167748577}" type="datetime'''''''''''7''''''''''''''''''''''''''''''''''1%'">
              <a:rPr lang="en-GB" altLang="en-US" sz="900" smtClean="0">
                <a:solidFill>
                  <a:schemeClr val="bg1"/>
                </a:solidFill>
              </a:rPr>
              <a:pPr/>
              <a:t>71%</a:t>
            </a:fld>
            <a:endParaRPr lang="en-GB" sz="900" dirty="0">
              <a:solidFill>
                <a:schemeClr val="bg1"/>
              </a:solidFill>
            </a:endParaRPr>
          </a:p>
        </p:txBody>
      </p:sp>
      <p:sp>
        <p:nvSpPr>
          <p:cNvPr id="35" name="Text Placeholder">
            <a:extLst>
              <a:ext uri="{FF2B5EF4-FFF2-40B4-BE49-F238E27FC236}">
                <a16:creationId xmlns:a16="http://schemas.microsoft.com/office/drawing/2014/main" id="{48E6071B-B53F-5E4F-6D64-6545E01786CF}"/>
              </a:ext>
            </a:extLst>
          </p:cNvPr>
          <p:cNvSpPr>
            <a:spLocks noGrp="1"/>
          </p:cNvSpPr>
          <p:nvPr>
            <p:custDataLst>
              <p:tags r:id="rId32"/>
            </p:custDataLst>
          </p:nvPr>
        </p:nvSpPr>
        <p:spPr bwMode="gray">
          <a:xfrm>
            <a:off x="1181906" y="3988949"/>
            <a:ext cx="263525" cy="136525"/>
          </a:xfrm>
          <a:prstGeom prst="rect">
            <a:avLst/>
          </a:prstGeom>
          <a:solidFill>
            <a:schemeClr val="accent4"/>
          </a:solidFill>
          <a:ln>
            <a:noFill/>
          </a:ln>
          <a:effec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8D074E7A-33AA-4D85-AB7D-C109C5B9B175}" type="datetime'''''''1''''''1''''''''''''''''''''''%'''''''''''''''">
              <a:rPr lang="en-GB" altLang="en-US" sz="900" smtClean="0">
                <a:solidFill>
                  <a:schemeClr val="bg1"/>
                </a:solidFill>
                <a:effectLst/>
              </a:rPr>
              <a:pPr/>
              <a:t>11%</a:t>
            </a:fld>
            <a:endParaRPr lang="en-GB" sz="900" dirty="0">
              <a:solidFill>
                <a:schemeClr val="bg1"/>
              </a:solidFill>
            </a:endParaRPr>
          </a:p>
        </p:txBody>
      </p:sp>
      <p:sp>
        <p:nvSpPr>
          <p:cNvPr id="36" name="Text Placeholder">
            <a:extLst>
              <a:ext uri="{FF2B5EF4-FFF2-40B4-BE49-F238E27FC236}">
                <a16:creationId xmlns:a16="http://schemas.microsoft.com/office/drawing/2014/main" id="{71A2B9B0-9D81-B463-AF52-B97B9AB7DF74}"/>
              </a:ext>
            </a:extLst>
          </p:cNvPr>
          <p:cNvSpPr>
            <a:spLocks noGrp="1"/>
          </p:cNvSpPr>
          <p:nvPr>
            <p:custDataLst>
              <p:tags r:id="rId33"/>
            </p:custDataLst>
          </p:nvPr>
        </p:nvSpPr>
        <p:spPr bwMode="gray">
          <a:xfrm>
            <a:off x="745730" y="4119930"/>
            <a:ext cx="263525" cy="136525"/>
          </a:xfrm>
          <a:prstGeom prst="rect">
            <a:avLst/>
          </a:prstGeom>
          <a:solidFill>
            <a:schemeClr val="accent1"/>
          </a:solidFill>
          <a:ln>
            <a:noFill/>
          </a:ln>
          <a:effec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A600EA32-A150-499C-96F5-C03EB202E456}" type="datetime'''''''''19%'''''''''''''''''''''''''''''''''''''''''">
              <a:rPr lang="en-GB" altLang="en-US" sz="900" smtClean="0"/>
              <a:pPr/>
              <a:t>19%</a:t>
            </a:fld>
            <a:endParaRPr lang="en-GB" sz="900" dirty="0"/>
          </a:p>
        </p:txBody>
      </p:sp>
      <p:sp>
        <p:nvSpPr>
          <p:cNvPr id="37" name="Text Placeholder">
            <a:extLst>
              <a:ext uri="{FF2B5EF4-FFF2-40B4-BE49-F238E27FC236}">
                <a16:creationId xmlns:a16="http://schemas.microsoft.com/office/drawing/2014/main" id="{C211DFA5-F0CC-212D-12C4-A996599CE1A3}"/>
              </a:ext>
            </a:extLst>
          </p:cNvPr>
          <p:cNvSpPr>
            <a:spLocks noGrp="1"/>
          </p:cNvSpPr>
          <p:nvPr>
            <p:custDataLst>
              <p:tags r:id="rId34"/>
            </p:custDataLst>
          </p:nvPr>
        </p:nvSpPr>
        <p:spPr bwMode="auto">
          <a:xfrm>
            <a:off x="1001133" y="4299253"/>
            <a:ext cx="266700"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1F0597A-77FF-4C9A-AE2E-74C95B79E69A}" type="datetime'2''''''''''''''''0''''''''''''3''''''0'''''''''''''''''''''''">
              <a:rPr lang="en-GB" altLang="en-US" sz="900" smtClean="0"/>
              <a:pPr/>
              <a:t>2030</a:t>
            </a:fld>
            <a:endParaRPr lang="en-GB" sz="900"/>
          </a:p>
        </p:txBody>
      </p:sp>
      <p:sp>
        <p:nvSpPr>
          <p:cNvPr id="38" name="Text Placeholder">
            <a:extLst>
              <a:ext uri="{FF2B5EF4-FFF2-40B4-BE49-F238E27FC236}">
                <a16:creationId xmlns:a16="http://schemas.microsoft.com/office/drawing/2014/main" id="{FD43AB11-8335-209D-22D7-2F6B8FF90239}"/>
              </a:ext>
            </a:extLst>
          </p:cNvPr>
          <p:cNvSpPr>
            <a:spLocks noGrp="1"/>
          </p:cNvSpPr>
          <p:nvPr>
            <p:custDataLst>
              <p:tags r:id="rId35"/>
            </p:custDataLst>
          </p:nvPr>
        </p:nvSpPr>
        <p:spPr bwMode="gray">
          <a:xfrm>
            <a:off x="1537708" y="3630796"/>
            <a:ext cx="2635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E9CB26B5-92ED-4D42-80A8-BE59584F93C2}" type="datetime'''''''''''''''''''''''''''''''''''''5''5''''''%'''''''">
              <a:rPr lang="en-GB" altLang="en-US" sz="900" smtClean="0">
                <a:solidFill>
                  <a:schemeClr val="bg1"/>
                </a:solidFill>
              </a:rPr>
              <a:pPr/>
              <a:t>55%</a:t>
            </a:fld>
            <a:endParaRPr lang="en-GB" sz="900">
              <a:solidFill>
                <a:schemeClr val="bg1"/>
              </a:solidFill>
            </a:endParaRPr>
          </a:p>
        </p:txBody>
      </p:sp>
      <p:sp>
        <p:nvSpPr>
          <p:cNvPr id="39" name="Text Placeholder">
            <a:extLst>
              <a:ext uri="{FF2B5EF4-FFF2-40B4-BE49-F238E27FC236}">
                <a16:creationId xmlns:a16="http://schemas.microsoft.com/office/drawing/2014/main" id="{EFD33B13-D7C4-5BA1-D42B-3AF98D39C0C5}"/>
              </a:ext>
            </a:extLst>
          </p:cNvPr>
          <p:cNvSpPr>
            <a:spLocks noGrp="1"/>
          </p:cNvSpPr>
          <p:nvPr>
            <p:custDataLst>
              <p:tags r:id="rId36"/>
            </p:custDataLst>
          </p:nvPr>
        </p:nvSpPr>
        <p:spPr bwMode="gray">
          <a:xfrm>
            <a:off x="1537708" y="3807131"/>
            <a:ext cx="263525" cy="1365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2179F0C1-72DD-4507-849F-CA66C7DAD3C4}" type="datetime'''1''''''''''''''''9''''''''''''''%'''''''''''''''''">
              <a:rPr lang="en-GB" altLang="en-US" sz="900" smtClean="0">
                <a:solidFill>
                  <a:schemeClr val="bg1"/>
                </a:solidFill>
              </a:rPr>
              <a:pPr/>
              <a:t>19%</a:t>
            </a:fld>
            <a:endParaRPr lang="en-GB" sz="900" dirty="0">
              <a:solidFill>
                <a:schemeClr val="bg1"/>
              </a:solidFill>
            </a:endParaRPr>
          </a:p>
        </p:txBody>
      </p:sp>
      <p:sp>
        <p:nvSpPr>
          <p:cNvPr id="40" name="Text Placeholder">
            <a:extLst>
              <a:ext uri="{FF2B5EF4-FFF2-40B4-BE49-F238E27FC236}">
                <a16:creationId xmlns:a16="http://schemas.microsoft.com/office/drawing/2014/main" id="{012DD1E3-B2D6-A825-600D-992CBEB11A11}"/>
              </a:ext>
            </a:extLst>
          </p:cNvPr>
          <p:cNvSpPr>
            <a:spLocks noGrp="1"/>
          </p:cNvSpPr>
          <p:nvPr>
            <p:custDataLst>
              <p:tags r:id="rId37"/>
            </p:custDataLst>
          </p:nvPr>
        </p:nvSpPr>
        <p:spPr bwMode="gray">
          <a:xfrm>
            <a:off x="1537708" y="4034141"/>
            <a:ext cx="2635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AE788FE1-543F-4805-96B1-F6F696C27E91}" type="datetime'''''''''''''''''''''''''''27''''%'''''''''''''''''''''''''">
              <a:rPr lang="en-GB" altLang="en-US" sz="900" smtClean="0"/>
              <a:pPr/>
              <a:t>27%</a:t>
            </a:fld>
            <a:endParaRPr lang="en-GB" sz="900"/>
          </a:p>
        </p:txBody>
      </p:sp>
      <p:sp>
        <p:nvSpPr>
          <p:cNvPr id="41" name="Text Placeholder">
            <a:extLst>
              <a:ext uri="{FF2B5EF4-FFF2-40B4-BE49-F238E27FC236}">
                <a16:creationId xmlns:a16="http://schemas.microsoft.com/office/drawing/2014/main" id="{271D53A0-190E-3F39-5BDE-2CD48D76151A}"/>
              </a:ext>
            </a:extLst>
          </p:cNvPr>
          <p:cNvSpPr>
            <a:spLocks noGrp="1"/>
          </p:cNvSpPr>
          <p:nvPr>
            <p:custDataLst>
              <p:tags r:id="rId38"/>
            </p:custDataLst>
          </p:nvPr>
        </p:nvSpPr>
        <p:spPr bwMode="auto">
          <a:xfrm>
            <a:off x="1536120" y="4299253"/>
            <a:ext cx="266700"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373FE73-0A50-4C42-AF5E-D41E36DB1BBB}" type="datetime'2''''''0''''''''''''''''''''3''''0'''''''">
              <a:rPr lang="en-GB" altLang="en-US" sz="900" smtClean="0"/>
              <a:pPr/>
              <a:t>2030</a:t>
            </a:fld>
            <a:endParaRPr lang="en-GB" sz="900"/>
          </a:p>
        </p:txBody>
      </p:sp>
      <p:sp>
        <p:nvSpPr>
          <p:cNvPr id="42" name="Text Placeholder">
            <a:extLst>
              <a:ext uri="{FF2B5EF4-FFF2-40B4-BE49-F238E27FC236}">
                <a16:creationId xmlns:a16="http://schemas.microsoft.com/office/drawing/2014/main" id="{16232B9E-AE26-92B2-B462-D78D24C7EA27}"/>
              </a:ext>
            </a:extLst>
          </p:cNvPr>
          <p:cNvSpPr>
            <a:spLocks noGrp="1"/>
          </p:cNvSpPr>
          <p:nvPr>
            <p:custDataLst>
              <p:tags r:id="rId39"/>
            </p:custDataLst>
          </p:nvPr>
        </p:nvSpPr>
        <p:spPr bwMode="gray">
          <a:xfrm>
            <a:off x="2071108" y="2540184"/>
            <a:ext cx="2635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D1B5D33-9DB1-4077-86B7-3EBD0FDB79BB}" type="datetime'''''''''''''''3''5''''''''''%'''''''''''">
              <a:rPr lang="en-GB" altLang="en-US" sz="900" smtClean="0">
                <a:solidFill>
                  <a:schemeClr val="bg1"/>
                </a:solidFill>
              </a:rPr>
              <a:pPr/>
              <a:t>35%</a:t>
            </a:fld>
            <a:endParaRPr lang="en-GB" sz="900">
              <a:solidFill>
                <a:schemeClr val="bg1"/>
              </a:solidFill>
            </a:endParaRPr>
          </a:p>
        </p:txBody>
      </p:sp>
      <p:sp>
        <p:nvSpPr>
          <p:cNvPr id="43" name="Text Placeholder">
            <a:extLst>
              <a:ext uri="{FF2B5EF4-FFF2-40B4-BE49-F238E27FC236}">
                <a16:creationId xmlns:a16="http://schemas.microsoft.com/office/drawing/2014/main" id="{C83E0FD4-CBF0-B850-8D15-B250F50CFCEC}"/>
              </a:ext>
            </a:extLst>
          </p:cNvPr>
          <p:cNvSpPr>
            <a:spLocks noGrp="1"/>
          </p:cNvSpPr>
          <p:nvPr>
            <p:custDataLst>
              <p:tags r:id="rId40"/>
            </p:custDataLst>
          </p:nvPr>
        </p:nvSpPr>
        <p:spPr bwMode="gray">
          <a:xfrm>
            <a:off x="2071108" y="3479984"/>
            <a:ext cx="2635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E8E35C33-1C15-4AF2-B143-257DD50F646A}" type="datetime'''''''''''''''4''''''''''5''''''%'''''">
              <a:rPr lang="en-GB" altLang="en-US" sz="900" smtClean="0">
                <a:solidFill>
                  <a:schemeClr val="bg1"/>
                </a:solidFill>
              </a:rPr>
              <a:pPr/>
              <a:t>45%</a:t>
            </a:fld>
            <a:endParaRPr lang="en-GB" sz="900">
              <a:solidFill>
                <a:schemeClr val="bg1"/>
              </a:solidFill>
            </a:endParaRPr>
          </a:p>
        </p:txBody>
      </p:sp>
      <p:sp>
        <p:nvSpPr>
          <p:cNvPr id="44" name="Text Placeholder">
            <a:extLst>
              <a:ext uri="{FF2B5EF4-FFF2-40B4-BE49-F238E27FC236}">
                <a16:creationId xmlns:a16="http://schemas.microsoft.com/office/drawing/2014/main" id="{F835E5DF-8857-3EDE-E27B-BE09E4665F19}"/>
              </a:ext>
            </a:extLst>
          </p:cNvPr>
          <p:cNvSpPr>
            <a:spLocks noGrp="1"/>
          </p:cNvSpPr>
          <p:nvPr>
            <p:custDataLst>
              <p:tags r:id="rId41"/>
            </p:custDataLst>
          </p:nvPr>
        </p:nvSpPr>
        <p:spPr bwMode="gray">
          <a:xfrm>
            <a:off x="2071108" y="3951591"/>
            <a:ext cx="2635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AE79EFB7-FEC2-440E-B972-4EB4B95F9476}" type="datetime'''''2''''''''''''''0%'''''''''''''''''''''''''''''''''''''''''">
              <a:rPr lang="en-GB" altLang="en-US" sz="900" smtClean="0"/>
              <a:pPr/>
              <a:t>20%</a:t>
            </a:fld>
            <a:endParaRPr lang="en-GB" sz="900"/>
          </a:p>
        </p:txBody>
      </p:sp>
      <p:sp>
        <p:nvSpPr>
          <p:cNvPr id="45" name="Text Placeholder">
            <a:extLst>
              <a:ext uri="{FF2B5EF4-FFF2-40B4-BE49-F238E27FC236}">
                <a16:creationId xmlns:a16="http://schemas.microsoft.com/office/drawing/2014/main" id="{664D4C37-ADAE-011F-0597-A4593413FE1A}"/>
              </a:ext>
            </a:extLst>
          </p:cNvPr>
          <p:cNvSpPr>
            <a:spLocks noGrp="1"/>
          </p:cNvSpPr>
          <p:nvPr>
            <p:custDataLst>
              <p:tags r:id="rId42"/>
            </p:custDataLst>
          </p:nvPr>
        </p:nvSpPr>
        <p:spPr bwMode="auto">
          <a:xfrm>
            <a:off x="2069520" y="4299253"/>
            <a:ext cx="266700"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7AA7A14-CB51-40F1-95AD-381C94F8E267}" type="datetime'''2''''''''0''''5''''0'''''''''''''">
              <a:rPr lang="en-GB" altLang="en-US" sz="900" smtClean="0"/>
              <a:pPr/>
              <a:t>2050</a:t>
            </a:fld>
            <a:endParaRPr lang="en-GB" sz="900"/>
          </a:p>
        </p:txBody>
      </p:sp>
      <p:sp>
        <p:nvSpPr>
          <p:cNvPr id="46" name="Text Placeholder">
            <a:extLst>
              <a:ext uri="{FF2B5EF4-FFF2-40B4-BE49-F238E27FC236}">
                <a16:creationId xmlns:a16="http://schemas.microsoft.com/office/drawing/2014/main" id="{6B0590BD-AFE1-EF67-7394-F1E480C5EDD2}"/>
              </a:ext>
            </a:extLst>
          </p:cNvPr>
          <p:cNvSpPr>
            <a:spLocks noGrp="1"/>
          </p:cNvSpPr>
          <p:nvPr>
            <p:custDataLst>
              <p:tags r:id="rId43"/>
            </p:custDataLst>
          </p:nvPr>
        </p:nvSpPr>
        <p:spPr bwMode="gray">
          <a:xfrm>
            <a:off x="510594" y="3613328"/>
            <a:ext cx="177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9799D4B4-DABB-485D-9429-CC25DA86BF0E}" type="datetime'''''9''''5'">
              <a:rPr lang="en-GB" altLang="en-US" sz="1000" b="1" smtClean="0"/>
              <a:pPr/>
              <a:t>95</a:t>
            </a:fld>
            <a:endParaRPr lang="en-GB" sz="1000" b="1" dirty="0"/>
          </a:p>
        </p:txBody>
      </p:sp>
      <p:sp>
        <p:nvSpPr>
          <p:cNvPr id="47" name="Text Placeholder">
            <a:extLst>
              <a:ext uri="{FF2B5EF4-FFF2-40B4-BE49-F238E27FC236}">
                <a16:creationId xmlns:a16="http://schemas.microsoft.com/office/drawing/2014/main" id="{5CF0E30A-38A0-5240-9508-306DF3D7FFE8}"/>
              </a:ext>
            </a:extLst>
          </p:cNvPr>
          <p:cNvSpPr>
            <a:spLocks noGrp="1"/>
          </p:cNvSpPr>
          <p:nvPr>
            <p:custDataLst>
              <p:tags r:id="rId44"/>
            </p:custDataLst>
          </p:nvPr>
        </p:nvSpPr>
        <p:spPr bwMode="gray">
          <a:xfrm>
            <a:off x="1010657" y="3316466"/>
            <a:ext cx="2476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288A4048-A5CA-43FF-BF06-C644153D1631}" type="datetime'''''''''''''''1''''''''5''''''''''''''0'''''''''''''''">
              <a:rPr lang="en-GB" altLang="en-US" sz="1000" b="1" smtClean="0"/>
              <a:pPr/>
              <a:t>150</a:t>
            </a:fld>
            <a:endParaRPr lang="en-GB" sz="1000" b="1" dirty="0"/>
          </a:p>
        </p:txBody>
      </p:sp>
      <p:sp>
        <p:nvSpPr>
          <p:cNvPr id="48" name="Text Placeholder">
            <a:extLst>
              <a:ext uri="{FF2B5EF4-FFF2-40B4-BE49-F238E27FC236}">
                <a16:creationId xmlns:a16="http://schemas.microsoft.com/office/drawing/2014/main" id="{4552753C-3C55-B537-3C98-CF380092D40A}"/>
              </a:ext>
            </a:extLst>
          </p:cNvPr>
          <p:cNvSpPr>
            <a:spLocks noGrp="1"/>
          </p:cNvSpPr>
          <p:nvPr>
            <p:custDataLst>
              <p:tags r:id="rId45"/>
            </p:custDataLst>
          </p:nvPr>
        </p:nvSpPr>
        <p:spPr bwMode="gray">
          <a:xfrm>
            <a:off x="1545644" y="3068815"/>
            <a:ext cx="2476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F70FDE73-5709-44A7-AC75-F61D6D2C9326}" type="datetime'2''''1''''''6'''''''''''''''">
              <a:rPr lang="en-GB" altLang="en-US" sz="1000" b="1" smtClean="0"/>
              <a:pPr/>
              <a:t>216</a:t>
            </a:fld>
            <a:endParaRPr lang="en-GB" sz="1000" b="1" dirty="0"/>
          </a:p>
        </p:txBody>
      </p:sp>
      <p:sp>
        <p:nvSpPr>
          <p:cNvPr id="49" name="Text Placeholder">
            <a:extLst>
              <a:ext uri="{FF2B5EF4-FFF2-40B4-BE49-F238E27FC236}">
                <a16:creationId xmlns:a16="http://schemas.microsoft.com/office/drawing/2014/main" id="{BAF88333-FC97-0672-9DC8-50D37FD5349D}"/>
              </a:ext>
            </a:extLst>
          </p:cNvPr>
          <p:cNvSpPr>
            <a:spLocks noGrp="1"/>
          </p:cNvSpPr>
          <p:nvPr>
            <p:custDataLst>
              <p:tags r:id="rId46"/>
            </p:custDataLst>
          </p:nvPr>
        </p:nvSpPr>
        <p:spPr bwMode="gray">
          <a:xfrm>
            <a:off x="2079044" y="2021070"/>
            <a:ext cx="2476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7F122017-194C-4EC3-8E42-CF030CA4141B}" type="datetime'''4''3''''''''''''''''''''''''''''''''0'''''''''''''''">
              <a:rPr lang="en-GB" altLang="en-US" sz="1000" b="1" smtClean="0"/>
              <a:pPr/>
              <a:t>430</a:t>
            </a:fld>
            <a:endParaRPr lang="en-GB" sz="1000" b="1"/>
          </a:p>
        </p:txBody>
      </p:sp>
      <p:sp>
        <p:nvSpPr>
          <p:cNvPr id="50" name="Rounded Rectangle 115">
            <a:extLst>
              <a:ext uri="{FF2B5EF4-FFF2-40B4-BE49-F238E27FC236}">
                <a16:creationId xmlns:a16="http://schemas.microsoft.com/office/drawing/2014/main" id="{42D0BDBE-656C-AE12-71AF-B61E250E7868}"/>
              </a:ext>
            </a:extLst>
          </p:cNvPr>
          <p:cNvSpPr>
            <a:spLocks/>
          </p:cNvSpPr>
          <p:nvPr/>
        </p:nvSpPr>
        <p:spPr>
          <a:xfrm>
            <a:off x="2524916" y="2402071"/>
            <a:ext cx="399381" cy="188913"/>
          </a:xfrm>
          <a:prstGeom prst="roundRect">
            <a:avLst>
              <a:gd name="adj" fmla="val 50000"/>
            </a:avLst>
          </a:prstGeom>
          <a:solidFill>
            <a:schemeClr val="accent5"/>
          </a:solidFill>
          <a:ln w="9525" cmpd="sng">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lnSpc>
                <a:spcPct val="90000"/>
              </a:lnSpc>
              <a:buSzPct val="100000"/>
              <a:buFont typeface=""/>
            </a:pPr>
            <a:r>
              <a:rPr lang="en-GB" sz="1000">
                <a:solidFill>
                  <a:schemeClr val="bg1">
                    <a:lumMod val="100000"/>
                  </a:schemeClr>
                </a:solidFill>
                <a:cs typeface="Arial" pitchFamily="34" charset="0"/>
              </a:rPr>
              <a:t>2%</a:t>
            </a:r>
          </a:p>
        </p:txBody>
      </p:sp>
      <p:sp>
        <p:nvSpPr>
          <p:cNvPr id="51" name="Rounded Rectangle 115">
            <a:extLst>
              <a:ext uri="{FF2B5EF4-FFF2-40B4-BE49-F238E27FC236}">
                <a16:creationId xmlns:a16="http://schemas.microsoft.com/office/drawing/2014/main" id="{1C1D308C-C8A9-077A-FD55-3553EF6497E1}"/>
              </a:ext>
            </a:extLst>
          </p:cNvPr>
          <p:cNvSpPr>
            <a:spLocks/>
          </p:cNvSpPr>
          <p:nvPr/>
        </p:nvSpPr>
        <p:spPr>
          <a:xfrm>
            <a:off x="2524916" y="3330759"/>
            <a:ext cx="399381" cy="188913"/>
          </a:xfrm>
          <a:prstGeom prst="roundRect">
            <a:avLst>
              <a:gd name="adj" fmla="val 50000"/>
            </a:avLst>
          </a:prstGeom>
          <a:solidFill>
            <a:schemeClr val="accent4"/>
          </a:solidFill>
          <a:ln w="9525" cmpd="sng">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lnSpc>
                <a:spcPct val="90000"/>
              </a:lnSpc>
              <a:buSzPct val="100000"/>
              <a:buFont typeface=""/>
            </a:pPr>
            <a:r>
              <a:rPr lang="en-GB" sz="1000">
                <a:solidFill>
                  <a:schemeClr val="bg1"/>
                </a:solidFill>
                <a:cs typeface="Arial" pitchFamily="34" charset="0"/>
              </a:rPr>
              <a:t>13%</a:t>
            </a:r>
          </a:p>
        </p:txBody>
      </p:sp>
      <p:sp>
        <p:nvSpPr>
          <p:cNvPr id="52" name="Rounded Rectangle 115">
            <a:extLst>
              <a:ext uri="{FF2B5EF4-FFF2-40B4-BE49-F238E27FC236}">
                <a16:creationId xmlns:a16="http://schemas.microsoft.com/office/drawing/2014/main" id="{259796C6-EB43-2FE5-F6C3-D8D949F1658F}"/>
              </a:ext>
            </a:extLst>
          </p:cNvPr>
          <p:cNvSpPr>
            <a:spLocks/>
          </p:cNvSpPr>
          <p:nvPr/>
        </p:nvSpPr>
        <p:spPr>
          <a:xfrm>
            <a:off x="2524916" y="4181659"/>
            <a:ext cx="399381" cy="188913"/>
          </a:xfrm>
          <a:prstGeom prst="roundRect">
            <a:avLst>
              <a:gd name="adj" fmla="val 50000"/>
            </a:avLst>
          </a:prstGeom>
          <a:solidFill>
            <a:schemeClr val="accent1"/>
          </a:solidFill>
          <a:ln w="9525" cmpd="sng">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lnSpc>
                <a:spcPct val="90000"/>
              </a:lnSpc>
              <a:buSzPct val="100000"/>
              <a:buFont typeface=""/>
            </a:pPr>
            <a:r>
              <a:rPr lang="en-GB" sz="1000">
                <a:solidFill>
                  <a:schemeClr val="tx1"/>
                </a:solidFill>
                <a:cs typeface="Arial" pitchFamily="34" charset="0"/>
              </a:rPr>
              <a:t>6%</a:t>
            </a:r>
          </a:p>
        </p:txBody>
      </p:sp>
      <p:graphicFrame>
        <p:nvGraphicFramePr>
          <p:cNvPr id="53" name="Chart 15">
            <a:extLst>
              <a:ext uri="{FF2B5EF4-FFF2-40B4-BE49-F238E27FC236}">
                <a16:creationId xmlns:a16="http://schemas.microsoft.com/office/drawing/2014/main" id="{0A61C4CB-2930-6F53-C46E-797C9FBD5431}"/>
              </a:ext>
            </a:extLst>
          </p:cNvPr>
          <p:cNvGraphicFramePr/>
          <p:nvPr>
            <p:custDataLst>
              <p:tags r:id="rId47"/>
            </p:custDataLst>
            <p:extLst>
              <p:ext uri="{D42A27DB-BD31-4B8C-83A1-F6EECF244321}">
                <p14:modId xmlns:p14="http://schemas.microsoft.com/office/powerpoint/2010/main" val="899158221"/>
              </p:ext>
            </p:extLst>
          </p:nvPr>
        </p:nvGraphicFramePr>
        <p:xfrm>
          <a:off x="6043033" y="1973446"/>
          <a:ext cx="2747962" cy="2497138"/>
        </p:xfrm>
        <a:graphic>
          <a:graphicData uri="http://schemas.openxmlformats.org/drawingml/2006/chart">
            <c:chart xmlns:c="http://schemas.openxmlformats.org/drawingml/2006/chart" xmlns:r="http://schemas.openxmlformats.org/officeDocument/2006/relationships" r:id="rId65"/>
          </a:graphicData>
        </a:graphic>
      </p:graphicFrame>
      <p:sp>
        <p:nvSpPr>
          <p:cNvPr id="54" name="Text Placeholder">
            <a:extLst>
              <a:ext uri="{FF2B5EF4-FFF2-40B4-BE49-F238E27FC236}">
                <a16:creationId xmlns:a16="http://schemas.microsoft.com/office/drawing/2014/main" id="{B71F88DD-1476-26CA-AE4C-C636C6CC1C65}"/>
              </a:ext>
            </a:extLst>
          </p:cNvPr>
          <p:cNvSpPr>
            <a:spLocks noGrp="1"/>
          </p:cNvSpPr>
          <p:nvPr>
            <p:custDataLst>
              <p:tags r:id="rId48"/>
            </p:custDataLst>
          </p:nvPr>
        </p:nvSpPr>
        <p:spPr bwMode="auto">
          <a:xfrm>
            <a:off x="6282745" y="4322946"/>
            <a:ext cx="3302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DF0EC51-8213-4663-96DA-F727A632DB57}" type="datetime'T''o''''''day'''''''''''''''''''''''">
              <a:rPr lang="en-GB" altLang="en-US" sz="900" smtClean="0"/>
              <a:pPr/>
              <a:t>Today</a:t>
            </a:fld>
            <a:endParaRPr lang="en-GB" sz="900"/>
          </a:p>
        </p:txBody>
      </p:sp>
      <p:sp>
        <p:nvSpPr>
          <p:cNvPr id="55" name="Text Placeholder">
            <a:extLst>
              <a:ext uri="{FF2B5EF4-FFF2-40B4-BE49-F238E27FC236}">
                <a16:creationId xmlns:a16="http://schemas.microsoft.com/office/drawing/2014/main" id="{129D5844-C31C-913E-2F72-25D14D015B4C}"/>
              </a:ext>
            </a:extLst>
          </p:cNvPr>
          <p:cNvSpPr>
            <a:spLocks noGrp="1"/>
          </p:cNvSpPr>
          <p:nvPr>
            <p:custDataLst>
              <p:tags r:id="rId49"/>
            </p:custDataLst>
          </p:nvPr>
        </p:nvSpPr>
        <p:spPr bwMode="auto">
          <a:xfrm>
            <a:off x="6960608" y="4322946"/>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8B770B9B-E12A-4D00-A761-72FBDCB3F4B9}" type="datetime'''''''''''''''2''''''0''''3''''''''''''''''''''''0'">
              <a:rPr lang="en-GB" altLang="en-US" sz="900" smtClean="0"/>
              <a:pPr/>
              <a:t>2030</a:t>
            </a:fld>
            <a:endParaRPr lang="en-GB" sz="900"/>
          </a:p>
        </p:txBody>
      </p:sp>
      <p:sp>
        <p:nvSpPr>
          <p:cNvPr id="56" name="Text Placeholder">
            <a:extLst>
              <a:ext uri="{FF2B5EF4-FFF2-40B4-BE49-F238E27FC236}">
                <a16:creationId xmlns:a16="http://schemas.microsoft.com/office/drawing/2014/main" id="{02FBCEA9-4B88-6C8B-7889-6560AB4A3647}"/>
              </a:ext>
            </a:extLst>
          </p:cNvPr>
          <p:cNvSpPr>
            <a:spLocks noGrp="1"/>
          </p:cNvSpPr>
          <p:nvPr>
            <p:custDataLst>
              <p:tags r:id="rId50"/>
            </p:custDataLst>
          </p:nvPr>
        </p:nvSpPr>
        <p:spPr bwMode="auto">
          <a:xfrm>
            <a:off x="7605133" y="4322946"/>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1DD68DB8-6922-49D1-A485-88D98383488B}" type="datetime'''''2''''03''''''''''''''5'''''''''''">
              <a:rPr lang="en-GB" altLang="en-US" sz="900" smtClean="0"/>
              <a:pPr/>
              <a:t>2035</a:t>
            </a:fld>
            <a:endParaRPr lang="en-GB" sz="900"/>
          </a:p>
        </p:txBody>
      </p:sp>
      <p:sp>
        <p:nvSpPr>
          <p:cNvPr id="57" name="Text Placeholder">
            <a:extLst>
              <a:ext uri="{FF2B5EF4-FFF2-40B4-BE49-F238E27FC236}">
                <a16:creationId xmlns:a16="http://schemas.microsoft.com/office/drawing/2014/main" id="{235F04CF-DB7E-BDBD-B3EA-21A1B5F3B40F}"/>
              </a:ext>
            </a:extLst>
          </p:cNvPr>
          <p:cNvSpPr>
            <a:spLocks noGrp="1"/>
          </p:cNvSpPr>
          <p:nvPr>
            <p:custDataLst>
              <p:tags r:id="rId51"/>
            </p:custDataLst>
          </p:nvPr>
        </p:nvSpPr>
        <p:spPr bwMode="auto">
          <a:xfrm>
            <a:off x="8251245" y="4322946"/>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8929DE1E-E7FA-42AB-97A5-F3F31AEDAE49}" type="datetime'''205''''''''0'''''''''''''''">
              <a:rPr lang="en-GB" altLang="en-US" sz="900" smtClean="0"/>
              <a:pPr/>
              <a:t>2050</a:t>
            </a:fld>
            <a:endParaRPr lang="en-GB" sz="900"/>
          </a:p>
        </p:txBody>
      </p:sp>
      <p:sp>
        <p:nvSpPr>
          <p:cNvPr id="58" name="Text Placeholder">
            <a:extLst>
              <a:ext uri="{FF2B5EF4-FFF2-40B4-BE49-F238E27FC236}">
                <a16:creationId xmlns:a16="http://schemas.microsoft.com/office/drawing/2014/main" id="{42135201-F930-13DF-F121-514918016121}"/>
              </a:ext>
            </a:extLst>
          </p:cNvPr>
          <p:cNvSpPr>
            <a:spLocks noGrp="1"/>
          </p:cNvSpPr>
          <p:nvPr>
            <p:custDataLst>
              <p:tags r:id="rId52"/>
            </p:custDataLst>
          </p:nvPr>
        </p:nvSpPr>
        <p:spPr bwMode="gray">
          <a:xfrm>
            <a:off x="6365295" y="4135621"/>
            <a:ext cx="1651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860" tIns="0" rIns="17860" bIns="0" numCol="1" spcCol="0" rtlCol="0" anchor="b"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r>
              <a:rPr lang="en-GB" altLang="en-US" sz="900" b="1" dirty="0"/>
              <a:t>&lt;</a:t>
            </a:r>
            <a:fld id="{009B6EB2-ED56-4545-A52C-3D9D28918619}" type="datetime'''''''''''''''''''''''''''''''''''''''1'''''''">
              <a:rPr lang="en-GB" altLang="en-US" sz="900" b="1" smtClean="0"/>
              <a:pPr/>
              <a:t>1</a:t>
            </a:fld>
            <a:endParaRPr lang="en-GB" sz="900" b="1" dirty="0"/>
          </a:p>
        </p:txBody>
      </p:sp>
      <p:sp>
        <p:nvSpPr>
          <p:cNvPr id="59" name="Text Placeholder 2">
            <a:extLst>
              <a:ext uri="{FF2B5EF4-FFF2-40B4-BE49-F238E27FC236}">
                <a16:creationId xmlns:a16="http://schemas.microsoft.com/office/drawing/2014/main" id="{185497FE-C65C-E60E-9AB5-801F1F29C8F9}"/>
              </a:ext>
            </a:extLst>
          </p:cNvPr>
          <p:cNvSpPr>
            <a:spLocks noGrp="1"/>
          </p:cNvSpPr>
          <p:nvPr>
            <p:custDataLst>
              <p:tags r:id="rId53"/>
            </p:custDataLst>
          </p:nvPr>
        </p:nvSpPr>
        <p:spPr bwMode="gray">
          <a:xfrm>
            <a:off x="7562270" y="3273609"/>
            <a:ext cx="3524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0B7E9CA-CA1B-44A3-B0B7-45DEEA4D993C}" type="datetime'''1'''''''''',''''''''3''''''''''''''''''''''''40'''">
              <a:rPr lang="en-GB" altLang="en-US" sz="1000" b="1" smtClean="0">
                <a:effectLst/>
              </a:rPr>
              <a:pPr marL="0" lvl="0" indent="0" algn="ctr">
                <a:spcBef>
                  <a:spcPct val="0"/>
                </a:spcBef>
                <a:spcAft>
                  <a:spcPct val="0"/>
                </a:spcAft>
                <a:buNone/>
              </a:pPr>
              <a:t>1,340</a:t>
            </a:fld>
            <a:endParaRPr lang="en-GB" sz="1000" b="1" dirty="0"/>
          </a:p>
        </p:txBody>
      </p:sp>
      <p:sp>
        <p:nvSpPr>
          <p:cNvPr id="60" name="Text Placeholder 2">
            <a:extLst>
              <a:ext uri="{FF2B5EF4-FFF2-40B4-BE49-F238E27FC236}">
                <a16:creationId xmlns:a16="http://schemas.microsoft.com/office/drawing/2014/main" id="{4BFF6D60-D6D4-A2A2-1A40-CC40E19E0316}"/>
              </a:ext>
            </a:extLst>
          </p:cNvPr>
          <p:cNvSpPr>
            <a:spLocks noGrp="1"/>
          </p:cNvSpPr>
          <p:nvPr>
            <p:custDataLst>
              <p:tags r:id="rId54"/>
            </p:custDataLst>
          </p:nvPr>
        </p:nvSpPr>
        <p:spPr bwMode="gray">
          <a:xfrm>
            <a:off x="8208383" y="2036947"/>
            <a:ext cx="3524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7D0A2A6-D786-4FB1-A716-E42F3D66370E}" type="datetime'''''''''''''3'',''''''''''''''3''0''''''''''''''''''0'''''''">
              <a:rPr lang="en-GB" altLang="en-US" sz="1000" b="1" smtClean="0">
                <a:effectLst/>
              </a:rPr>
              <a:pPr marL="0" lvl="0" indent="0" algn="ctr">
                <a:spcBef>
                  <a:spcPct val="0"/>
                </a:spcBef>
                <a:spcAft>
                  <a:spcPct val="0"/>
                </a:spcAft>
                <a:buNone/>
              </a:pPr>
              <a:t>3,300</a:t>
            </a:fld>
            <a:endParaRPr lang="en-GB" sz="1000" b="1" dirty="0"/>
          </a:p>
        </p:txBody>
      </p:sp>
      <p:sp>
        <p:nvSpPr>
          <p:cNvPr id="61" name="Rectangle 94">
            <a:extLst>
              <a:ext uri="{FF2B5EF4-FFF2-40B4-BE49-F238E27FC236}">
                <a16:creationId xmlns:a16="http://schemas.microsoft.com/office/drawing/2014/main" id="{9D550C4D-81EA-DF12-48A0-FA1826316387}"/>
              </a:ext>
            </a:extLst>
          </p:cNvPr>
          <p:cNvSpPr/>
          <p:nvPr>
            <p:custDataLst>
              <p:tags r:id="rId55"/>
            </p:custDataLst>
          </p:nvPr>
        </p:nvSpPr>
        <p:spPr bwMode="auto">
          <a:xfrm>
            <a:off x="366133" y="2111559"/>
            <a:ext cx="93663" cy="93663"/>
          </a:xfrm>
          <a:prstGeom prst="rect">
            <a:avLst/>
          </a:prstGeom>
          <a:solidFill>
            <a:schemeClr val="accent5"/>
          </a:solidFill>
          <a:ln w="9525"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spcBef>
                <a:spcPts val="300"/>
              </a:spcBef>
              <a:spcAft>
                <a:spcPct val="0"/>
              </a:spcAft>
              <a:buSzPct val="100000"/>
            </a:pPr>
            <a:endParaRPr lang="en-GB" sz="900">
              <a:solidFill>
                <a:schemeClr val="tx1"/>
              </a:solidFill>
              <a:sym typeface="+mn-lt"/>
            </a:endParaRPr>
          </a:p>
        </p:txBody>
      </p:sp>
      <p:sp>
        <p:nvSpPr>
          <p:cNvPr id="62" name="Rectangle 95">
            <a:extLst>
              <a:ext uri="{FF2B5EF4-FFF2-40B4-BE49-F238E27FC236}">
                <a16:creationId xmlns:a16="http://schemas.microsoft.com/office/drawing/2014/main" id="{48210F40-77B7-2FD3-FC90-254BAF61C2C8}"/>
              </a:ext>
            </a:extLst>
          </p:cNvPr>
          <p:cNvSpPr/>
          <p:nvPr>
            <p:custDataLst>
              <p:tags r:id="rId56"/>
            </p:custDataLst>
          </p:nvPr>
        </p:nvSpPr>
        <p:spPr bwMode="auto">
          <a:xfrm>
            <a:off x="366133" y="2265546"/>
            <a:ext cx="93663" cy="93663"/>
          </a:xfrm>
          <a:prstGeom prst="rect">
            <a:avLst/>
          </a:prstGeom>
          <a:solidFill>
            <a:schemeClr val="accent4"/>
          </a:solidFill>
          <a:ln w="9525"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spcBef>
                <a:spcPts val="300"/>
              </a:spcBef>
              <a:spcAft>
                <a:spcPct val="0"/>
              </a:spcAft>
              <a:buSzPct val="100000"/>
            </a:pPr>
            <a:endParaRPr lang="en-GB" sz="900">
              <a:solidFill>
                <a:schemeClr val="tx1"/>
              </a:solidFill>
              <a:sym typeface="+mn-lt"/>
            </a:endParaRPr>
          </a:p>
        </p:txBody>
      </p:sp>
      <p:sp>
        <p:nvSpPr>
          <p:cNvPr id="63" name="Rectangle 96">
            <a:extLst>
              <a:ext uri="{FF2B5EF4-FFF2-40B4-BE49-F238E27FC236}">
                <a16:creationId xmlns:a16="http://schemas.microsoft.com/office/drawing/2014/main" id="{D8FFA18F-3BD9-4974-7DF3-5A66B6AFBDBE}"/>
              </a:ext>
            </a:extLst>
          </p:cNvPr>
          <p:cNvSpPr/>
          <p:nvPr>
            <p:custDataLst>
              <p:tags r:id="rId57"/>
            </p:custDataLst>
          </p:nvPr>
        </p:nvSpPr>
        <p:spPr bwMode="auto">
          <a:xfrm>
            <a:off x="366133" y="2419534"/>
            <a:ext cx="93663" cy="93663"/>
          </a:xfrm>
          <a:prstGeom prst="rect">
            <a:avLst/>
          </a:prstGeom>
          <a:solidFill>
            <a:schemeClr val="accent1"/>
          </a:solidFill>
          <a:ln w="9525"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spcBef>
                <a:spcPts val="300"/>
              </a:spcBef>
              <a:spcAft>
                <a:spcPct val="0"/>
              </a:spcAft>
              <a:buSzPct val="100000"/>
            </a:pPr>
            <a:endParaRPr lang="en-GB" sz="900">
              <a:solidFill>
                <a:schemeClr val="tx1"/>
              </a:solidFill>
              <a:sym typeface="+mn-lt"/>
            </a:endParaRPr>
          </a:p>
        </p:txBody>
      </p:sp>
      <p:sp>
        <p:nvSpPr>
          <p:cNvPr id="64" name="Text Placeholder">
            <a:extLst>
              <a:ext uri="{FF2B5EF4-FFF2-40B4-BE49-F238E27FC236}">
                <a16:creationId xmlns:a16="http://schemas.microsoft.com/office/drawing/2014/main" id="{ED87F573-DB5C-E06D-3B41-1700EEB5D906}"/>
              </a:ext>
            </a:extLst>
          </p:cNvPr>
          <p:cNvSpPr>
            <a:spLocks noGrp="1"/>
          </p:cNvSpPr>
          <p:nvPr>
            <p:custDataLst>
              <p:tags r:id="rId58"/>
            </p:custDataLst>
          </p:nvPr>
        </p:nvSpPr>
        <p:spPr bwMode="auto">
          <a:xfrm>
            <a:off x="510595" y="2109971"/>
            <a:ext cx="304800" cy="1031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fontAlgn="base">
              <a:spcBef>
                <a:spcPct val="0"/>
              </a:spcBef>
              <a:spcAft>
                <a:spcPct val="0"/>
              </a:spcAft>
              <a:buSzPct val="100000"/>
              <a:buFont typeface="+mn-lt" pitchFamily="34" charset="0"/>
            </a:pPr>
            <a:fld id="{F61FB286-1F2C-4ADD-B368-9A121337DD50}" type="datetime'''''I''n''d''''''''''u''s''''''''''''t''''''''''r''''''y'''">
              <a:rPr lang="en-GB" altLang="en-US" sz="675" smtClean="0"/>
              <a:pPr/>
              <a:t>Industry</a:t>
            </a:fld>
            <a:endParaRPr lang="en-GB" sz="675"/>
          </a:p>
        </p:txBody>
      </p:sp>
      <p:sp>
        <p:nvSpPr>
          <p:cNvPr id="65" name="Text Placeholder">
            <a:extLst>
              <a:ext uri="{FF2B5EF4-FFF2-40B4-BE49-F238E27FC236}">
                <a16:creationId xmlns:a16="http://schemas.microsoft.com/office/drawing/2014/main" id="{170B30AD-44E5-1DF1-D403-7938E725B7E4}"/>
              </a:ext>
            </a:extLst>
          </p:cNvPr>
          <p:cNvSpPr>
            <a:spLocks noGrp="1"/>
          </p:cNvSpPr>
          <p:nvPr>
            <p:custDataLst>
              <p:tags r:id="rId59"/>
            </p:custDataLst>
          </p:nvPr>
        </p:nvSpPr>
        <p:spPr bwMode="auto">
          <a:xfrm>
            <a:off x="510595" y="2263959"/>
            <a:ext cx="290513" cy="1031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422C23F8-7383-42F4-A845-3AFC9E93656F}" type="datetime'''''''M''''''''obi''''''''''''l''''''it''y'''''''''''">
              <a:rPr lang="en-GB" altLang="en-US" sz="675" smtClean="0"/>
              <a:pPr/>
              <a:t>Mobility</a:t>
            </a:fld>
            <a:endParaRPr lang="en-GB" sz="675"/>
          </a:p>
        </p:txBody>
      </p:sp>
      <p:sp>
        <p:nvSpPr>
          <p:cNvPr id="66" name="Text Placeholder">
            <a:extLst>
              <a:ext uri="{FF2B5EF4-FFF2-40B4-BE49-F238E27FC236}">
                <a16:creationId xmlns:a16="http://schemas.microsoft.com/office/drawing/2014/main" id="{EA9F240C-5B7D-712A-B6FB-DBAF39D3268F}"/>
              </a:ext>
            </a:extLst>
          </p:cNvPr>
          <p:cNvSpPr>
            <a:spLocks noGrp="1"/>
          </p:cNvSpPr>
          <p:nvPr>
            <p:custDataLst>
              <p:tags r:id="rId60"/>
            </p:custDataLst>
          </p:nvPr>
        </p:nvSpPr>
        <p:spPr bwMode="auto">
          <a:xfrm>
            <a:off x="510596" y="2417946"/>
            <a:ext cx="271463" cy="1031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6E161358-2229-4A6D-BC12-D16650BB0AAE}" type="datetime'''''''E''''n''''erg''''''''''''''''''''''''''''''''y'''''">
              <a:rPr lang="en-GB" altLang="en-US" sz="675" smtClean="0"/>
              <a:pPr/>
              <a:t>Energy</a:t>
            </a:fld>
            <a:endParaRPr lang="en-GB" sz="675"/>
          </a:p>
        </p:txBody>
      </p:sp>
      <p:sp>
        <p:nvSpPr>
          <p:cNvPr id="67" name="Round Single Corner Rectangle 5">
            <a:extLst>
              <a:ext uri="{FF2B5EF4-FFF2-40B4-BE49-F238E27FC236}">
                <a16:creationId xmlns:a16="http://schemas.microsoft.com/office/drawing/2014/main" id="{47EE8D78-07E3-F091-B1DE-BD68927D2799}"/>
              </a:ext>
            </a:extLst>
          </p:cNvPr>
          <p:cNvSpPr/>
          <p:nvPr/>
        </p:nvSpPr>
        <p:spPr>
          <a:xfrm>
            <a:off x="1593641" y="1708335"/>
            <a:ext cx="1567818" cy="2722562"/>
          </a:xfrm>
          <a:custGeom>
            <a:avLst/>
            <a:gdLst>
              <a:gd name="connsiteX0" fmla="*/ 0 w 2470867"/>
              <a:gd name="connsiteY0" fmla="*/ 0 h 4114799"/>
              <a:gd name="connsiteX1" fmla="*/ 2059048 w 2470867"/>
              <a:gd name="connsiteY1" fmla="*/ 0 h 4114799"/>
              <a:gd name="connsiteX2" fmla="*/ 2470867 w 2470867"/>
              <a:gd name="connsiteY2" fmla="*/ 411819 h 4114799"/>
              <a:gd name="connsiteX3" fmla="*/ 2470867 w 2470867"/>
              <a:gd name="connsiteY3" fmla="*/ 4114799 h 4114799"/>
              <a:gd name="connsiteX4" fmla="*/ 0 w 2470867"/>
              <a:gd name="connsiteY4" fmla="*/ 4114799 h 4114799"/>
              <a:gd name="connsiteX5" fmla="*/ 0 w 2470867"/>
              <a:gd name="connsiteY5" fmla="*/ 0 h 4114799"/>
              <a:gd name="connsiteX0" fmla="*/ 0 w 2470867"/>
              <a:gd name="connsiteY0" fmla="*/ 4114799 h 4206239"/>
              <a:gd name="connsiteX1" fmla="*/ 0 w 2470867"/>
              <a:gd name="connsiteY1" fmla="*/ 0 h 4206239"/>
              <a:gd name="connsiteX2" fmla="*/ 2059048 w 2470867"/>
              <a:gd name="connsiteY2" fmla="*/ 0 h 4206239"/>
              <a:gd name="connsiteX3" fmla="*/ 2470867 w 2470867"/>
              <a:gd name="connsiteY3" fmla="*/ 411819 h 4206239"/>
              <a:gd name="connsiteX4" fmla="*/ 2470867 w 2470867"/>
              <a:gd name="connsiteY4" fmla="*/ 4114799 h 4206239"/>
              <a:gd name="connsiteX5" fmla="*/ 91440 w 2470867"/>
              <a:gd name="connsiteY5" fmla="*/ 4206239 h 4206239"/>
              <a:gd name="connsiteX0" fmla="*/ 0 w 2470867"/>
              <a:gd name="connsiteY0" fmla="*/ 4114799 h 4114799"/>
              <a:gd name="connsiteX1" fmla="*/ 0 w 2470867"/>
              <a:gd name="connsiteY1" fmla="*/ 0 h 4114799"/>
              <a:gd name="connsiteX2" fmla="*/ 2059048 w 2470867"/>
              <a:gd name="connsiteY2" fmla="*/ 0 h 4114799"/>
              <a:gd name="connsiteX3" fmla="*/ 2470867 w 2470867"/>
              <a:gd name="connsiteY3" fmla="*/ 411819 h 4114799"/>
              <a:gd name="connsiteX4" fmla="*/ 2470867 w 2470867"/>
              <a:gd name="connsiteY4" fmla="*/ 4114799 h 4114799"/>
              <a:gd name="connsiteX0" fmla="*/ 0 w 2470867"/>
              <a:gd name="connsiteY0" fmla="*/ 0 h 4114799"/>
              <a:gd name="connsiteX1" fmla="*/ 2059048 w 2470867"/>
              <a:gd name="connsiteY1" fmla="*/ 0 h 4114799"/>
              <a:gd name="connsiteX2" fmla="*/ 2470867 w 2470867"/>
              <a:gd name="connsiteY2" fmla="*/ 411819 h 4114799"/>
              <a:gd name="connsiteX3" fmla="*/ 2470867 w 2470867"/>
              <a:gd name="connsiteY3" fmla="*/ 4114799 h 4114799"/>
            </a:gdLst>
            <a:ahLst/>
            <a:cxnLst>
              <a:cxn ang="0">
                <a:pos x="connsiteX0" y="connsiteY0"/>
              </a:cxn>
              <a:cxn ang="0">
                <a:pos x="connsiteX1" y="connsiteY1"/>
              </a:cxn>
              <a:cxn ang="0">
                <a:pos x="connsiteX2" y="connsiteY2"/>
              </a:cxn>
              <a:cxn ang="0">
                <a:pos x="connsiteX3" y="connsiteY3"/>
              </a:cxn>
            </a:cxnLst>
            <a:rect l="l" t="t" r="r" b="b"/>
            <a:pathLst>
              <a:path w="2470867" h="4114799">
                <a:moveTo>
                  <a:pt x="0" y="0"/>
                </a:moveTo>
                <a:lnTo>
                  <a:pt x="2059048" y="0"/>
                </a:lnTo>
                <a:cubicBezTo>
                  <a:pt x="2286489" y="0"/>
                  <a:pt x="2470867" y="184378"/>
                  <a:pt x="2470867" y="411819"/>
                </a:cubicBezTo>
                <a:lnTo>
                  <a:pt x="2470867" y="4114799"/>
                </a:lnTo>
              </a:path>
            </a:pathLst>
          </a:custGeom>
          <a:noFill/>
          <a:ln w="19050" cmpd="sng">
            <a:solidFill>
              <a:schemeClr val="accent5"/>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ctr" anchorCtr="0">
            <a:noAutofit/>
          </a:bodyPr>
          <a:lstStyle/>
          <a:p>
            <a:pPr algn="ctr">
              <a:lnSpc>
                <a:spcPct val="90000"/>
              </a:lnSpc>
              <a:spcBef>
                <a:spcPts val="300"/>
              </a:spcBef>
            </a:pPr>
            <a:endParaRPr lang="en-US" sz="1125"/>
          </a:p>
        </p:txBody>
      </p:sp>
      <p:sp>
        <p:nvSpPr>
          <p:cNvPr id="68" name="Round Single Corner Rectangle 5">
            <a:extLst>
              <a:ext uri="{FF2B5EF4-FFF2-40B4-BE49-F238E27FC236}">
                <a16:creationId xmlns:a16="http://schemas.microsoft.com/office/drawing/2014/main" id="{DC970AF2-54B2-FDC7-DB29-6751903F8569}"/>
              </a:ext>
            </a:extLst>
          </p:cNvPr>
          <p:cNvSpPr/>
          <p:nvPr/>
        </p:nvSpPr>
        <p:spPr>
          <a:xfrm>
            <a:off x="4429379" y="1708335"/>
            <a:ext cx="1567818" cy="2722562"/>
          </a:xfrm>
          <a:custGeom>
            <a:avLst/>
            <a:gdLst>
              <a:gd name="connsiteX0" fmla="*/ 0 w 2470867"/>
              <a:gd name="connsiteY0" fmla="*/ 0 h 4114799"/>
              <a:gd name="connsiteX1" fmla="*/ 2059048 w 2470867"/>
              <a:gd name="connsiteY1" fmla="*/ 0 h 4114799"/>
              <a:gd name="connsiteX2" fmla="*/ 2470867 w 2470867"/>
              <a:gd name="connsiteY2" fmla="*/ 411819 h 4114799"/>
              <a:gd name="connsiteX3" fmla="*/ 2470867 w 2470867"/>
              <a:gd name="connsiteY3" fmla="*/ 4114799 h 4114799"/>
              <a:gd name="connsiteX4" fmla="*/ 0 w 2470867"/>
              <a:gd name="connsiteY4" fmla="*/ 4114799 h 4114799"/>
              <a:gd name="connsiteX5" fmla="*/ 0 w 2470867"/>
              <a:gd name="connsiteY5" fmla="*/ 0 h 4114799"/>
              <a:gd name="connsiteX0" fmla="*/ 0 w 2470867"/>
              <a:gd name="connsiteY0" fmla="*/ 4114799 h 4206239"/>
              <a:gd name="connsiteX1" fmla="*/ 0 w 2470867"/>
              <a:gd name="connsiteY1" fmla="*/ 0 h 4206239"/>
              <a:gd name="connsiteX2" fmla="*/ 2059048 w 2470867"/>
              <a:gd name="connsiteY2" fmla="*/ 0 h 4206239"/>
              <a:gd name="connsiteX3" fmla="*/ 2470867 w 2470867"/>
              <a:gd name="connsiteY3" fmla="*/ 411819 h 4206239"/>
              <a:gd name="connsiteX4" fmla="*/ 2470867 w 2470867"/>
              <a:gd name="connsiteY4" fmla="*/ 4114799 h 4206239"/>
              <a:gd name="connsiteX5" fmla="*/ 91440 w 2470867"/>
              <a:gd name="connsiteY5" fmla="*/ 4206239 h 4206239"/>
              <a:gd name="connsiteX0" fmla="*/ 0 w 2470867"/>
              <a:gd name="connsiteY0" fmla="*/ 4114799 h 4114799"/>
              <a:gd name="connsiteX1" fmla="*/ 0 w 2470867"/>
              <a:gd name="connsiteY1" fmla="*/ 0 h 4114799"/>
              <a:gd name="connsiteX2" fmla="*/ 2059048 w 2470867"/>
              <a:gd name="connsiteY2" fmla="*/ 0 h 4114799"/>
              <a:gd name="connsiteX3" fmla="*/ 2470867 w 2470867"/>
              <a:gd name="connsiteY3" fmla="*/ 411819 h 4114799"/>
              <a:gd name="connsiteX4" fmla="*/ 2470867 w 2470867"/>
              <a:gd name="connsiteY4" fmla="*/ 4114799 h 4114799"/>
              <a:gd name="connsiteX0" fmla="*/ 0 w 2470867"/>
              <a:gd name="connsiteY0" fmla="*/ 0 h 4114799"/>
              <a:gd name="connsiteX1" fmla="*/ 2059048 w 2470867"/>
              <a:gd name="connsiteY1" fmla="*/ 0 h 4114799"/>
              <a:gd name="connsiteX2" fmla="*/ 2470867 w 2470867"/>
              <a:gd name="connsiteY2" fmla="*/ 411819 h 4114799"/>
              <a:gd name="connsiteX3" fmla="*/ 2470867 w 2470867"/>
              <a:gd name="connsiteY3" fmla="*/ 4114799 h 4114799"/>
            </a:gdLst>
            <a:ahLst/>
            <a:cxnLst>
              <a:cxn ang="0">
                <a:pos x="connsiteX0" y="connsiteY0"/>
              </a:cxn>
              <a:cxn ang="0">
                <a:pos x="connsiteX1" y="connsiteY1"/>
              </a:cxn>
              <a:cxn ang="0">
                <a:pos x="connsiteX2" y="connsiteY2"/>
              </a:cxn>
              <a:cxn ang="0">
                <a:pos x="connsiteX3" y="connsiteY3"/>
              </a:cxn>
            </a:cxnLst>
            <a:rect l="l" t="t" r="r" b="b"/>
            <a:pathLst>
              <a:path w="2470867" h="4114799">
                <a:moveTo>
                  <a:pt x="0" y="0"/>
                </a:moveTo>
                <a:lnTo>
                  <a:pt x="2059048" y="0"/>
                </a:lnTo>
                <a:cubicBezTo>
                  <a:pt x="2286489" y="0"/>
                  <a:pt x="2470867" y="184378"/>
                  <a:pt x="2470867" y="411819"/>
                </a:cubicBezTo>
                <a:lnTo>
                  <a:pt x="2470867" y="4114799"/>
                </a:lnTo>
              </a:path>
            </a:pathLst>
          </a:custGeom>
          <a:noFill/>
          <a:ln w="19050" cmpd="sng">
            <a:solidFill>
              <a:schemeClr val="accent5"/>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ctr" anchorCtr="0">
            <a:noAutofit/>
          </a:bodyPr>
          <a:lstStyle/>
          <a:p>
            <a:pPr algn="ctr">
              <a:lnSpc>
                <a:spcPct val="90000"/>
              </a:lnSpc>
              <a:spcBef>
                <a:spcPts val="300"/>
              </a:spcBef>
            </a:pPr>
            <a:endParaRPr lang="en-US" sz="1125"/>
          </a:p>
        </p:txBody>
      </p:sp>
      <p:sp>
        <p:nvSpPr>
          <p:cNvPr id="69" name="Round Single Corner Rectangle 5">
            <a:extLst>
              <a:ext uri="{FF2B5EF4-FFF2-40B4-BE49-F238E27FC236}">
                <a16:creationId xmlns:a16="http://schemas.microsoft.com/office/drawing/2014/main" id="{8460E094-CCB0-6133-2D1F-186B64B86CA4}"/>
              </a:ext>
            </a:extLst>
          </p:cNvPr>
          <p:cNvSpPr/>
          <p:nvPr/>
        </p:nvSpPr>
        <p:spPr>
          <a:xfrm>
            <a:off x="7291836" y="1708335"/>
            <a:ext cx="1567818" cy="2722562"/>
          </a:xfrm>
          <a:custGeom>
            <a:avLst/>
            <a:gdLst>
              <a:gd name="connsiteX0" fmla="*/ 0 w 2470867"/>
              <a:gd name="connsiteY0" fmla="*/ 0 h 4114799"/>
              <a:gd name="connsiteX1" fmla="*/ 2059048 w 2470867"/>
              <a:gd name="connsiteY1" fmla="*/ 0 h 4114799"/>
              <a:gd name="connsiteX2" fmla="*/ 2470867 w 2470867"/>
              <a:gd name="connsiteY2" fmla="*/ 411819 h 4114799"/>
              <a:gd name="connsiteX3" fmla="*/ 2470867 w 2470867"/>
              <a:gd name="connsiteY3" fmla="*/ 4114799 h 4114799"/>
              <a:gd name="connsiteX4" fmla="*/ 0 w 2470867"/>
              <a:gd name="connsiteY4" fmla="*/ 4114799 h 4114799"/>
              <a:gd name="connsiteX5" fmla="*/ 0 w 2470867"/>
              <a:gd name="connsiteY5" fmla="*/ 0 h 4114799"/>
              <a:gd name="connsiteX0" fmla="*/ 0 w 2470867"/>
              <a:gd name="connsiteY0" fmla="*/ 4114799 h 4206239"/>
              <a:gd name="connsiteX1" fmla="*/ 0 w 2470867"/>
              <a:gd name="connsiteY1" fmla="*/ 0 h 4206239"/>
              <a:gd name="connsiteX2" fmla="*/ 2059048 w 2470867"/>
              <a:gd name="connsiteY2" fmla="*/ 0 h 4206239"/>
              <a:gd name="connsiteX3" fmla="*/ 2470867 w 2470867"/>
              <a:gd name="connsiteY3" fmla="*/ 411819 h 4206239"/>
              <a:gd name="connsiteX4" fmla="*/ 2470867 w 2470867"/>
              <a:gd name="connsiteY4" fmla="*/ 4114799 h 4206239"/>
              <a:gd name="connsiteX5" fmla="*/ 91440 w 2470867"/>
              <a:gd name="connsiteY5" fmla="*/ 4206239 h 4206239"/>
              <a:gd name="connsiteX0" fmla="*/ 0 w 2470867"/>
              <a:gd name="connsiteY0" fmla="*/ 4114799 h 4114799"/>
              <a:gd name="connsiteX1" fmla="*/ 0 w 2470867"/>
              <a:gd name="connsiteY1" fmla="*/ 0 h 4114799"/>
              <a:gd name="connsiteX2" fmla="*/ 2059048 w 2470867"/>
              <a:gd name="connsiteY2" fmla="*/ 0 h 4114799"/>
              <a:gd name="connsiteX3" fmla="*/ 2470867 w 2470867"/>
              <a:gd name="connsiteY3" fmla="*/ 411819 h 4114799"/>
              <a:gd name="connsiteX4" fmla="*/ 2470867 w 2470867"/>
              <a:gd name="connsiteY4" fmla="*/ 4114799 h 4114799"/>
              <a:gd name="connsiteX0" fmla="*/ 0 w 2470867"/>
              <a:gd name="connsiteY0" fmla="*/ 0 h 4114799"/>
              <a:gd name="connsiteX1" fmla="*/ 2059048 w 2470867"/>
              <a:gd name="connsiteY1" fmla="*/ 0 h 4114799"/>
              <a:gd name="connsiteX2" fmla="*/ 2470867 w 2470867"/>
              <a:gd name="connsiteY2" fmla="*/ 411819 h 4114799"/>
              <a:gd name="connsiteX3" fmla="*/ 2470867 w 2470867"/>
              <a:gd name="connsiteY3" fmla="*/ 4114799 h 4114799"/>
            </a:gdLst>
            <a:ahLst/>
            <a:cxnLst>
              <a:cxn ang="0">
                <a:pos x="connsiteX0" y="connsiteY0"/>
              </a:cxn>
              <a:cxn ang="0">
                <a:pos x="connsiteX1" y="connsiteY1"/>
              </a:cxn>
              <a:cxn ang="0">
                <a:pos x="connsiteX2" y="connsiteY2"/>
              </a:cxn>
              <a:cxn ang="0">
                <a:pos x="connsiteX3" y="connsiteY3"/>
              </a:cxn>
            </a:cxnLst>
            <a:rect l="l" t="t" r="r" b="b"/>
            <a:pathLst>
              <a:path w="2470867" h="4114799">
                <a:moveTo>
                  <a:pt x="0" y="0"/>
                </a:moveTo>
                <a:lnTo>
                  <a:pt x="2059048" y="0"/>
                </a:lnTo>
                <a:cubicBezTo>
                  <a:pt x="2286489" y="0"/>
                  <a:pt x="2470867" y="184378"/>
                  <a:pt x="2470867" y="411819"/>
                </a:cubicBezTo>
                <a:lnTo>
                  <a:pt x="2470867" y="4114799"/>
                </a:lnTo>
              </a:path>
            </a:pathLst>
          </a:custGeom>
          <a:noFill/>
          <a:ln w="19050" cmpd="sng">
            <a:solidFill>
              <a:schemeClr val="accent5"/>
            </a:solidFill>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ctr" anchorCtr="0">
            <a:noAutofit/>
          </a:bodyPr>
          <a:lstStyle/>
          <a:p>
            <a:pPr algn="ctr">
              <a:lnSpc>
                <a:spcPct val="90000"/>
              </a:lnSpc>
              <a:spcBef>
                <a:spcPts val="300"/>
              </a:spcBef>
            </a:pPr>
            <a:endParaRPr lang="en-US" sz="1125"/>
          </a:p>
        </p:txBody>
      </p:sp>
      <p:sp>
        <p:nvSpPr>
          <p:cNvPr id="70" name="Title44">
            <a:extLst>
              <a:ext uri="{FF2B5EF4-FFF2-40B4-BE49-F238E27FC236}">
                <a16:creationId xmlns:a16="http://schemas.microsoft.com/office/drawing/2014/main" id="{38029E8E-BBB9-A6DB-8FD5-ACE80012A212}"/>
              </a:ext>
            </a:extLst>
          </p:cNvPr>
          <p:cNvSpPr txBox="1"/>
          <p:nvPr/>
        </p:nvSpPr>
        <p:spPr>
          <a:xfrm>
            <a:off x="327636" y="1633721"/>
            <a:ext cx="1937147" cy="344488"/>
          </a:xfrm>
          <a:prstGeom prst="rect">
            <a:avLst/>
          </a:prstGeom>
          <a:solidFill>
            <a:schemeClr val="bg1"/>
          </a:solidFill>
          <a:ln w="9525">
            <a:noFill/>
          </a:ln>
        </p:spPr>
        <p:txBody>
          <a:bodyPr vert="horz" wrap="square" lIns="0" tIns="0" rIns="0" bIns="53213" rtlCol="0" anchor="b">
            <a:spAutoFit/>
          </a:bodyPr>
          <a:lstStyle/>
          <a:p>
            <a:pPr>
              <a:lnSpc>
                <a:spcPct val="90000"/>
              </a:lnSpc>
              <a:spcBef>
                <a:spcPts val="300"/>
              </a:spcBef>
              <a:buSzPct val="100000"/>
              <a:buFont typeface=""/>
            </a:pPr>
            <a:r>
              <a:rPr lang="en-US" sz="1050" b="1" dirty="0">
                <a:sym typeface="+mn-lt"/>
              </a:rPr>
              <a:t>Global hydrogen demand in a "net-zero world" [m tons]</a:t>
            </a:r>
          </a:p>
        </p:txBody>
      </p:sp>
      <p:sp>
        <p:nvSpPr>
          <p:cNvPr id="71" name="Title44">
            <a:extLst>
              <a:ext uri="{FF2B5EF4-FFF2-40B4-BE49-F238E27FC236}">
                <a16:creationId xmlns:a16="http://schemas.microsoft.com/office/drawing/2014/main" id="{35227B18-F8E7-97F5-051D-F7238349D141}"/>
              </a:ext>
            </a:extLst>
          </p:cNvPr>
          <p:cNvSpPr txBox="1"/>
          <p:nvPr/>
        </p:nvSpPr>
        <p:spPr>
          <a:xfrm>
            <a:off x="3255317" y="1633721"/>
            <a:ext cx="1866966" cy="344488"/>
          </a:xfrm>
          <a:prstGeom prst="rect">
            <a:avLst/>
          </a:prstGeom>
          <a:solidFill>
            <a:schemeClr val="bg1"/>
          </a:solidFill>
          <a:ln w="9525">
            <a:noFill/>
          </a:ln>
        </p:spPr>
        <p:txBody>
          <a:bodyPr vert="horz" wrap="square" lIns="0" tIns="0" rIns="0" bIns="53213" rtlCol="0" anchor="b">
            <a:spAutoFit/>
          </a:bodyPr>
          <a:lstStyle/>
          <a:p>
            <a:pPr>
              <a:lnSpc>
                <a:spcPct val="90000"/>
              </a:lnSpc>
              <a:spcBef>
                <a:spcPts val="300"/>
              </a:spcBef>
              <a:buSzPct val="100000"/>
              <a:buFont typeface=""/>
            </a:pPr>
            <a:r>
              <a:rPr lang="en-US" sz="1050" b="1" dirty="0">
                <a:sym typeface="+mn-lt"/>
              </a:rPr>
              <a:t>Global hydrogen supply in a "net-zero world" [m tons]</a:t>
            </a:r>
          </a:p>
        </p:txBody>
      </p:sp>
      <p:sp>
        <p:nvSpPr>
          <p:cNvPr id="72" name="Title77">
            <a:extLst>
              <a:ext uri="{FF2B5EF4-FFF2-40B4-BE49-F238E27FC236}">
                <a16:creationId xmlns:a16="http://schemas.microsoft.com/office/drawing/2014/main" id="{F3DFD089-1ED5-D2CB-5CFF-5BB74A5BE5F3}"/>
              </a:ext>
            </a:extLst>
          </p:cNvPr>
          <p:cNvSpPr txBox="1"/>
          <p:nvPr/>
        </p:nvSpPr>
        <p:spPr>
          <a:xfrm>
            <a:off x="6118841" y="1633721"/>
            <a:ext cx="2439586" cy="344488"/>
          </a:xfrm>
          <a:prstGeom prst="rect">
            <a:avLst/>
          </a:prstGeom>
          <a:solidFill>
            <a:schemeClr val="bg1"/>
          </a:solidFill>
          <a:ln w="9525">
            <a:noFill/>
          </a:ln>
        </p:spPr>
        <p:txBody>
          <a:bodyPr vert="horz" wrap="square" lIns="0" tIns="0" rIns="0" bIns="53213" rtlCol="0" anchor="b">
            <a:spAutoFit/>
          </a:bodyPr>
          <a:lstStyle/>
          <a:p>
            <a:pPr>
              <a:lnSpc>
                <a:spcPct val="90000"/>
              </a:lnSpc>
              <a:spcBef>
                <a:spcPts val="300"/>
              </a:spcBef>
              <a:buSzPct val="100000"/>
              <a:buFont typeface=""/>
            </a:pPr>
            <a:r>
              <a:rPr lang="en-GB" sz="1050" b="1">
                <a:solidFill>
                  <a:srgbClr val="000000"/>
                </a:solidFill>
                <a:cs typeface="Arial Narrow" pitchFamily="34" charset="0"/>
              </a:rPr>
              <a:t>Required electrolyzer capacity in a "net-zero world" [in GW]</a:t>
            </a:r>
            <a:endParaRPr lang="en-GB" sz="1050" b="1" i="1">
              <a:solidFill>
                <a:srgbClr val="FF0000"/>
              </a:solidFill>
              <a:cs typeface="Arial Narrow" pitchFamily="34" charset="0"/>
            </a:endParaRPr>
          </a:p>
        </p:txBody>
      </p:sp>
      <p:sp>
        <p:nvSpPr>
          <p:cNvPr id="73" name="IsoscelesTriangle7">
            <a:extLst>
              <a:ext uri="{FF2B5EF4-FFF2-40B4-BE49-F238E27FC236}">
                <a16:creationId xmlns:a16="http://schemas.microsoft.com/office/drawing/2014/main" id="{227F6B22-5F90-5490-DB77-84F7674DAED2}"/>
              </a:ext>
            </a:extLst>
          </p:cNvPr>
          <p:cNvSpPr/>
          <p:nvPr/>
        </p:nvSpPr>
        <p:spPr>
          <a:xfrm rot="5400000">
            <a:off x="5839833" y="3108509"/>
            <a:ext cx="394094" cy="149225"/>
          </a:xfrm>
          <a:prstGeom prst="triangle">
            <a:avLst/>
          </a:prstGeom>
          <a:solidFill>
            <a:schemeClr val="accent1"/>
          </a:solid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4" name="IsoscelesTriangle7">
            <a:extLst>
              <a:ext uri="{FF2B5EF4-FFF2-40B4-BE49-F238E27FC236}">
                <a16:creationId xmlns:a16="http://schemas.microsoft.com/office/drawing/2014/main" id="{16BBE53A-3977-D811-3C7B-BBC181E9F6F3}"/>
              </a:ext>
            </a:extLst>
          </p:cNvPr>
          <p:cNvSpPr/>
          <p:nvPr/>
        </p:nvSpPr>
        <p:spPr>
          <a:xfrm rot="5400000">
            <a:off x="5781095" y="3108509"/>
            <a:ext cx="394094" cy="149225"/>
          </a:xfrm>
          <a:prstGeom prst="triangle">
            <a:avLst/>
          </a:prstGeom>
          <a:solidFill>
            <a:schemeClr val="accent5"/>
          </a:solid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5" name="Speech Bubble: Rectangle 135">
            <a:extLst>
              <a:ext uri="{FF2B5EF4-FFF2-40B4-BE49-F238E27FC236}">
                <a16:creationId xmlns:a16="http://schemas.microsoft.com/office/drawing/2014/main" id="{07943D52-DD59-47AD-DFD1-F3393559284C}"/>
              </a:ext>
            </a:extLst>
          </p:cNvPr>
          <p:cNvSpPr/>
          <p:nvPr/>
        </p:nvSpPr>
        <p:spPr>
          <a:xfrm>
            <a:off x="3331954" y="2661847"/>
            <a:ext cx="1272407" cy="652463"/>
          </a:xfrm>
          <a:prstGeom prst="wedgeRectCallout">
            <a:avLst>
              <a:gd name="adj1" fmla="val -312"/>
              <a:gd name="adj2" fmla="val 84123"/>
            </a:avLst>
          </a:prstGeom>
          <a:solidFill>
            <a:schemeClr val="bg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spcBef>
                <a:spcPts val="300"/>
              </a:spcBef>
              <a:spcAft>
                <a:spcPct val="0"/>
              </a:spcAft>
              <a:buSzPct val="100000"/>
            </a:pPr>
            <a:r>
              <a:rPr lang="en-US" sz="750" dirty="0" err="1">
                <a:solidFill>
                  <a:schemeClr val="dk1"/>
                </a:solidFill>
                <a:sym typeface="+mn-lt"/>
              </a:rPr>
              <a:t>IEA</a:t>
            </a:r>
            <a:r>
              <a:rPr lang="en-US" sz="750" baseline="30000" dirty="0" err="1">
                <a:solidFill>
                  <a:schemeClr val="dk1"/>
                </a:solidFill>
                <a:sym typeface="+mn-lt"/>
              </a:rPr>
              <a:t>1</a:t>
            </a:r>
            <a:r>
              <a:rPr lang="en-US" sz="750" baseline="30000" dirty="0">
                <a:solidFill>
                  <a:schemeClr val="dk1"/>
                </a:solidFill>
                <a:sym typeface="+mn-lt"/>
              </a:rPr>
              <a:t>)</a:t>
            </a:r>
            <a:r>
              <a:rPr lang="en-US" sz="750" dirty="0">
                <a:solidFill>
                  <a:schemeClr val="dk1"/>
                </a:solidFill>
                <a:sym typeface="+mn-lt"/>
              </a:rPr>
              <a:t> lowered expected share of blue vs. green </a:t>
            </a:r>
            <a:r>
              <a:rPr lang="en-US" sz="750" dirty="0" err="1">
                <a:solidFill>
                  <a:schemeClr val="dk1"/>
                </a:solidFill>
                <a:sym typeface="+mn-lt"/>
              </a:rPr>
              <a:t>H</a:t>
            </a:r>
            <a:r>
              <a:rPr lang="en-US" sz="750" baseline="-25000" dirty="0" err="1">
                <a:solidFill>
                  <a:schemeClr val="dk1"/>
                </a:solidFill>
                <a:sym typeface="+mn-lt"/>
              </a:rPr>
              <a:t>2</a:t>
            </a:r>
            <a:r>
              <a:rPr lang="en-US" sz="750" dirty="0">
                <a:solidFill>
                  <a:schemeClr val="dk1"/>
                </a:solidFill>
                <a:sym typeface="+mn-lt"/>
              </a:rPr>
              <a:t> in 2030 from 46% to 26% in latest report (38% to 21% in 2050)</a:t>
            </a:r>
            <a:endParaRPr lang="en-GB" sz="750" dirty="0">
              <a:solidFill>
                <a:schemeClr val="tx1"/>
              </a:solidFill>
              <a:sym typeface="+mn-lt"/>
            </a:endParaRPr>
          </a:p>
        </p:txBody>
      </p:sp>
      <p:sp>
        <p:nvSpPr>
          <p:cNvPr id="76" name="Notes">
            <a:extLst>
              <a:ext uri="{FF2B5EF4-FFF2-40B4-BE49-F238E27FC236}">
                <a16:creationId xmlns:a16="http://schemas.microsoft.com/office/drawing/2014/main" id="{A79B9681-85E3-667D-E347-453AD712B951}"/>
              </a:ext>
            </a:extLst>
          </p:cNvPr>
          <p:cNvSpPr txBox="1">
            <a:spLocks/>
          </p:cNvSpPr>
          <p:nvPr/>
        </p:nvSpPr>
        <p:spPr>
          <a:xfrm>
            <a:off x="281135" y="4752212"/>
            <a:ext cx="8526600" cy="92333"/>
          </a:xfrm>
          <a:prstGeom prst="rect">
            <a:avLst/>
          </a:prstGeom>
          <a:noFill/>
          <a:ln w="9525">
            <a:noFill/>
          </a:ln>
        </p:spPr>
        <p:txBody>
          <a:bodyPr vert="horz" wrap="square" lIns="0" tIns="0" rIns="0" bIns="0" rtlCol="0" anchor="b" anchorCtr="0">
            <a:spAutoFit/>
          </a:bodyPr>
          <a:lstStyle>
            <a:defPPr>
              <a:defRPr lang="en-EN"/>
            </a:defPPr>
            <a:lvl1pPr lvl="0">
              <a:lnSpc>
                <a:spcPct val="100000"/>
              </a:lnSpc>
              <a:spcBef>
                <a:spcPts val="0"/>
              </a:spcBef>
              <a:spcAft>
                <a:spcPts val="0"/>
              </a:spcAft>
              <a:buSzPct val="100000"/>
              <a:defRPr sz="800" b="0">
                <a:solidFill>
                  <a:schemeClr val="tx2"/>
                </a:solidFill>
                <a:latin typeface="+mn-lt"/>
              </a:defRPr>
            </a:lvl1pPr>
          </a:lstStyle>
          <a:p>
            <a:r>
              <a:rPr lang="en-US" sz="600" dirty="0">
                <a:sym typeface="+mn-lt"/>
              </a:rPr>
              <a:t>1) International Energy Agency; 2) Carbon Capture, Utilization and Storage; 3) Pink </a:t>
            </a:r>
            <a:r>
              <a:rPr lang="en-US" sz="600" dirty="0" err="1">
                <a:sym typeface="+mn-lt"/>
              </a:rPr>
              <a:t>H2</a:t>
            </a:r>
            <a:r>
              <a:rPr lang="en-US" sz="600" dirty="0">
                <a:sym typeface="+mn-lt"/>
              </a:rPr>
              <a:t> = </a:t>
            </a:r>
            <a:r>
              <a:rPr lang="en-US" sz="600" dirty="0" err="1">
                <a:sym typeface="+mn-lt"/>
              </a:rPr>
              <a:t>H2</a:t>
            </a:r>
            <a:r>
              <a:rPr lang="en-US" sz="600" dirty="0">
                <a:sym typeface="+mn-lt"/>
              </a:rPr>
              <a:t> using electricity from nuclear power plants, majority expected to be green</a:t>
            </a:r>
          </a:p>
        </p:txBody>
      </p:sp>
      <p:sp>
        <p:nvSpPr>
          <p:cNvPr id="77" name="Source">
            <a:extLst>
              <a:ext uri="{FF2B5EF4-FFF2-40B4-BE49-F238E27FC236}">
                <a16:creationId xmlns:a16="http://schemas.microsoft.com/office/drawing/2014/main" id="{DDACFE33-23AD-3AC2-B844-3B4BB67BD0B9}"/>
              </a:ext>
            </a:extLst>
          </p:cNvPr>
          <p:cNvSpPr txBox="1"/>
          <p:nvPr/>
        </p:nvSpPr>
        <p:spPr>
          <a:xfrm>
            <a:off x="281135" y="4602231"/>
            <a:ext cx="1995739"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dirty="0">
                <a:sym typeface="+mn-lt"/>
              </a:rPr>
              <a:t>Source: International Energy Agency (IEA), Roland Berger</a:t>
            </a:r>
          </a:p>
        </p:txBody>
      </p:sp>
      <p:sp>
        <p:nvSpPr>
          <p:cNvPr id="78" name="TextBox 234">
            <a:extLst>
              <a:ext uri="{FF2B5EF4-FFF2-40B4-BE49-F238E27FC236}">
                <a16:creationId xmlns:a16="http://schemas.microsoft.com/office/drawing/2014/main" id="{119E31A4-462E-42A7-6ED4-D84398F3D594}"/>
              </a:ext>
            </a:extLst>
          </p:cNvPr>
          <p:cNvSpPr txBox="1"/>
          <p:nvPr/>
        </p:nvSpPr>
        <p:spPr>
          <a:xfrm>
            <a:off x="230982" y="1355238"/>
            <a:ext cx="7579731" cy="276999"/>
          </a:xfrm>
          <a:prstGeom prst="rect">
            <a:avLst/>
          </a:prstGeom>
          <a:noFill/>
        </p:spPr>
        <p:txBody>
          <a:bodyPr wrap="square">
            <a:spAutoFit/>
          </a:bodyPr>
          <a:lstStyle/>
          <a:p>
            <a:r>
              <a:rPr lang="en-US" sz="1200" dirty="0">
                <a:solidFill>
                  <a:schemeClr val="tx2"/>
                </a:solidFill>
                <a:latin typeface="+mj-lt"/>
                <a:cs typeface="+mj-cs"/>
                <a:sym typeface="+mn-lt"/>
              </a:rPr>
              <a:t>Hydrogen's role in the </a:t>
            </a:r>
            <a:r>
              <a:rPr lang="en-US" sz="1200" dirty="0" err="1">
                <a:solidFill>
                  <a:schemeClr val="tx2"/>
                </a:solidFill>
                <a:latin typeface="+mj-lt"/>
                <a:cs typeface="+mj-cs"/>
                <a:sym typeface="+mn-lt"/>
              </a:rPr>
              <a:t>IEA's</a:t>
            </a:r>
            <a:r>
              <a:rPr lang="en-US" sz="1200" baseline="30000" dirty="0" err="1">
                <a:solidFill>
                  <a:schemeClr val="tx2"/>
                </a:solidFill>
                <a:latin typeface="+mj-lt"/>
                <a:cs typeface="+mj-cs"/>
                <a:sym typeface="+mn-lt"/>
              </a:rPr>
              <a:t>1</a:t>
            </a:r>
            <a:r>
              <a:rPr lang="en-US" sz="1200" baseline="30000" dirty="0">
                <a:solidFill>
                  <a:schemeClr val="tx2"/>
                </a:solidFill>
                <a:latin typeface="+mj-lt"/>
                <a:cs typeface="+mj-cs"/>
                <a:sym typeface="+mn-lt"/>
              </a:rPr>
              <a:t>)</a:t>
            </a:r>
            <a:r>
              <a:rPr lang="en-US" sz="1200" dirty="0">
                <a:solidFill>
                  <a:schemeClr val="tx2"/>
                </a:solidFill>
                <a:latin typeface="+mj-lt"/>
                <a:cs typeface="+mj-cs"/>
                <a:sym typeface="+mn-lt"/>
              </a:rPr>
              <a:t> updated Net Zero Emission Scenario</a:t>
            </a:r>
          </a:p>
        </p:txBody>
      </p:sp>
      <p:grpSp>
        <p:nvGrpSpPr>
          <p:cNvPr id="79" name="Group 253">
            <a:extLst>
              <a:ext uri="{FF2B5EF4-FFF2-40B4-BE49-F238E27FC236}">
                <a16:creationId xmlns:a16="http://schemas.microsoft.com/office/drawing/2014/main" id="{10669F2E-AFA2-7914-D692-9901B990B359}"/>
              </a:ext>
            </a:extLst>
          </p:cNvPr>
          <p:cNvGrpSpPr/>
          <p:nvPr/>
        </p:nvGrpSpPr>
        <p:grpSpPr>
          <a:xfrm>
            <a:off x="267604" y="-985"/>
            <a:ext cx="1821103" cy="246221"/>
            <a:chOff x="267604" y="3778"/>
            <a:chExt cx="1821103" cy="246221"/>
          </a:xfrm>
        </p:grpSpPr>
        <p:sp>
          <p:nvSpPr>
            <p:cNvPr id="80" name="Oval 254">
              <a:extLst>
                <a:ext uri="{FF2B5EF4-FFF2-40B4-BE49-F238E27FC236}">
                  <a16:creationId xmlns:a16="http://schemas.microsoft.com/office/drawing/2014/main" id="{4E61C130-CD51-4D3D-FC34-EF274736FCA4}"/>
                </a:ext>
              </a:extLst>
            </p:cNvPr>
            <p:cNvSpPr/>
            <p:nvPr/>
          </p:nvSpPr>
          <p:spPr>
            <a:xfrm>
              <a:off x="267604" y="45746"/>
              <a:ext cx="162285" cy="162285"/>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RB Office"/>
                  <a:ea typeface="Microsoft YaHei"/>
                  <a:cs typeface="Calibri"/>
                </a:rPr>
                <a:t>B</a:t>
              </a:r>
            </a:p>
          </p:txBody>
        </p:sp>
        <p:sp>
          <p:nvSpPr>
            <p:cNvPr id="81" name="TextBox 255">
              <a:extLst>
                <a:ext uri="{FF2B5EF4-FFF2-40B4-BE49-F238E27FC236}">
                  <a16:creationId xmlns:a16="http://schemas.microsoft.com/office/drawing/2014/main" id="{7FFC9C2A-8B19-BFFC-B1FC-2A7C71743AFD}"/>
                </a:ext>
              </a:extLst>
            </p:cNvPr>
            <p:cNvSpPr txBox="1"/>
            <p:nvPr/>
          </p:nvSpPr>
          <p:spPr>
            <a:xfrm>
              <a:off x="362201" y="3778"/>
              <a:ext cx="1726506" cy="246221"/>
            </a:xfrm>
            <a:prstGeom prst="rect">
              <a:avLst/>
            </a:prstGeom>
            <a:noFill/>
          </p:spPr>
          <p:txBody>
            <a:bodyPr wrap="square" rtlCol="0" anchor="ctr">
              <a:spAutoFit/>
            </a:bodyPr>
            <a:lstStyle/>
            <a:p>
              <a:r>
                <a:rPr lang="en-GB" sz="1000" dirty="0"/>
                <a:t>Hydrogen infrastructure</a:t>
              </a:r>
            </a:p>
          </p:txBody>
        </p:sp>
      </p:grpSp>
    </p:spTree>
    <p:extLst>
      <p:ext uri="{BB962C8B-B14F-4D97-AF65-F5344CB8AC3E}">
        <p14:creationId xmlns:p14="http://schemas.microsoft.com/office/powerpoint/2010/main" val="1713409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4510CB-0AAE-ECD1-25DC-9DCAD1830F90}"/>
              </a:ext>
            </a:extLst>
          </p:cNvPr>
          <p:cNvSpPr txBox="1">
            <a:spLocks/>
          </p:cNvSpPr>
          <p:nvPr/>
        </p:nvSpPr>
        <p:spPr>
          <a:xfrm>
            <a:off x="187503" y="845590"/>
            <a:ext cx="7251698" cy="576000"/>
          </a:xfrm>
          <a:prstGeom prst="rect">
            <a:avLst/>
          </a:prstGeom>
        </p:spPr>
        <p:txBody>
          <a:bodyPr vert="horz"/>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r>
              <a:rPr lang="en-US" sz="1600" dirty="0"/>
              <a:t>The global green H2 project landscape is very dynamic – the largest are deployed in North America and Europe</a:t>
            </a:r>
            <a:endParaRPr lang="en-GB" sz="1600" dirty="0"/>
          </a:p>
        </p:txBody>
      </p:sp>
      <p:sp>
        <p:nvSpPr>
          <p:cNvPr id="3" name="Notes">
            <a:extLst>
              <a:ext uri="{FF2B5EF4-FFF2-40B4-BE49-F238E27FC236}">
                <a16:creationId xmlns:a16="http://schemas.microsoft.com/office/drawing/2014/main" id="{102BF4D8-02E1-AD1B-EAB0-8CDF52E5DDD6}"/>
              </a:ext>
            </a:extLst>
          </p:cNvPr>
          <p:cNvSpPr txBox="1">
            <a:spLocks/>
          </p:cNvSpPr>
          <p:nvPr/>
        </p:nvSpPr>
        <p:spPr>
          <a:xfrm>
            <a:off x="1515200" y="506318"/>
            <a:ext cx="8526600" cy="92333"/>
          </a:xfrm>
          <a:prstGeom prst="rect">
            <a:avLst/>
          </a:prstGeom>
          <a:noFill/>
          <a:ln w="9525">
            <a:noFill/>
          </a:ln>
        </p:spPr>
        <p:txBody>
          <a:bodyPr vert="horz" wrap="square" lIns="0" tIns="0" rIns="0" bIns="0" rtlCol="0" anchor="b" anchorCtr="0">
            <a:spAutoFit/>
          </a:bodyPr>
          <a:lstStyle>
            <a:defPPr>
              <a:defRPr lang="en-EN"/>
            </a:defPPr>
            <a:lvl1pPr lvl="0">
              <a:lnSpc>
                <a:spcPct val="100000"/>
              </a:lnSpc>
              <a:spcBef>
                <a:spcPts val="0"/>
              </a:spcBef>
              <a:spcAft>
                <a:spcPts val="0"/>
              </a:spcAft>
              <a:buSzPct val="100000"/>
              <a:defRPr sz="800" b="0">
                <a:solidFill>
                  <a:schemeClr val="tx2"/>
                </a:solidFill>
                <a:latin typeface="+mn-lt"/>
              </a:defRPr>
            </a:lvl1pPr>
          </a:lstStyle>
          <a:p>
            <a:r>
              <a:rPr lang="en-US" sz="600" dirty="0">
                <a:sym typeface="+mn-lt"/>
              </a:rPr>
              <a:t>1) As of February 2024, including green </a:t>
            </a:r>
            <a:r>
              <a:rPr lang="en-US" sz="600" dirty="0" err="1">
                <a:sym typeface="+mn-lt"/>
              </a:rPr>
              <a:t>H2</a:t>
            </a:r>
            <a:r>
              <a:rPr lang="en-US" sz="600" dirty="0">
                <a:sym typeface="+mn-lt"/>
              </a:rPr>
              <a:t> projects at very preliminary studies or at press announcement stages; 2) Some announced green </a:t>
            </a:r>
            <a:r>
              <a:rPr lang="en-US" sz="600" dirty="0" err="1">
                <a:sym typeface="+mn-lt"/>
              </a:rPr>
              <a:t>H2</a:t>
            </a:r>
            <a:r>
              <a:rPr lang="en-US" sz="600" dirty="0">
                <a:sym typeface="+mn-lt"/>
              </a:rPr>
              <a:t> projects have not yet specify </a:t>
            </a:r>
            <a:r>
              <a:rPr lang="en-US" sz="600" dirty="0" err="1">
                <a:sym typeface="+mn-lt"/>
              </a:rPr>
              <a:t>electrolyzer</a:t>
            </a:r>
            <a:r>
              <a:rPr lang="en-US" sz="600" dirty="0">
                <a:sym typeface="+mn-lt"/>
              </a:rPr>
              <a:t> capacity</a:t>
            </a:r>
          </a:p>
        </p:txBody>
      </p:sp>
      <p:sp>
        <p:nvSpPr>
          <p:cNvPr id="4" name="Source">
            <a:extLst>
              <a:ext uri="{FF2B5EF4-FFF2-40B4-BE49-F238E27FC236}">
                <a16:creationId xmlns:a16="http://schemas.microsoft.com/office/drawing/2014/main" id="{CEE526A4-C611-08B7-8A7A-AF9BE994C80D}"/>
              </a:ext>
            </a:extLst>
          </p:cNvPr>
          <p:cNvSpPr txBox="1"/>
          <p:nvPr/>
        </p:nvSpPr>
        <p:spPr>
          <a:xfrm>
            <a:off x="1515200" y="656255"/>
            <a:ext cx="3508974"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dirty="0">
                <a:sym typeface="+mn-lt"/>
              </a:rPr>
              <a:t>Source: International Energy Agency (IEA), Roland Berger Hydrogen Project Database, Roland Berger</a:t>
            </a:r>
          </a:p>
        </p:txBody>
      </p:sp>
      <p:sp>
        <p:nvSpPr>
          <p:cNvPr id="5" name="TextBox 4">
            <a:extLst>
              <a:ext uri="{FF2B5EF4-FFF2-40B4-BE49-F238E27FC236}">
                <a16:creationId xmlns:a16="http://schemas.microsoft.com/office/drawing/2014/main" id="{5A718775-8C37-EDFC-F895-95EAA5C4A853}"/>
              </a:ext>
            </a:extLst>
          </p:cNvPr>
          <p:cNvSpPr txBox="1"/>
          <p:nvPr/>
        </p:nvSpPr>
        <p:spPr>
          <a:xfrm>
            <a:off x="236785" y="1292699"/>
            <a:ext cx="7579731" cy="276999"/>
          </a:xfrm>
          <a:prstGeom prst="rect">
            <a:avLst/>
          </a:prstGeom>
          <a:noFill/>
        </p:spPr>
        <p:txBody>
          <a:bodyPr wrap="square">
            <a:spAutoFit/>
          </a:bodyPr>
          <a:lstStyle/>
          <a:p>
            <a:r>
              <a:rPr lang="en-US" sz="1200" dirty="0">
                <a:solidFill>
                  <a:schemeClr val="tx2"/>
                </a:solidFill>
                <a:latin typeface="+mj-lt"/>
                <a:cs typeface="+mj-cs"/>
                <a:sym typeface="+mn-lt"/>
              </a:rPr>
              <a:t>Global announced green hydrogen projects by 2030</a:t>
            </a:r>
          </a:p>
        </p:txBody>
      </p:sp>
      <p:sp>
        <p:nvSpPr>
          <p:cNvPr id="6" name="Freeform 3">
            <a:extLst>
              <a:ext uri="{FF2B5EF4-FFF2-40B4-BE49-F238E27FC236}">
                <a16:creationId xmlns:a16="http://schemas.microsoft.com/office/drawing/2014/main" id="{89777A8A-DE49-0DC0-66AB-8008ABA5C39B}"/>
              </a:ext>
            </a:extLst>
          </p:cNvPr>
          <p:cNvSpPr>
            <a:spLocks/>
          </p:cNvSpPr>
          <p:nvPr/>
        </p:nvSpPr>
        <p:spPr bwMode="auto">
          <a:xfrm>
            <a:off x="1459054" y="1978953"/>
            <a:ext cx="2173748" cy="2459969"/>
          </a:xfrm>
          <a:custGeom>
            <a:avLst/>
            <a:gdLst/>
            <a:ahLst/>
            <a:cxnLst>
              <a:cxn ang="0">
                <a:pos x="1190" y="1777"/>
              </a:cxn>
              <a:cxn ang="0">
                <a:pos x="1113" y="1738"/>
              </a:cxn>
              <a:cxn ang="0">
                <a:pos x="1092" y="1409"/>
              </a:cxn>
              <a:cxn ang="0">
                <a:pos x="1010" y="1226"/>
              </a:cxn>
              <a:cxn ang="0">
                <a:pos x="941" y="1052"/>
              </a:cxn>
              <a:cxn ang="0">
                <a:pos x="959" y="990"/>
              </a:cxn>
              <a:cxn ang="0">
                <a:pos x="970" y="905"/>
              </a:cxn>
              <a:cxn ang="0">
                <a:pos x="857" y="850"/>
              </a:cxn>
              <a:cxn ang="0">
                <a:pos x="767" y="791"/>
              </a:cxn>
              <a:cxn ang="0">
                <a:pos x="703" y="785"/>
              </a:cxn>
              <a:cxn ang="0">
                <a:pos x="607" y="708"/>
              </a:cxn>
              <a:cxn ang="0">
                <a:pos x="518" y="563"/>
              </a:cxn>
              <a:cxn ang="0">
                <a:pos x="516" y="640"/>
              </a:cxn>
              <a:cxn ang="0">
                <a:pos x="499" y="608"/>
              </a:cxn>
              <a:cxn ang="0">
                <a:pos x="414" y="458"/>
              </a:cxn>
              <a:cxn ang="0">
                <a:pos x="427" y="251"/>
              </a:cxn>
              <a:cxn ang="0">
                <a:pos x="204" y="185"/>
              </a:cxn>
              <a:cxn ang="0">
                <a:pos x="164" y="197"/>
              </a:cxn>
              <a:cxn ang="0">
                <a:pos x="128" y="190"/>
              </a:cxn>
              <a:cxn ang="0">
                <a:pos x="79" y="173"/>
              </a:cxn>
              <a:cxn ang="0">
                <a:pos x="74" y="136"/>
              </a:cxn>
              <a:cxn ang="0">
                <a:pos x="90" y="108"/>
              </a:cxn>
              <a:cxn ang="0">
                <a:pos x="187" y="85"/>
              </a:cxn>
              <a:cxn ang="0">
                <a:pos x="159" y="49"/>
              </a:cxn>
              <a:cxn ang="0">
                <a:pos x="396" y="30"/>
              </a:cxn>
              <a:cxn ang="0">
                <a:pos x="703" y="47"/>
              </a:cxn>
              <a:cxn ang="0">
                <a:pos x="965" y="54"/>
              </a:cxn>
              <a:cxn ang="0">
                <a:pos x="1042" y="67"/>
              </a:cxn>
              <a:cxn ang="0">
                <a:pos x="1126" y="43"/>
              </a:cxn>
              <a:cxn ang="0">
                <a:pos x="932" y="148"/>
              </a:cxn>
              <a:cxn ang="0">
                <a:pos x="1028" y="239"/>
              </a:cxn>
              <a:cxn ang="0">
                <a:pos x="1063" y="286"/>
              </a:cxn>
              <a:cxn ang="0">
                <a:pos x="1099" y="191"/>
              </a:cxn>
              <a:cxn ang="0">
                <a:pos x="1212" y="157"/>
              </a:cxn>
              <a:cxn ang="0">
                <a:pos x="1355" y="262"/>
              </a:cxn>
              <a:cxn ang="0">
                <a:pos x="1188" y="319"/>
              </a:cxn>
              <a:cxn ang="0">
                <a:pos x="1222" y="337"/>
              </a:cxn>
              <a:cxn ang="0">
                <a:pos x="1276" y="364"/>
              </a:cxn>
              <a:cxn ang="0">
                <a:pos x="1222" y="373"/>
              </a:cxn>
              <a:cxn ang="0">
                <a:pos x="1087" y="439"/>
              </a:cxn>
              <a:cxn ang="0">
                <a:pos x="1044" y="497"/>
              </a:cxn>
              <a:cxn ang="0">
                <a:pos x="959" y="606"/>
              </a:cxn>
              <a:cxn ang="0">
                <a:pos x="926" y="594"/>
              </a:cxn>
              <a:cxn ang="0">
                <a:pos x="831" y="599"/>
              </a:cxn>
              <a:cxn ang="0">
                <a:pos x="726" y="654"/>
              </a:cxn>
              <a:cxn ang="0">
                <a:pos x="754" y="759"/>
              </a:cxn>
              <a:cxn ang="0">
                <a:pos x="818" y="716"/>
              </a:cxn>
              <a:cxn ang="0">
                <a:pos x="834" y="770"/>
              </a:cxn>
              <a:cxn ang="0">
                <a:pos x="904" y="800"/>
              </a:cxn>
              <a:cxn ang="0">
                <a:pos x="991" y="898"/>
              </a:cxn>
              <a:cxn ang="0">
                <a:pos x="1038" y="853"/>
              </a:cxn>
              <a:cxn ang="0">
                <a:pos x="1063" y="858"/>
              </a:cxn>
              <a:cxn ang="0">
                <a:pos x="1187" y="862"/>
              </a:cxn>
              <a:cxn ang="0">
                <a:pos x="1327" y="937"/>
              </a:cxn>
              <a:cxn ang="0">
                <a:pos x="1394" y="1022"/>
              </a:cxn>
              <a:cxn ang="0">
                <a:pos x="1548" y="1079"/>
              </a:cxn>
              <a:cxn ang="0">
                <a:pos x="1546" y="1170"/>
              </a:cxn>
              <a:cxn ang="0">
                <a:pos x="1433" y="1342"/>
              </a:cxn>
              <a:cxn ang="0">
                <a:pos x="1330" y="1508"/>
              </a:cxn>
              <a:cxn ang="0">
                <a:pos x="1234" y="1582"/>
              </a:cxn>
              <a:cxn ang="0">
                <a:pos x="1202" y="1642"/>
              </a:cxn>
              <a:cxn ang="0">
                <a:pos x="1180" y="1727"/>
              </a:cxn>
            </a:cxnLst>
            <a:rect l="0" t="0" r="r" b="b"/>
            <a:pathLst>
              <a:path w="1582" h="1790">
                <a:moveTo>
                  <a:pt x="1228" y="1790"/>
                </a:moveTo>
                <a:cubicBezTo>
                  <a:pt x="1195" y="1778"/>
                  <a:pt x="1223" y="1788"/>
                  <a:pt x="1190" y="1777"/>
                </a:cubicBezTo>
                <a:cubicBezTo>
                  <a:pt x="1177" y="1773"/>
                  <a:pt x="1151" y="1764"/>
                  <a:pt x="1151" y="1764"/>
                </a:cubicBezTo>
                <a:cubicBezTo>
                  <a:pt x="1138" y="1755"/>
                  <a:pt x="1118" y="1752"/>
                  <a:pt x="1113" y="1738"/>
                </a:cubicBezTo>
                <a:cubicBezTo>
                  <a:pt x="1099" y="1699"/>
                  <a:pt x="1103" y="1638"/>
                  <a:pt x="1090" y="1598"/>
                </a:cubicBezTo>
                <a:cubicBezTo>
                  <a:pt x="1070" y="1523"/>
                  <a:pt x="1098" y="1486"/>
                  <a:pt x="1092" y="1409"/>
                </a:cubicBezTo>
                <a:cubicBezTo>
                  <a:pt x="1090" y="1368"/>
                  <a:pt x="1098" y="1331"/>
                  <a:pt x="1094" y="1290"/>
                </a:cubicBezTo>
                <a:cubicBezTo>
                  <a:pt x="1091" y="1254"/>
                  <a:pt x="1036" y="1243"/>
                  <a:pt x="1010" y="1226"/>
                </a:cubicBezTo>
                <a:cubicBezTo>
                  <a:pt x="997" y="1185"/>
                  <a:pt x="968" y="1138"/>
                  <a:pt x="943" y="1103"/>
                </a:cubicBezTo>
                <a:cubicBezTo>
                  <a:pt x="899" y="1081"/>
                  <a:pt x="942" y="1064"/>
                  <a:pt x="941" y="1052"/>
                </a:cubicBezTo>
                <a:cubicBezTo>
                  <a:pt x="940" y="1040"/>
                  <a:pt x="931" y="1038"/>
                  <a:pt x="934" y="1028"/>
                </a:cubicBezTo>
                <a:cubicBezTo>
                  <a:pt x="930" y="998"/>
                  <a:pt x="954" y="1004"/>
                  <a:pt x="959" y="990"/>
                </a:cubicBezTo>
                <a:cubicBezTo>
                  <a:pt x="966" y="971"/>
                  <a:pt x="988" y="973"/>
                  <a:pt x="978" y="932"/>
                </a:cubicBezTo>
                <a:cubicBezTo>
                  <a:pt x="976" y="917"/>
                  <a:pt x="977" y="919"/>
                  <a:pt x="970" y="905"/>
                </a:cubicBezTo>
                <a:cubicBezTo>
                  <a:pt x="964" y="893"/>
                  <a:pt x="945" y="910"/>
                  <a:pt x="932" y="907"/>
                </a:cubicBezTo>
                <a:cubicBezTo>
                  <a:pt x="903" y="900"/>
                  <a:pt x="868" y="875"/>
                  <a:pt x="857" y="850"/>
                </a:cubicBezTo>
                <a:cubicBezTo>
                  <a:pt x="849" y="824"/>
                  <a:pt x="831" y="825"/>
                  <a:pt x="806" y="817"/>
                </a:cubicBezTo>
                <a:cubicBezTo>
                  <a:pt x="778" y="817"/>
                  <a:pt x="780" y="800"/>
                  <a:pt x="767" y="791"/>
                </a:cubicBezTo>
                <a:cubicBezTo>
                  <a:pt x="761" y="787"/>
                  <a:pt x="748" y="785"/>
                  <a:pt x="748" y="785"/>
                </a:cubicBezTo>
                <a:cubicBezTo>
                  <a:pt x="733" y="787"/>
                  <a:pt x="721" y="794"/>
                  <a:pt x="703" y="785"/>
                </a:cubicBezTo>
                <a:cubicBezTo>
                  <a:pt x="683" y="785"/>
                  <a:pt x="666" y="770"/>
                  <a:pt x="646" y="766"/>
                </a:cubicBezTo>
                <a:cubicBezTo>
                  <a:pt x="580" y="725"/>
                  <a:pt x="621" y="729"/>
                  <a:pt x="607" y="708"/>
                </a:cubicBezTo>
                <a:cubicBezTo>
                  <a:pt x="609" y="692"/>
                  <a:pt x="580" y="666"/>
                  <a:pt x="565" y="642"/>
                </a:cubicBezTo>
                <a:cubicBezTo>
                  <a:pt x="538" y="623"/>
                  <a:pt x="518" y="563"/>
                  <a:pt x="518" y="563"/>
                </a:cubicBezTo>
                <a:cubicBezTo>
                  <a:pt x="474" y="593"/>
                  <a:pt x="539" y="610"/>
                  <a:pt x="558" y="691"/>
                </a:cubicBezTo>
                <a:cubicBezTo>
                  <a:pt x="556" y="704"/>
                  <a:pt x="526" y="650"/>
                  <a:pt x="516" y="640"/>
                </a:cubicBezTo>
                <a:cubicBezTo>
                  <a:pt x="506" y="630"/>
                  <a:pt x="499" y="634"/>
                  <a:pt x="496" y="629"/>
                </a:cubicBezTo>
                <a:cubicBezTo>
                  <a:pt x="486" y="613"/>
                  <a:pt x="501" y="619"/>
                  <a:pt x="499" y="608"/>
                </a:cubicBezTo>
                <a:cubicBezTo>
                  <a:pt x="497" y="597"/>
                  <a:pt x="498" y="590"/>
                  <a:pt x="484" y="565"/>
                </a:cubicBezTo>
                <a:cubicBezTo>
                  <a:pt x="448" y="530"/>
                  <a:pt x="423" y="507"/>
                  <a:pt x="414" y="458"/>
                </a:cubicBezTo>
                <a:cubicBezTo>
                  <a:pt x="418" y="396"/>
                  <a:pt x="484" y="328"/>
                  <a:pt x="447" y="286"/>
                </a:cubicBezTo>
                <a:cubicBezTo>
                  <a:pt x="445" y="271"/>
                  <a:pt x="432" y="265"/>
                  <a:pt x="427" y="251"/>
                </a:cubicBezTo>
                <a:cubicBezTo>
                  <a:pt x="405" y="193"/>
                  <a:pt x="346" y="175"/>
                  <a:pt x="305" y="173"/>
                </a:cubicBezTo>
                <a:cubicBezTo>
                  <a:pt x="272" y="159"/>
                  <a:pt x="221" y="186"/>
                  <a:pt x="204" y="185"/>
                </a:cubicBezTo>
                <a:cubicBezTo>
                  <a:pt x="187" y="184"/>
                  <a:pt x="210" y="166"/>
                  <a:pt x="203" y="168"/>
                </a:cubicBezTo>
                <a:cubicBezTo>
                  <a:pt x="189" y="176"/>
                  <a:pt x="164" y="197"/>
                  <a:pt x="164" y="197"/>
                </a:cubicBezTo>
                <a:cubicBezTo>
                  <a:pt x="154" y="201"/>
                  <a:pt x="12" y="254"/>
                  <a:pt x="6" y="253"/>
                </a:cubicBezTo>
                <a:cubicBezTo>
                  <a:pt x="0" y="252"/>
                  <a:pt x="117" y="200"/>
                  <a:pt x="128" y="190"/>
                </a:cubicBezTo>
                <a:cubicBezTo>
                  <a:pt x="139" y="180"/>
                  <a:pt x="79" y="196"/>
                  <a:pt x="71" y="193"/>
                </a:cubicBezTo>
                <a:cubicBezTo>
                  <a:pt x="69" y="187"/>
                  <a:pt x="84" y="178"/>
                  <a:pt x="79" y="173"/>
                </a:cubicBezTo>
                <a:cubicBezTo>
                  <a:pt x="74" y="168"/>
                  <a:pt x="53" y="168"/>
                  <a:pt x="50" y="162"/>
                </a:cubicBezTo>
                <a:cubicBezTo>
                  <a:pt x="44" y="151"/>
                  <a:pt x="70" y="137"/>
                  <a:pt x="74" y="136"/>
                </a:cubicBezTo>
                <a:cubicBezTo>
                  <a:pt x="92" y="130"/>
                  <a:pt x="119" y="128"/>
                  <a:pt x="138" y="126"/>
                </a:cubicBezTo>
                <a:cubicBezTo>
                  <a:pt x="185" y="94"/>
                  <a:pt x="158" y="113"/>
                  <a:pt x="90" y="108"/>
                </a:cubicBezTo>
                <a:cubicBezTo>
                  <a:pt x="67" y="100"/>
                  <a:pt x="107" y="83"/>
                  <a:pt x="116" y="82"/>
                </a:cubicBezTo>
                <a:cubicBezTo>
                  <a:pt x="137" y="79"/>
                  <a:pt x="166" y="87"/>
                  <a:pt x="187" y="85"/>
                </a:cubicBezTo>
                <a:cubicBezTo>
                  <a:pt x="179" y="82"/>
                  <a:pt x="136" y="72"/>
                  <a:pt x="140" y="55"/>
                </a:cubicBezTo>
                <a:cubicBezTo>
                  <a:pt x="142" y="49"/>
                  <a:pt x="153" y="51"/>
                  <a:pt x="159" y="49"/>
                </a:cubicBezTo>
                <a:cubicBezTo>
                  <a:pt x="190" y="38"/>
                  <a:pt x="223" y="30"/>
                  <a:pt x="255" y="23"/>
                </a:cubicBezTo>
                <a:cubicBezTo>
                  <a:pt x="302" y="25"/>
                  <a:pt x="349" y="25"/>
                  <a:pt x="396" y="30"/>
                </a:cubicBezTo>
                <a:cubicBezTo>
                  <a:pt x="416" y="32"/>
                  <a:pt x="437" y="39"/>
                  <a:pt x="457" y="40"/>
                </a:cubicBezTo>
                <a:cubicBezTo>
                  <a:pt x="542" y="44"/>
                  <a:pt x="590" y="8"/>
                  <a:pt x="703" y="47"/>
                </a:cubicBezTo>
                <a:cubicBezTo>
                  <a:pt x="788" y="66"/>
                  <a:pt x="804" y="35"/>
                  <a:pt x="901" y="65"/>
                </a:cubicBezTo>
                <a:cubicBezTo>
                  <a:pt x="940" y="58"/>
                  <a:pt x="949" y="64"/>
                  <a:pt x="965" y="54"/>
                </a:cubicBezTo>
                <a:cubicBezTo>
                  <a:pt x="981" y="44"/>
                  <a:pt x="938" y="23"/>
                  <a:pt x="998" y="4"/>
                </a:cubicBezTo>
                <a:cubicBezTo>
                  <a:pt x="1027" y="0"/>
                  <a:pt x="1021" y="61"/>
                  <a:pt x="1042" y="67"/>
                </a:cubicBezTo>
                <a:cubicBezTo>
                  <a:pt x="1056" y="73"/>
                  <a:pt x="1068" y="47"/>
                  <a:pt x="1082" y="43"/>
                </a:cubicBezTo>
                <a:cubicBezTo>
                  <a:pt x="1096" y="39"/>
                  <a:pt x="1136" y="32"/>
                  <a:pt x="1126" y="43"/>
                </a:cubicBezTo>
                <a:cubicBezTo>
                  <a:pt x="1122" y="86"/>
                  <a:pt x="1039" y="71"/>
                  <a:pt x="1019" y="108"/>
                </a:cubicBezTo>
                <a:cubicBezTo>
                  <a:pt x="999" y="121"/>
                  <a:pt x="954" y="142"/>
                  <a:pt x="932" y="148"/>
                </a:cubicBezTo>
                <a:cubicBezTo>
                  <a:pt x="919" y="152"/>
                  <a:pt x="898" y="185"/>
                  <a:pt x="898" y="185"/>
                </a:cubicBezTo>
                <a:cubicBezTo>
                  <a:pt x="959" y="223"/>
                  <a:pt x="965" y="232"/>
                  <a:pt x="1028" y="239"/>
                </a:cubicBezTo>
                <a:cubicBezTo>
                  <a:pt x="1025" y="276"/>
                  <a:pt x="1007" y="274"/>
                  <a:pt x="1037" y="295"/>
                </a:cubicBezTo>
                <a:cubicBezTo>
                  <a:pt x="1043" y="291"/>
                  <a:pt x="1060" y="293"/>
                  <a:pt x="1063" y="286"/>
                </a:cubicBezTo>
                <a:cubicBezTo>
                  <a:pt x="1071" y="268"/>
                  <a:pt x="1047" y="258"/>
                  <a:pt x="1064" y="247"/>
                </a:cubicBezTo>
                <a:cubicBezTo>
                  <a:pt x="1109" y="230"/>
                  <a:pt x="1121" y="226"/>
                  <a:pt x="1099" y="191"/>
                </a:cubicBezTo>
                <a:cubicBezTo>
                  <a:pt x="1116" y="165"/>
                  <a:pt x="1134" y="165"/>
                  <a:pt x="1124" y="137"/>
                </a:cubicBezTo>
                <a:cubicBezTo>
                  <a:pt x="1162" y="143"/>
                  <a:pt x="1173" y="145"/>
                  <a:pt x="1212" y="157"/>
                </a:cubicBezTo>
                <a:cubicBezTo>
                  <a:pt x="1216" y="228"/>
                  <a:pt x="1235" y="182"/>
                  <a:pt x="1273" y="168"/>
                </a:cubicBezTo>
                <a:cubicBezTo>
                  <a:pt x="1300" y="227"/>
                  <a:pt x="1297" y="238"/>
                  <a:pt x="1355" y="262"/>
                </a:cubicBezTo>
                <a:cubicBezTo>
                  <a:pt x="1344" y="307"/>
                  <a:pt x="1302" y="305"/>
                  <a:pt x="1264" y="310"/>
                </a:cubicBezTo>
                <a:cubicBezTo>
                  <a:pt x="1228" y="305"/>
                  <a:pt x="1216" y="309"/>
                  <a:pt x="1188" y="319"/>
                </a:cubicBezTo>
                <a:cubicBezTo>
                  <a:pt x="1151" y="356"/>
                  <a:pt x="1170" y="338"/>
                  <a:pt x="1183" y="330"/>
                </a:cubicBezTo>
                <a:cubicBezTo>
                  <a:pt x="1196" y="330"/>
                  <a:pt x="1228" y="313"/>
                  <a:pt x="1222" y="337"/>
                </a:cubicBezTo>
                <a:cubicBezTo>
                  <a:pt x="1220" y="343"/>
                  <a:pt x="1213" y="350"/>
                  <a:pt x="1215" y="356"/>
                </a:cubicBezTo>
                <a:cubicBezTo>
                  <a:pt x="1222" y="374"/>
                  <a:pt x="1261" y="360"/>
                  <a:pt x="1276" y="364"/>
                </a:cubicBezTo>
                <a:cubicBezTo>
                  <a:pt x="1273" y="371"/>
                  <a:pt x="1211" y="400"/>
                  <a:pt x="1202" y="401"/>
                </a:cubicBezTo>
                <a:cubicBezTo>
                  <a:pt x="1193" y="402"/>
                  <a:pt x="1230" y="373"/>
                  <a:pt x="1222" y="373"/>
                </a:cubicBezTo>
                <a:cubicBezTo>
                  <a:pt x="1214" y="373"/>
                  <a:pt x="1174" y="390"/>
                  <a:pt x="1151" y="401"/>
                </a:cubicBezTo>
                <a:cubicBezTo>
                  <a:pt x="1115" y="437"/>
                  <a:pt x="1123" y="434"/>
                  <a:pt x="1087" y="439"/>
                </a:cubicBezTo>
                <a:cubicBezTo>
                  <a:pt x="1075" y="457"/>
                  <a:pt x="1087" y="457"/>
                  <a:pt x="1058" y="476"/>
                </a:cubicBezTo>
                <a:cubicBezTo>
                  <a:pt x="1056" y="482"/>
                  <a:pt x="1044" y="490"/>
                  <a:pt x="1044" y="497"/>
                </a:cubicBezTo>
                <a:cubicBezTo>
                  <a:pt x="1044" y="504"/>
                  <a:pt x="1047" y="508"/>
                  <a:pt x="1046" y="515"/>
                </a:cubicBezTo>
                <a:cubicBezTo>
                  <a:pt x="1043" y="533"/>
                  <a:pt x="947" y="540"/>
                  <a:pt x="959" y="606"/>
                </a:cubicBezTo>
                <a:cubicBezTo>
                  <a:pt x="968" y="638"/>
                  <a:pt x="977" y="643"/>
                  <a:pt x="950" y="662"/>
                </a:cubicBezTo>
                <a:cubicBezTo>
                  <a:pt x="940" y="648"/>
                  <a:pt x="937" y="605"/>
                  <a:pt x="926" y="594"/>
                </a:cubicBezTo>
                <a:cubicBezTo>
                  <a:pt x="924" y="592"/>
                  <a:pt x="881" y="587"/>
                  <a:pt x="878" y="586"/>
                </a:cubicBezTo>
                <a:cubicBezTo>
                  <a:pt x="863" y="588"/>
                  <a:pt x="844" y="591"/>
                  <a:pt x="831" y="599"/>
                </a:cubicBezTo>
                <a:cubicBezTo>
                  <a:pt x="818" y="599"/>
                  <a:pt x="816" y="585"/>
                  <a:pt x="798" y="594"/>
                </a:cubicBezTo>
                <a:cubicBezTo>
                  <a:pt x="698" y="624"/>
                  <a:pt x="742" y="640"/>
                  <a:pt x="726" y="654"/>
                </a:cubicBezTo>
                <a:cubicBezTo>
                  <a:pt x="722" y="667"/>
                  <a:pt x="714" y="697"/>
                  <a:pt x="714" y="697"/>
                </a:cubicBezTo>
                <a:cubicBezTo>
                  <a:pt x="721" y="727"/>
                  <a:pt x="724" y="750"/>
                  <a:pt x="754" y="759"/>
                </a:cubicBezTo>
                <a:cubicBezTo>
                  <a:pt x="767" y="757"/>
                  <a:pt x="782" y="759"/>
                  <a:pt x="793" y="753"/>
                </a:cubicBezTo>
                <a:cubicBezTo>
                  <a:pt x="806" y="746"/>
                  <a:pt x="806" y="724"/>
                  <a:pt x="818" y="716"/>
                </a:cubicBezTo>
                <a:cubicBezTo>
                  <a:pt x="829" y="709"/>
                  <a:pt x="862" y="710"/>
                  <a:pt x="862" y="710"/>
                </a:cubicBezTo>
                <a:cubicBezTo>
                  <a:pt x="851" y="734"/>
                  <a:pt x="851" y="744"/>
                  <a:pt x="834" y="770"/>
                </a:cubicBezTo>
                <a:cubicBezTo>
                  <a:pt x="822" y="808"/>
                  <a:pt x="832" y="788"/>
                  <a:pt x="876" y="791"/>
                </a:cubicBezTo>
                <a:cubicBezTo>
                  <a:pt x="883" y="794"/>
                  <a:pt x="900" y="794"/>
                  <a:pt x="904" y="800"/>
                </a:cubicBezTo>
                <a:cubicBezTo>
                  <a:pt x="898" y="844"/>
                  <a:pt x="872" y="896"/>
                  <a:pt x="966" y="881"/>
                </a:cubicBezTo>
                <a:cubicBezTo>
                  <a:pt x="979" y="879"/>
                  <a:pt x="980" y="904"/>
                  <a:pt x="991" y="898"/>
                </a:cubicBezTo>
                <a:cubicBezTo>
                  <a:pt x="998" y="895"/>
                  <a:pt x="1011" y="860"/>
                  <a:pt x="1017" y="855"/>
                </a:cubicBezTo>
                <a:cubicBezTo>
                  <a:pt x="1022" y="851"/>
                  <a:pt x="1032" y="855"/>
                  <a:pt x="1038" y="853"/>
                </a:cubicBezTo>
                <a:cubicBezTo>
                  <a:pt x="1044" y="849"/>
                  <a:pt x="1060" y="838"/>
                  <a:pt x="1068" y="838"/>
                </a:cubicBezTo>
                <a:cubicBezTo>
                  <a:pt x="1076" y="838"/>
                  <a:pt x="1056" y="855"/>
                  <a:pt x="1063" y="858"/>
                </a:cubicBezTo>
                <a:cubicBezTo>
                  <a:pt x="1109" y="828"/>
                  <a:pt x="1103" y="861"/>
                  <a:pt x="1120" y="865"/>
                </a:cubicBezTo>
                <a:cubicBezTo>
                  <a:pt x="1129" y="860"/>
                  <a:pt x="1158" y="878"/>
                  <a:pt x="1187" y="862"/>
                </a:cubicBezTo>
                <a:cubicBezTo>
                  <a:pt x="1208" y="869"/>
                  <a:pt x="1220" y="899"/>
                  <a:pt x="1241" y="906"/>
                </a:cubicBezTo>
                <a:cubicBezTo>
                  <a:pt x="1258" y="930"/>
                  <a:pt x="1297" y="928"/>
                  <a:pt x="1327" y="937"/>
                </a:cubicBezTo>
                <a:cubicBezTo>
                  <a:pt x="1356" y="957"/>
                  <a:pt x="1338" y="970"/>
                  <a:pt x="1361" y="989"/>
                </a:cubicBezTo>
                <a:cubicBezTo>
                  <a:pt x="1360" y="1010"/>
                  <a:pt x="1381" y="1016"/>
                  <a:pt x="1394" y="1022"/>
                </a:cubicBezTo>
                <a:cubicBezTo>
                  <a:pt x="1406" y="1027"/>
                  <a:pt x="1433" y="1034"/>
                  <a:pt x="1433" y="1034"/>
                </a:cubicBezTo>
                <a:cubicBezTo>
                  <a:pt x="1467" y="1057"/>
                  <a:pt x="1500" y="1038"/>
                  <a:pt x="1548" y="1079"/>
                </a:cubicBezTo>
                <a:cubicBezTo>
                  <a:pt x="1556" y="1084"/>
                  <a:pt x="1579" y="1095"/>
                  <a:pt x="1574" y="1111"/>
                </a:cubicBezTo>
                <a:cubicBezTo>
                  <a:pt x="1582" y="1128"/>
                  <a:pt x="1553" y="1159"/>
                  <a:pt x="1546" y="1170"/>
                </a:cubicBezTo>
                <a:cubicBezTo>
                  <a:pt x="1542" y="1176"/>
                  <a:pt x="1525" y="1190"/>
                  <a:pt x="1525" y="1190"/>
                </a:cubicBezTo>
                <a:cubicBezTo>
                  <a:pt x="1504" y="1337"/>
                  <a:pt x="1507" y="1315"/>
                  <a:pt x="1433" y="1342"/>
                </a:cubicBezTo>
                <a:cubicBezTo>
                  <a:pt x="1364" y="1367"/>
                  <a:pt x="1414" y="1398"/>
                  <a:pt x="1388" y="1416"/>
                </a:cubicBezTo>
                <a:cubicBezTo>
                  <a:pt x="1367" y="1446"/>
                  <a:pt x="1351" y="1478"/>
                  <a:pt x="1330" y="1508"/>
                </a:cubicBezTo>
                <a:cubicBezTo>
                  <a:pt x="1306" y="1502"/>
                  <a:pt x="1263" y="1471"/>
                  <a:pt x="1292" y="1514"/>
                </a:cubicBezTo>
                <a:cubicBezTo>
                  <a:pt x="1333" y="1558"/>
                  <a:pt x="1224" y="1532"/>
                  <a:pt x="1234" y="1582"/>
                </a:cubicBezTo>
                <a:cubicBezTo>
                  <a:pt x="1219" y="1604"/>
                  <a:pt x="1215" y="1564"/>
                  <a:pt x="1200" y="1586"/>
                </a:cubicBezTo>
                <a:cubicBezTo>
                  <a:pt x="1211" y="1603"/>
                  <a:pt x="1217" y="1622"/>
                  <a:pt x="1202" y="1642"/>
                </a:cubicBezTo>
                <a:cubicBezTo>
                  <a:pt x="1198" y="1647"/>
                  <a:pt x="1185" y="1650"/>
                  <a:pt x="1183" y="1656"/>
                </a:cubicBezTo>
                <a:cubicBezTo>
                  <a:pt x="1200" y="1683"/>
                  <a:pt x="1236" y="1664"/>
                  <a:pt x="1180" y="1727"/>
                </a:cubicBezTo>
                <a:cubicBezTo>
                  <a:pt x="1186" y="1749"/>
                  <a:pt x="1227" y="1780"/>
                  <a:pt x="1228" y="179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7" name="Freeform 4">
            <a:extLst>
              <a:ext uri="{FF2B5EF4-FFF2-40B4-BE49-F238E27FC236}">
                <a16:creationId xmlns:a16="http://schemas.microsoft.com/office/drawing/2014/main" id="{E81807C6-8F79-F0E4-939B-0BAA4172099A}"/>
              </a:ext>
            </a:extLst>
          </p:cNvPr>
          <p:cNvSpPr>
            <a:spLocks/>
          </p:cNvSpPr>
          <p:nvPr/>
        </p:nvSpPr>
        <p:spPr bwMode="auto">
          <a:xfrm>
            <a:off x="2726746" y="2862396"/>
            <a:ext cx="201986" cy="78719"/>
          </a:xfrm>
          <a:custGeom>
            <a:avLst/>
            <a:gdLst/>
            <a:ahLst/>
            <a:cxnLst>
              <a:cxn ang="0">
                <a:pos x="9" y="20"/>
              </a:cxn>
              <a:cxn ang="0">
                <a:pos x="19" y="12"/>
              </a:cxn>
              <a:cxn ang="0">
                <a:pos x="79" y="10"/>
              </a:cxn>
              <a:cxn ang="0">
                <a:pos x="125" y="27"/>
              </a:cxn>
              <a:cxn ang="0">
                <a:pos x="144" y="42"/>
              </a:cxn>
              <a:cxn ang="0">
                <a:pos x="137" y="57"/>
              </a:cxn>
              <a:cxn ang="0">
                <a:pos x="107" y="52"/>
              </a:cxn>
              <a:cxn ang="0">
                <a:pos x="91" y="31"/>
              </a:cxn>
              <a:cxn ang="0">
                <a:pos x="62" y="22"/>
              </a:cxn>
              <a:cxn ang="0">
                <a:pos x="45" y="18"/>
              </a:cxn>
              <a:cxn ang="0">
                <a:pos x="18" y="22"/>
              </a:cxn>
              <a:cxn ang="0">
                <a:pos x="9" y="26"/>
              </a:cxn>
              <a:cxn ang="0">
                <a:pos x="9" y="20"/>
              </a:cxn>
            </a:cxnLst>
            <a:rect l="0" t="0" r="r" b="b"/>
            <a:pathLst>
              <a:path w="147" h="57">
                <a:moveTo>
                  <a:pt x="9" y="20"/>
                </a:moveTo>
                <a:cubicBezTo>
                  <a:pt x="14" y="18"/>
                  <a:pt x="13" y="14"/>
                  <a:pt x="19" y="12"/>
                </a:cubicBezTo>
                <a:cubicBezTo>
                  <a:pt x="35" y="0"/>
                  <a:pt x="60" y="9"/>
                  <a:pt x="79" y="10"/>
                </a:cubicBezTo>
                <a:cubicBezTo>
                  <a:pt x="97" y="12"/>
                  <a:pt x="114" y="22"/>
                  <a:pt x="125" y="27"/>
                </a:cubicBezTo>
                <a:cubicBezTo>
                  <a:pt x="129" y="32"/>
                  <a:pt x="138" y="38"/>
                  <a:pt x="144" y="42"/>
                </a:cubicBezTo>
                <a:cubicBezTo>
                  <a:pt x="145" y="53"/>
                  <a:pt x="147" y="55"/>
                  <a:pt x="137" y="57"/>
                </a:cubicBezTo>
                <a:cubicBezTo>
                  <a:pt x="125" y="56"/>
                  <a:pt x="119" y="55"/>
                  <a:pt x="107" y="52"/>
                </a:cubicBezTo>
                <a:cubicBezTo>
                  <a:pt x="105" y="43"/>
                  <a:pt x="98" y="35"/>
                  <a:pt x="91" y="31"/>
                </a:cubicBezTo>
                <a:cubicBezTo>
                  <a:pt x="83" y="19"/>
                  <a:pt x="75" y="26"/>
                  <a:pt x="62" y="22"/>
                </a:cubicBezTo>
                <a:cubicBezTo>
                  <a:pt x="61" y="18"/>
                  <a:pt x="45" y="18"/>
                  <a:pt x="45" y="18"/>
                </a:cubicBezTo>
                <a:cubicBezTo>
                  <a:pt x="36" y="19"/>
                  <a:pt x="27" y="21"/>
                  <a:pt x="18" y="22"/>
                </a:cubicBezTo>
                <a:cubicBezTo>
                  <a:pt x="15" y="24"/>
                  <a:pt x="9" y="26"/>
                  <a:pt x="9" y="26"/>
                </a:cubicBezTo>
                <a:cubicBezTo>
                  <a:pt x="0" y="25"/>
                  <a:pt x="1" y="26"/>
                  <a:pt x="9" y="2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8" name="Freeform 5">
            <a:extLst>
              <a:ext uri="{FF2B5EF4-FFF2-40B4-BE49-F238E27FC236}">
                <a16:creationId xmlns:a16="http://schemas.microsoft.com/office/drawing/2014/main" id="{2C226449-91CA-86E3-81A4-4E5BA3806FEC}"/>
              </a:ext>
            </a:extLst>
          </p:cNvPr>
          <p:cNvSpPr>
            <a:spLocks/>
          </p:cNvSpPr>
          <p:nvPr/>
        </p:nvSpPr>
        <p:spPr bwMode="auto">
          <a:xfrm>
            <a:off x="2957505" y="2942815"/>
            <a:ext cx="119543" cy="43295"/>
          </a:xfrm>
          <a:custGeom>
            <a:avLst/>
            <a:gdLst/>
            <a:ahLst/>
            <a:cxnLst>
              <a:cxn ang="0">
                <a:pos x="33" y="4"/>
              </a:cxn>
              <a:cxn ang="0">
                <a:pos x="56" y="2"/>
              </a:cxn>
              <a:cxn ang="0">
                <a:pos x="71" y="10"/>
              </a:cxn>
              <a:cxn ang="0">
                <a:pos x="75" y="16"/>
              </a:cxn>
              <a:cxn ang="0">
                <a:pos x="84" y="19"/>
              </a:cxn>
              <a:cxn ang="0">
                <a:pos x="81" y="28"/>
              </a:cxn>
              <a:cxn ang="0">
                <a:pos x="72" y="23"/>
              </a:cxn>
              <a:cxn ang="0">
                <a:pos x="61" y="24"/>
              </a:cxn>
              <a:cxn ang="0">
                <a:pos x="56" y="28"/>
              </a:cxn>
              <a:cxn ang="0">
                <a:pos x="47" y="24"/>
              </a:cxn>
              <a:cxn ang="0">
                <a:pos x="44" y="32"/>
              </a:cxn>
              <a:cxn ang="0">
                <a:pos x="19" y="28"/>
              </a:cxn>
              <a:cxn ang="0">
                <a:pos x="0" y="24"/>
              </a:cxn>
              <a:cxn ang="0">
                <a:pos x="11" y="19"/>
              </a:cxn>
              <a:cxn ang="0">
                <a:pos x="21" y="24"/>
              </a:cxn>
              <a:cxn ang="0">
                <a:pos x="25" y="16"/>
              </a:cxn>
              <a:cxn ang="0">
                <a:pos x="24" y="2"/>
              </a:cxn>
            </a:cxnLst>
            <a:rect l="0" t="0" r="r" b="b"/>
            <a:pathLst>
              <a:path w="87" h="32">
                <a:moveTo>
                  <a:pt x="33" y="4"/>
                </a:moveTo>
                <a:cubicBezTo>
                  <a:pt x="46" y="0"/>
                  <a:pt x="39" y="1"/>
                  <a:pt x="56" y="2"/>
                </a:cubicBezTo>
                <a:cubicBezTo>
                  <a:pt x="61" y="5"/>
                  <a:pt x="66" y="7"/>
                  <a:pt x="71" y="10"/>
                </a:cubicBezTo>
                <a:cubicBezTo>
                  <a:pt x="72" y="12"/>
                  <a:pt x="74" y="14"/>
                  <a:pt x="75" y="16"/>
                </a:cubicBezTo>
                <a:cubicBezTo>
                  <a:pt x="77" y="19"/>
                  <a:pt x="84" y="19"/>
                  <a:pt x="84" y="19"/>
                </a:cubicBezTo>
                <a:cubicBezTo>
                  <a:pt x="87" y="24"/>
                  <a:pt x="85" y="24"/>
                  <a:pt x="81" y="28"/>
                </a:cubicBezTo>
                <a:cubicBezTo>
                  <a:pt x="78" y="26"/>
                  <a:pt x="75" y="25"/>
                  <a:pt x="72" y="23"/>
                </a:cubicBezTo>
                <a:cubicBezTo>
                  <a:pt x="68" y="23"/>
                  <a:pt x="65" y="23"/>
                  <a:pt x="61" y="24"/>
                </a:cubicBezTo>
                <a:cubicBezTo>
                  <a:pt x="59" y="25"/>
                  <a:pt x="58" y="28"/>
                  <a:pt x="56" y="28"/>
                </a:cubicBezTo>
                <a:cubicBezTo>
                  <a:pt x="53" y="28"/>
                  <a:pt x="50" y="25"/>
                  <a:pt x="47" y="24"/>
                </a:cubicBezTo>
                <a:cubicBezTo>
                  <a:pt x="42" y="26"/>
                  <a:pt x="45" y="27"/>
                  <a:pt x="44" y="32"/>
                </a:cubicBezTo>
                <a:cubicBezTo>
                  <a:pt x="34" y="31"/>
                  <a:pt x="31" y="29"/>
                  <a:pt x="19" y="28"/>
                </a:cubicBezTo>
                <a:cubicBezTo>
                  <a:pt x="12" y="26"/>
                  <a:pt x="7" y="25"/>
                  <a:pt x="0" y="24"/>
                </a:cubicBezTo>
                <a:cubicBezTo>
                  <a:pt x="2" y="17"/>
                  <a:pt x="5" y="18"/>
                  <a:pt x="11" y="19"/>
                </a:cubicBezTo>
                <a:cubicBezTo>
                  <a:pt x="14" y="23"/>
                  <a:pt x="17" y="23"/>
                  <a:pt x="21" y="24"/>
                </a:cubicBezTo>
                <a:cubicBezTo>
                  <a:pt x="32" y="23"/>
                  <a:pt x="30" y="23"/>
                  <a:pt x="25" y="16"/>
                </a:cubicBezTo>
                <a:cubicBezTo>
                  <a:pt x="24" y="3"/>
                  <a:pt x="24" y="8"/>
                  <a:pt x="24" y="2"/>
                </a:cubicBezTo>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9" name="Freeform 6">
            <a:extLst>
              <a:ext uri="{FF2B5EF4-FFF2-40B4-BE49-F238E27FC236}">
                <a16:creationId xmlns:a16="http://schemas.microsoft.com/office/drawing/2014/main" id="{D0932905-CDE8-9194-AF1C-DF90A9A92C1E}"/>
              </a:ext>
            </a:extLst>
          </p:cNvPr>
          <p:cNvSpPr>
            <a:spLocks/>
          </p:cNvSpPr>
          <p:nvPr/>
        </p:nvSpPr>
        <p:spPr bwMode="auto">
          <a:xfrm>
            <a:off x="2858416" y="2965871"/>
            <a:ext cx="46717" cy="20992"/>
          </a:xfrm>
          <a:custGeom>
            <a:avLst/>
            <a:gdLst/>
            <a:ahLst/>
            <a:cxnLst>
              <a:cxn ang="0">
                <a:pos x="0" y="6"/>
              </a:cxn>
              <a:cxn ang="0">
                <a:pos x="28" y="4"/>
              </a:cxn>
              <a:cxn ang="0">
                <a:pos x="26" y="15"/>
              </a:cxn>
              <a:cxn ang="0">
                <a:pos x="4" y="12"/>
              </a:cxn>
              <a:cxn ang="0">
                <a:pos x="0" y="6"/>
              </a:cxn>
            </a:cxnLst>
            <a:rect l="0" t="0" r="r" b="b"/>
            <a:pathLst>
              <a:path w="34" h="15">
                <a:moveTo>
                  <a:pt x="0" y="6"/>
                </a:moveTo>
                <a:cubicBezTo>
                  <a:pt x="9" y="0"/>
                  <a:pt x="13" y="3"/>
                  <a:pt x="28" y="4"/>
                </a:cubicBezTo>
                <a:cubicBezTo>
                  <a:pt x="34" y="8"/>
                  <a:pt x="32" y="13"/>
                  <a:pt x="26" y="15"/>
                </a:cubicBezTo>
                <a:cubicBezTo>
                  <a:pt x="19" y="14"/>
                  <a:pt x="4" y="12"/>
                  <a:pt x="4" y="12"/>
                </a:cubicBezTo>
                <a:cubicBezTo>
                  <a:pt x="0" y="9"/>
                  <a:pt x="1" y="11"/>
                  <a:pt x="0" y="6"/>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10" name="Freeform 7">
            <a:extLst>
              <a:ext uri="{FF2B5EF4-FFF2-40B4-BE49-F238E27FC236}">
                <a16:creationId xmlns:a16="http://schemas.microsoft.com/office/drawing/2014/main" id="{B11B7968-E4F4-92A9-2959-BBB5631A4AE5}"/>
              </a:ext>
            </a:extLst>
          </p:cNvPr>
          <p:cNvSpPr>
            <a:spLocks/>
          </p:cNvSpPr>
          <p:nvPr/>
        </p:nvSpPr>
        <p:spPr bwMode="auto">
          <a:xfrm>
            <a:off x="3088638" y="2977746"/>
            <a:ext cx="101679" cy="13120"/>
          </a:xfrm>
          <a:custGeom>
            <a:avLst/>
            <a:gdLst/>
            <a:ahLst/>
            <a:cxnLst>
              <a:cxn ang="0">
                <a:pos x="21" y="0"/>
              </a:cxn>
              <a:cxn ang="0">
                <a:pos x="43" y="6"/>
              </a:cxn>
              <a:cxn ang="0">
                <a:pos x="16" y="3"/>
              </a:cxn>
              <a:cxn ang="0">
                <a:pos x="21" y="0"/>
              </a:cxn>
            </a:cxnLst>
            <a:rect l="0" t="0" r="r" b="b"/>
            <a:pathLst>
              <a:path w="74" h="10">
                <a:moveTo>
                  <a:pt x="21" y="0"/>
                </a:moveTo>
                <a:cubicBezTo>
                  <a:pt x="74" y="1"/>
                  <a:pt x="65" y="2"/>
                  <a:pt x="43" y="6"/>
                </a:cubicBezTo>
                <a:cubicBezTo>
                  <a:pt x="32" y="6"/>
                  <a:pt x="0" y="10"/>
                  <a:pt x="16" y="3"/>
                </a:cubicBezTo>
                <a:cubicBezTo>
                  <a:pt x="22" y="1"/>
                  <a:pt x="24" y="3"/>
                  <a:pt x="21"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11" name="Freeform 8">
            <a:extLst>
              <a:ext uri="{FF2B5EF4-FFF2-40B4-BE49-F238E27FC236}">
                <a16:creationId xmlns:a16="http://schemas.microsoft.com/office/drawing/2014/main" id="{AD04BFD6-5F50-D6F4-3134-4A0F99C491EF}"/>
              </a:ext>
            </a:extLst>
          </p:cNvPr>
          <p:cNvSpPr>
            <a:spLocks/>
          </p:cNvSpPr>
          <p:nvPr/>
        </p:nvSpPr>
        <p:spPr bwMode="auto">
          <a:xfrm>
            <a:off x="3400698" y="2208341"/>
            <a:ext cx="112673" cy="108895"/>
          </a:xfrm>
          <a:custGeom>
            <a:avLst/>
            <a:gdLst/>
            <a:ahLst/>
            <a:cxnLst>
              <a:cxn ang="0">
                <a:pos x="30" y="18"/>
              </a:cxn>
              <a:cxn ang="0">
                <a:pos x="24" y="27"/>
              </a:cxn>
              <a:cxn ang="0">
                <a:pos x="18" y="34"/>
              </a:cxn>
              <a:cxn ang="0">
                <a:pos x="11" y="42"/>
              </a:cxn>
              <a:cxn ang="0">
                <a:pos x="5" y="46"/>
              </a:cxn>
              <a:cxn ang="0">
                <a:pos x="0" y="55"/>
              </a:cxn>
              <a:cxn ang="0">
                <a:pos x="24" y="60"/>
              </a:cxn>
              <a:cxn ang="0">
                <a:pos x="60" y="63"/>
              </a:cxn>
              <a:cxn ang="0">
                <a:pos x="69" y="80"/>
              </a:cxn>
              <a:cxn ang="0">
                <a:pos x="76" y="75"/>
              </a:cxn>
              <a:cxn ang="0">
                <a:pos x="82" y="66"/>
              </a:cxn>
              <a:cxn ang="0">
                <a:pos x="82" y="49"/>
              </a:cxn>
              <a:cxn ang="0">
                <a:pos x="75" y="43"/>
              </a:cxn>
              <a:cxn ang="0">
                <a:pos x="52" y="34"/>
              </a:cxn>
              <a:cxn ang="0">
                <a:pos x="41" y="24"/>
              </a:cxn>
              <a:cxn ang="0">
                <a:pos x="51" y="19"/>
              </a:cxn>
              <a:cxn ang="0">
                <a:pos x="58" y="7"/>
              </a:cxn>
              <a:cxn ang="0">
                <a:pos x="47" y="6"/>
              </a:cxn>
              <a:cxn ang="0">
                <a:pos x="36" y="15"/>
              </a:cxn>
              <a:cxn ang="0">
                <a:pos x="30" y="18"/>
              </a:cxn>
            </a:cxnLst>
            <a:rect l="0" t="0" r="r" b="b"/>
            <a:pathLst>
              <a:path w="82" h="80">
                <a:moveTo>
                  <a:pt x="30" y="18"/>
                </a:moveTo>
                <a:cubicBezTo>
                  <a:pt x="29" y="22"/>
                  <a:pt x="27" y="24"/>
                  <a:pt x="24" y="27"/>
                </a:cubicBezTo>
                <a:cubicBezTo>
                  <a:pt x="23" y="31"/>
                  <a:pt x="22" y="33"/>
                  <a:pt x="18" y="34"/>
                </a:cubicBezTo>
                <a:cubicBezTo>
                  <a:pt x="16" y="37"/>
                  <a:pt x="13" y="40"/>
                  <a:pt x="11" y="42"/>
                </a:cubicBezTo>
                <a:cubicBezTo>
                  <a:pt x="9" y="44"/>
                  <a:pt x="5" y="46"/>
                  <a:pt x="5" y="46"/>
                </a:cubicBezTo>
                <a:cubicBezTo>
                  <a:pt x="4" y="49"/>
                  <a:pt x="0" y="55"/>
                  <a:pt x="0" y="55"/>
                </a:cubicBezTo>
                <a:cubicBezTo>
                  <a:pt x="4" y="67"/>
                  <a:pt x="12" y="64"/>
                  <a:pt x="24" y="60"/>
                </a:cubicBezTo>
                <a:cubicBezTo>
                  <a:pt x="37" y="61"/>
                  <a:pt x="48" y="61"/>
                  <a:pt x="60" y="63"/>
                </a:cubicBezTo>
                <a:cubicBezTo>
                  <a:pt x="67" y="65"/>
                  <a:pt x="62" y="75"/>
                  <a:pt x="69" y="80"/>
                </a:cubicBezTo>
                <a:cubicBezTo>
                  <a:pt x="79" y="77"/>
                  <a:pt x="73" y="80"/>
                  <a:pt x="76" y="75"/>
                </a:cubicBezTo>
                <a:cubicBezTo>
                  <a:pt x="78" y="72"/>
                  <a:pt x="82" y="66"/>
                  <a:pt x="82" y="66"/>
                </a:cubicBezTo>
                <a:cubicBezTo>
                  <a:pt x="80" y="58"/>
                  <a:pt x="77" y="57"/>
                  <a:pt x="82" y="49"/>
                </a:cubicBezTo>
                <a:cubicBezTo>
                  <a:pt x="81" y="45"/>
                  <a:pt x="79" y="44"/>
                  <a:pt x="75" y="43"/>
                </a:cubicBezTo>
                <a:cubicBezTo>
                  <a:pt x="71" y="31"/>
                  <a:pt x="77" y="36"/>
                  <a:pt x="52" y="34"/>
                </a:cubicBezTo>
                <a:cubicBezTo>
                  <a:pt x="45" y="32"/>
                  <a:pt x="49" y="26"/>
                  <a:pt x="41" y="24"/>
                </a:cubicBezTo>
                <a:cubicBezTo>
                  <a:pt x="44" y="22"/>
                  <a:pt x="47" y="20"/>
                  <a:pt x="51" y="19"/>
                </a:cubicBezTo>
                <a:cubicBezTo>
                  <a:pt x="54" y="15"/>
                  <a:pt x="58" y="7"/>
                  <a:pt x="58" y="7"/>
                </a:cubicBezTo>
                <a:cubicBezTo>
                  <a:pt x="56" y="0"/>
                  <a:pt x="52" y="3"/>
                  <a:pt x="47" y="6"/>
                </a:cubicBezTo>
                <a:cubicBezTo>
                  <a:pt x="44" y="10"/>
                  <a:pt x="41" y="13"/>
                  <a:pt x="36" y="15"/>
                </a:cubicBezTo>
                <a:cubicBezTo>
                  <a:pt x="35" y="18"/>
                  <a:pt x="28" y="25"/>
                  <a:pt x="30" y="18"/>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12" name="Freeform 9">
            <a:extLst>
              <a:ext uri="{FF2B5EF4-FFF2-40B4-BE49-F238E27FC236}">
                <a16:creationId xmlns:a16="http://schemas.microsoft.com/office/drawing/2014/main" id="{806541E3-3231-57D4-57E3-3F7E9C1328E1}"/>
              </a:ext>
            </a:extLst>
          </p:cNvPr>
          <p:cNvSpPr>
            <a:spLocks/>
          </p:cNvSpPr>
          <p:nvPr/>
        </p:nvSpPr>
        <p:spPr bwMode="auto">
          <a:xfrm>
            <a:off x="2968477" y="1877115"/>
            <a:ext cx="113159" cy="53792"/>
          </a:xfrm>
          <a:custGeom>
            <a:avLst/>
            <a:gdLst/>
            <a:ahLst/>
            <a:cxnLst>
              <a:cxn ang="0">
                <a:pos x="36" y="4"/>
              </a:cxn>
              <a:cxn ang="0">
                <a:pos x="43" y="9"/>
              </a:cxn>
              <a:cxn ang="0">
                <a:pos x="61" y="13"/>
              </a:cxn>
              <a:cxn ang="0">
                <a:pos x="70" y="19"/>
              </a:cxn>
              <a:cxn ang="0">
                <a:pos x="78" y="24"/>
              </a:cxn>
              <a:cxn ang="0">
                <a:pos x="76" y="35"/>
              </a:cxn>
              <a:cxn ang="0">
                <a:pos x="54" y="27"/>
              </a:cxn>
              <a:cxn ang="0">
                <a:pos x="36" y="30"/>
              </a:cxn>
              <a:cxn ang="0">
                <a:pos x="24" y="39"/>
              </a:cxn>
              <a:cxn ang="0">
                <a:pos x="0" y="30"/>
              </a:cxn>
              <a:cxn ang="0">
                <a:pos x="9" y="23"/>
              </a:cxn>
              <a:cxn ang="0">
                <a:pos x="12" y="19"/>
              </a:cxn>
              <a:cxn ang="0">
                <a:pos x="15" y="18"/>
              </a:cxn>
              <a:cxn ang="0">
                <a:pos x="27" y="3"/>
              </a:cxn>
              <a:cxn ang="0">
                <a:pos x="36" y="4"/>
              </a:cxn>
            </a:cxnLst>
            <a:rect l="0" t="0" r="r" b="b"/>
            <a:pathLst>
              <a:path w="82" h="39">
                <a:moveTo>
                  <a:pt x="36" y="4"/>
                </a:moveTo>
                <a:cubicBezTo>
                  <a:pt x="44" y="6"/>
                  <a:pt x="36" y="3"/>
                  <a:pt x="43" y="9"/>
                </a:cubicBezTo>
                <a:cubicBezTo>
                  <a:pt x="46" y="12"/>
                  <a:pt x="57" y="12"/>
                  <a:pt x="61" y="13"/>
                </a:cubicBezTo>
                <a:cubicBezTo>
                  <a:pt x="64" y="16"/>
                  <a:pt x="66" y="18"/>
                  <a:pt x="70" y="19"/>
                </a:cubicBezTo>
                <a:cubicBezTo>
                  <a:pt x="72" y="22"/>
                  <a:pt x="78" y="24"/>
                  <a:pt x="78" y="24"/>
                </a:cubicBezTo>
                <a:cubicBezTo>
                  <a:pt x="82" y="28"/>
                  <a:pt x="81" y="32"/>
                  <a:pt x="76" y="35"/>
                </a:cubicBezTo>
                <a:cubicBezTo>
                  <a:pt x="64" y="34"/>
                  <a:pt x="64" y="29"/>
                  <a:pt x="54" y="27"/>
                </a:cubicBezTo>
                <a:cubicBezTo>
                  <a:pt x="48" y="23"/>
                  <a:pt x="41" y="26"/>
                  <a:pt x="36" y="30"/>
                </a:cubicBezTo>
                <a:cubicBezTo>
                  <a:pt x="34" y="37"/>
                  <a:pt x="30" y="36"/>
                  <a:pt x="24" y="39"/>
                </a:cubicBezTo>
                <a:cubicBezTo>
                  <a:pt x="14" y="37"/>
                  <a:pt x="9" y="33"/>
                  <a:pt x="0" y="30"/>
                </a:cubicBezTo>
                <a:cubicBezTo>
                  <a:pt x="7" y="23"/>
                  <a:pt x="3" y="25"/>
                  <a:pt x="9" y="23"/>
                </a:cubicBezTo>
                <a:cubicBezTo>
                  <a:pt x="10" y="22"/>
                  <a:pt x="11" y="20"/>
                  <a:pt x="12" y="19"/>
                </a:cubicBezTo>
                <a:cubicBezTo>
                  <a:pt x="13" y="18"/>
                  <a:pt x="14" y="19"/>
                  <a:pt x="15" y="18"/>
                </a:cubicBezTo>
                <a:cubicBezTo>
                  <a:pt x="21" y="13"/>
                  <a:pt x="19" y="5"/>
                  <a:pt x="27" y="3"/>
                </a:cubicBezTo>
                <a:cubicBezTo>
                  <a:pt x="32" y="0"/>
                  <a:pt x="29" y="0"/>
                  <a:pt x="36" y="4"/>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13" name="Freeform 10">
            <a:extLst>
              <a:ext uri="{FF2B5EF4-FFF2-40B4-BE49-F238E27FC236}">
                <a16:creationId xmlns:a16="http://schemas.microsoft.com/office/drawing/2014/main" id="{09B04DB4-1278-0179-7796-16290C2EEA0D}"/>
              </a:ext>
            </a:extLst>
          </p:cNvPr>
          <p:cNvSpPr>
            <a:spLocks/>
          </p:cNvSpPr>
          <p:nvPr/>
        </p:nvSpPr>
        <p:spPr bwMode="auto">
          <a:xfrm>
            <a:off x="3024889" y="1712115"/>
            <a:ext cx="397101" cy="236157"/>
          </a:xfrm>
          <a:custGeom>
            <a:avLst/>
            <a:gdLst/>
            <a:ahLst/>
            <a:cxnLst>
              <a:cxn ang="0">
                <a:pos x="86" y="122"/>
              </a:cxn>
              <a:cxn ang="0">
                <a:pos x="124" y="117"/>
              </a:cxn>
              <a:cxn ang="0">
                <a:pos x="133" y="115"/>
              </a:cxn>
              <a:cxn ang="0">
                <a:pos x="134" y="112"/>
              </a:cxn>
              <a:cxn ang="0">
                <a:pos x="142" y="110"/>
              </a:cxn>
              <a:cxn ang="0">
                <a:pos x="144" y="98"/>
              </a:cxn>
              <a:cxn ang="0">
                <a:pos x="153" y="97"/>
              </a:cxn>
              <a:cxn ang="0">
                <a:pos x="163" y="90"/>
              </a:cxn>
              <a:cxn ang="0">
                <a:pos x="154" y="74"/>
              </a:cxn>
              <a:cxn ang="0">
                <a:pos x="134" y="60"/>
              </a:cxn>
              <a:cxn ang="0">
                <a:pos x="118" y="50"/>
              </a:cxn>
              <a:cxn ang="0">
                <a:pos x="112" y="48"/>
              </a:cxn>
              <a:cxn ang="0">
                <a:pos x="88" y="49"/>
              </a:cxn>
              <a:cxn ang="0">
                <a:pos x="76" y="52"/>
              </a:cxn>
              <a:cxn ang="0">
                <a:pos x="9" y="49"/>
              </a:cxn>
              <a:cxn ang="0">
                <a:pos x="0" y="34"/>
              </a:cxn>
              <a:cxn ang="0">
                <a:pos x="12" y="15"/>
              </a:cxn>
              <a:cxn ang="0">
                <a:pos x="46" y="0"/>
              </a:cxn>
              <a:cxn ang="0">
                <a:pos x="87" y="4"/>
              </a:cxn>
              <a:cxn ang="0">
                <a:pos x="104" y="3"/>
              </a:cxn>
              <a:cxn ang="0">
                <a:pos x="114" y="16"/>
              </a:cxn>
              <a:cxn ang="0">
                <a:pos x="129" y="22"/>
              </a:cxn>
              <a:cxn ang="0">
                <a:pos x="171" y="21"/>
              </a:cxn>
              <a:cxn ang="0">
                <a:pos x="183" y="33"/>
              </a:cxn>
              <a:cxn ang="0">
                <a:pos x="212" y="34"/>
              </a:cxn>
              <a:cxn ang="0">
                <a:pos x="223" y="40"/>
              </a:cxn>
              <a:cxn ang="0">
                <a:pos x="234" y="46"/>
              </a:cxn>
              <a:cxn ang="0">
                <a:pos x="240" y="51"/>
              </a:cxn>
              <a:cxn ang="0">
                <a:pos x="242" y="57"/>
              </a:cxn>
              <a:cxn ang="0">
                <a:pos x="229" y="67"/>
              </a:cxn>
              <a:cxn ang="0">
                <a:pos x="258" y="81"/>
              </a:cxn>
              <a:cxn ang="0">
                <a:pos x="276" y="88"/>
              </a:cxn>
              <a:cxn ang="0">
                <a:pos x="289" y="93"/>
              </a:cxn>
              <a:cxn ang="0">
                <a:pos x="273" y="108"/>
              </a:cxn>
              <a:cxn ang="0">
                <a:pos x="241" y="123"/>
              </a:cxn>
              <a:cxn ang="0">
                <a:pos x="223" y="106"/>
              </a:cxn>
              <a:cxn ang="0">
                <a:pos x="212" y="112"/>
              </a:cxn>
              <a:cxn ang="0">
                <a:pos x="228" y="128"/>
              </a:cxn>
              <a:cxn ang="0">
                <a:pos x="234" y="138"/>
              </a:cxn>
              <a:cxn ang="0">
                <a:pos x="226" y="156"/>
              </a:cxn>
              <a:cxn ang="0">
                <a:pos x="213" y="151"/>
              </a:cxn>
              <a:cxn ang="0">
                <a:pos x="200" y="145"/>
              </a:cxn>
              <a:cxn ang="0">
                <a:pos x="204" y="158"/>
              </a:cxn>
              <a:cxn ang="0">
                <a:pos x="211" y="160"/>
              </a:cxn>
              <a:cxn ang="0">
                <a:pos x="218" y="168"/>
              </a:cxn>
              <a:cxn ang="0">
                <a:pos x="171" y="162"/>
              </a:cxn>
              <a:cxn ang="0">
                <a:pos x="160" y="154"/>
              </a:cxn>
              <a:cxn ang="0">
                <a:pos x="148" y="151"/>
              </a:cxn>
              <a:cxn ang="0">
                <a:pos x="128" y="130"/>
              </a:cxn>
              <a:cxn ang="0">
                <a:pos x="103" y="134"/>
              </a:cxn>
              <a:cxn ang="0">
                <a:pos x="82" y="127"/>
              </a:cxn>
              <a:cxn ang="0">
                <a:pos x="78" y="121"/>
              </a:cxn>
            </a:cxnLst>
            <a:rect l="0" t="0" r="r" b="b"/>
            <a:pathLst>
              <a:path w="289" h="172">
                <a:moveTo>
                  <a:pt x="86" y="122"/>
                </a:moveTo>
                <a:cubicBezTo>
                  <a:pt x="101" y="118"/>
                  <a:pt x="102" y="118"/>
                  <a:pt x="124" y="117"/>
                </a:cubicBezTo>
                <a:cubicBezTo>
                  <a:pt x="127" y="116"/>
                  <a:pt x="130" y="117"/>
                  <a:pt x="133" y="115"/>
                </a:cubicBezTo>
                <a:cubicBezTo>
                  <a:pt x="134" y="114"/>
                  <a:pt x="133" y="113"/>
                  <a:pt x="134" y="112"/>
                </a:cubicBezTo>
                <a:cubicBezTo>
                  <a:pt x="136" y="111"/>
                  <a:pt x="142" y="110"/>
                  <a:pt x="142" y="110"/>
                </a:cubicBezTo>
                <a:cubicBezTo>
                  <a:pt x="143" y="106"/>
                  <a:pt x="141" y="101"/>
                  <a:pt x="144" y="98"/>
                </a:cubicBezTo>
                <a:cubicBezTo>
                  <a:pt x="146" y="96"/>
                  <a:pt x="150" y="98"/>
                  <a:pt x="153" y="97"/>
                </a:cubicBezTo>
                <a:cubicBezTo>
                  <a:pt x="155" y="96"/>
                  <a:pt x="159" y="91"/>
                  <a:pt x="163" y="90"/>
                </a:cubicBezTo>
                <a:cubicBezTo>
                  <a:pt x="168" y="82"/>
                  <a:pt x="161" y="76"/>
                  <a:pt x="154" y="74"/>
                </a:cubicBezTo>
                <a:cubicBezTo>
                  <a:pt x="148" y="66"/>
                  <a:pt x="144" y="63"/>
                  <a:pt x="134" y="60"/>
                </a:cubicBezTo>
                <a:cubicBezTo>
                  <a:pt x="129" y="56"/>
                  <a:pt x="124" y="52"/>
                  <a:pt x="118" y="50"/>
                </a:cubicBezTo>
                <a:cubicBezTo>
                  <a:pt x="116" y="49"/>
                  <a:pt x="112" y="48"/>
                  <a:pt x="112" y="48"/>
                </a:cubicBezTo>
                <a:cubicBezTo>
                  <a:pt x="100" y="52"/>
                  <a:pt x="108" y="50"/>
                  <a:pt x="88" y="49"/>
                </a:cubicBezTo>
                <a:cubicBezTo>
                  <a:pt x="84" y="50"/>
                  <a:pt x="80" y="51"/>
                  <a:pt x="76" y="52"/>
                </a:cubicBezTo>
                <a:cubicBezTo>
                  <a:pt x="53" y="51"/>
                  <a:pt x="31" y="51"/>
                  <a:pt x="9" y="49"/>
                </a:cubicBezTo>
                <a:cubicBezTo>
                  <a:pt x="4" y="47"/>
                  <a:pt x="2" y="39"/>
                  <a:pt x="0" y="34"/>
                </a:cubicBezTo>
                <a:cubicBezTo>
                  <a:pt x="1" y="26"/>
                  <a:pt x="3" y="17"/>
                  <a:pt x="12" y="15"/>
                </a:cubicBezTo>
                <a:cubicBezTo>
                  <a:pt x="22" y="8"/>
                  <a:pt x="34" y="4"/>
                  <a:pt x="46" y="0"/>
                </a:cubicBezTo>
                <a:cubicBezTo>
                  <a:pt x="60" y="0"/>
                  <a:pt x="74" y="0"/>
                  <a:pt x="87" y="4"/>
                </a:cubicBezTo>
                <a:cubicBezTo>
                  <a:pt x="93" y="3"/>
                  <a:pt x="98" y="2"/>
                  <a:pt x="104" y="3"/>
                </a:cubicBezTo>
                <a:cubicBezTo>
                  <a:pt x="106" y="9"/>
                  <a:pt x="107" y="14"/>
                  <a:pt x="114" y="16"/>
                </a:cubicBezTo>
                <a:cubicBezTo>
                  <a:pt x="119" y="21"/>
                  <a:pt x="122" y="20"/>
                  <a:pt x="129" y="22"/>
                </a:cubicBezTo>
                <a:cubicBezTo>
                  <a:pt x="145" y="19"/>
                  <a:pt x="146" y="20"/>
                  <a:pt x="171" y="21"/>
                </a:cubicBezTo>
                <a:cubicBezTo>
                  <a:pt x="176" y="23"/>
                  <a:pt x="177" y="32"/>
                  <a:pt x="183" y="33"/>
                </a:cubicBezTo>
                <a:cubicBezTo>
                  <a:pt x="193" y="34"/>
                  <a:pt x="202" y="34"/>
                  <a:pt x="212" y="34"/>
                </a:cubicBezTo>
                <a:cubicBezTo>
                  <a:pt x="221" y="39"/>
                  <a:pt x="218" y="36"/>
                  <a:pt x="223" y="40"/>
                </a:cubicBezTo>
                <a:cubicBezTo>
                  <a:pt x="225" y="43"/>
                  <a:pt x="234" y="46"/>
                  <a:pt x="234" y="46"/>
                </a:cubicBezTo>
                <a:cubicBezTo>
                  <a:pt x="236" y="48"/>
                  <a:pt x="239" y="49"/>
                  <a:pt x="240" y="51"/>
                </a:cubicBezTo>
                <a:cubicBezTo>
                  <a:pt x="241" y="53"/>
                  <a:pt x="242" y="57"/>
                  <a:pt x="242" y="57"/>
                </a:cubicBezTo>
                <a:cubicBezTo>
                  <a:pt x="240" y="62"/>
                  <a:pt x="234" y="65"/>
                  <a:pt x="229" y="67"/>
                </a:cubicBezTo>
                <a:cubicBezTo>
                  <a:pt x="225" y="79"/>
                  <a:pt x="252" y="80"/>
                  <a:pt x="258" y="81"/>
                </a:cubicBezTo>
                <a:cubicBezTo>
                  <a:pt x="263" y="86"/>
                  <a:pt x="269" y="87"/>
                  <a:pt x="276" y="88"/>
                </a:cubicBezTo>
                <a:cubicBezTo>
                  <a:pt x="281" y="89"/>
                  <a:pt x="285" y="90"/>
                  <a:pt x="289" y="93"/>
                </a:cubicBezTo>
                <a:cubicBezTo>
                  <a:pt x="288" y="106"/>
                  <a:pt x="284" y="104"/>
                  <a:pt x="273" y="108"/>
                </a:cubicBezTo>
                <a:cubicBezTo>
                  <a:pt x="261" y="120"/>
                  <a:pt x="260" y="119"/>
                  <a:pt x="241" y="123"/>
                </a:cubicBezTo>
                <a:cubicBezTo>
                  <a:pt x="234" y="121"/>
                  <a:pt x="230" y="111"/>
                  <a:pt x="223" y="106"/>
                </a:cubicBezTo>
                <a:cubicBezTo>
                  <a:pt x="218" y="107"/>
                  <a:pt x="214" y="107"/>
                  <a:pt x="212" y="112"/>
                </a:cubicBezTo>
                <a:cubicBezTo>
                  <a:pt x="213" y="118"/>
                  <a:pt x="222" y="126"/>
                  <a:pt x="228" y="128"/>
                </a:cubicBezTo>
                <a:cubicBezTo>
                  <a:pt x="229" y="133"/>
                  <a:pt x="231" y="135"/>
                  <a:pt x="234" y="138"/>
                </a:cubicBezTo>
                <a:cubicBezTo>
                  <a:pt x="237" y="147"/>
                  <a:pt x="230" y="150"/>
                  <a:pt x="226" y="156"/>
                </a:cubicBezTo>
                <a:cubicBezTo>
                  <a:pt x="222" y="154"/>
                  <a:pt x="213" y="151"/>
                  <a:pt x="213" y="151"/>
                </a:cubicBezTo>
                <a:cubicBezTo>
                  <a:pt x="209" y="147"/>
                  <a:pt x="205" y="146"/>
                  <a:pt x="200" y="145"/>
                </a:cubicBezTo>
                <a:cubicBezTo>
                  <a:pt x="191" y="147"/>
                  <a:pt x="199" y="155"/>
                  <a:pt x="204" y="158"/>
                </a:cubicBezTo>
                <a:cubicBezTo>
                  <a:pt x="205" y="159"/>
                  <a:pt x="210" y="160"/>
                  <a:pt x="211" y="160"/>
                </a:cubicBezTo>
                <a:cubicBezTo>
                  <a:pt x="215" y="164"/>
                  <a:pt x="217" y="163"/>
                  <a:pt x="218" y="168"/>
                </a:cubicBezTo>
                <a:cubicBezTo>
                  <a:pt x="205" y="172"/>
                  <a:pt x="184" y="165"/>
                  <a:pt x="171" y="162"/>
                </a:cubicBezTo>
                <a:cubicBezTo>
                  <a:pt x="167" y="160"/>
                  <a:pt x="164" y="155"/>
                  <a:pt x="160" y="154"/>
                </a:cubicBezTo>
                <a:cubicBezTo>
                  <a:pt x="156" y="153"/>
                  <a:pt x="148" y="151"/>
                  <a:pt x="148" y="151"/>
                </a:cubicBezTo>
                <a:cubicBezTo>
                  <a:pt x="140" y="143"/>
                  <a:pt x="138" y="135"/>
                  <a:pt x="128" y="130"/>
                </a:cubicBezTo>
                <a:cubicBezTo>
                  <a:pt x="120" y="131"/>
                  <a:pt x="111" y="132"/>
                  <a:pt x="103" y="134"/>
                </a:cubicBezTo>
                <a:cubicBezTo>
                  <a:pt x="91" y="133"/>
                  <a:pt x="90" y="132"/>
                  <a:pt x="82" y="127"/>
                </a:cubicBezTo>
                <a:cubicBezTo>
                  <a:pt x="81" y="125"/>
                  <a:pt x="78" y="121"/>
                  <a:pt x="78" y="121"/>
                </a:cubicBezTo>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14" name="Freeform 11">
            <a:extLst>
              <a:ext uri="{FF2B5EF4-FFF2-40B4-BE49-F238E27FC236}">
                <a16:creationId xmlns:a16="http://schemas.microsoft.com/office/drawing/2014/main" id="{B2887F39-E3F5-F9B5-5511-245693D60202}"/>
              </a:ext>
            </a:extLst>
          </p:cNvPr>
          <p:cNvSpPr>
            <a:spLocks/>
          </p:cNvSpPr>
          <p:nvPr/>
        </p:nvSpPr>
        <p:spPr bwMode="auto">
          <a:xfrm>
            <a:off x="2337486" y="1681369"/>
            <a:ext cx="184123" cy="64287"/>
          </a:xfrm>
          <a:custGeom>
            <a:avLst/>
            <a:gdLst/>
            <a:ahLst/>
            <a:cxnLst>
              <a:cxn ang="0">
                <a:pos x="0" y="33"/>
              </a:cxn>
              <a:cxn ang="0">
                <a:pos x="18" y="26"/>
              </a:cxn>
              <a:cxn ang="0">
                <a:pos x="40" y="9"/>
              </a:cxn>
              <a:cxn ang="0">
                <a:pos x="55" y="0"/>
              </a:cxn>
              <a:cxn ang="0">
                <a:pos x="120" y="4"/>
              </a:cxn>
              <a:cxn ang="0">
                <a:pos x="132" y="10"/>
              </a:cxn>
              <a:cxn ang="0">
                <a:pos x="133" y="14"/>
              </a:cxn>
              <a:cxn ang="0">
                <a:pos x="120" y="16"/>
              </a:cxn>
              <a:cxn ang="0">
                <a:pos x="88" y="22"/>
              </a:cxn>
              <a:cxn ang="0">
                <a:pos x="78" y="24"/>
              </a:cxn>
              <a:cxn ang="0">
                <a:pos x="66" y="28"/>
              </a:cxn>
              <a:cxn ang="0">
                <a:pos x="48" y="42"/>
              </a:cxn>
              <a:cxn ang="0">
                <a:pos x="38" y="46"/>
              </a:cxn>
              <a:cxn ang="0">
                <a:pos x="35" y="47"/>
              </a:cxn>
              <a:cxn ang="0">
                <a:pos x="0" y="33"/>
              </a:cxn>
            </a:cxnLst>
            <a:rect l="0" t="0" r="r" b="b"/>
            <a:pathLst>
              <a:path w="134" h="47">
                <a:moveTo>
                  <a:pt x="0" y="33"/>
                </a:moveTo>
                <a:cubicBezTo>
                  <a:pt x="6" y="27"/>
                  <a:pt x="10" y="27"/>
                  <a:pt x="18" y="26"/>
                </a:cubicBezTo>
                <a:cubicBezTo>
                  <a:pt x="23" y="19"/>
                  <a:pt x="33" y="14"/>
                  <a:pt x="40" y="9"/>
                </a:cubicBezTo>
                <a:cubicBezTo>
                  <a:pt x="45" y="1"/>
                  <a:pt x="45" y="3"/>
                  <a:pt x="55" y="0"/>
                </a:cubicBezTo>
                <a:cubicBezTo>
                  <a:pt x="78" y="3"/>
                  <a:pt x="94" y="3"/>
                  <a:pt x="120" y="4"/>
                </a:cubicBezTo>
                <a:cubicBezTo>
                  <a:pt x="126" y="5"/>
                  <a:pt x="127" y="8"/>
                  <a:pt x="132" y="10"/>
                </a:cubicBezTo>
                <a:cubicBezTo>
                  <a:pt x="132" y="11"/>
                  <a:pt x="134" y="13"/>
                  <a:pt x="133" y="14"/>
                </a:cubicBezTo>
                <a:cubicBezTo>
                  <a:pt x="130" y="17"/>
                  <a:pt x="124" y="15"/>
                  <a:pt x="120" y="16"/>
                </a:cubicBezTo>
                <a:cubicBezTo>
                  <a:pt x="110" y="18"/>
                  <a:pt x="98" y="20"/>
                  <a:pt x="88" y="22"/>
                </a:cubicBezTo>
                <a:cubicBezTo>
                  <a:pt x="85" y="23"/>
                  <a:pt x="78" y="24"/>
                  <a:pt x="78" y="24"/>
                </a:cubicBezTo>
                <a:cubicBezTo>
                  <a:pt x="74" y="26"/>
                  <a:pt x="71" y="27"/>
                  <a:pt x="66" y="28"/>
                </a:cubicBezTo>
                <a:cubicBezTo>
                  <a:pt x="59" y="32"/>
                  <a:pt x="54" y="37"/>
                  <a:pt x="48" y="42"/>
                </a:cubicBezTo>
                <a:cubicBezTo>
                  <a:pt x="46" y="44"/>
                  <a:pt x="40" y="45"/>
                  <a:pt x="38" y="46"/>
                </a:cubicBezTo>
                <a:cubicBezTo>
                  <a:pt x="37" y="46"/>
                  <a:pt x="35" y="47"/>
                  <a:pt x="35" y="47"/>
                </a:cubicBezTo>
                <a:cubicBezTo>
                  <a:pt x="22" y="45"/>
                  <a:pt x="13" y="36"/>
                  <a:pt x="0" y="33"/>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15" name="Freeform 12">
            <a:extLst>
              <a:ext uri="{FF2B5EF4-FFF2-40B4-BE49-F238E27FC236}">
                <a16:creationId xmlns:a16="http://schemas.microsoft.com/office/drawing/2014/main" id="{BD4973BE-4204-8CF3-3AB6-278D22FC2DDE}"/>
              </a:ext>
            </a:extLst>
          </p:cNvPr>
          <p:cNvSpPr>
            <a:spLocks/>
          </p:cNvSpPr>
          <p:nvPr/>
        </p:nvSpPr>
        <p:spPr bwMode="auto">
          <a:xfrm>
            <a:off x="2449223" y="1705450"/>
            <a:ext cx="266566" cy="97086"/>
          </a:xfrm>
          <a:custGeom>
            <a:avLst/>
            <a:gdLst/>
            <a:ahLst/>
            <a:cxnLst>
              <a:cxn ang="0">
                <a:pos x="15" y="25"/>
              </a:cxn>
              <a:cxn ang="0">
                <a:pos x="32" y="21"/>
              </a:cxn>
              <a:cxn ang="0">
                <a:pos x="38" y="17"/>
              </a:cxn>
              <a:cxn ang="0">
                <a:pos x="39" y="14"/>
              </a:cxn>
              <a:cxn ang="0">
                <a:pos x="69" y="7"/>
              </a:cxn>
              <a:cxn ang="0">
                <a:pos x="98" y="7"/>
              </a:cxn>
              <a:cxn ang="0">
                <a:pos x="107" y="11"/>
              </a:cxn>
              <a:cxn ang="0">
                <a:pos x="132" y="9"/>
              </a:cxn>
              <a:cxn ang="0">
                <a:pos x="143" y="4"/>
              </a:cxn>
              <a:cxn ang="0">
                <a:pos x="162" y="5"/>
              </a:cxn>
              <a:cxn ang="0">
                <a:pos x="166" y="14"/>
              </a:cxn>
              <a:cxn ang="0">
                <a:pos x="170" y="20"/>
              </a:cxn>
              <a:cxn ang="0">
                <a:pos x="182" y="41"/>
              </a:cxn>
              <a:cxn ang="0">
                <a:pos x="194" y="49"/>
              </a:cxn>
              <a:cxn ang="0">
                <a:pos x="176" y="52"/>
              </a:cxn>
              <a:cxn ang="0">
                <a:pos x="156" y="65"/>
              </a:cxn>
              <a:cxn ang="0">
                <a:pos x="132" y="62"/>
              </a:cxn>
              <a:cxn ang="0">
                <a:pos x="116" y="59"/>
              </a:cxn>
              <a:cxn ang="0">
                <a:pos x="75" y="63"/>
              </a:cxn>
              <a:cxn ang="0">
                <a:pos x="21" y="55"/>
              </a:cxn>
              <a:cxn ang="0">
                <a:pos x="12" y="51"/>
              </a:cxn>
              <a:cxn ang="0">
                <a:pos x="32" y="50"/>
              </a:cxn>
              <a:cxn ang="0">
                <a:pos x="70" y="43"/>
              </a:cxn>
              <a:cxn ang="0">
                <a:pos x="42" y="37"/>
              </a:cxn>
              <a:cxn ang="0">
                <a:pos x="10" y="37"/>
              </a:cxn>
              <a:cxn ang="0">
                <a:pos x="18" y="32"/>
              </a:cxn>
              <a:cxn ang="0">
                <a:pos x="14" y="25"/>
              </a:cxn>
              <a:cxn ang="0">
                <a:pos x="15" y="25"/>
              </a:cxn>
            </a:cxnLst>
            <a:rect l="0" t="0" r="r" b="b"/>
            <a:pathLst>
              <a:path w="194" h="70">
                <a:moveTo>
                  <a:pt x="15" y="25"/>
                </a:moveTo>
                <a:cubicBezTo>
                  <a:pt x="20" y="22"/>
                  <a:pt x="26" y="22"/>
                  <a:pt x="32" y="21"/>
                </a:cubicBezTo>
                <a:cubicBezTo>
                  <a:pt x="34" y="20"/>
                  <a:pt x="37" y="19"/>
                  <a:pt x="38" y="17"/>
                </a:cubicBezTo>
                <a:cubicBezTo>
                  <a:pt x="38" y="16"/>
                  <a:pt x="38" y="15"/>
                  <a:pt x="39" y="14"/>
                </a:cubicBezTo>
                <a:cubicBezTo>
                  <a:pt x="45" y="8"/>
                  <a:pt x="61" y="10"/>
                  <a:pt x="69" y="7"/>
                </a:cubicBezTo>
                <a:cubicBezTo>
                  <a:pt x="73" y="0"/>
                  <a:pt x="92" y="6"/>
                  <a:pt x="98" y="7"/>
                </a:cubicBezTo>
                <a:cubicBezTo>
                  <a:pt x="101" y="9"/>
                  <a:pt x="107" y="11"/>
                  <a:pt x="107" y="11"/>
                </a:cubicBezTo>
                <a:cubicBezTo>
                  <a:pt x="111" y="10"/>
                  <a:pt x="126" y="7"/>
                  <a:pt x="132" y="9"/>
                </a:cubicBezTo>
                <a:cubicBezTo>
                  <a:pt x="137" y="8"/>
                  <a:pt x="139" y="8"/>
                  <a:pt x="143" y="4"/>
                </a:cubicBezTo>
                <a:cubicBezTo>
                  <a:pt x="149" y="4"/>
                  <a:pt x="156" y="4"/>
                  <a:pt x="162" y="5"/>
                </a:cubicBezTo>
                <a:cubicBezTo>
                  <a:pt x="165" y="6"/>
                  <a:pt x="164" y="11"/>
                  <a:pt x="166" y="14"/>
                </a:cubicBezTo>
                <a:cubicBezTo>
                  <a:pt x="167" y="16"/>
                  <a:pt x="170" y="20"/>
                  <a:pt x="170" y="20"/>
                </a:cubicBezTo>
                <a:cubicBezTo>
                  <a:pt x="171" y="33"/>
                  <a:pt x="170" y="37"/>
                  <a:pt x="182" y="41"/>
                </a:cubicBezTo>
                <a:cubicBezTo>
                  <a:pt x="185" y="44"/>
                  <a:pt x="194" y="49"/>
                  <a:pt x="194" y="49"/>
                </a:cubicBezTo>
                <a:cubicBezTo>
                  <a:pt x="189" y="56"/>
                  <a:pt x="185" y="53"/>
                  <a:pt x="176" y="52"/>
                </a:cubicBezTo>
                <a:cubicBezTo>
                  <a:pt x="167" y="61"/>
                  <a:pt x="173" y="64"/>
                  <a:pt x="156" y="65"/>
                </a:cubicBezTo>
                <a:cubicBezTo>
                  <a:pt x="148" y="70"/>
                  <a:pt x="140" y="64"/>
                  <a:pt x="132" y="62"/>
                </a:cubicBezTo>
                <a:cubicBezTo>
                  <a:pt x="126" y="57"/>
                  <a:pt x="124" y="56"/>
                  <a:pt x="116" y="59"/>
                </a:cubicBezTo>
                <a:cubicBezTo>
                  <a:pt x="109" y="66"/>
                  <a:pt x="86" y="61"/>
                  <a:pt x="75" y="63"/>
                </a:cubicBezTo>
                <a:cubicBezTo>
                  <a:pt x="41" y="62"/>
                  <a:pt x="46" y="59"/>
                  <a:pt x="21" y="55"/>
                </a:cubicBezTo>
                <a:cubicBezTo>
                  <a:pt x="0" y="56"/>
                  <a:pt x="4" y="52"/>
                  <a:pt x="12" y="51"/>
                </a:cubicBezTo>
                <a:cubicBezTo>
                  <a:pt x="19" y="50"/>
                  <a:pt x="25" y="50"/>
                  <a:pt x="32" y="50"/>
                </a:cubicBezTo>
                <a:cubicBezTo>
                  <a:pt x="45" y="48"/>
                  <a:pt x="56" y="44"/>
                  <a:pt x="70" y="43"/>
                </a:cubicBezTo>
                <a:cubicBezTo>
                  <a:pt x="60" y="42"/>
                  <a:pt x="52" y="39"/>
                  <a:pt x="42" y="37"/>
                </a:cubicBezTo>
                <a:cubicBezTo>
                  <a:pt x="30" y="39"/>
                  <a:pt x="26" y="40"/>
                  <a:pt x="10" y="37"/>
                </a:cubicBezTo>
                <a:cubicBezTo>
                  <a:pt x="7" y="36"/>
                  <a:pt x="15" y="33"/>
                  <a:pt x="18" y="32"/>
                </a:cubicBezTo>
                <a:cubicBezTo>
                  <a:pt x="24" y="26"/>
                  <a:pt x="28" y="28"/>
                  <a:pt x="14" y="25"/>
                </a:cubicBezTo>
                <a:cubicBezTo>
                  <a:pt x="11" y="23"/>
                  <a:pt x="1" y="19"/>
                  <a:pt x="15" y="25"/>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16" name="Freeform 13">
            <a:extLst>
              <a:ext uri="{FF2B5EF4-FFF2-40B4-BE49-F238E27FC236}">
                <a16:creationId xmlns:a16="http://schemas.microsoft.com/office/drawing/2014/main" id="{7A414186-4C80-E4B0-9018-5EFA76A2941B}"/>
              </a:ext>
            </a:extLst>
          </p:cNvPr>
          <p:cNvSpPr>
            <a:spLocks/>
          </p:cNvSpPr>
          <p:nvPr/>
        </p:nvSpPr>
        <p:spPr bwMode="auto">
          <a:xfrm>
            <a:off x="2486626" y="1597027"/>
            <a:ext cx="131909" cy="47232"/>
          </a:xfrm>
          <a:custGeom>
            <a:avLst/>
            <a:gdLst/>
            <a:ahLst/>
            <a:cxnLst>
              <a:cxn ang="0">
                <a:pos x="1" y="22"/>
              </a:cxn>
              <a:cxn ang="0">
                <a:pos x="41" y="15"/>
              </a:cxn>
              <a:cxn ang="0">
                <a:pos x="55" y="10"/>
              </a:cxn>
              <a:cxn ang="0">
                <a:pos x="64" y="4"/>
              </a:cxn>
              <a:cxn ang="0">
                <a:pos x="93" y="6"/>
              </a:cxn>
              <a:cxn ang="0">
                <a:pos x="86" y="15"/>
              </a:cxn>
              <a:cxn ang="0">
                <a:pos x="61" y="19"/>
              </a:cxn>
              <a:cxn ang="0">
                <a:pos x="27" y="34"/>
              </a:cxn>
              <a:cxn ang="0">
                <a:pos x="4" y="27"/>
              </a:cxn>
              <a:cxn ang="0">
                <a:pos x="1" y="22"/>
              </a:cxn>
            </a:cxnLst>
            <a:rect l="0" t="0" r="r" b="b"/>
            <a:pathLst>
              <a:path w="96" h="34">
                <a:moveTo>
                  <a:pt x="1" y="22"/>
                </a:moveTo>
                <a:cubicBezTo>
                  <a:pt x="14" y="18"/>
                  <a:pt x="27" y="17"/>
                  <a:pt x="41" y="15"/>
                </a:cubicBezTo>
                <a:cubicBezTo>
                  <a:pt x="46" y="13"/>
                  <a:pt x="50" y="12"/>
                  <a:pt x="55" y="10"/>
                </a:cubicBezTo>
                <a:cubicBezTo>
                  <a:pt x="57" y="6"/>
                  <a:pt x="60" y="5"/>
                  <a:pt x="64" y="4"/>
                </a:cubicBezTo>
                <a:cubicBezTo>
                  <a:pt x="74" y="4"/>
                  <a:pt x="86" y="0"/>
                  <a:pt x="93" y="6"/>
                </a:cubicBezTo>
                <a:cubicBezTo>
                  <a:pt x="96" y="8"/>
                  <a:pt x="87" y="14"/>
                  <a:pt x="86" y="15"/>
                </a:cubicBezTo>
                <a:cubicBezTo>
                  <a:pt x="77" y="20"/>
                  <a:pt x="76" y="18"/>
                  <a:pt x="61" y="19"/>
                </a:cubicBezTo>
                <a:cubicBezTo>
                  <a:pt x="49" y="24"/>
                  <a:pt x="40" y="31"/>
                  <a:pt x="27" y="34"/>
                </a:cubicBezTo>
                <a:cubicBezTo>
                  <a:pt x="19" y="32"/>
                  <a:pt x="12" y="28"/>
                  <a:pt x="4" y="27"/>
                </a:cubicBezTo>
                <a:cubicBezTo>
                  <a:pt x="0" y="24"/>
                  <a:pt x="1" y="26"/>
                  <a:pt x="1" y="22"/>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17" name="Freeform 14">
            <a:extLst>
              <a:ext uri="{FF2B5EF4-FFF2-40B4-BE49-F238E27FC236}">
                <a16:creationId xmlns:a16="http://schemas.microsoft.com/office/drawing/2014/main" id="{D70A961B-BF9B-5496-782F-402AC5913579}"/>
              </a:ext>
            </a:extLst>
          </p:cNvPr>
          <p:cNvSpPr>
            <a:spLocks/>
          </p:cNvSpPr>
          <p:nvPr/>
        </p:nvSpPr>
        <p:spPr bwMode="auto">
          <a:xfrm>
            <a:off x="2556441" y="1622703"/>
            <a:ext cx="195115" cy="49855"/>
          </a:xfrm>
          <a:custGeom>
            <a:avLst/>
            <a:gdLst/>
            <a:ahLst/>
            <a:cxnLst>
              <a:cxn ang="0">
                <a:pos x="51" y="3"/>
              </a:cxn>
              <a:cxn ang="0">
                <a:pos x="72" y="9"/>
              </a:cxn>
              <a:cxn ang="0">
                <a:pos x="85" y="18"/>
              </a:cxn>
              <a:cxn ang="0">
                <a:pos x="97" y="7"/>
              </a:cxn>
              <a:cxn ang="0">
                <a:pos x="108" y="0"/>
              </a:cxn>
              <a:cxn ang="0">
                <a:pos x="117" y="1"/>
              </a:cxn>
              <a:cxn ang="0">
                <a:pos x="123" y="12"/>
              </a:cxn>
              <a:cxn ang="0">
                <a:pos x="139" y="13"/>
              </a:cxn>
              <a:cxn ang="0">
                <a:pos x="120" y="27"/>
              </a:cxn>
              <a:cxn ang="0">
                <a:pos x="66" y="26"/>
              </a:cxn>
              <a:cxn ang="0">
                <a:pos x="49" y="36"/>
              </a:cxn>
              <a:cxn ang="0">
                <a:pos x="23" y="26"/>
              </a:cxn>
              <a:cxn ang="0">
                <a:pos x="0" y="22"/>
              </a:cxn>
              <a:cxn ang="0">
                <a:pos x="18" y="12"/>
              </a:cxn>
              <a:cxn ang="0">
                <a:pos x="26" y="9"/>
              </a:cxn>
              <a:cxn ang="0">
                <a:pos x="51" y="3"/>
              </a:cxn>
            </a:cxnLst>
            <a:rect l="0" t="0" r="r" b="b"/>
            <a:pathLst>
              <a:path w="142" h="36">
                <a:moveTo>
                  <a:pt x="51" y="3"/>
                </a:moveTo>
                <a:cubicBezTo>
                  <a:pt x="59" y="4"/>
                  <a:pt x="65" y="7"/>
                  <a:pt x="72" y="9"/>
                </a:cubicBezTo>
                <a:cubicBezTo>
                  <a:pt x="76" y="13"/>
                  <a:pt x="80" y="16"/>
                  <a:pt x="85" y="18"/>
                </a:cubicBezTo>
                <a:cubicBezTo>
                  <a:pt x="97" y="16"/>
                  <a:pt x="104" y="18"/>
                  <a:pt x="97" y="7"/>
                </a:cubicBezTo>
                <a:cubicBezTo>
                  <a:pt x="98" y="1"/>
                  <a:pt x="103" y="1"/>
                  <a:pt x="108" y="0"/>
                </a:cubicBezTo>
                <a:cubicBezTo>
                  <a:pt x="111" y="0"/>
                  <a:pt x="114" y="0"/>
                  <a:pt x="117" y="1"/>
                </a:cubicBezTo>
                <a:cubicBezTo>
                  <a:pt x="120" y="2"/>
                  <a:pt x="120" y="11"/>
                  <a:pt x="123" y="12"/>
                </a:cubicBezTo>
                <a:cubicBezTo>
                  <a:pt x="128" y="13"/>
                  <a:pt x="134" y="13"/>
                  <a:pt x="139" y="13"/>
                </a:cubicBezTo>
                <a:cubicBezTo>
                  <a:pt x="142" y="21"/>
                  <a:pt x="127" y="26"/>
                  <a:pt x="120" y="27"/>
                </a:cubicBezTo>
                <a:cubicBezTo>
                  <a:pt x="102" y="26"/>
                  <a:pt x="84" y="23"/>
                  <a:pt x="66" y="26"/>
                </a:cubicBezTo>
                <a:cubicBezTo>
                  <a:pt x="60" y="30"/>
                  <a:pt x="56" y="33"/>
                  <a:pt x="49" y="36"/>
                </a:cubicBezTo>
                <a:cubicBezTo>
                  <a:pt x="27" y="33"/>
                  <a:pt x="36" y="29"/>
                  <a:pt x="23" y="26"/>
                </a:cubicBezTo>
                <a:cubicBezTo>
                  <a:pt x="16" y="24"/>
                  <a:pt x="8" y="24"/>
                  <a:pt x="0" y="22"/>
                </a:cubicBezTo>
                <a:cubicBezTo>
                  <a:pt x="7" y="17"/>
                  <a:pt x="10" y="15"/>
                  <a:pt x="18" y="12"/>
                </a:cubicBezTo>
                <a:cubicBezTo>
                  <a:pt x="21" y="11"/>
                  <a:pt x="26" y="9"/>
                  <a:pt x="26" y="9"/>
                </a:cubicBezTo>
                <a:lnTo>
                  <a:pt x="51" y="3"/>
                </a:ln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18" name="Freeform 15">
            <a:extLst>
              <a:ext uri="{FF2B5EF4-FFF2-40B4-BE49-F238E27FC236}">
                <a16:creationId xmlns:a16="http://schemas.microsoft.com/office/drawing/2014/main" id="{902721C8-6CCF-4E7B-CE9B-FC1F7CD30F23}"/>
              </a:ext>
            </a:extLst>
          </p:cNvPr>
          <p:cNvSpPr>
            <a:spLocks/>
          </p:cNvSpPr>
          <p:nvPr/>
        </p:nvSpPr>
        <p:spPr bwMode="auto">
          <a:xfrm>
            <a:off x="2764719" y="1680956"/>
            <a:ext cx="104428" cy="60351"/>
          </a:xfrm>
          <a:custGeom>
            <a:avLst/>
            <a:gdLst/>
            <a:ahLst/>
            <a:cxnLst>
              <a:cxn ang="0">
                <a:pos x="30" y="21"/>
              </a:cxn>
              <a:cxn ang="0">
                <a:pos x="25" y="11"/>
              </a:cxn>
              <a:cxn ang="0">
                <a:pos x="54" y="8"/>
              </a:cxn>
              <a:cxn ang="0">
                <a:pos x="73" y="8"/>
              </a:cxn>
              <a:cxn ang="0">
                <a:pos x="58" y="18"/>
              </a:cxn>
              <a:cxn ang="0">
                <a:pos x="63" y="24"/>
              </a:cxn>
              <a:cxn ang="0">
                <a:pos x="64" y="33"/>
              </a:cxn>
              <a:cxn ang="0">
                <a:pos x="43" y="41"/>
              </a:cxn>
              <a:cxn ang="0">
                <a:pos x="26" y="40"/>
              </a:cxn>
              <a:cxn ang="0">
                <a:pos x="7" y="28"/>
              </a:cxn>
              <a:cxn ang="0">
                <a:pos x="4" y="21"/>
              </a:cxn>
              <a:cxn ang="0">
                <a:pos x="30" y="17"/>
              </a:cxn>
              <a:cxn ang="0">
                <a:pos x="26" y="11"/>
              </a:cxn>
            </a:cxnLst>
            <a:rect l="0" t="0" r="r" b="b"/>
            <a:pathLst>
              <a:path w="76" h="44">
                <a:moveTo>
                  <a:pt x="30" y="21"/>
                </a:moveTo>
                <a:cubicBezTo>
                  <a:pt x="28" y="18"/>
                  <a:pt x="26" y="15"/>
                  <a:pt x="25" y="11"/>
                </a:cubicBezTo>
                <a:cubicBezTo>
                  <a:pt x="29" y="0"/>
                  <a:pt x="48" y="7"/>
                  <a:pt x="54" y="8"/>
                </a:cubicBezTo>
                <a:cubicBezTo>
                  <a:pt x="60" y="7"/>
                  <a:pt x="70" y="2"/>
                  <a:pt x="73" y="8"/>
                </a:cubicBezTo>
                <a:cubicBezTo>
                  <a:pt x="76" y="13"/>
                  <a:pt x="58" y="18"/>
                  <a:pt x="58" y="18"/>
                </a:cubicBezTo>
                <a:cubicBezTo>
                  <a:pt x="55" y="23"/>
                  <a:pt x="59" y="21"/>
                  <a:pt x="63" y="24"/>
                </a:cubicBezTo>
                <a:cubicBezTo>
                  <a:pt x="75" y="22"/>
                  <a:pt x="73" y="31"/>
                  <a:pt x="64" y="33"/>
                </a:cubicBezTo>
                <a:cubicBezTo>
                  <a:pt x="59" y="40"/>
                  <a:pt x="51" y="40"/>
                  <a:pt x="43" y="41"/>
                </a:cubicBezTo>
                <a:cubicBezTo>
                  <a:pt x="34" y="44"/>
                  <a:pt x="35" y="42"/>
                  <a:pt x="26" y="40"/>
                </a:cubicBezTo>
                <a:cubicBezTo>
                  <a:pt x="24" y="30"/>
                  <a:pt x="16" y="29"/>
                  <a:pt x="7" y="28"/>
                </a:cubicBezTo>
                <a:cubicBezTo>
                  <a:pt x="5" y="27"/>
                  <a:pt x="0" y="24"/>
                  <a:pt x="4" y="21"/>
                </a:cubicBezTo>
                <a:cubicBezTo>
                  <a:pt x="11" y="17"/>
                  <a:pt x="23" y="17"/>
                  <a:pt x="30" y="17"/>
                </a:cubicBezTo>
                <a:cubicBezTo>
                  <a:pt x="28" y="11"/>
                  <a:pt x="30" y="13"/>
                  <a:pt x="26" y="11"/>
                </a:cubicBezTo>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19" name="Freeform 16">
            <a:extLst>
              <a:ext uri="{FF2B5EF4-FFF2-40B4-BE49-F238E27FC236}">
                <a16:creationId xmlns:a16="http://schemas.microsoft.com/office/drawing/2014/main" id="{56F594CB-CF0B-1D7D-FC67-AD469D35F00A}"/>
              </a:ext>
            </a:extLst>
          </p:cNvPr>
          <p:cNvSpPr>
            <a:spLocks/>
          </p:cNvSpPr>
          <p:nvPr/>
        </p:nvSpPr>
        <p:spPr bwMode="auto">
          <a:xfrm>
            <a:off x="2755691" y="1780836"/>
            <a:ext cx="65955" cy="28864"/>
          </a:xfrm>
          <a:custGeom>
            <a:avLst/>
            <a:gdLst/>
            <a:ahLst/>
            <a:cxnLst>
              <a:cxn ang="0">
                <a:pos x="18" y="10"/>
              </a:cxn>
              <a:cxn ang="0">
                <a:pos x="27" y="3"/>
              </a:cxn>
              <a:cxn ang="0">
                <a:pos x="36" y="0"/>
              </a:cxn>
              <a:cxn ang="0">
                <a:pos x="46" y="12"/>
              </a:cxn>
              <a:cxn ang="0">
                <a:pos x="42" y="21"/>
              </a:cxn>
              <a:cxn ang="0">
                <a:pos x="18" y="18"/>
              </a:cxn>
              <a:cxn ang="0">
                <a:pos x="9" y="12"/>
              </a:cxn>
              <a:cxn ang="0">
                <a:pos x="6" y="13"/>
              </a:cxn>
              <a:cxn ang="0">
                <a:pos x="18" y="10"/>
              </a:cxn>
            </a:cxnLst>
            <a:rect l="0" t="0" r="r" b="b"/>
            <a:pathLst>
              <a:path w="48" h="21">
                <a:moveTo>
                  <a:pt x="18" y="10"/>
                </a:moveTo>
                <a:cubicBezTo>
                  <a:pt x="21" y="8"/>
                  <a:pt x="24" y="5"/>
                  <a:pt x="27" y="3"/>
                </a:cubicBezTo>
                <a:cubicBezTo>
                  <a:pt x="30" y="1"/>
                  <a:pt x="36" y="0"/>
                  <a:pt x="36" y="0"/>
                </a:cubicBezTo>
                <a:cubicBezTo>
                  <a:pt x="40" y="3"/>
                  <a:pt x="42" y="8"/>
                  <a:pt x="46" y="12"/>
                </a:cubicBezTo>
                <a:cubicBezTo>
                  <a:pt x="48" y="17"/>
                  <a:pt x="48" y="20"/>
                  <a:pt x="42" y="21"/>
                </a:cubicBezTo>
                <a:cubicBezTo>
                  <a:pt x="30" y="17"/>
                  <a:pt x="38" y="19"/>
                  <a:pt x="18" y="18"/>
                </a:cubicBezTo>
                <a:cubicBezTo>
                  <a:pt x="15" y="15"/>
                  <a:pt x="12" y="14"/>
                  <a:pt x="9" y="12"/>
                </a:cubicBezTo>
                <a:cubicBezTo>
                  <a:pt x="6" y="14"/>
                  <a:pt x="0" y="13"/>
                  <a:pt x="6" y="13"/>
                </a:cubicBezTo>
                <a:lnTo>
                  <a:pt x="18" y="10"/>
                </a:ln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20" name="Freeform 17">
            <a:extLst>
              <a:ext uri="{FF2B5EF4-FFF2-40B4-BE49-F238E27FC236}">
                <a16:creationId xmlns:a16="http://schemas.microsoft.com/office/drawing/2014/main" id="{D6B51929-7B0F-1ECE-B437-AEB4523447C3}"/>
              </a:ext>
            </a:extLst>
          </p:cNvPr>
          <p:cNvSpPr>
            <a:spLocks/>
          </p:cNvSpPr>
          <p:nvPr/>
        </p:nvSpPr>
        <p:spPr bwMode="auto">
          <a:xfrm>
            <a:off x="2663953" y="1571563"/>
            <a:ext cx="94809" cy="31487"/>
          </a:xfrm>
          <a:custGeom>
            <a:avLst/>
            <a:gdLst/>
            <a:ahLst/>
            <a:cxnLst>
              <a:cxn ang="0">
                <a:pos x="3" y="13"/>
              </a:cxn>
              <a:cxn ang="0">
                <a:pos x="42" y="3"/>
              </a:cxn>
              <a:cxn ang="0">
                <a:pos x="64" y="2"/>
              </a:cxn>
              <a:cxn ang="0">
                <a:pos x="46" y="13"/>
              </a:cxn>
              <a:cxn ang="0">
                <a:pos x="31" y="22"/>
              </a:cxn>
              <a:cxn ang="0">
                <a:pos x="2" y="18"/>
              </a:cxn>
              <a:cxn ang="0">
                <a:pos x="3" y="13"/>
              </a:cxn>
            </a:cxnLst>
            <a:rect l="0" t="0" r="r" b="b"/>
            <a:pathLst>
              <a:path w="69" h="23">
                <a:moveTo>
                  <a:pt x="3" y="13"/>
                </a:moveTo>
                <a:cubicBezTo>
                  <a:pt x="16" y="10"/>
                  <a:pt x="28" y="5"/>
                  <a:pt x="42" y="3"/>
                </a:cubicBezTo>
                <a:cubicBezTo>
                  <a:pt x="50" y="0"/>
                  <a:pt x="55" y="1"/>
                  <a:pt x="64" y="2"/>
                </a:cubicBezTo>
                <a:cubicBezTo>
                  <a:pt x="69" y="12"/>
                  <a:pt x="52" y="12"/>
                  <a:pt x="46" y="13"/>
                </a:cubicBezTo>
                <a:cubicBezTo>
                  <a:pt x="41" y="16"/>
                  <a:pt x="37" y="20"/>
                  <a:pt x="31" y="22"/>
                </a:cubicBezTo>
                <a:cubicBezTo>
                  <a:pt x="15" y="21"/>
                  <a:pt x="13" y="23"/>
                  <a:pt x="2" y="18"/>
                </a:cubicBezTo>
                <a:cubicBezTo>
                  <a:pt x="1" y="14"/>
                  <a:pt x="0" y="16"/>
                  <a:pt x="3" y="13"/>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21" name="Freeform 18">
            <a:extLst>
              <a:ext uri="{FF2B5EF4-FFF2-40B4-BE49-F238E27FC236}">
                <a16:creationId xmlns:a16="http://schemas.microsoft.com/office/drawing/2014/main" id="{9C32F3C4-0351-BF9B-E1A5-FA383D0B7299}"/>
              </a:ext>
            </a:extLst>
          </p:cNvPr>
          <p:cNvSpPr>
            <a:spLocks/>
          </p:cNvSpPr>
          <p:nvPr/>
        </p:nvSpPr>
        <p:spPr bwMode="auto">
          <a:xfrm>
            <a:off x="2845107" y="1561001"/>
            <a:ext cx="78322" cy="36735"/>
          </a:xfrm>
          <a:custGeom>
            <a:avLst/>
            <a:gdLst/>
            <a:ahLst/>
            <a:cxnLst>
              <a:cxn ang="0">
                <a:pos x="4" y="14"/>
              </a:cxn>
              <a:cxn ang="0">
                <a:pos x="8" y="3"/>
              </a:cxn>
              <a:cxn ang="0">
                <a:pos x="17" y="0"/>
              </a:cxn>
              <a:cxn ang="0">
                <a:pos x="56" y="6"/>
              </a:cxn>
              <a:cxn ang="0">
                <a:pos x="43" y="21"/>
              </a:cxn>
              <a:cxn ang="0">
                <a:pos x="30" y="15"/>
              </a:cxn>
              <a:cxn ang="0">
                <a:pos x="0" y="16"/>
              </a:cxn>
              <a:cxn ang="0">
                <a:pos x="4" y="14"/>
              </a:cxn>
            </a:cxnLst>
            <a:rect l="0" t="0" r="r" b="b"/>
            <a:pathLst>
              <a:path w="57" h="26">
                <a:moveTo>
                  <a:pt x="4" y="14"/>
                </a:moveTo>
                <a:cubicBezTo>
                  <a:pt x="5" y="11"/>
                  <a:pt x="5" y="5"/>
                  <a:pt x="8" y="3"/>
                </a:cubicBezTo>
                <a:cubicBezTo>
                  <a:pt x="11" y="1"/>
                  <a:pt x="17" y="0"/>
                  <a:pt x="17" y="0"/>
                </a:cubicBezTo>
                <a:cubicBezTo>
                  <a:pt x="41" y="2"/>
                  <a:pt x="19" y="3"/>
                  <a:pt x="56" y="6"/>
                </a:cubicBezTo>
                <a:cubicBezTo>
                  <a:pt x="55" y="26"/>
                  <a:pt x="57" y="24"/>
                  <a:pt x="43" y="21"/>
                </a:cubicBezTo>
                <a:cubicBezTo>
                  <a:pt x="39" y="18"/>
                  <a:pt x="35" y="16"/>
                  <a:pt x="30" y="15"/>
                </a:cubicBezTo>
                <a:cubicBezTo>
                  <a:pt x="22" y="15"/>
                  <a:pt x="7" y="20"/>
                  <a:pt x="0" y="16"/>
                </a:cubicBezTo>
                <a:cubicBezTo>
                  <a:pt x="1" y="8"/>
                  <a:pt x="0" y="8"/>
                  <a:pt x="4" y="14"/>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22" name="Freeform 19">
            <a:extLst>
              <a:ext uri="{FF2B5EF4-FFF2-40B4-BE49-F238E27FC236}">
                <a16:creationId xmlns:a16="http://schemas.microsoft.com/office/drawing/2014/main" id="{4313984F-7837-92F2-9187-6CFF4066EB3F}"/>
              </a:ext>
            </a:extLst>
          </p:cNvPr>
          <p:cNvSpPr>
            <a:spLocks/>
          </p:cNvSpPr>
          <p:nvPr/>
        </p:nvSpPr>
        <p:spPr bwMode="auto">
          <a:xfrm>
            <a:off x="2803535" y="1624776"/>
            <a:ext cx="109924" cy="39359"/>
          </a:xfrm>
          <a:custGeom>
            <a:avLst/>
            <a:gdLst/>
            <a:ahLst/>
            <a:cxnLst>
              <a:cxn ang="0">
                <a:pos x="32" y="6"/>
              </a:cxn>
              <a:cxn ang="0">
                <a:pos x="65" y="1"/>
              </a:cxn>
              <a:cxn ang="0">
                <a:pos x="76" y="2"/>
              </a:cxn>
              <a:cxn ang="0">
                <a:pos x="67" y="14"/>
              </a:cxn>
              <a:cxn ang="0">
                <a:pos x="53" y="26"/>
              </a:cxn>
              <a:cxn ang="0">
                <a:pos x="35" y="23"/>
              </a:cxn>
              <a:cxn ang="0">
                <a:pos x="32" y="16"/>
              </a:cxn>
              <a:cxn ang="0">
                <a:pos x="7" y="12"/>
              </a:cxn>
              <a:cxn ang="0">
                <a:pos x="22" y="5"/>
              </a:cxn>
              <a:cxn ang="0">
                <a:pos x="32" y="6"/>
              </a:cxn>
            </a:cxnLst>
            <a:rect l="0" t="0" r="r" b="b"/>
            <a:pathLst>
              <a:path w="80" h="28">
                <a:moveTo>
                  <a:pt x="32" y="6"/>
                </a:moveTo>
                <a:cubicBezTo>
                  <a:pt x="46" y="1"/>
                  <a:pt x="41" y="2"/>
                  <a:pt x="65" y="1"/>
                </a:cubicBezTo>
                <a:cubicBezTo>
                  <a:pt x="69" y="1"/>
                  <a:pt x="73" y="0"/>
                  <a:pt x="76" y="2"/>
                </a:cubicBezTo>
                <a:cubicBezTo>
                  <a:pt x="80" y="5"/>
                  <a:pt x="68" y="14"/>
                  <a:pt x="67" y="14"/>
                </a:cubicBezTo>
                <a:cubicBezTo>
                  <a:pt x="63" y="19"/>
                  <a:pt x="59" y="24"/>
                  <a:pt x="53" y="26"/>
                </a:cubicBezTo>
                <a:cubicBezTo>
                  <a:pt x="47" y="26"/>
                  <a:pt x="39" y="28"/>
                  <a:pt x="35" y="23"/>
                </a:cubicBezTo>
                <a:cubicBezTo>
                  <a:pt x="34" y="22"/>
                  <a:pt x="34" y="17"/>
                  <a:pt x="32" y="16"/>
                </a:cubicBezTo>
                <a:cubicBezTo>
                  <a:pt x="24" y="14"/>
                  <a:pt x="7" y="12"/>
                  <a:pt x="7" y="12"/>
                </a:cubicBezTo>
                <a:cubicBezTo>
                  <a:pt x="0" y="0"/>
                  <a:pt x="8" y="4"/>
                  <a:pt x="22" y="5"/>
                </a:cubicBezTo>
                <a:cubicBezTo>
                  <a:pt x="29" y="7"/>
                  <a:pt x="26" y="8"/>
                  <a:pt x="32" y="6"/>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23" name="Freeform 20">
            <a:extLst>
              <a:ext uri="{FF2B5EF4-FFF2-40B4-BE49-F238E27FC236}">
                <a16:creationId xmlns:a16="http://schemas.microsoft.com/office/drawing/2014/main" id="{77A85EA6-7200-9407-C708-B9F818B6DE53}"/>
              </a:ext>
            </a:extLst>
          </p:cNvPr>
          <p:cNvSpPr>
            <a:spLocks/>
          </p:cNvSpPr>
          <p:nvPr/>
        </p:nvSpPr>
        <p:spPr bwMode="auto">
          <a:xfrm>
            <a:off x="2901706" y="1683239"/>
            <a:ext cx="94809" cy="36735"/>
          </a:xfrm>
          <a:custGeom>
            <a:avLst/>
            <a:gdLst/>
            <a:ahLst/>
            <a:cxnLst>
              <a:cxn ang="0">
                <a:pos x="1" y="24"/>
              </a:cxn>
              <a:cxn ang="0">
                <a:pos x="7" y="6"/>
              </a:cxn>
              <a:cxn ang="0">
                <a:pos x="16" y="0"/>
              </a:cxn>
              <a:cxn ang="0">
                <a:pos x="69" y="5"/>
              </a:cxn>
              <a:cxn ang="0">
                <a:pos x="50" y="15"/>
              </a:cxn>
              <a:cxn ang="0">
                <a:pos x="31" y="18"/>
              </a:cxn>
              <a:cxn ang="0">
                <a:pos x="17" y="19"/>
              </a:cxn>
              <a:cxn ang="0">
                <a:pos x="7" y="26"/>
              </a:cxn>
              <a:cxn ang="0">
                <a:pos x="2" y="13"/>
              </a:cxn>
            </a:cxnLst>
            <a:rect l="0" t="0" r="r" b="b"/>
            <a:pathLst>
              <a:path w="69" h="27">
                <a:moveTo>
                  <a:pt x="1" y="24"/>
                </a:moveTo>
                <a:cubicBezTo>
                  <a:pt x="2" y="14"/>
                  <a:pt x="0" y="11"/>
                  <a:pt x="7" y="6"/>
                </a:cubicBezTo>
                <a:cubicBezTo>
                  <a:pt x="9" y="2"/>
                  <a:pt x="12" y="1"/>
                  <a:pt x="16" y="0"/>
                </a:cubicBezTo>
                <a:cubicBezTo>
                  <a:pt x="34" y="1"/>
                  <a:pt x="51" y="2"/>
                  <a:pt x="69" y="5"/>
                </a:cubicBezTo>
                <a:cubicBezTo>
                  <a:pt x="64" y="9"/>
                  <a:pt x="56" y="13"/>
                  <a:pt x="50" y="15"/>
                </a:cubicBezTo>
                <a:cubicBezTo>
                  <a:pt x="44" y="21"/>
                  <a:pt x="42" y="19"/>
                  <a:pt x="31" y="18"/>
                </a:cubicBezTo>
                <a:cubicBezTo>
                  <a:pt x="26" y="16"/>
                  <a:pt x="22" y="18"/>
                  <a:pt x="17" y="19"/>
                </a:cubicBezTo>
                <a:cubicBezTo>
                  <a:pt x="14" y="27"/>
                  <a:pt x="16" y="27"/>
                  <a:pt x="7" y="26"/>
                </a:cubicBezTo>
                <a:cubicBezTo>
                  <a:pt x="3" y="25"/>
                  <a:pt x="0" y="17"/>
                  <a:pt x="2" y="13"/>
                </a:cubicBezTo>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24" name="Freeform 21">
            <a:extLst>
              <a:ext uri="{FF2B5EF4-FFF2-40B4-BE49-F238E27FC236}">
                <a16:creationId xmlns:a16="http://schemas.microsoft.com/office/drawing/2014/main" id="{41227B48-E93E-AFF7-BBB4-0E1F3B0DB7A9}"/>
              </a:ext>
            </a:extLst>
          </p:cNvPr>
          <p:cNvSpPr>
            <a:spLocks/>
          </p:cNvSpPr>
          <p:nvPr/>
        </p:nvSpPr>
        <p:spPr bwMode="auto">
          <a:xfrm>
            <a:off x="2916098" y="1645210"/>
            <a:ext cx="57711" cy="22305"/>
          </a:xfrm>
          <a:custGeom>
            <a:avLst/>
            <a:gdLst/>
            <a:ahLst/>
            <a:cxnLst>
              <a:cxn ang="0">
                <a:pos x="18" y="1"/>
              </a:cxn>
              <a:cxn ang="0">
                <a:pos x="35" y="3"/>
              </a:cxn>
              <a:cxn ang="0">
                <a:pos x="29" y="16"/>
              </a:cxn>
              <a:cxn ang="0">
                <a:pos x="11" y="15"/>
              </a:cxn>
              <a:cxn ang="0">
                <a:pos x="0" y="11"/>
              </a:cxn>
              <a:cxn ang="0">
                <a:pos x="18" y="1"/>
              </a:cxn>
            </a:cxnLst>
            <a:rect l="0" t="0" r="r" b="b"/>
            <a:pathLst>
              <a:path w="42" h="16">
                <a:moveTo>
                  <a:pt x="18" y="1"/>
                </a:moveTo>
                <a:cubicBezTo>
                  <a:pt x="24" y="2"/>
                  <a:pt x="30" y="0"/>
                  <a:pt x="35" y="3"/>
                </a:cubicBezTo>
                <a:cubicBezTo>
                  <a:pt x="42" y="8"/>
                  <a:pt x="32" y="15"/>
                  <a:pt x="29" y="16"/>
                </a:cubicBezTo>
                <a:cubicBezTo>
                  <a:pt x="23" y="16"/>
                  <a:pt x="17" y="16"/>
                  <a:pt x="11" y="15"/>
                </a:cubicBezTo>
                <a:cubicBezTo>
                  <a:pt x="7" y="14"/>
                  <a:pt x="0" y="11"/>
                  <a:pt x="0" y="11"/>
                </a:cubicBezTo>
                <a:cubicBezTo>
                  <a:pt x="3" y="3"/>
                  <a:pt x="9" y="0"/>
                  <a:pt x="18" y="1"/>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25" name="Freeform 22">
            <a:extLst>
              <a:ext uri="{FF2B5EF4-FFF2-40B4-BE49-F238E27FC236}">
                <a16:creationId xmlns:a16="http://schemas.microsoft.com/office/drawing/2014/main" id="{E49EC650-2929-4580-19B2-CBDE6BA3A76F}"/>
              </a:ext>
            </a:extLst>
          </p:cNvPr>
          <p:cNvSpPr>
            <a:spLocks/>
          </p:cNvSpPr>
          <p:nvPr/>
        </p:nvSpPr>
        <p:spPr bwMode="auto">
          <a:xfrm>
            <a:off x="2944755" y="1613453"/>
            <a:ext cx="251451" cy="52479"/>
          </a:xfrm>
          <a:custGeom>
            <a:avLst/>
            <a:gdLst/>
            <a:ahLst/>
            <a:cxnLst>
              <a:cxn ang="0">
                <a:pos x="25" y="3"/>
              </a:cxn>
              <a:cxn ang="0">
                <a:pos x="90" y="10"/>
              </a:cxn>
              <a:cxn ang="0">
                <a:pos x="67" y="15"/>
              </a:cxn>
              <a:cxn ang="0">
                <a:pos x="114" y="22"/>
              </a:cxn>
              <a:cxn ang="0">
                <a:pos x="167" y="21"/>
              </a:cxn>
              <a:cxn ang="0">
                <a:pos x="183" y="26"/>
              </a:cxn>
              <a:cxn ang="0">
                <a:pos x="172" y="33"/>
              </a:cxn>
              <a:cxn ang="0">
                <a:pos x="157" y="38"/>
              </a:cxn>
              <a:cxn ang="0">
                <a:pos x="47" y="34"/>
              </a:cxn>
              <a:cxn ang="0">
                <a:pos x="67" y="26"/>
              </a:cxn>
              <a:cxn ang="0">
                <a:pos x="59" y="20"/>
              </a:cxn>
              <a:cxn ang="0">
                <a:pos x="42" y="14"/>
              </a:cxn>
              <a:cxn ang="0">
                <a:pos x="12" y="13"/>
              </a:cxn>
              <a:cxn ang="0">
                <a:pos x="0" y="9"/>
              </a:cxn>
              <a:cxn ang="0">
                <a:pos x="16" y="4"/>
              </a:cxn>
              <a:cxn ang="0">
                <a:pos x="35" y="2"/>
              </a:cxn>
              <a:cxn ang="0">
                <a:pos x="54" y="1"/>
              </a:cxn>
              <a:cxn ang="0">
                <a:pos x="58" y="2"/>
              </a:cxn>
              <a:cxn ang="0">
                <a:pos x="60" y="9"/>
              </a:cxn>
            </a:cxnLst>
            <a:rect l="0" t="0" r="r" b="b"/>
            <a:pathLst>
              <a:path w="183" h="38">
                <a:moveTo>
                  <a:pt x="25" y="3"/>
                </a:moveTo>
                <a:cubicBezTo>
                  <a:pt x="46" y="5"/>
                  <a:pt x="69" y="6"/>
                  <a:pt x="90" y="10"/>
                </a:cubicBezTo>
                <a:cubicBezTo>
                  <a:pt x="82" y="12"/>
                  <a:pt x="75" y="13"/>
                  <a:pt x="67" y="15"/>
                </a:cubicBezTo>
                <a:cubicBezTo>
                  <a:pt x="83" y="17"/>
                  <a:pt x="97" y="21"/>
                  <a:pt x="114" y="22"/>
                </a:cubicBezTo>
                <a:cubicBezTo>
                  <a:pt x="132" y="22"/>
                  <a:pt x="149" y="21"/>
                  <a:pt x="167" y="21"/>
                </a:cubicBezTo>
                <a:cubicBezTo>
                  <a:pt x="173" y="21"/>
                  <a:pt x="183" y="26"/>
                  <a:pt x="183" y="26"/>
                </a:cubicBezTo>
                <a:cubicBezTo>
                  <a:pt x="181" y="30"/>
                  <a:pt x="172" y="33"/>
                  <a:pt x="172" y="33"/>
                </a:cubicBezTo>
                <a:cubicBezTo>
                  <a:pt x="167" y="38"/>
                  <a:pt x="165" y="37"/>
                  <a:pt x="157" y="38"/>
                </a:cubicBezTo>
                <a:cubicBezTo>
                  <a:pt x="94" y="37"/>
                  <a:pt x="93" y="38"/>
                  <a:pt x="47" y="34"/>
                </a:cubicBezTo>
                <a:cubicBezTo>
                  <a:pt x="50" y="22"/>
                  <a:pt x="48" y="27"/>
                  <a:pt x="67" y="26"/>
                </a:cubicBezTo>
                <a:cubicBezTo>
                  <a:pt x="70" y="19"/>
                  <a:pt x="66" y="21"/>
                  <a:pt x="59" y="20"/>
                </a:cubicBezTo>
                <a:cubicBezTo>
                  <a:pt x="54" y="17"/>
                  <a:pt x="42" y="14"/>
                  <a:pt x="42" y="14"/>
                </a:cubicBezTo>
                <a:cubicBezTo>
                  <a:pt x="29" y="15"/>
                  <a:pt x="28" y="16"/>
                  <a:pt x="12" y="13"/>
                </a:cubicBezTo>
                <a:cubicBezTo>
                  <a:pt x="8" y="12"/>
                  <a:pt x="0" y="9"/>
                  <a:pt x="0" y="9"/>
                </a:cubicBezTo>
                <a:cubicBezTo>
                  <a:pt x="5" y="6"/>
                  <a:pt x="9" y="5"/>
                  <a:pt x="16" y="4"/>
                </a:cubicBezTo>
                <a:cubicBezTo>
                  <a:pt x="22" y="3"/>
                  <a:pt x="35" y="2"/>
                  <a:pt x="35" y="2"/>
                </a:cubicBezTo>
                <a:cubicBezTo>
                  <a:pt x="43" y="0"/>
                  <a:pt x="43" y="0"/>
                  <a:pt x="54" y="1"/>
                </a:cubicBezTo>
                <a:cubicBezTo>
                  <a:pt x="55" y="1"/>
                  <a:pt x="57" y="1"/>
                  <a:pt x="58" y="2"/>
                </a:cubicBezTo>
                <a:cubicBezTo>
                  <a:pt x="60" y="4"/>
                  <a:pt x="60" y="9"/>
                  <a:pt x="60" y="9"/>
                </a:cubicBezTo>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26" name="Freeform 23">
            <a:extLst>
              <a:ext uri="{FF2B5EF4-FFF2-40B4-BE49-F238E27FC236}">
                <a16:creationId xmlns:a16="http://schemas.microsoft.com/office/drawing/2014/main" id="{8DEEEED4-502E-EB04-ADE4-9ADC589464FF}"/>
              </a:ext>
            </a:extLst>
          </p:cNvPr>
          <p:cNvSpPr>
            <a:spLocks/>
          </p:cNvSpPr>
          <p:nvPr/>
        </p:nvSpPr>
        <p:spPr bwMode="auto">
          <a:xfrm>
            <a:off x="2959037" y="1567488"/>
            <a:ext cx="54962" cy="38048"/>
          </a:xfrm>
          <a:custGeom>
            <a:avLst/>
            <a:gdLst/>
            <a:ahLst/>
            <a:cxnLst>
              <a:cxn ang="0">
                <a:pos x="8" y="0"/>
              </a:cxn>
              <a:cxn ang="0">
                <a:pos x="30" y="7"/>
              </a:cxn>
              <a:cxn ang="0">
                <a:pos x="32" y="10"/>
              </a:cxn>
              <a:cxn ang="0">
                <a:pos x="36" y="12"/>
              </a:cxn>
              <a:cxn ang="0">
                <a:pos x="40" y="21"/>
              </a:cxn>
              <a:cxn ang="0">
                <a:pos x="1" y="18"/>
              </a:cxn>
              <a:cxn ang="0">
                <a:pos x="3" y="7"/>
              </a:cxn>
              <a:cxn ang="0">
                <a:pos x="8" y="0"/>
              </a:cxn>
            </a:cxnLst>
            <a:rect l="0" t="0" r="r" b="b"/>
            <a:pathLst>
              <a:path w="40" h="28">
                <a:moveTo>
                  <a:pt x="8" y="0"/>
                </a:moveTo>
                <a:cubicBezTo>
                  <a:pt x="15" y="2"/>
                  <a:pt x="23" y="4"/>
                  <a:pt x="30" y="7"/>
                </a:cubicBezTo>
                <a:cubicBezTo>
                  <a:pt x="31" y="8"/>
                  <a:pt x="31" y="9"/>
                  <a:pt x="32" y="10"/>
                </a:cubicBezTo>
                <a:cubicBezTo>
                  <a:pt x="33" y="11"/>
                  <a:pt x="35" y="11"/>
                  <a:pt x="36" y="12"/>
                </a:cubicBezTo>
                <a:cubicBezTo>
                  <a:pt x="38" y="15"/>
                  <a:pt x="38" y="18"/>
                  <a:pt x="40" y="21"/>
                </a:cubicBezTo>
                <a:cubicBezTo>
                  <a:pt x="29" y="28"/>
                  <a:pt x="12" y="22"/>
                  <a:pt x="1" y="18"/>
                </a:cubicBezTo>
                <a:cubicBezTo>
                  <a:pt x="1" y="14"/>
                  <a:pt x="0" y="10"/>
                  <a:pt x="3" y="7"/>
                </a:cubicBezTo>
                <a:cubicBezTo>
                  <a:pt x="9" y="1"/>
                  <a:pt x="10" y="6"/>
                  <a:pt x="8"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27" name="Freeform 24">
            <a:extLst>
              <a:ext uri="{FF2B5EF4-FFF2-40B4-BE49-F238E27FC236}">
                <a16:creationId xmlns:a16="http://schemas.microsoft.com/office/drawing/2014/main" id="{7FCC526C-FBCF-B2EB-092C-DDE5862949B6}"/>
              </a:ext>
            </a:extLst>
          </p:cNvPr>
          <p:cNvSpPr>
            <a:spLocks/>
          </p:cNvSpPr>
          <p:nvPr/>
        </p:nvSpPr>
        <p:spPr bwMode="auto">
          <a:xfrm>
            <a:off x="3036938" y="1520821"/>
            <a:ext cx="163512" cy="77407"/>
          </a:xfrm>
          <a:custGeom>
            <a:avLst/>
            <a:gdLst/>
            <a:ahLst/>
            <a:cxnLst>
              <a:cxn ang="0">
                <a:pos x="6" y="22"/>
              </a:cxn>
              <a:cxn ang="0">
                <a:pos x="46" y="3"/>
              </a:cxn>
              <a:cxn ang="0">
                <a:pos x="58" y="1"/>
              </a:cxn>
              <a:cxn ang="0">
                <a:pos x="74" y="7"/>
              </a:cxn>
              <a:cxn ang="0">
                <a:pos x="84" y="13"/>
              </a:cxn>
              <a:cxn ang="0">
                <a:pos x="116" y="29"/>
              </a:cxn>
              <a:cxn ang="0">
                <a:pos x="81" y="35"/>
              </a:cxn>
              <a:cxn ang="0">
                <a:pos x="66" y="42"/>
              </a:cxn>
              <a:cxn ang="0">
                <a:pos x="14" y="34"/>
              </a:cxn>
              <a:cxn ang="0">
                <a:pos x="0" y="25"/>
              </a:cxn>
              <a:cxn ang="0">
                <a:pos x="14" y="12"/>
              </a:cxn>
              <a:cxn ang="0">
                <a:pos x="6" y="22"/>
              </a:cxn>
            </a:cxnLst>
            <a:rect l="0" t="0" r="r" b="b"/>
            <a:pathLst>
              <a:path w="119" h="56">
                <a:moveTo>
                  <a:pt x="6" y="22"/>
                </a:moveTo>
                <a:cubicBezTo>
                  <a:pt x="16" y="12"/>
                  <a:pt x="32" y="4"/>
                  <a:pt x="46" y="3"/>
                </a:cubicBezTo>
                <a:cubicBezTo>
                  <a:pt x="51" y="0"/>
                  <a:pt x="52" y="0"/>
                  <a:pt x="58" y="1"/>
                </a:cubicBezTo>
                <a:cubicBezTo>
                  <a:pt x="64" y="4"/>
                  <a:pt x="68" y="6"/>
                  <a:pt x="74" y="7"/>
                </a:cubicBezTo>
                <a:cubicBezTo>
                  <a:pt x="77" y="10"/>
                  <a:pt x="80" y="12"/>
                  <a:pt x="84" y="13"/>
                </a:cubicBezTo>
                <a:cubicBezTo>
                  <a:pt x="91" y="20"/>
                  <a:pt x="107" y="25"/>
                  <a:pt x="116" y="29"/>
                </a:cubicBezTo>
                <a:cubicBezTo>
                  <a:pt x="119" y="42"/>
                  <a:pt x="83" y="35"/>
                  <a:pt x="81" y="35"/>
                </a:cubicBezTo>
                <a:cubicBezTo>
                  <a:pt x="76" y="36"/>
                  <a:pt x="70" y="39"/>
                  <a:pt x="66" y="42"/>
                </a:cubicBezTo>
                <a:cubicBezTo>
                  <a:pt x="56" y="56"/>
                  <a:pt x="25" y="47"/>
                  <a:pt x="14" y="34"/>
                </a:cubicBezTo>
                <a:cubicBezTo>
                  <a:pt x="10" y="30"/>
                  <a:pt x="0" y="25"/>
                  <a:pt x="0" y="25"/>
                </a:cubicBezTo>
                <a:cubicBezTo>
                  <a:pt x="2" y="17"/>
                  <a:pt x="5" y="12"/>
                  <a:pt x="14" y="12"/>
                </a:cubicBezTo>
                <a:lnTo>
                  <a:pt x="6" y="22"/>
                </a:ln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28" name="Freeform 25">
            <a:extLst>
              <a:ext uri="{FF2B5EF4-FFF2-40B4-BE49-F238E27FC236}">
                <a16:creationId xmlns:a16="http://schemas.microsoft.com/office/drawing/2014/main" id="{01A03304-8EE5-F09D-B8B1-175788973A30}"/>
              </a:ext>
            </a:extLst>
          </p:cNvPr>
          <p:cNvSpPr>
            <a:spLocks/>
          </p:cNvSpPr>
          <p:nvPr/>
        </p:nvSpPr>
        <p:spPr bwMode="auto">
          <a:xfrm>
            <a:off x="3120288" y="1483882"/>
            <a:ext cx="482292" cy="133823"/>
          </a:xfrm>
          <a:custGeom>
            <a:avLst/>
            <a:gdLst/>
            <a:ahLst/>
            <a:cxnLst>
              <a:cxn ang="0">
                <a:pos x="351" y="13"/>
              </a:cxn>
              <a:cxn ang="0">
                <a:pos x="321" y="21"/>
              </a:cxn>
              <a:cxn ang="0">
                <a:pos x="276" y="32"/>
              </a:cxn>
              <a:cxn ang="0">
                <a:pos x="257" y="39"/>
              </a:cxn>
              <a:cxn ang="0">
                <a:pos x="227" y="44"/>
              </a:cxn>
              <a:cxn ang="0">
                <a:pos x="206" y="51"/>
              </a:cxn>
              <a:cxn ang="0">
                <a:pos x="186" y="57"/>
              </a:cxn>
              <a:cxn ang="0">
                <a:pos x="161" y="66"/>
              </a:cxn>
              <a:cxn ang="0">
                <a:pos x="152" y="69"/>
              </a:cxn>
              <a:cxn ang="0">
                <a:pos x="134" y="75"/>
              </a:cxn>
              <a:cxn ang="0">
                <a:pos x="120" y="80"/>
              </a:cxn>
              <a:cxn ang="0">
                <a:pos x="111" y="87"/>
              </a:cxn>
              <a:cxn ang="0">
                <a:pos x="96" y="97"/>
              </a:cxn>
              <a:cxn ang="0">
                <a:pos x="35" y="96"/>
              </a:cxn>
              <a:cxn ang="0">
                <a:pos x="4" y="95"/>
              </a:cxn>
              <a:cxn ang="0">
                <a:pos x="14" y="89"/>
              </a:cxn>
              <a:cxn ang="0">
                <a:pos x="26" y="84"/>
              </a:cxn>
              <a:cxn ang="0">
                <a:pos x="106" y="63"/>
              </a:cxn>
              <a:cxn ang="0">
                <a:pos x="98" y="50"/>
              </a:cxn>
              <a:cxn ang="0">
                <a:pos x="64" y="45"/>
              </a:cxn>
              <a:cxn ang="0">
                <a:pos x="100" y="42"/>
              </a:cxn>
              <a:cxn ang="0">
                <a:pos x="116" y="49"/>
              </a:cxn>
              <a:cxn ang="0">
                <a:pos x="122" y="53"/>
              </a:cxn>
              <a:cxn ang="0">
                <a:pos x="137" y="51"/>
              </a:cxn>
              <a:cxn ang="0">
                <a:pos x="132" y="47"/>
              </a:cxn>
              <a:cxn ang="0">
                <a:pos x="120" y="42"/>
              </a:cxn>
              <a:cxn ang="0">
                <a:pos x="78" y="36"/>
              </a:cxn>
              <a:cxn ang="0">
                <a:pos x="52" y="29"/>
              </a:cxn>
              <a:cxn ang="0">
                <a:pos x="45" y="21"/>
              </a:cxn>
              <a:cxn ang="0">
                <a:pos x="116" y="12"/>
              </a:cxn>
              <a:cxn ang="0">
                <a:pos x="170" y="6"/>
              </a:cxn>
              <a:cxn ang="0">
                <a:pos x="248" y="1"/>
              </a:cxn>
              <a:cxn ang="0">
                <a:pos x="344" y="6"/>
              </a:cxn>
              <a:cxn ang="0">
                <a:pos x="351" y="13"/>
              </a:cxn>
            </a:cxnLst>
            <a:rect l="0" t="0" r="r" b="b"/>
            <a:pathLst>
              <a:path w="351" h="97">
                <a:moveTo>
                  <a:pt x="351" y="13"/>
                </a:moveTo>
                <a:cubicBezTo>
                  <a:pt x="346" y="11"/>
                  <a:pt x="328" y="20"/>
                  <a:pt x="321" y="21"/>
                </a:cubicBezTo>
                <a:cubicBezTo>
                  <a:pt x="307" y="28"/>
                  <a:pt x="292" y="30"/>
                  <a:pt x="276" y="32"/>
                </a:cubicBezTo>
                <a:cubicBezTo>
                  <a:pt x="270" y="34"/>
                  <a:pt x="264" y="37"/>
                  <a:pt x="257" y="39"/>
                </a:cubicBezTo>
                <a:cubicBezTo>
                  <a:pt x="249" y="44"/>
                  <a:pt x="236" y="43"/>
                  <a:pt x="227" y="44"/>
                </a:cubicBezTo>
                <a:cubicBezTo>
                  <a:pt x="220" y="46"/>
                  <a:pt x="214" y="49"/>
                  <a:pt x="206" y="51"/>
                </a:cubicBezTo>
                <a:cubicBezTo>
                  <a:pt x="200" y="55"/>
                  <a:pt x="193" y="56"/>
                  <a:pt x="186" y="57"/>
                </a:cubicBezTo>
                <a:cubicBezTo>
                  <a:pt x="178" y="62"/>
                  <a:pt x="170" y="65"/>
                  <a:pt x="161" y="66"/>
                </a:cubicBezTo>
                <a:cubicBezTo>
                  <a:pt x="158" y="67"/>
                  <a:pt x="152" y="69"/>
                  <a:pt x="152" y="69"/>
                </a:cubicBezTo>
                <a:cubicBezTo>
                  <a:pt x="146" y="74"/>
                  <a:pt x="142" y="74"/>
                  <a:pt x="134" y="75"/>
                </a:cubicBezTo>
                <a:cubicBezTo>
                  <a:pt x="130" y="78"/>
                  <a:pt x="120" y="80"/>
                  <a:pt x="120" y="80"/>
                </a:cubicBezTo>
                <a:cubicBezTo>
                  <a:pt x="118" y="84"/>
                  <a:pt x="115" y="85"/>
                  <a:pt x="111" y="87"/>
                </a:cubicBezTo>
                <a:cubicBezTo>
                  <a:pt x="109" y="93"/>
                  <a:pt x="103" y="96"/>
                  <a:pt x="96" y="97"/>
                </a:cubicBezTo>
                <a:cubicBezTo>
                  <a:pt x="72" y="95"/>
                  <a:pt x="63" y="95"/>
                  <a:pt x="35" y="96"/>
                </a:cubicBezTo>
                <a:cubicBezTo>
                  <a:pt x="25" y="96"/>
                  <a:pt x="14" y="96"/>
                  <a:pt x="4" y="95"/>
                </a:cubicBezTo>
                <a:cubicBezTo>
                  <a:pt x="0" y="94"/>
                  <a:pt x="14" y="89"/>
                  <a:pt x="14" y="89"/>
                </a:cubicBezTo>
                <a:cubicBezTo>
                  <a:pt x="18" y="85"/>
                  <a:pt x="21" y="85"/>
                  <a:pt x="26" y="84"/>
                </a:cubicBezTo>
                <a:cubicBezTo>
                  <a:pt x="40" y="63"/>
                  <a:pt x="85" y="65"/>
                  <a:pt x="106" y="63"/>
                </a:cubicBezTo>
                <a:cubicBezTo>
                  <a:pt x="115" y="61"/>
                  <a:pt x="102" y="52"/>
                  <a:pt x="98" y="50"/>
                </a:cubicBezTo>
                <a:cubicBezTo>
                  <a:pt x="89" y="45"/>
                  <a:pt x="70" y="46"/>
                  <a:pt x="64" y="45"/>
                </a:cubicBezTo>
                <a:cubicBezTo>
                  <a:pt x="76" y="38"/>
                  <a:pt x="83" y="41"/>
                  <a:pt x="100" y="42"/>
                </a:cubicBezTo>
                <a:cubicBezTo>
                  <a:pt x="105" y="43"/>
                  <a:pt x="112" y="46"/>
                  <a:pt x="116" y="49"/>
                </a:cubicBezTo>
                <a:cubicBezTo>
                  <a:pt x="118" y="50"/>
                  <a:pt x="122" y="53"/>
                  <a:pt x="122" y="53"/>
                </a:cubicBezTo>
                <a:cubicBezTo>
                  <a:pt x="127" y="52"/>
                  <a:pt x="132" y="53"/>
                  <a:pt x="137" y="51"/>
                </a:cubicBezTo>
                <a:cubicBezTo>
                  <a:pt x="139" y="50"/>
                  <a:pt x="134" y="48"/>
                  <a:pt x="132" y="47"/>
                </a:cubicBezTo>
                <a:cubicBezTo>
                  <a:pt x="128" y="45"/>
                  <a:pt x="120" y="42"/>
                  <a:pt x="120" y="42"/>
                </a:cubicBezTo>
                <a:cubicBezTo>
                  <a:pt x="114" y="33"/>
                  <a:pt x="80" y="36"/>
                  <a:pt x="78" y="36"/>
                </a:cubicBezTo>
                <a:cubicBezTo>
                  <a:pt x="69" y="34"/>
                  <a:pt x="61" y="31"/>
                  <a:pt x="52" y="29"/>
                </a:cubicBezTo>
                <a:cubicBezTo>
                  <a:pt x="48" y="27"/>
                  <a:pt x="47" y="26"/>
                  <a:pt x="45" y="21"/>
                </a:cubicBezTo>
                <a:cubicBezTo>
                  <a:pt x="69" y="19"/>
                  <a:pt x="91" y="13"/>
                  <a:pt x="116" y="12"/>
                </a:cubicBezTo>
                <a:cubicBezTo>
                  <a:pt x="131" y="7"/>
                  <a:pt x="154" y="7"/>
                  <a:pt x="170" y="6"/>
                </a:cubicBezTo>
                <a:cubicBezTo>
                  <a:pt x="195" y="0"/>
                  <a:pt x="223" y="2"/>
                  <a:pt x="248" y="1"/>
                </a:cubicBezTo>
                <a:cubicBezTo>
                  <a:pt x="284" y="2"/>
                  <a:pt x="311" y="2"/>
                  <a:pt x="344" y="6"/>
                </a:cubicBezTo>
                <a:cubicBezTo>
                  <a:pt x="347" y="10"/>
                  <a:pt x="346" y="12"/>
                  <a:pt x="351" y="13"/>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29" name="Freeform 26">
            <a:extLst>
              <a:ext uri="{FF2B5EF4-FFF2-40B4-BE49-F238E27FC236}">
                <a16:creationId xmlns:a16="http://schemas.microsoft.com/office/drawing/2014/main" id="{0D1F7E10-88A4-7FA5-2F7A-839659C43B94}"/>
              </a:ext>
            </a:extLst>
          </p:cNvPr>
          <p:cNvSpPr>
            <a:spLocks/>
          </p:cNvSpPr>
          <p:nvPr/>
        </p:nvSpPr>
        <p:spPr bwMode="auto">
          <a:xfrm>
            <a:off x="3165056" y="1819696"/>
            <a:ext cx="53587" cy="20992"/>
          </a:xfrm>
          <a:custGeom>
            <a:avLst/>
            <a:gdLst/>
            <a:ahLst/>
            <a:cxnLst>
              <a:cxn ang="0">
                <a:pos x="8" y="6"/>
              </a:cxn>
              <a:cxn ang="0">
                <a:pos x="12" y="15"/>
              </a:cxn>
              <a:cxn ang="0">
                <a:pos x="27" y="12"/>
              </a:cxn>
              <a:cxn ang="0">
                <a:pos x="34" y="9"/>
              </a:cxn>
              <a:cxn ang="0">
                <a:pos x="10" y="1"/>
              </a:cxn>
              <a:cxn ang="0">
                <a:pos x="8" y="6"/>
              </a:cxn>
            </a:cxnLst>
            <a:rect l="0" t="0" r="r" b="b"/>
            <a:pathLst>
              <a:path w="39" h="15">
                <a:moveTo>
                  <a:pt x="8" y="6"/>
                </a:moveTo>
                <a:cubicBezTo>
                  <a:pt x="0" y="11"/>
                  <a:pt x="6" y="13"/>
                  <a:pt x="12" y="15"/>
                </a:cubicBezTo>
                <a:cubicBezTo>
                  <a:pt x="17" y="14"/>
                  <a:pt x="22" y="13"/>
                  <a:pt x="27" y="12"/>
                </a:cubicBezTo>
                <a:cubicBezTo>
                  <a:pt x="29" y="11"/>
                  <a:pt x="33" y="11"/>
                  <a:pt x="34" y="9"/>
                </a:cubicBezTo>
                <a:cubicBezTo>
                  <a:pt x="39" y="0"/>
                  <a:pt x="11" y="1"/>
                  <a:pt x="10" y="1"/>
                </a:cubicBezTo>
                <a:cubicBezTo>
                  <a:pt x="5" y="2"/>
                  <a:pt x="5" y="1"/>
                  <a:pt x="8" y="6"/>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30" name="Freeform 27">
            <a:extLst>
              <a:ext uri="{FF2B5EF4-FFF2-40B4-BE49-F238E27FC236}">
                <a16:creationId xmlns:a16="http://schemas.microsoft.com/office/drawing/2014/main" id="{D31A1D6C-2184-3168-1007-CCCDD2A01EB1}"/>
              </a:ext>
            </a:extLst>
          </p:cNvPr>
          <p:cNvSpPr>
            <a:spLocks/>
          </p:cNvSpPr>
          <p:nvPr/>
        </p:nvSpPr>
        <p:spPr bwMode="auto">
          <a:xfrm>
            <a:off x="3180878" y="1683310"/>
            <a:ext cx="93435" cy="22305"/>
          </a:xfrm>
          <a:custGeom>
            <a:avLst/>
            <a:gdLst/>
            <a:ahLst/>
            <a:cxnLst>
              <a:cxn ang="0">
                <a:pos x="5" y="5"/>
              </a:cxn>
              <a:cxn ang="0">
                <a:pos x="43" y="16"/>
              </a:cxn>
              <a:cxn ang="0">
                <a:pos x="4" y="12"/>
              </a:cxn>
              <a:cxn ang="0">
                <a:pos x="5" y="5"/>
              </a:cxn>
            </a:cxnLst>
            <a:rect l="0" t="0" r="r" b="b"/>
            <a:pathLst>
              <a:path w="68" h="16">
                <a:moveTo>
                  <a:pt x="5" y="5"/>
                </a:moveTo>
                <a:cubicBezTo>
                  <a:pt x="6" y="5"/>
                  <a:pt x="68" y="0"/>
                  <a:pt x="43" y="16"/>
                </a:cubicBezTo>
                <a:cubicBezTo>
                  <a:pt x="30" y="15"/>
                  <a:pt x="17" y="14"/>
                  <a:pt x="4" y="12"/>
                </a:cubicBezTo>
                <a:cubicBezTo>
                  <a:pt x="0" y="7"/>
                  <a:pt x="0" y="9"/>
                  <a:pt x="5" y="5"/>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31" name="Freeform 28">
            <a:extLst>
              <a:ext uri="{FF2B5EF4-FFF2-40B4-BE49-F238E27FC236}">
                <a16:creationId xmlns:a16="http://schemas.microsoft.com/office/drawing/2014/main" id="{5F4F80A9-EC3A-542F-877F-7E9806968526}"/>
              </a:ext>
            </a:extLst>
          </p:cNvPr>
          <p:cNvSpPr>
            <a:spLocks/>
          </p:cNvSpPr>
          <p:nvPr/>
        </p:nvSpPr>
        <p:spPr bwMode="auto">
          <a:xfrm>
            <a:off x="1869677" y="2147752"/>
            <a:ext cx="35725" cy="45920"/>
          </a:xfrm>
          <a:custGeom>
            <a:avLst/>
            <a:gdLst/>
            <a:ahLst/>
            <a:cxnLst>
              <a:cxn ang="0">
                <a:pos x="0" y="4"/>
              </a:cxn>
              <a:cxn ang="0">
                <a:pos x="7" y="11"/>
              </a:cxn>
              <a:cxn ang="0">
                <a:pos x="13" y="22"/>
              </a:cxn>
              <a:cxn ang="0">
                <a:pos x="16" y="33"/>
              </a:cxn>
              <a:cxn ang="0">
                <a:pos x="19" y="0"/>
              </a:cxn>
              <a:cxn ang="0">
                <a:pos x="0" y="4"/>
              </a:cxn>
            </a:cxnLst>
            <a:rect l="0" t="0" r="r" b="b"/>
            <a:pathLst>
              <a:path w="26" h="33">
                <a:moveTo>
                  <a:pt x="0" y="4"/>
                </a:moveTo>
                <a:cubicBezTo>
                  <a:pt x="4" y="5"/>
                  <a:pt x="4" y="8"/>
                  <a:pt x="7" y="11"/>
                </a:cubicBezTo>
                <a:cubicBezTo>
                  <a:pt x="8" y="16"/>
                  <a:pt x="9" y="19"/>
                  <a:pt x="13" y="22"/>
                </a:cubicBezTo>
                <a:cubicBezTo>
                  <a:pt x="14" y="26"/>
                  <a:pt x="16" y="33"/>
                  <a:pt x="16" y="33"/>
                </a:cubicBezTo>
                <a:cubicBezTo>
                  <a:pt x="26" y="30"/>
                  <a:pt x="19" y="11"/>
                  <a:pt x="19" y="0"/>
                </a:cubicBezTo>
                <a:cubicBezTo>
                  <a:pt x="13" y="2"/>
                  <a:pt x="7" y="4"/>
                  <a:pt x="0" y="4"/>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32" name="Freeform 29">
            <a:extLst>
              <a:ext uri="{FF2B5EF4-FFF2-40B4-BE49-F238E27FC236}">
                <a16:creationId xmlns:a16="http://schemas.microsoft.com/office/drawing/2014/main" id="{FF73A431-9426-38F7-EA30-8D40F6102E88}"/>
              </a:ext>
            </a:extLst>
          </p:cNvPr>
          <p:cNvSpPr>
            <a:spLocks/>
          </p:cNvSpPr>
          <p:nvPr/>
        </p:nvSpPr>
        <p:spPr bwMode="auto">
          <a:xfrm>
            <a:off x="1941601" y="2221813"/>
            <a:ext cx="39847" cy="40672"/>
          </a:xfrm>
          <a:custGeom>
            <a:avLst/>
            <a:gdLst/>
            <a:ahLst/>
            <a:cxnLst>
              <a:cxn ang="0">
                <a:pos x="1" y="3"/>
              </a:cxn>
              <a:cxn ang="0">
                <a:pos x="17" y="6"/>
              </a:cxn>
              <a:cxn ang="0">
                <a:pos x="27" y="17"/>
              </a:cxn>
              <a:cxn ang="0">
                <a:pos x="29" y="20"/>
              </a:cxn>
              <a:cxn ang="0">
                <a:pos x="23" y="29"/>
              </a:cxn>
              <a:cxn ang="0">
                <a:pos x="5" y="17"/>
              </a:cxn>
              <a:cxn ang="0">
                <a:pos x="0" y="8"/>
              </a:cxn>
              <a:cxn ang="0">
                <a:pos x="1" y="3"/>
              </a:cxn>
            </a:cxnLst>
            <a:rect l="0" t="0" r="r" b="b"/>
            <a:pathLst>
              <a:path w="29" h="29">
                <a:moveTo>
                  <a:pt x="1" y="3"/>
                </a:moveTo>
                <a:cubicBezTo>
                  <a:pt x="7" y="1"/>
                  <a:pt x="11" y="4"/>
                  <a:pt x="17" y="6"/>
                </a:cubicBezTo>
                <a:cubicBezTo>
                  <a:pt x="22" y="9"/>
                  <a:pt x="24" y="12"/>
                  <a:pt x="27" y="17"/>
                </a:cubicBezTo>
                <a:cubicBezTo>
                  <a:pt x="28" y="18"/>
                  <a:pt x="29" y="20"/>
                  <a:pt x="29" y="20"/>
                </a:cubicBezTo>
                <a:cubicBezTo>
                  <a:pt x="27" y="24"/>
                  <a:pt x="27" y="26"/>
                  <a:pt x="23" y="29"/>
                </a:cubicBezTo>
                <a:cubicBezTo>
                  <a:pt x="15" y="26"/>
                  <a:pt x="13" y="20"/>
                  <a:pt x="5" y="17"/>
                </a:cubicBezTo>
                <a:cubicBezTo>
                  <a:pt x="0" y="10"/>
                  <a:pt x="2" y="13"/>
                  <a:pt x="0" y="8"/>
                </a:cubicBezTo>
                <a:cubicBezTo>
                  <a:pt x="2" y="1"/>
                  <a:pt x="6" y="0"/>
                  <a:pt x="1" y="3"/>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33" name="Freeform 30">
            <a:extLst>
              <a:ext uri="{FF2B5EF4-FFF2-40B4-BE49-F238E27FC236}">
                <a16:creationId xmlns:a16="http://schemas.microsoft.com/office/drawing/2014/main" id="{8CD6D2E8-A41E-0680-5E49-171C8D1F0445}"/>
              </a:ext>
            </a:extLst>
          </p:cNvPr>
          <p:cNvSpPr>
            <a:spLocks/>
          </p:cNvSpPr>
          <p:nvPr/>
        </p:nvSpPr>
        <p:spPr bwMode="auto">
          <a:xfrm>
            <a:off x="1472019" y="2042014"/>
            <a:ext cx="64581" cy="36735"/>
          </a:xfrm>
          <a:custGeom>
            <a:avLst/>
            <a:gdLst/>
            <a:ahLst/>
            <a:cxnLst>
              <a:cxn ang="0">
                <a:pos x="41" y="3"/>
              </a:cxn>
              <a:cxn ang="0">
                <a:pos x="4" y="18"/>
              </a:cxn>
              <a:cxn ang="0">
                <a:pos x="5" y="27"/>
              </a:cxn>
              <a:cxn ang="0">
                <a:pos x="25" y="24"/>
              </a:cxn>
              <a:cxn ang="0">
                <a:pos x="38" y="17"/>
              </a:cxn>
              <a:cxn ang="0">
                <a:pos x="47" y="5"/>
              </a:cxn>
              <a:cxn ang="0">
                <a:pos x="41" y="3"/>
              </a:cxn>
            </a:cxnLst>
            <a:rect l="0" t="0" r="r" b="b"/>
            <a:pathLst>
              <a:path w="47" h="27">
                <a:moveTo>
                  <a:pt x="41" y="3"/>
                </a:moveTo>
                <a:cubicBezTo>
                  <a:pt x="34" y="14"/>
                  <a:pt x="16" y="15"/>
                  <a:pt x="4" y="18"/>
                </a:cubicBezTo>
                <a:cubicBezTo>
                  <a:pt x="0" y="21"/>
                  <a:pt x="0" y="25"/>
                  <a:pt x="5" y="27"/>
                </a:cubicBezTo>
                <a:cubicBezTo>
                  <a:pt x="12" y="26"/>
                  <a:pt x="25" y="24"/>
                  <a:pt x="25" y="24"/>
                </a:cubicBezTo>
                <a:cubicBezTo>
                  <a:pt x="28" y="20"/>
                  <a:pt x="33" y="18"/>
                  <a:pt x="38" y="17"/>
                </a:cubicBezTo>
                <a:cubicBezTo>
                  <a:pt x="40" y="12"/>
                  <a:pt x="47" y="5"/>
                  <a:pt x="47" y="5"/>
                </a:cubicBezTo>
                <a:cubicBezTo>
                  <a:pt x="45" y="0"/>
                  <a:pt x="47" y="2"/>
                  <a:pt x="41" y="3"/>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34" name="Freeform 31">
            <a:extLst>
              <a:ext uri="{FF2B5EF4-FFF2-40B4-BE49-F238E27FC236}">
                <a16:creationId xmlns:a16="http://schemas.microsoft.com/office/drawing/2014/main" id="{C9D61D07-B94D-2A63-86B1-DE15C24CDCB2}"/>
              </a:ext>
            </a:extLst>
          </p:cNvPr>
          <p:cNvSpPr>
            <a:spLocks/>
          </p:cNvSpPr>
          <p:nvPr/>
        </p:nvSpPr>
        <p:spPr bwMode="auto">
          <a:xfrm>
            <a:off x="1123855" y="1806912"/>
            <a:ext cx="200612" cy="95775"/>
          </a:xfrm>
          <a:custGeom>
            <a:avLst/>
            <a:gdLst/>
            <a:ahLst/>
            <a:cxnLst>
              <a:cxn ang="0">
                <a:pos x="72" y="0"/>
              </a:cxn>
              <a:cxn ang="0">
                <a:pos x="6" y="52"/>
              </a:cxn>
              <a:cxn ang="0">
                <a:pos x="22" y="52"/>
              </a:cxn>
              <a:cxn ang="0">
                <a:pos x="30" y="45"/>
              </a:cxn>
              <a:cxn ang="0">
                <a:pos x="36" y="43"/>
              </a:cxn>
              <a:cxn ang="0">
                <a:pos x="41" y="51"/>
              </a:cxn>
              <a:cxn ang="0">
                <a:pos x="55" y="50"/>
              </a:cxn>
              <a:cxn ang="0">
                <a:pos x="64" y="58"/>
              </a:cxn>
              <a:cxn ang="0">
                <a:pos x="91" y="67"/>
              </a:cxn>
              <a:cxn ang="0">
                <a:pos x="102" y="54"/>
              </a:cxn>
              <a:cxn ang="0">
                <a:pos x="131" y="49"/>
              </a:cxn>
              <a:cxn ang="0">
                <a:pos x="143" y="44"/>
              </a:cxn>
              <a:cxn ang="0">
                <a:pos x="126" y="30"/>
              </a:cxn>
              <a:cxn ang="0">
                <a:pos x="102" y="39"/>
              </a:cxn>
              <a:cxn ang="0">
                <a:pos x="99" y="25"/>
              </a:cxn>
              <a:cxn ang="0">
                <a:pos x="61" y="6"/>
              </a:cxn>
              <a:cxn ang="0">
                <a:pos x="72" y="0"/>
              </a:cxn>
            </a:cxnLst>
            <a:rect l="0" t="0" r="r" b="b"/>
            <a:pathLst>
              <a:path w="146" h="69">
                <a:moveTo>
                  <a:pt x="72" y="0"/>
                </a:moveTo>
                <a:cubicBezTo>
                  <a:pt x="63" y="8"/>
                  <a:pt x="14" y="43"/>
                  <a:pt x="6" y="52"/>
                </a:cubicBezTo>
                <a:cubicBezTo>
                  <a:pt x="0" y="60"/>
                  <a:pt x="18" y="54"/>
                  <a:pt x="22" y="52"/>
                </a:cubicBezTo>
                <a:cubicBezTo>
                  <a:pt x="24" y="50"/>
                  <a:pt x="28" y="46"/>
                  <a:pt x="30" y="45"/>
                </a:cubicBezTo>
                <a:cubicBezTo>
                  <a:pt x="32" y="44"/>
                  <a:pt x="36" y="43"/>
                  <a:pt x="36" y="43"/>
                </a:cubicBezTo>
                <a:cubicBezTo>
                  <a:pt x="39" y="52"/>
                  <a:pt x="29" y="52"/>
                  <a:pt x="41" y="51"/>
                </a:cubicBezTo>
                <a:cubicBezTo>
                  <a:pt x="46" y="51"/>
                  <a:pt x="50" y="50"/>
                  <a:pt x="55" y="50"/>
                </a:cubicBezTo>
                <a:cubicBezTo>
                  <a:pt x="60" y="51"/>
                  <a:pt x="61" y="54"/>
                  <a:pt x="64" y="58"/>
                </a:cubicBezTo>
                <a:cubicBezTo>
                  <a:pt x="66" y="64"/>
                  <a:pt x="85" y="66"/>
                  <a:pt x="91" y="67"/>
                </a:cubicBezTo>
                <a:cubicBezTo>
                  <a:pt x="97" y="69"/>
                  <a:pt x="97" y="57"/>
                  <a:pt x="102" y="54"/>
                </a:cubicBezTo>
                <a:cubicBezTo>
                  <a:pt x="107" y="47"/>
                  <a:pt x="124" y="53"/>
                  <a:pt x="131" y="49"/>
                </a:cubicBezTo>
                <a:cubicBezTo>
                  <a:pt x="135" y="47"/>
                  <a:pt x="143" y="44"/>
                  <a:pt x="143" y="44"/>
                </a:cubicBezTo>
                <a:cubicBezTo>
                  <a:pt x="146" y="31"/>
                  <a:pt x="136" y="31"/>
                  <a:pt x="126" y="30"/>
                </a:cubicBezTo>
                <a:cubicBezTo>
                  <a:pt x="116" y="31"/>
                  <a:pt x="111" y="37"/>
                  <a:pt x="102" y="39"/>
                </a:cubicBezTo>
                <a:cubicBezTo>
                  <a:pt x="94" y="36"/>
                  <a:pt x="95" y="32"/>
                  <a:pt x="99" y="25"/>
                </a:cubicBezTo>
                <a:cubicBezTo>
                  <a:pt x="92" y="5"/>
                  <a:pt x="82" y="6"/>
                  <a:pt x="61" y="6"/>
                </a:cubicBezTo>
                <a:lnTo>
                  <a:pt x="72" y="0"/>
                </a:ln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35" name="Freeform 32">
            <a:extLst>
              <a:ext uri="{FF2B5EF4-FFF2-40B4-BE49-F238E27FC236}">
                <a16:creationId xmlns:a16="http://schemas.microsoft.com/office/drawing/2014/main" id="{63C4361C-997C-1865-2539-3701C5D80F16}"/>
              </a:ext>
            </a:extLst>
          </p:cNvPr>
          <p:cNvSpPr>
            <a:spLocks/>
          </p:cNvSpPr>
          <p:nvPr/>
        </p:nvSpPr>
        <p:spPr bwMode="auto">
          <a:xfrm>
            <a:off x="3486481" y="1504448"/>
            <a:ext cx="882141" cy="465755"/>
          </a:xfrm>
          <a:custGeom>
            <a:avLst/>
            <a:gdLst/>
            <a:ahLst/>
            <a:cxnLst>
              <a:cxn ang="0">
                <a:pos x="237" y="326"/>
              </a:cxn>
              <a:cxn ang="0">
                <a:pos x="275" y="276"/>
              </a:cxn>
              <a:cxn ang="0">
                <a:pos x="350" y="250"/>
              </a:cxn>
              <a:cxn ang="0">
                <a:pos x="410" y="219"/>
              </a:cxn>
              <a:cxn ang="0">
                <a:pos x="497" y="198"/>
              </a:cxn>
              <a:cxn ang="0">
                <a:pos x="453" y="177"/>
              </a:cxn>
              <a:cxn ang="0">
                <a:pos x="483" y="174"/>
              </a:cxn>
              <a:cxn ang="0">
                <a:pos x="506" y="176"/>
              </a:cxn>
              <a:cxn ang="0">
                <a:pos x="515" y="153"/>
              </a:cxn>
              <a:cxn ang="0">
                <a:pos x="539" y="136"/>
              </a:cxn>
              <a:cxn ang="0">
                <a:pos x="554" y="117"/>
              </a:cxn>
              <a:cxn ang="0">
                <a:pos x="564" y="93"/>
              </a:cxn>
              <a:cxn ang="0">
                <a:pos x="569" y="64"/>
              </a:cxn>
              <a:cxn ang="0">
                <a:pos x="623" y="40"/>
              </a:cxn>
              <a:cxn ang="0">
                <a:pos x="642" y="32"/>
              </a:cxn>
              <a:cxn ang="0">
                <a:pos x="560" y="36"/>
              </a:cxn>
              <a:cxn ang="0">
                <a:pos x="547" y="20"/>
              </a:cxn>
              <a:cxn ang="0">
                <a:pos x="441" y="0"/>
              </a:cxn>
              <a:cxn ang="0">
                <a:pos x="299" y="12"/>
              </a:cxn>
              <a:cxn ang="0">
                <a:pos x="260" y="21"/>
              </a:cxn>
              <a:cxn ang="0">
                <a:pos x="231" y="24"/>
              </a:cxn>
              <a:cxn ang="0">
                <a:pos x="75" y="47"/>
              </a:cxn>
              <a:cxn ang="0">
                <a:pos x="89" y="58"/>
              </a:cxn>
              <a:cxn ang="0">
                <a:pos x="25" y="72"/>
              </a:cxn>
              <a:cxn ang="0">
                <a:pos x="31" y="90"/>
              </a:cxn>
              <a:cxn ang="0">
                <a:pos x="5" y="99"/>
              </a:cxn>
              <a:cxn ang="0">
                <a:pos x="37" y="110"/>
              </a:cxn>
              <a:cxn ang="0">
                <a:pos x="75" y="114"/>
              </a:cxn>
              <a:cxn ang="0">
                <a:pos x="131" y="117"/>
              </a:cxn>
              <a:cxn ang="0">
                <a:pos x="134" y="141"/>
              </a:cxn>
              <a:cxn ang="0">
                <a:pos x="138" y="162"/>
              </a:cxn>
              <a:cxn ang="0">
                <a:pos x="161" y="176"/>
              </a:cxn>
              <a:cxn ang="0">
                <a:pos x="169" y="186"/>
              </a:cxn>
              <a:cxn ang="0">
                <a:pos x="137" y="202"/>
              </a:cxn>
              <a:cxn ang="0">
                <a:pos x="165" y="214"/>
              </a:cxn>
              <a:cxn ang="0">
                <a:pos x="146" y="224"/>
              </a:cxn>
              <a:cxn ang="0">
                <a:pos x="132" y="240"/>
              </a:cxn>
              <a:cxn ang="0">
                <a:pos x="150" y="293"/>
              </a:cxn>
              <a:cxn ang="0">
                <a:pos x="182" y="326"/>
              </a:cxn>
              <a:cxn ang="0">
                <a:pos x="213" y="338"/>
              </a:cxn>
              <a:cxn ang="0">
                <a:pos x="222" y="339"/>
              </a:cxn>
            </a:cxnLst>
            <a:rect l="0" t="0" r="r" b="b"/>
            <a:pathLst>
              <a:path w="642" h="339">
                <a:moveTo>
                  <a:pt x="222" y="339"/>
                </a:moveTo>
                <a:cubicBezTo>
                  <a:pt x="225" y="334"/>
                  <a:pt x="232" y="330"/>
                  <a:pt x="237" y="326"/>
                </a:cubicBezTo>
                <a:cubicBezTo>
                  <a:pt x="241" y="320"/>
                  <a:pt x="245" y="318"/>
                  <a:pt x="251" y="314"/>
                </a:cubicBezTo>
                <a:cubicBezTo>
                  <a:pt x="256" y="299"/>
                  <a:pt x="269" y="291"/>
                  <a:pt x="275" y="276"/>
                </a:cubicBezTo>
                <a:cubicBezTo>
                  <a:pt x="268" y="249"/>
                  <a:pt x="309" y="255"/>
                  <a:pt x="325" y="254"/>
                </a:cubicBezTo>
                <a:cubicBezTo>
                  <a:pt x="333" y="250"/>
                  <a:pt x="342" y="251"/>
                  <a:pt x="350" y="250"/>
                </a:cubicBezTo>
                <a:cubicBezTo>
                  <a:pt x="359" y="247"/>
                  <a:pt x="361" y="242"/>
                  <a:pt x="368" y="237"/>
                </a:cubicBezTo>
                <a:cubicBezTo>
                  <a:pt x="372" y="224"/>
                  <a:pt x="398" y="220"/>
                  <a:pt x="410" y="219"/>
                </a:cubicBezTo>
                <a:cubicBezTo>
                  <a:pt x="421" y="216"/>
                  <a:pt x="432" y="215"/>
                  <a:pt x="443" y="214"/>
                </a:cubicBezTo>
                <a:cubicBezTo>
                  <a:pt x="461" y="208"/>
                  <a:pt x="480" y="207"/>
                  <a:pt x="497" y="198"/>
                </a:cubicBezTo>
                <a:cubicBezTo>
                  <a:pt x="482" y="190"/>
                  <a:pt x="466" y="189"/>
                  <a:pt x="449" y="188"/>
                </a:cubicBezTo>
                <a:cubicBezTo>
                  <a:pt x="441" y="184"/>
                  <a:pt x="446" y="178"/>
                  <a:pt x="453" y="177"/>
                </a:cubicBezTo>
                <a:cubicBezTo>
                  <a:pt x="457" y="176"/>
                  <a:pt x="460" y="176"/>
                  <a:pt x="464" y="176"/>
                </a:cubicBezTo>
                <a:cubicBezTo>
                  <a:pt x="470" y="172"/>
                  <a:pt x="476" y="173"/>
                  <a:pt x="483" y="174"/>
                </a:cubicBezTo>
                <a:cubicBezTo>
                  <a:pt x="494" y="182"/>
                  <a:pt x="508" y="181"/>
                  <a:pt x="521" y="184"/>
                </a:cubicBezTo>
                <a:cubicBezTo>
                  <a:pt x="518" y="179"/>
                  <a:pt x="506" y="176"/>
                  <a:pt x="506" y="176"/>
                </a:cubicBezTo>
                <a:cubicBezTo>
                  <a:pt x="506" y="169"/>
                  <a:pt x="504" y="162"/>
                  <a:pt x="507" y="155"/>
                </a:cubicBezTo>
                <a:cubicBezTo>
                  <a:pt x="508" y="152"/>
                  <a:pt x="515" y="153"/>
                  <a:pt x="515" y="153"/>
                </a:cubicBezTo>
                <a:cubicBezTo>
                  <a:pt x="519" y="149"/>
                  <a:pt x="522" y="149"/>
                  <a:pt x="527" y="146"/>
                </a:cubicBezTo>
                <a:cubicBezTo>
                  <a:pt x="530" y="138"/>
                  <a:pt x="531" y="138"/>
                  <a:pt x="539" y="136"/>
                </a:cubicBezTo>
                <a:cubicBezTo>
                  <a:pt x="541" y="135"/>
                  <a:pt x="545" y="134"/>
                  <a:pt x="545" y="134"/>
                </a:cubicBezTo>
                <a:cubicBezTo>
                  <a:pt x="552" y="127"/>
                  <a:pt x="549" y="125"/>
                  <a:pt x="554" y="117"/>
                </a:cubicBezTo>
                <a:cubicBezTo>
                  <a:pt x="548" y="111"/>
                  <a:pt x="547" y="109"/>
                  <a:pt x="545" y="101"/>
                </a:cubicBezTo>
                <a:cubicBezTo>
                  <a:pt x="551" y="94"/>
                  <a:pt x="556" y="96"/>
                  <a:pt x="564" y="93"/>
                </a:cubicBezTo>
                <a:cubicBezTo>
                  <a:pt x="558" y="88"/>
                  <a:pt x="551" y="83"/>
                  <a:pt x="543" y="80"/>
                </a:cubicBezTo>
                <a:cubicBezTo>
                  <a:pt x="547" y="67"/>
                  <a:pt x="555" y="65"/>
                  <a:pt x="569" y="64"/>
                </a:cubicBezTo>
                <a:cubicBezTo>
                  <a:pt x="577" y="62"/>
                  <a:pt x="580" y="58"/>
                  <a:pt x="587" y="56"/>
                </a:cubicBezTo>
                <a:cubicBezTo>
                  <a:pt x="594" y="49"/>
                  <a:pt x="614" y="42"/>
                  <a:pt x="623" y="40"/>
                </a:cubicBezTo>
                <a:cubicBezTo>
                  <a:pt x="627" y="37"/>
                  <a:pt x="631" y="36"/>
                  <a:pt x="636" y="34"/>
                </a:cubicBezTo>
                <a:cubicBezTo>
                  <a:pt x="638" y="33"/>
                  <a:pt x="642" y="32"/>
                  <a:pt x="642" y="32"/>
                </a:cubicBezTo>
                <a:cubicBezTo>
                  <a:pt x="639" y="23"/>
                  <a:pt x="606" y="29"/>
                  <a:pt x="597" y="30"/>
                </a:cubicBezTo>
                <a:cubicBezTo>
                  <a:pt x="586" y="35"/>
                  <a:pt x="572" y="34"/>
                  <a:pt x="560" y="36"/>
                </a:cubicBezTo>
                <a:cubicBezTo>
                  <a:pt x="554" y="35"/>
                  <a:pt x="551" y="34"/>
                  <a:pt x="546" y="32"/>
                </a:cubicBezTo>
                <a:cubicBezTo>
                  <a:pt x="545" y="28"/>
                  <a:pt x="546" y="24"/>
                  <a:pt x="547" y="20"/>
                </a:cubicBezTo>
                <a:cubicBezTo>
                  <a:pt x="545" y="11"/>
                  <a:pt x="525" y="10"/>
                  <a:pt x="517" y="9"/>
                </a:cubicBezTo>
                <a:cubicBezTo>
                  <a:pt x="491" y="3"/>
                  <a:pt x="470" y="1"/>
                  <a:pt x="441" y="0"/>
                </a:cubicBezTo>
                <a:cubicBezTo>
                  <a:pt x="402" y="10"/>
                  <a:pt x="353" y="8"/>
                  <a:pt x="314" y="9"/>
                </a:cubicBezTo>
                <a:cubicBezTo>
                  <a:pt x="309" y="10"/>
                  <a:pt x="299" y="12"/>
                  <a:pt x="299" y="12"/>
                </a:cubicBezTo>
                <a:cubicBezTo>
                  <a:pt x="302" y="22"/>
                  <a:pt x="295" y="22"/>
                  <a:pt x="287" y="23"/>
                </a:cubicBezTo>
                <a:cubicBezTo>
                  <a:pt x="278" y="22"/>
                  <a:pt x="268" y="20"/>
                  <a:pt x="260" y="21"/>
                </a:cubicBezTo>
                <a:cubicBezTo>
                  <a:pt x="257" y="29"/>
                  <a:pt x="260" y="27"/>
                  <a:pt x="251" y="28"/>
                </a:cubicBezTo>
                <a:cubicBezTo>
                  <a:pt x="241" y="27"/>
                  <a:pt x="238" y="29"/>
                  <a:pt x="231" y="24"/>
                </a:cubicBezTo>
                <a:cubicBezTo>
                  <a:pt x="180" y="26"/>
                  <a:pt x="182" y="25"/>
                  <a:pt x="151" y="29"/>
                </a:cubicBezTo>
                <a:cubicBezTo>
                  <a:pt x="127" y="43"/>
                  <a:pt x="102" y="42"/>
                  <a:pt x="75" y="47"/>
                </a:cubicBezTo>
                <a:cubicBezTo>
                  <a:pt x="72" y="52"/>
                  <a:pt x="78" y="53"/>
                  <a:pt x="83" y="56"/>
                </a:cubicBezTo>
                <a:cubicBezTo>
                  <a:pt x="85" y="57"/>
                  <a:pt x="89" y="58"/>
                  <a:pt x="89" y="58"/>
                </a:cubicBezTo>
                <a:cubicBezTo>
                  <a:pt x="93" y="66"/>
                  <a:pt x="82" y="67"/>
                  <a:pt x="75" y="68"/>
                </a:cubicBezTo>
                <a:cubicBezTo>
                  <a:pt x="58" y="69"/>
                  <a:pt x="42" y="70"/>
                  <a:pt x="25" y="72"/>
                </a:cubicBezTo>
                <a:cubicBezTo>
                  <a:pt x="17" y="74"/>
                  <a:pt x="8" y="76"/>
                  <a:pt x="0" y="78"/>
                </a:cubicBezTo>
                <a:cubicBezTo>
                  <a:pt x="4" y="89"/>
                  <a:pt x="22" y="89"/>
                  <a:pt x="31" y="90"/>
                </a:cubicBezTo>
                <a:cubicBezTo>
                  <a:pt x="24" y="94"/>
                  <a:pt x="21" y="94"/>
                  <a:pt x="14" y="96"/>
                </a:cubicBezTo>
                <a:cubicBezTo>
                  <a:pt x="11" y="97"/>
                  <a:pt x="5" y="99"/>
                  <a:pt x="5" y="99"/>
                </a:cubicBezTo>
                <a:cubicBezTo>
                  <a:pt x="10" y="101"/>
                  <a:pt x="13" y="101"/>
                  <a:pt x="17" y="104"/>
                </a:cubicBezTo>
                <a:cubicBezTo>
                  <a:pt x="22" y="115"/>
                  <a:pt x="17" y="111"/>
                  <a:pt x="37" y="110"/>
                </a:cubicBezTo>
                <a:cubicBezTo>
                  <a:pt x="47" y="107"/>
                  <a:pt x="47" y="107"/>
                  <a:pt x="59" y="108"/>
                </a:cubicBezTo>
                <a:cubicBezTo>
                  <a:pt x="69" y="106"/>
                  <a:pt x="57" y="107"/>
                  <a:pt x="75" y="114"/>
                </a:cubicBezTo>
                <a:cubicBezTo>
                  <a:pt x="78" y="115"/>
                  <a:pt x="84" y="111"/>
                  <a:pt x="87" y="110"/>
                </a:cubicBezTo>
                <a:cubicBezTo>
                  <a:pt x="103" y="111"/>
                  <a:pt x="116" y="115"/>
                  <a:pt x="131" y="117"/>
                </a:cubicBezTo>
                <a:cubicBezTo>
                  <a:pt x="135" y="119"/>
                  <a:pt x="138" y="119"/>
                  <a:pt x="139" y="123"/>
                </a:cubicBezTo>
                <a:cubicBezTo>
                  <a:pt x="137" y="135"/>
                  <a:pt x="137" y="133"/>
                  <a:pt x="134" y="141"/>
                </a:cubicBezTo>
                <a:cubicBezTo>
                  <a:pt x="134" y="146"/>
                  <a:pt x="138" y="154"/>
                  <a:pt x="135" y="158"/>
                </a:cubicBezTo>
                <a:cubicBezTo>
                  <a:pt x="136" y="159"/>
                  <a:pt x="138" y="160"/>
                  <a:pt x="138" y="162"/>
                </a:cubicBezTo>
                <a:cubicBezTo>
                  <a:pt x="139" y="165"/>
                  <a:pt x="138" y="168"/>
                  <a:pt x="139" y="171"/>
                </a:cubicBezTo>
                <a:cubicBezTo>
                  <a:pt x="141" y="174"/>
                  <a:pt x="158" y="175"/>
                  <a:pt x="161" y="176"/>
                </a:cubicBezTo>
                <a:cubicBezTo>
                  <a:pt x="167" y="180"/>
                  <a:pt x="174" y="180"/>
                  <a:pt x="181" y="183"/>
                </a:cubicBezTo>
                <a:cubicBezTo>
                  <a:pt x="177" y="184"/>
                  <a:pt x="173" y="185"/>
                  <a:pt x="169" y="186"/>
                </a:cubicBezTo>
                <a:cubicBezTo>
                  <a:pt x="164" y="186"/>
                  <a:pt x="137" y="181"/>
                  <a:pt x="132" y="189"/>
                </a:cubicBezTo>
                <a:cubicBezTo>
                  <a:pt x="133" y="195"/>
                  <a:pt x="131" y="200"/>
                  <a:pt x="137" y="202"/>
                </a:cubicBezTo>
                <a:cubicBezTo>
                  <a:pt x="145" y="202"/>
                  <a:pt x="165" y="204"/>
                  <a:pt x="171" y="195"/>
                </a:cubicBezTo>
                <a:cubicBezTo>
                  <a:pt x="181" y="200"/>
                  <a:pt x="173" y="210"/>
                  <a:pt x="165" y="214"/>
                </a:cubicBezTo>
                <a:cubicBezTo>
                  <a:pt x="162" y="215"/>
                  <a:pt x="153" y="216"/>
                  <a:pt x="151" y="216"/>
                </a:cubicBezTo>
                <a:cubicBezTo>
                  <a:pt x="150" y="218"/>
                  <a:pt x="147" y="222"/>
                  <a:pt x="146" y="224"/>
                </a:cubicBezTo>
                <a:cubicBezTo>
                  <a:pt x="144" y="226"/>
                  <a:pt x="140" y="228"/>
                  <a:pt x="140" y="228"/>
                </a:cubicBezTo>
                <a:cubicBezTo>
                  <a:pt x="137" y="233"/>
                  <a:pt x="134" y="234"/>
                  <a:pt x="132" y="240"/>
                </a:cubicBezTo>
                <a:cubicBezTo>
                  <a:pt x="133" y="250"/>
                  <a:pt x="131" y="257"/>
                  <a:pt x="137" y="263"/>
                </a:cubicBezTo>
                <a:cubicBezTo>
                  <a:pt x="140" y="271"/>
                  <a:pt x="144" y="287"/>
                  <a:pt x="150" y="293"/>
                </a:cubicBezTo>
                <a:cubicBezTo>
                  <a:pt x="153" y="301"/>
                  <a:pt x="154" y="306"/>
                  <a:pt x="161" y="311"/>
                </a:cubicBezTo>
                <a:cubicBezTo>
                  <a:pt x="165" y="317"/>
                  <a:pt x="175" y="324"/>
                  <a:pt x="182" y="326"/>
                </a:cubicBezTo>
                <a:cubicBezTo>
                  <a:pt x="185" y="327"/>
                  <a:pt x="192" y="329"/>
                  <a:pt x="192" y="329"/>
                </a:cubicBezTo>
                <a:cubicBezTo>
                  <a:pt x="196" y="335"/>
                  <a:pt x="206" y="336"/>
                  <a:pt x="213" y="338"/>
                </a:cubicBezTo>
                <a:cubicBezTo>
                  <a:pt x="217" y="337"/>
                  <a:pt x="230" y="337"/>
                  <a:pt x="234" y="333"/>
                </a:cubicBezTo>
                <a:lnTo>
                  <a:pt x="222" y="339"/>
                </a:ln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36" name="Freeform 33">
            <a:extLst>
              <a:ext uri="{FF2B5EF4-FFF2-40B4-BE49-F238E27FC236}">
                <a16:creationId xmlns:a16="http://schemas.microsoft.com/office/drawing/2014/main" id="{EC49DCD4-EF10-384D-ADD7-18E93B46974B}"/>
              </a:ext>
            </a:extLst>
          </p:cNvPr>
          <p:cNvSpPr>
            <a:spLocks/>
          </p:cNvSpPr>
          <p:nvPr/>
        </p:nvSpPr>
        <p:spPr bwMode="auto">
          <a:xfrm>
            <a:off x="4190564" y="1860344"/>
            <a:ext cx="177252" cy="60351"/>
          </a:xfrm>
          <a:custGeom>
            <a:avLst/>
            <a:gdLst/>
            <a:ahLst/>
            <a:cxnLst>
              <a:cxn ang="0">
                <a:pos x="20" y="0"/>
              </a:cxn>
              <a:cxn ang="0">
                <a:pos x="35" y="6"/>
              </a:cxn>
              <a:cxn ang="0">
                <a:pos x="43" y="17"/>
              </a:cxn>
              <a:cxn ang="0">
                <a:pos x="73" y="9"/>
              </a:cxn>
              <a:cxn ang="0">
                <a:pos x="83" y="4"/>
              </a:cxn>
              <a:cxn ang="0">
                <a:pos x="89" y="0"/>
              </a:cxn>
              <a:cxn ang="0">
                <a:pos x="116" y="6"/>
              </a:cxn>
              <a:cxn ang="0">
                <a:pos x="125" y="12"/>
              </a:cxn>
              <a:cxn ang="0">
                <a:pos x="121" y="32"/>
              </a:cxn>
              <a:cxn ang="0">
                <a:pos x="90" y="41"/>
              </a:cxn>
              <a:cxn ang="0">
                <a:pos x="69" y="44"/>
              </a:cxn>
              <a:cxn ang="0">
                <a:pos x="32" y="38"/>
              </a:cxn>
              <a:cxn ang="0">
                <a:pos x="27" y="29"/>
              </a:cxn>
              <a:cxn ang="0">
                <a:pos x="9" y="22"/>
              </a:cxn>
              <a:cxn ang="0">
                <a:pos x="29" y="14"/>
              </a:cxn>
              <a:cxn ang="0">
                <a:pos x="8" y="16"/>
              </a:cxn>
              <a:cxn ang="0">
                <a:pos x="20" y="0"/>
              </a:cxn>
            </a:cxnLst>
            <a:rect l="0" t="0" r="r" b="b"/>
            <a:pathLst>
              <a:path w="129" h="44">
                <a:moveTo>
                  <a:pt x="20" y="0"/>
                </a:moveTo>
                <a:cubicBezTo>
                  <a:pt x="25" y="2"/>
                  <a:pt x="30" y="4"/>
                  <a:pt x="35" y="6"/>
                </a:cubicBezTo>
                <a:cubicBezTo>
                  <a:pt x="36" y="10"/>
                  <a:pt x="43" y="17"/>
                  <a:pt x="43" y="17"/>
                </a:cubicBezTo>
                <a:cubicBezTo>
                  <a:pt x="59" y="13"/>
                  <a:pt x="41" y="11"/>
                  <a:pt x="73" y="9"/>
                </a:cubicBezTo>
                <a:cubicBezTo>
                  <a:pt x="79" y="7"/>
                  <a:pt x="76" y="9"/>
                  <a:pt x="83" y="4"/>
                </a:cubicBezTo>
                <a:cubicBezTo>
                  <a:pt x="85" y="3"/>
                  <a:pt x="89" y="0"/>
                  <a:pt x="89" y="0"/>
                </a:cubicBezTo>
                <a:cubicBezTo>
                  <a:pt x="99" y="2"/>
                  <a:pt x="107" y="3"/>
                  <a:pt x="116" y="6"/>
                </a:cubicBezTo>
                <a:cubicBezTo>
                  <a:pt x="119" y="9"/>
                  <a:pt x="122" y="10"/>
                  <a:pt x="125" y="12"/>
                </a:cubicBezTo>
                <a:cubicBezTo>
                  <a:pt x="129" y="19"/>
                  <a:pt x="128" y="27"/>
                  <a:pt x="121" y="32"/>
                </a:cubicBezTo>
                <a:cubicBezTo>
                  <a:pt x="113" y="38"/>
                  <a:pt x="100" y="40"/>
                  <a:pt x="90" y="41"/>
                </a:cubicBezTo>
                <a:cubicBezTo>
                  <a:pt x="83" y="42"/>
                  <a:pt x="69" y="44"/>
                  <a:pt x="69" y="44"/>
                </a:cubicBezTo>
                <a:cubicBezTo>
                  <a:pt x="47" y="42"/>
                  <a:pt x="47" y="42"/>
                  <a:pt x="32" y="38"/>
                </a:cubicBezTo>
                <a:cubicBezTo>
                  <a:pt x="26" y="34"/>
                  <a:pt x="26" y="37"/>
                  <a:pt x="27" y="29"/>
                </a:cubicBezTo>
                <a:cubicBezTo>
                  <a:pt x="25" y="19"/>
                  <a:pt x="20" y="23"/>
                  <a:pt x="9" y="22"/>
                </a:cubicBezTo>
                <a:cubicBezTo>
                  <a:pt x="17" y="20"/>
                  <a:pt x="22" y="16"/>
                  <a:pt x="29" y="14"/>
                </a:cubicBezTo>
                <a:cubicBezTo>
                  <a:pt x="36" y="12"/>
                  <a:pt x="8" y="16"/>
                  <a:pt x="8" y="16"/>
                </a:cubicBezTo>
                <a:cubicBezTo>
                  <a:pt x="0" y="1"/>
                  <a:pt x="23" y="7"/>
                  <a:pt x="20"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37" name="Freeform 34">
            <a:extLst>
              <a:ext uri="{FF2B5EF4-FFF2-40B4-BE49-F238E27FC236}">
                <a16:creationId xmlns:a16="http://schemas.microsoft.com/office/drawing/2014/main" id="{E686AB1B-2799-BBE8-36E2-B9F432276078}"/>
              </a:ext>
            </a:extLst>
          </p:cNvPr>
          <p:cNvSpPr>
            <a:spLocks/>
          </p:cNvSpPr>
          <p:nvPr/>
        </p:nvSpPr>
        <p:spPr bwMode="auto">
          <a:xfrm>
            <a:off x="3372228" y="4596511"/>
            <a:ext cx="63206" cy="23615"/>
          </a:xfrm>
          <a:custGeom>
            <a:avLst/>
            <a:gdLst/>
            <a:ahLst/>
            <a:cxnLst>
              <a:cxn ang="0">
                <a:pos x="23" y="1"/>
              </a:cxn>
              <a:cxn ang="0">
                <a:pos x="2" y="7"/>
              </a:cxn>
              <a:cxn ang="0">
                <a:pos x="11" y="12"/>
              </a:cxn>
              <a:cxn ang="0">
                <a:pos x="22" y="16"/>
              </a:cxn>
              <a:cxn ang="0">
                <a:pos x="43" y="8"/>
              </a:cxn>
              <a:cxn ang="0">
                <a:pos x="23" y="1"/>
              </a:cxn>
            </a:cxnLst>
            <a:rect l="0" t="0" r="r" b="b"/>
            <a:pathLst>
              <a:path w="46" h="17">
                <a:moveTo>
                  <a:pt x="23" y="1"/>
                </a:moveTo>
                <a:cubicBezTo>
                  <a:pt x="13" y="2"/>
                  <a:pt x="11" y="4"/>
                  <a:pt x="2" y="7"/>
                </a:cubicBezTo>
                <a:cubicBezTo>
                  <a:pt x="0" y="13"/>
                  <a:pt x="6" y="11"/>
                  <a:pt x="11" y="12"/>
                </a:cubicBezTo>
                <a:cubicBezTo>
                  <a:pt x="19" y="15"/>
                  <a:pt x="15" y="13"/>
                  <a:pt x="22" y="16"/>
                </a:cubicBezTo>
                <a:cubicBezTo>
                  <a:pt x="35" y="14"/>
                  <a:pt x="37" y="17"/>
                  <a:pt x="43" y="8"/>
                </a:cubicBezTo>
                <a:cubicBezTo>
                  <a:pt x="46" y="0"/>
                  <a:pt x="28" y="1"/>
                  <a:pt x="23" y="1"/>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38" name="Freeform 35">
            <a:extLst>
              <a:ext uri="{FF2B5EF4-FFF2-40B4-BE49-F238E27FC236}">
                <a16:creationId xmlns:a16="http://schemas.microsoft.com/office/drawing/2014/main" id="{6B79D7F2-96E1-AD16-55D5-5049FF30A3B1}"/>
              </a:ext>
            </a:extLst>
          </p:cNvPr>
          <p:cNvSpPr>
            <a:spLocks/>
          </p:cNvSpPr>
          <p:nvPr/>
        </p:nvSpPr>
        <p:spPr bwMode="auto">
          <a:xfrm>
            <a:off x="5658791" y="3749009"/>
            <a:ext cx="147024" cy="267645"/>
          </a:xfrm>
          <a:custGeom>
            <a:avLst/>
            <a:gdLst/>
            <a:ahLst/>
            <a:cxnLst>
              <a:cxn ang="0">
                <a:pos x="92" y="0"/>
              </a:cxn>
              <a:cxn ang="0">
                <a:pos x="99" y="13"/>
              </a:cxn>
              <a:cxn ang="0">
                <a:pos x="107" y="45"/>
              </a:cxn>
              <a:cxn ang="0">
                <a:pos x="96" y="61"/>
              </a:cxn>
              <a:cxn ang="0">
                <a:pos x="89" y="80"/>
              </a:cxn>
              <a:cxn ang="0">
                <a:pos x="84" y="97"/>
              </a:cxn>
              <a:cxn ang="0">
                <a:pos x="73" y="129"/>
              </a:cxn>
              <a:cxn ang="0">
                <a:pos x="68" y="145"/>
              </a:cxn>
              <a:cxn ang="0">
                <a:pos x="57" y="171"/>
              </a:cxn>
              <a:cxn ang="0">
                <a:pos x="32" y="195"/>
              </a:cxn>
              <a:cxn ang="0">
                <a:pos x="12" y="187"/>
              </a:cxn>
              <a:cxn ang="0">
                <a:pos x="4" y="173"/>
              </a:cxn>
              <a:cxn ang="0">
                <a:pos x="0" y="153"/>
              </a:cxn>
              <a:cxn ang="0">
                <a:pos x="16" y="129"/>
              </a:cxn>
              <a:cxn ang="0">
                <a:pos x="20" y="105"/>
              </a:cxn>
              <a:cxn ang="0">
                <a:pos x="16" y="83"/>
              </a:cxn>
              <a:cxn ang="0">
                <a:pos x="32" y="56"/>
              </a:cxn>
              <a:cxn ang="0">
                <a:pos x="49" y="49"/>
              </a:cxn>
              <a:cxn ang="0">
                <a:pos x="72" y="30"/>
              </a:cxn>
              <a:cxn ang="0">
                <a:pos x="92" y="0"/>
              </a:cxn>
            </a:cxnLst>
            <a:rect l="0" t="0" r="r" b="b"/>
            <a:pathLst>
              <a:path w="107" h="195">
                <a:moveTo>
                  <a:pt x="92" y="0"/>
                </a:moveTo>
                <a:cubicBezTo>
                  <a:pt x="97" y="4"/>
                  <a:pt x="97" y="7"/>
                  <a:pt x="99" y="13"/>
                </a:cubicBezTo>
                <a:cubicBezTo>
                  <a:pt x="101" y="24"/>
                  <a:pt x="105" y="33"/>
                  <a:pt x="107" y="45"/>
                </a:cubicBezTo>
                <a:cubicBezTo>
                  <a:pt x="105" y="57"/>
                  <a:pt x="105" y="56"/>
                  <a:pt x="96" y="61"/>
                </a:cubicBezTo>
                <a:cubicBezTo>
                  <a:pt x="93" y="68"/>
                  <a:pt x="92" y="73"/>
                  <a:pt x="89" y="80"/>
                </a:cubicBezTo>
                <a:cubicBezTo>
                  <a:pt x="88" y="86"/>
                  <a:pt x="87" y="91"/>
                  <a:pt x="84" y="97"/>
                </a:cubicBezTo>
                <a:cubicBezTo>
                  <a:pt x="83" y="107"/>
                  <a:pt x="78" y="120"/>
                  <a:pt x="73" y="129"/>
                </a:cubicBezTo>
                <a:cubicBezTo>
                  <a:pt x="72" y="135"/>
                  <a:pt x="71" y="139"/>
                  <a:pt x="68" y="145"/>
                </a:cubicBezTo>
                <a:cubicBezTo>
                  <a:pt x="66" y="155"/>
                  <a:pt x="62" y="163"/>
                  <a:pt x="57" y="171"/>
                </a:cubicBezTo>
                <a:cubicBezTo>
                  <a:pt x="54" y="187"/>
                  <a:pt x="46" y="190"/>
                  <a:pt x="32" y="195"/>
                </a:cubicBezTo>
                <a:cubicBezTo>
                  <a:pt x="17" y="192"/>
                  <a:pt x="23" y="195"/>
                  <a:pt x="12" y="187"/>
                </a:cubicBezTo>
                <a:cubicBezTo>
                  <a:pt x="8" y="184"/>
                  <a:pt x="4" y="173"/>
                  <a:pt x="4" y="173"/>
                </a:cubicBezTo>
                <a:cubicBezTo>
                  <a:pt x="3" y="166"/>
                  <a:pt x="1" y="161"/>
                  <a:pt x="0" y="153"/>
                </a:cubicBezTo>
                <a:cubicBezTo>
                  <a:pt x="2" y="139"/>
                  <a:pt x="7" y="138"/>
                  <a:pt x="16" y="129"/>
                </a:cubicBezTo>
                <a:cubicBezTo>
                  <a:pt x="17" y="120"/>
                  <a:pt x="19" y="114"/>
                  <a:pt x="20" y="105"/>
                </a:cubicBezTo>
                <a:cubicBezTo>
                  <a:pt x="19" y="97"/>
                  <a:pt x="17" y="91"/>
                  <a:pt x="16" y="83"/>
                </a:cubicBezTo>
                <a:cubicBezTo>
                  <a:pt x="17" y="71"/>
                  <a:pt x="18" y="59"/>
                  <a:pt x="32" y="56"/>
                </a:cubicBezTo>
                <a:cubicBezTo>
                  <a:pt x="38" y="51"/>
                  <a:pt x="41" y="51"/>
                  <a:pt x="49" y="49"/>
                </a:cubicBezTo>
                <a:cubicBezTo>
                  <a:pt x="58" y="43"/>
                  <a:pt x="63" y="35"/>
                  <a:pt x="72" y="30"/>
                </a:cubicBezTo>
                <a:cubicBezTo>
                  <a:pt x="78" y="19"/>
                  <a:pt x="88" y="13"/>
                  <a:pt x="92"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39" name="Freeform 36">
            <a:extLst>
              <a:ext uri="{FF2B5EF4-FFF2-40B4-BE49-F238E27FC236}">
                <a16:creationId xmlns:a16="http://schemas.microsoft.com/office/drawing/2014/main" id="{D55805E8-3ECE-8093-BB5C-49CB5011F946}"/>
              </a:ext>
            </a:extLst>
          </p:cNvPr>
          <p:cNvSpPr>
            <a:spLocks/>
          </p:cNvSpPr>
          <p:nvPr/>
        </p:nvSpPr>
        <p:spPr bwMode="auto">
          <a:xfrm>
            <a:off x="4394385" y="2674579"/>
            <a:ext cx="1310845" cy="1389391"/>
          </a:xfrm>
          <a:custGeom>
            <a:avLst/>
            <a:gdLst/>
            <a:ahLst/>
            <a:cxnLst>
              <a:cxn ang="0">
                <a:pos x="178" y="33"/>
              </a:cxn>
              <a:cxn ang="0">
                <a:pos x="266" y="12"/>
              </a:cxn>
              <a:cxn ang="0">
                <a:pos x="347" y="6"/>
              </a:cxn>
              <a:cxn ang="0">
                <a:pos x="387" y="4"/>
              </a:cxn>
              <a:cxn ang="0">
                <a:pos x="397" y="60"/>
              </a:cxn>
              <a:cxn ang="0">
                <a:pos x="437" y="68"/>
              </a:cxn>
              <a:cxn ang="0">
                <a:pos x="475" y="94"/>
              </a:cxn>
              <a:cxn ang="0">
                <a:pos x="520" y="99"/>
              </a:cxn>
              <a:cxn ang="0">
                <a:pos x="515" y="72"/>
              </a:cxn>
              <a:cxn ang="0">
                <a:pos x="603" y="83"/>
              </a:cxn>
              <a:cxn ang="0">
                <a:pos x="669" y="89"/>
              </a:cxn>
              <a:cxn ang="0">
                <a:pos x="701" y="145"/>
              </a:cxn>
              <a:cxn ang="0">
                <a:pos x="738" y="209"/>
              </a:cxn>
              <a:cxn ang="0">
                <a:pos x="758" y="251"/>
              </a:cxn>
              <a:cxn ang="0">
                <a:pos x="781" y="292"/>
              </a:cxn>
              <a:cxn ang="0">
                <a:pos x="826" y="340"/>
              </a:cxn>
              <a:cxn ang="0">
                <a:pos x="842" y="358"/>
              </a:cxn>
              <a:cxn ang="0">
                <a:pos x="938" y="368"/>
              </a:cxn>
              <a:cxn ang="0">
                <a:pos x="931" y="428"/>
              </a:cxn>
              <a:cxn ang="0">
                <a:pos x="910" y="468"/>
              </a:cxn>
              <a:cxn ang="0">
                <a:pos x="843" y="521"/>
              </a:cxn>
              <a:cxn ang="0">
                <a:pos x="822" y="544"/>
              </a:cxn>
              <a:cxn ang="0">
                <a:pos x="792" y="580"/>
              </a:cxn>
              <a:cxn ang="0">
                <a:pos x="789" y="630"/>
              </a:cxn>
              <a:cxn ang="0">
                <a:pos x="802" y="675"/>
              </a:cxn>
              <a:cxn ang="0">
                <a:pos x="808" y="720"/>
              </a:cxn>
              <a:cxn ang="0">
                <a:pos x="750" y="779"/>
              </a:cxn>
              <a:cxn ang="0">
                <a:pos x="725" y="833"/>
              </a:cxn>
              <a:cxn ang="0">
                <a:pos x="683" y="908"/>
              </a:cxn>
              <a:cxn ang="0">
                <a:pos x="667" y="942"/>
              </a:cxn>
              <a:cxn ang="0">
                <a:pos x="557" y="1004"/>
              </a:cxn>
              <a:cxn ang="0">
                <a:pos x="499" y="1008"/>
              </a:cxn>
              <a:cxn ang="0">
                <a:pos x="488" y="971"/>
              </a:cxn>
              <a:cxn ang="0">
                <a:pos x="454" y="924"/>
              </a:cxn>
              <a:cxn ang="0">
                <a:pos x="446" y="900"/>
              </a:cxn>
              <a:cxn ang="0">
                <a:pos x="421" y="800"/>
              </a:cxn>
              <a:cxn ang="0">
                <a:pos x="403" y="747"/>
              </a:cxn>
              <a:cxn ang="0">
                <a:pos x="426" y="707"/>
              </a:cxn>
              <a:cxn ang="0">
                <a:pos x="411" y="596"/>
              </a:cxn>
              <a:cxn ang="0">
                <a:pos x="371" y="540"/>
              </a:cxn>
              <a:cxn ang="0">
                <a:pos x="336" y="467"/>
              </a:cxn>
              <a:cxn ang="0">
                <a:pos x="254" y="436"/>
              </a:cxn>
              <a:cxn ang="0">
                <a:pos x="181" y="456"/>
              </a:cxn>
              <a:cxn ang="0">
                <a:pos x="102" y="454"/>
              </a:cxn>
              <a:cxn ang="0">
                <a:pos x="59" y="404"/>
              </a:cxn>
              <a:cxn ang="0">
                <a:pos x="18" y="280"/>
              </a:cxn>
              <a:cxn ang="0">
                <a:pos x="6" y="230"/>
              </a:cxn>
              <a:cxn ang="0">
                <a:pos x="32" y="185"/>
              </a:cxn>
              <a:cxn ang="0">
                <a:pos x="50" y="160"/>
              </a:cxn>
              <a:cxn ang="0">
                <a:pos x="98" y="123"/>
              </a:cxn>
              <a:cxn ang="0">
                <a:pos x="114" y="80"/>
              </a:cxn>
              <a:cxn ang="0">
                <a:pos x="154" y="43"/>
              </a:cxn>
              <a:cxn ang="0">
                <a:pos x="163" y="25"/>
              </a:cxn>
            </a:cxnLst>
            <a:rect l="0" t="0" r="r" b="b"/>
            <a:pathLst>
              <a:path w="954" h="1011">
                <a:moveTo>
                  <a:pt x="163" y="25"/>
                </a:moveTo>
                <a:cubicBezTo>
                  <a:pt x="168" y="28"/>
                  <a:pt x="172" y="32"/>
                  <a:pt x="178" y="33"/>
                </a:cubicBezTo>
                <a:cubicBezTo>
                  <a:pt x="187" y="39"/>
                  <a:pt x="189" y="38"/>
                  <a:pt x="202" y="40"/>
                </a:cubicBezTo>
                <a:cubicBezTo>
                  <a:pt x="223" y="33"/>
                  <a:pt x="243" y="15"/>
                  <a:pt x="266" y="12"/>
                </a:cubicBezTo>
                <a:cubicBezTo>
                  <a:pt x="287" y="9"/>
                  <a:pt x="309" y="9"/>
                  <a:pt x="330" y="8"/>
                </a:cubicBezTo>
                <a:cubicBezTo>
                  <a:pt x="336" y="7"/>
                  <a:pt x="341" y="7"/>
                  <a:pt x="347" y="6"/>
                </a:cubicBezTo>
                <a:cubicBezTo>
                  <a:pt x="352" y="5"/>
                  <a:pt x="362" y="3"/>
                  <a:pt x="362" y="3"/>
                </a:cubicBezTo>
                <a:cubicBezTo>
                  <a:pt x="369" y="0"/>
                  <a:pt x="380" y="3"/>
                  <a:pt x="387" y="4"/>
                </a:cubicBezTo>
                <a:cubicBezTo>
                  <a:pt x="386" y="15"/>
                  <a:pt x="383" y="22"/>
                  <a:pt x="386" y="32"/>
                </a:cubicBezTo>
                <a:cubicBezTo>
                  <a:pt x="383" y="48"/>
                  <a:pt x="371" y="56"/>
                  <a:pt x="397" y="60"/>
                </a:cubicBezTo>
                <a:cubicBezTo>
                  <a:pt x="403" y="62"/>
                  <a:pt x="408" y="64"/>
                  <a:pt x="413" y="67"/>
                </a:cubicBezTo>
                <a:cubicBezTo>
                  <a:pt x="423" y="63"/>
                  <a:pt x="427" y="66"/>
                  <a:pt x="437" y="68"/>
                </a:cubicBezTo>
                <a:cubicBezTo>
                  <a:pt x="442" y="72"/>
                  <a:pt x="446" y="75"/>
                  <a:pt x="453" y="76"/>
                </a:cubicBezTo>
                <a:cubicBezTo>
                  <a:pt x="454" y="86"/>
                  <a:pt x="465" y="92"/>
                  <a:pt x="475" y="94"/>
                </a:cubicBezTo>
                <a:cubicBezTo>
                  <a:pt x="481" y="95"/>
                  <a:pt x="494" y="97"/>
                  <a:pt x="494" y="97"/>
                </a:cubicBezTo>
                <a:cubicBezTo>
                  <a:pt x="503" y="101"/>
                  <a:pt x="510" y="100"/>
                  <a:pt x="520" y="99"/>
                </a:cubicBezTo>
                <a:cubicBezTo>
                  <a:pt x="514" y="97"/>
                  <a:pt x="510" y="84"/>
                  <a:pt x="510" y="84"/>
                </a:cubicBezTo>
                <a:cubicBezTo>
                  <a:pt x="509" y="77"/>
                  <a:pt x="507" y="74"/>
                  <a:pt x="515" y="72"/>
                </a:cubicBezTo>
                <a:cubicBezTo>
                  <a:pt x="521" y="67"/>
                  <a:pt x="528" y="65"/>
                  <a:pt x="536" y="64"/>
                </a:cubicBezTo>
                <a:cubicBezTo>
                  <a:pt x="561" y="77"/>
                  <a:pt x="572" y="81"/>
                  <a:pt x="603" y="83"/>
                </a:cubicBezTo>
                <a:cubicBezTo>
                  <a:pt x="612" y="88"/>
                  <a:pt x="615" y="88"/>
                  <a:pt x="626" y="89"/>
                </a:cubicBezTo>
                <a:cubicBezTo>
                  <a:pt x="641" y="87"/>
                  <a:pt x="651" y="86"/>
                  <a:pt x="669" y="89"/>
                </a:cubicBezTo>
                <a:cubicBezTo>
                  <a:pt x="672" y="90"/>
                  <a:pt x="671" y="95"/>
                  <a:pt x="674" y="97"/>
                </a:cubicBezTo>
                <a:cubicBezTo>
                  <a:pt x="683" y="112"/>
                  <a:pt x="690" y="131"/>
                  <a:pt x="701" y="145"/>
                </a:cubicBezTo>
                <a:cubicBezTo>
                  <a:pt x="709" y="155"/>
                  <a:pt x="716" y="165"/>
                  <a:pt x="722" y="176"/>
                </a:cubicBezTo>
                <a:cubicBezTo>
                  <a:pt x="724" y="188"/>
                  <a:pt x="733" y="198"/>
                  <a:pt x="738" y="209"/>
                </a:cubicBezTo>
                <a:cubicBezTo>
                  <a:pt x="740" y="219"/>
                  <a:pt x="743" y="224"/>
                  <a:pt x="752" y="225"/>
                </a:cubicBezTo>
                <a:cubicBezTo>
                  <a:pt x="757" y="231"/>
                  <a:pt x="755" y="243"/>
                  <a:pt x="758" y="251"/>
                </a:cubicBezTo>
                <a:cubicBezTo>
                  <a:pt x="761" y="259"/>
                  <a:pt x="769" y="265"/>
                  <a:pt x="773" y="272"/>
                </a:cubicBezTo>
                <a:cubicBezTo>
                  <a:pt x="774" y="280"/>
                  <a:pt x="778" y="285"/>
                  <a:pt x="781" y="292"/>
                </a:cubicBezTo>
                <a:cubicBezTo>
                  <a:pt x="784" y="308"/>
                  <a:pt x="803" y="322"/>
                  <a:pt x="818" y="328"/>
                </a:cubicBezTo>
                <a:cubicBezTo>
                  <a:pt x="822" y="333"/>
                  <a:pt x="821" y="336"/>
                  <a:pt x="826" y="340"/>
                </a:cubicBezTo>
                <a:cubicBezTo>
                  <a:pt x="829" y="346"/>
                  <a:pt x="829" y="348"/>
                  <a:pt x="834" y="352"/>
                </a:cubicBezTo>
                <a:cubicBezTo>
                  <a:pt x="837" y="354"/>
                  <a:pt x="842" y="358"/>
                  <a:pt x="842" y="358"/>
                </a:cubicBezTo>
                <a:cubicBezTo>
                  <a:pt x="844" y="367"/>
                  <a:pt x="851" y="373"/>
                  <a:pt x="859" y="376"/>
                </a:cubicBezTo>
                <a:cubicBezTo>
                  <a:pt x="885" y="374"/>
                  <a:pt x="911" y="369"/>
                  <a:pt x="938" y="368"/>
                </a:cubicBezTo>
                <a:cubicBezTo>
                  <a:pt x="942" y="364"/>
                  <a:pt x="950" y="358"/>
                  <a:pt x="950" y="358"/>
                </a:cubicBezTo>
                <a:cubicBezTo>
                  <a:pt x="954" y="380"/>
                  <a:pt x="950" y="413"/>
                  <a:pt x="931" y="428"/>
                </a:cubicBezTo>
                <a:cubicBezTo>
                  <a:pt x="930" y="433"/>
                  <a:pt x="926" y="443"/>
                  <a:pt x="926" y="443"/>
                </a:cubicBezTo>
                <a:cubicBezTo>
                  <a:pt x="924" y="455"/>
                  <a:pt x="919" y="461"/>
                  <a:pt x="910" y="468"/>
                </a:cubicBezTo>
                <a:cubicBezTo>
                  <a:pt x="905" y="471"/>
                  <a:pt x="896" y="478"/>
                  <a:pt x="896" y="478"/>
                </a:cubicBezTo>
                <a:cubicBezTo>
                  <a:pt x="885" y="496"/>
                  <a:pt x="859" y="508"/>
                  <a:pt x="843" y="521"/>
                </a:cubicBezTo>
                <a:cubicBezTo>
                  <a:pt x="839" y="525"/>
                  <a:pt x="834" y="530"/>
                  <a:pt x="830" y="534"/>
                </a:cubicBezTo>
                <a:cubicBezTo>
                  <a:pt x="827" y="537"/>
                  <a:pt x="822" y="544"/>
                  <a:pt x="822" y="544"/>
                </a:cubicBezTo>
                <a:cubicBezTo>
                  <a:pt x="821" y="552"/>
                  <a:pt x="815" y="559"/>
                  <a:pt x="808" y="563"/>
                </a:cubicBezTo>
                <a:cubicBezTo>
                  <a:pt x="804" y="570"/>
                  <a:pt x="798" y="575"/>
                  <a:pt x="792" y="580"/>
                </a:cubicBezTo>
                <a:cubicBezTo>
                  <a:pt x="789" y="585"/>
                  <a:pt x="789" y="591"/>
                  <a:pt x="787" y="596"/>
                </a:cubicBezTo>
                <a:cubicBezTo>
                  <a:pt x="785" y="609"/>
                  <a:pt x="785" y="617"/>
                  <a:pt x="789" y="630"/>
                </a:cubicBezTo>
                <a:cubicBezTo>
                  <a:pt x="790" y="639"/>
                  <a:pt x="791" y="646"/>
                  <a:pt x="794" y="654"/>
                </a:cubicBezTo>
                <a:cubicBezTo>
                  <a:pt x="795" y="661"/>
                  <a:pt x="796" y="671"/>
                  <a:pt x="802" y="675"/>
                </a:cubicBezTo>
                <a:cubicBezTo>
                  <a:pt x="801" y="681"/>
                  <a:pt x="795" y="701"/>
                  <a:pt x="802" y="704"/>
                </a:cubicBezTo>
                <a:cubicBezTo>
                  <a:pt x="806" y="709"/>
                  <a:pt x="806" y="714"/>
                  <a:pt x="808" y="720"/>
                </a:cubicBezTo>
                <a:cubicBezTo>
                  <a:pt x="807" y="729"/>
                  <a:pt x="807" y="739"/>
                  <a:pt x="806" y="748"/>
                </a:cubicBezTo>
                <a:cubicBezTo>
                  <a:pt x="776" y="769"/>
                  <a:pt x="768" y="775"/>
                  <a:pt x="750" y="779"/>
                </a:cubicBezTo>
                <a:cubicBezTo>
                  <a:pt x="738" y="788"/>
                  <a:pt x="732" y="800"/>
                  <a:pt x="723" y="812"/>
                </a:cubicBezTo>
                <a:cubicBezTo>
                  <a:pt x="721" y="820"/>
                  <a:pt x="723" y="826"/>
                  <a:pt x="725" y="833"/>
                </a:cubicBezTo>
                <a:cubicBezTo>
                  <a:pt x="729" y="870"/>
                  <a:pt x="726" y="865"/>
                  <a:pt x="693" y="886"/>
                </a:cubicBezTo>
                <a:cubicBezTo>
                  <a:pt x="689" y="890"/>
                  <a:pt x="686" y="902"/>
                  <a:pt x="683" y="908"/>
                </a:cubicBezTo>
                <a:cubicBezTo>
                  <a:pt x="681" y="912"/>
                  <a:pt x="678" y="920"/>
                  <a:pt x="678" y="920"/>
                </a:cubicBezTo>
                <a:cubicBezTo>
                  <a:pt x="677" y="931"/>
                  <a:pt x="673" y="933"/>
                  <a:pt x="667" y="942"/>
                </a:cubicBezTo>
                <a:cubicBezTo>
                  <a:pt x="654" y="955"/>
                  <a:pt x="616" y="986"/>
                  <a:pt x="598" y="996"/>
                </a:cubicBezTo>
                <a:cubicBezTo>
                  <a:pt x="591" y="1006"/>
                  <a:pt x="568" y="1003"/>
                  <a:pt x="557" y="1004"/>
                </a:cubicBezTo>
                <a:cubicBezTo>
                  <a:pt x="545" y="1007"/>
                  <a:pt x="532" y="1008"/>
                  <a:pt x="520" y="1009"/>
                </a:cubicBezTo>
                <a:cubicBezTo>
                  <a:pt x="511" y="1011"/>
                  <a:pt x="507" y="1010"/>
                  <a:pt x="499" y="1008"/>
                </a:cubicBezTo>
                <a:cubicBezTo>
                  <a:pt x="496" y="1003"/>
                  <a:pt x="491" y="1001"/>
                  <a:pt x="488" y="996"/>
                </a:cubicBezTo>
                <a:cubicBezTo>
                  <a:pt x="490" y="986"/>
                  <a:pt x="492" y="981"/>
                  <a:pt x="488" y="971"/>
                </a:cubicBezTo>
                <a:cubicBezTo>
                  <a:pt x="486" y="966"/>
                  <a:pt x="475" y="937"/>
                  <a:pt x="469" y="936"/>
                </a:cubicBezTo>
                <a:cubicBezTo>
                  <a:pt x="465" y="932"/>
                  <a:pt x="454" y="924"/>
                  <a:pt x="454" y="924"/>
                </a:cubicBezTo>
                <a:cubicBezTo>
                  <a:pt x="453" y="919"/>
                  <a:pt x="452" y="913"/>
                  <a:pt x="450" y="908"/>
                </a:cubicBezTo>
                <a:cubicBezTo>
                  <a:pt x="449" y="905"/>
                  <a:pt x="446" y="900"/>
                  <a:pt x="446" y="900"/>
                </a:cubicBezTo>
                <a:cubicBezTo>
                  <a:pt x="445" y="893"/>
                  <a:pt x="443" y="887"/>
                  <a:pt x="442" y="880"/>
                </a:cubicBezTo>
                <a:cubicBezTo>
                  <a:pt x="441" y="861"/>
                  <a:pt x="446" y="824"/>
                  <a:pt x="421" y="800"/>
                </a:cubicBezTo>
                <a:cubicBezTo>
                  <a:pt x="414" y="800"/>
                  <a:pt x="416" y="791"/>
                  <a:pt x="411" y="784"/>
                </a:cubicBezTo>
                <a:cubicBezTo>
                  <a:pt x="407" y="770"/>
                  <a:pt x="405" y="763"/>
                  <a:pt x="403" y="747"/>
                </a:cubicBezTo>
                <a:cubicBezTo>
                  <a:pt x="405" y="734"/>
                  <a:pt x="408" y="729"/>
                  <a:pt x="418" y="721"/>
                </a:cubicBezTo>
                <a:cubicBezTo>
                  <a:pt x="421" y="715"/>
                  <a:pt x="421" y="711"/>
                  <a:pt x="426" y="707"/>
                </a:cubicBezTo>
                <a:cubicBezTo>
                  <a:pt x="434" y="689"/>
                  <a:pt x="427" y="661"/>
                  <a:pt x="429" y="641"/>
                </a:cubicBezTo>
                <a:cubicBezTo>
                  <a:pt x="427" y="629"/>
                  <a:pt x="421" y="605"/>
                  <a:pt x="411" y="596"/>
                </a:cubicBezTo>
                <a:cubicBezTo>
                  <a:pt x="397" y="584"/>
                  <a:pt x="388" y="577"/>
                  <a:pt x="379" y="561"/>
                </a:cubicBezTo>
                <a:cubicBezTo>
                  <a:pt x="378" y="554"/>
                  <a:pt x="371" y="540"/>
                  <a:pt x="371" y="540"/>
                </a:cubicBezTo>
                <a:cubicBezTo>
                  <a:pt x="373" y="534"/>
                  <a:pt x="374" y="529"/>
                  <a:pt x="376" y="523"/>
                </a:cubicBezTo>
                <a:cubicBezTo>
                  <a:pt x="384" y="470"/>
                  <a:pt x="383" y="469"/>
                  <a:pt x="336" y="467"/>
                </a:cubicBezTo>
                <a:cubicBezTo>
                  <a:pt x="316" y="462"/>
                  <a:pt x="311" y="452"/>
                  <a:pt x="302" y="433"/>
                </a:cubicBezTo>
                <a:cubicBezTo>
                  <a:pt x="284" y="434"/>
                  <a:pt x="272" y="435"/>
                  <a:pt x="254" y="436"/>
                </a:cubicBezTo>
                <a:cubicBezTo>
                  <a:pt x="246" y="444"/>
                  <a:pt x="235" y="447"/>
                  <a:pt x="224" y="449"/>
                </a:cubicBezTo>
                <a:cubicBezTo>
                  <a:pt x="209" y="464"/>
                  <a:pt x="203" y="458"/>
                  <a:pt x="181" y="456"/>
                </a:cubicBezTo>
                <a:cubicBezTo>
                  <a:pt x="168" y="451"/>
                  <a:pt x="138" y="457"/>
                  <a:pt x="138" y="457"/>
                </a:cubicBezTo>
                <a:cubicBezTo>
                  <a:pt x="125" y="463"/>
                  <a:pt x="118" y="458"/>
                  <a:pt x="102" y="454"/>
                </a:cubicBezTo>
                <a:cubicBezTo>
                  <a:pt x="93" y="450"/>
                  <a:pt x="90" y="440"/>
                  <a:pt x="83" y="432"/>
                </a:cubicBezTo>
                <a:cubicBezTo>
                  <a:pt x="81" y="415"/>
                  <a:pt x="61" y="422"/>
                  <a:pt x="59" y="404"/>
                </a:cubicBezTo>
                <a:cubicBezTo>
                  <a:pt x="42" y="385"/>
                  <a:pt x="13" y="355"/>
                  <a:pt x="6" y="334"/>
                </a:cubicBezTo>
                <a:cubicBezTo>
                  <a:pt x="0" y="304"/>
                  <a:pt x="11" y="307"/>
                  <a:pt x="18" y="280"/>
                </a:cubicBezTo>
                <a:cubicBezTo>
                  <a:pt x="17" y="267"/>
                  <a:pt x="19" y="253"/>
                  <a:pt x="16" y="240"/>
                </a:cubicBezTo>
                <a:cubicBezTo>
                  <a:pt x="15" y="235"/>
                  <a:pt x="6" y="230"/>
                  <a:pt x="6" y="230"/>
                </a:cubicBezTo>
                <a:cubicBezTo>
                  <a:pt x="10" y="217"/>
                  <a:pt x="15" y="212"/>
                  <a:pt x="22" y="201"/>
                </a:cubicBezTo>
                <a:cubicBezTo>
                  <a:pt x="25" y="196"/>
                  <a:pt x="32" y="185"/>
                  <a:pt x="32" y="185"/>
                </a:cubicBezTo>
                <a:cubicBezTo>
                  <a:pt x="35" y="172"/>
                  <a:pt x="32" y="179"/>
                  <a:pt x="40" y="166"/>
                </a:cubicBezTo>
                <a:cubicBezTo>
                  <a:pt x="42" y="163"/>
                  <a:pt x="50" y="160"/>
                  <a:pt x="50" y="160"/>
                </a:cubicBezTo>
                <a:cubicBezTo>
                  <a:pt x="53" y="156"/>
                  <a:pt x="58" y="145"/>
                  <a:pt x="61" y="142"/>
                </a:cubicBezTo>
                <a:cubicBezTo>
                  <a:pt x="70" y="134"/>
                  <a:pt x="88" y="127"/>
                  <a:pt x="98" y="123"/>
                </a:cubicBezTo>
                <a:cubicBezTo>
                  <a:pt x="100" y="120"/>
                  <a:pt x="105" y="119"/>
                  <a:pt x="106" y="116"/>
                </a:cubicBezTo>
                <a:cubicBezTo>
                  <a:pt x="110" y="104"/>
                  <a:pt x="110" y="92"/>
                  <a:pt x="114" y="80"/>
                </a:cubicBezTo>
                <a:cubicBezTo>
                  <a:pt x="116" y="63"/>
                  <a:pt x="125" y="62"/>
                  <a:pt x="138" y="54"/>
                </a:cubicBezTo>
                <a:cubicBezTo>
                  <a:pt x="142" y="49"/>
                  <a:pt x="148" y="44"/>
                  <a:pt x="154" y="43"/>
                </a:cubicBezTo>
                <a:cubicBezTo>
                  <a:pt x="157" y="38"/>
                  <a:pt x="162" y="28"/>
                  <a:pt x="162" y="28"/>
                </a:cubicBezTo>
                <a:cubicBezTo>
                  <a:pt x="164" y="25"/>
                  <a:pt x="160" y="24"/>
                  <a:pt x="163" y="25"/>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40" name="Freeform 37">
            <a:extLst>
              <a:ext uri="{FF2B5EF4-FFF2-40B4-BE49-F238E27FC236}">
                <a16:creationId xmlns:a16="http://schemas.microsoft.com/office/drawing/2014/main" id="{34A4B93B-A3FE-6AC2-687A-0815D1C3D4DC}"/>
              </a:ext>
            </a:extLst>
          </p:cNvPr>
          <p:cNvSpPr>
            <a:spLocks/>
          </p:cNvSpPr>
          <p:nvPr/>
        </p:nvSpPr>
        <p:spPr bwMode="auto">
          <a:xfrm>
            <a:off x="4767562" y="1757398"/>
            <a:ext cx="3154820" cy="1483854"/>
          </a:xfrm>
          <a:custGeom>
            <a:avLst/>
            <a:gdLst/>
            <a:ahLst/>
            <a:cxnLst>
              <a:cxn ang="0">
                <a:pos x="29" y="475"/>
              </a:cxn>
              <a:cxn ang="0">
                <a:pos x="81" y="400"/>
              </a:cxn>
              <a:cxn ang="0">
                <a:pos x="236" y="333"/>
              </a:cxn>
              <a:cxn ang="0">
                <a:pos x="275" y="325"/>
              </a:cxn>
              <a:cxn ang="0">
                <a:pos x="413" y="279"/>
              </a:cxn>
              <a:cxn ang="0">
                <a:pos x="400" y="239"/>
              </a:cxn>
              <a:cxn ang="0">
                <a:pos x="357" y="202"/>
              </a:cxn>
              <a:cxn ang="0">
                <a:pos x="304" y="312"/>
              </a:cxn>
              <a:cxn ang="0">
                <a:pos x="196" y="214"/>
              </a:cxn>
              <a:cxn ang="0">
                <a:pos x="386" y="104"/>
              </a:cxn>
              <a:cxn ang="0">
                <a:pos x="610" y="134"/>
              </a:cxn>
              <a:cxn ang="0">
                <a:pos x="576" y="196"/>
              </a:cxn>
              <a:cxn ang="0">
                <a:pos x="645" y="146"/>
              </a:cxn>
              <a:cxn ang="0">
                <a:pos x="730" y="131"/>
              </a:cxn>
              <a:cxn ang="0">
                <a:pos x="810" y="106"/>
              </a:cxn>
              <a:cxn ang="0">
                <a:pos x="895" y="98"/>
              </a:cxn>
              <a:cxn ang="0">
                <a:pos x="943" y="158"/>
              </a:cxn>
              <a:cxn ang="0">
                <a:pos x="976" y="75"/>
              </a:cxn>
              <a:cxn ang="0">
                <a:pos x="1004" y="83"/>
              </a:cxn>
              <a:cxn ang="0">
                <a:pos x="1032" y="71"/>
              </a:cxn>
              <a:cxn ang="0">
                <a:pos x="1325" y="12"/>
              </a:cxn>
              <a:cxn ang="0">
                <a:pos x="1335" y="60"/>
              </a:cxn>
              <a:cxn ang="0">
                <a:pos x="1619" y="79"/>
              </a:cxn>
              <a:cxn ang="0">
                <a:pos x="1830" y="89"/>
              </a:cxn>
              <a:cxn ang="0">
                <a:pos x="2080" y="108"/>
              </a:cxn>
              <a:cxn ang="0">
                <a:pos x="2287" y="204"/>
              </a:cxn>
              <a:cxn ang="0">
                <a:pos x="2133" y="247"/>
              </a:cxn>
              <a:cxn ang="0">
                <a:pos x="2110" y="354"/>
              </a:cxn>
              <a:cxn ang="0">
                <a:pos x="2085" y="231"/>
              </a:cxn>
              <a:cxn ang="0">
                <a:pos x="1882" y="258"/>
              </a:cxn>
              <a:cxn ang="0">
                <a:pos x="1918" y="350"/>
              </a:cxn>
              <a:cxn ang="0">
                <a:pos x="1845" y="504"/>
              </a:cxn>
              <a:cxn ang="0">
                <a:pos x="1826" y="561"/>
              </a:cxn>
              <a:cxn ang="0">
                <a:pos x="1717" y="528"/>
              </a:cxn>
              <a:cxn ang="0">
                <a:pos x="1732" y="598"/>
              </a:cxn>
              <a:cxn ang="0">
                <a:pos x="1686" y="780"/>
              </a:cxn>
              <a:cxn ang="0">
                <a:pos x="1657" y="895"/>
              </a:cxn>
              <a:cxn ang="0">
                <a:pos x="1536" y="905"/>
              </a:cxn>
              <a:cxn ang="0">
                <a:pos x="1575" y="1028"/>
              </a:cxn>
              <a:cxn ang="0">
                <a:pos x="1500" y="953"/>
              </a:cxn>
              <a:cxn ang="0">
                <a:pos x="1402" y="786"/>
              </a:cxn>
              <a:cxn ang="0">
                <a:pos x="1306" y="820"/>
              </a:cxn>
              <a:cxn ang="0">
                <a:pos x="1143" y="838"/>
              </a:cxn>
              <a:cxn ang="0">
                <a:pos x="1091" y="767"/>
              </a:cxn>
              <a:cxn ang="0">
                <a:pos x="878" y="713"/>
              </a:cxn>
              <a:cxn ang="0">
                <a:pos x="791" y="686"/>
              </a:cxn>
              <a:cxn ang="0">
                <a:pos x="949" y="770"/>
              </a:cxn>
              <a:cxn ang="0">
                <a:pos x="734" y="889"/>
              </a:cxn>
              <a:cxn ang="0">
                <a:pos x="605" y="676"/>
              </a:cxn>
              <a:cxn ang="0">
                <a:pos x="613" y="621"/>
              </a:cxn>
              <a:cxn ang="0">
                <a:pos x="486" y="552"/>
              </a:cxn>
              <a:cxn ang="0">
                <a:pos x="674" y="506"/>
              </a:cxn>
              <a:cxn ang="0">
                <a:pos x="636" y="444"/>
              </a:cxn>
              <a:cxn ang="0">
                <a:pos x="561" y="456"/>
              </a:cxn>
              <a:cxn ang="0">
                <a:pos x="451" y="530"/>
              </a:cxn>
              <a:cxn ang="0">
                <a:pos x="396" y="525"/>
              </a:cxn>
              <a:cxn ang="0">
                <a:pos x="342" y="500"/>
              </a:cxn>
              <a:cxn ang="0">
                <a:pos x="294" y="502"/>
              </a:cxn>
              <a:cxn ang="0">
                <a:pos x="133" y="540"/>
              </a:cxn>
            </a:cxnLst>
            <a:rect l="0" t="0" r="r" b="b"/>
            <a:pathLst>
              <a:path w="2296" h="1080">
                <a:moveTo>
                  <a:pt x="56" y="578"/>
                </a:moveTo>
                <a:cubicBezTo>
                  <a:pt x="46" y="575"/>
                  <a:pt x="47" y="571"/>
                  <a:pt x="39" y="565"/>
                </a:cubicBezTo>
                <a:cubicBezTo>
                  <a:pt x="30" y="568"/>
                  <a:pt x="23" y="565"/>
                  <a:pt x="14" y="563"/>
                </a:cubicBezTo>
                <a:cubicBezTo>
                  <a:pt x="17" y="554"/>
                  <a:pt x="18" y="547"/>
                  <a:pt x="8" y="544"/>
                </a:cubicBezTo>
                <a:cubicBezTo>
                  <a:pt x="0" y="533"/>
                  <a:pt x="10" y="530"/>
                  <a:pt x="16" y="521"/>
                </a:cubicBezTo>
                <a:cubicBezTo>
                  <a:pt x="9" y="499"/>
                  <a:pt x="5" y="481"/>
                  <a:pt x="29" y="475"/>
                </a:cubicBezTo>
                <a:cubicBezTo>
                  <a:pt x="57" y="479"/>
                  <a:pt x="85" y="479"/>
                  <a:pt x="113" y="477"/>
                </a:cubicBezTo>
                <a:cubicBezTo>
                  <a:pt x="117" y="472"/>
                  <a:pt x="121" y="459"/>
                  <a:pt x="121" y="459"/>
                </a:cubicBezTo>
                <a:cubicBezTo>
                  <a:pt x="119" y="450"/>
                  <a:pt x="117" y="430"/>
                  <a:pt x="110" y="423"/>
                </a:cubicBezTo>
                <a:cubicBezTo>
                  <a:pt x="105" y="418"/>
                  <a:pt x="91" y="419"/>
                  <a:pt x="83" y="417"/>
                </a:cubicBezTo>
                <a:cubicBezTo>
                  <a:pt x="79" y="414"/>
                  <a:pt x="71" y="414"/>
                  <a:pt x="69" y="409"/>
                </a:cubicBezTo>
                <a:cubicBezTo>
                  <a:pt x="67" y="404"/>
                  <a:pt x="76" y="401"/>
                  <a:pt x="81" y="400"/>
                </a:cubicBezTo>
                <a:cubicBezTo>
                  <a:pt x="90" y="398"/>
                  <a:pt x="99" y="399"/>
                  <a:pt x="108" y="398"/>
                </a:cubicBezTo>
                <a:cubicBezTo>
                  <a:pt x="115" y="387"/>
                  <a:pt x="123" y="390"/>
                  <a:pt x="136" y="392"/>
                </a:cubicBezTo>
                <a:cubicBezTo>
                  <a:pt x="143" y="390"/>
                  <a:pt x="148" y="386"/>
                  <a:pt x="154" y="383"/>
                </a:cubicBezTo>
                <a:cubicBezTo>
                  <a:pt x="155" y="381"/>
                  <a:pt x="161" y="372"/>
                  <a:pt x="163" y="371"/>
                </a:cubicBezTo>
                <a:cubicBezTo>
                  <a:pt x="167" y="369"/>
                  <a:pt x="175" y="367"/>
                  <a:pt x="175" y="367"/>
                </a:cubicBezTo>
                <a:cubicBezTo>
                  <a:pt x="192" y="331"/>
                  <a:pt x="208" y="342"/>
                  <a:pt x="236" y="333"/>
                </a:cubicBezTo>
                <a:cubicBezTo>
                  <a:pt x="240" y="321"/>
                  <a:pt x="239" y="310"/>
                  <a:pt x="232" y="300"/>
                </a:cubicBezTo>
                <a:cubicBezTo>
                  <a:pt x="232" y="297"/>
                  <a:pt x="230" y="291"/>
                  <a:pt x="232" y="288"/>
                </a:cubicBezTo>
                <a:cubicBezTo>
                  <a:pt x="236" y="283"/>
                  <a:pt x="244" y="283"/>
                  <a:pt x="250" y="281"/>
                </a:cubicBezTo>
                <a:cubicBezTo>
                  <a:pt x="252" y="280"/>
                  <a:pt x="256" y="279"/>
                  <a:pt x="256" y="279"/>
                </a:cubicBezTo>
                <a:cubicBezTo>
                  <a:pt x="262" y="291"/>
                  <a:pt x="261" y="295"/>
                  <a:pt x="259" y="310"/>
                </a:cubicBezTo>
                <a:cubicBezTo>
                  <a:pt x="263" y="323"/>
                  <a:pt x="271" y="313"/>
                  <a:pt x="275" y="325"/>
                </a:cubicBezTo>
                <a:cubicBezTo>
                  <a:pt x="270" y="339"/>
                  <a:pt x="285" y="329"/>
                  <a:pt x="292" y="327"/>
                </a:cubicBezTo>
                <a:cubicBezTo>
                  <a:pt x="301" y="330"/>
                  <a:pt x="304" y="337"/>
                  <a:pt x="313" y="340"/>
                </a:cubicBezTo>
                <a:cubicBezTo>
                  <a:pt x="326" y="331"/>
                  <a:pt x="329" y="322"/>
                  <a:pt x="346" y="321"/>
                </a:cubicBezTo>
                <a:cubicBezTo>
                  <a:pt x="358" y="318"/>
                  <a:pt x="377" y="323"/>
                  <a:pt x="388" y="319"/>
                </a:cubicBezTo>
                <a:cubicBezTo>
                  <a:pt x="399" y="302"/>
                  <a:pt x="383" y="329"/>
                  <a:pt x="394" y="287"/>
                </a:cubicBezTo>
                <a:cubicBezTo>
                  <a:pt x="395" y="282"/>
                  <a:pt x="409" y="280"/>
                  <a:pt x="413" y="279"/>
                </a:cubicBezTo>
                <a:cubicBezTo>
                  <a:pt x="422" y="281"/>
                  <a:pt x="426" y="287"/>
                  <a:pt x="434" y="288"/>
                </a:cubicBezTo>
                <a:cubicBezTo>
                  <a:pt x="437" y="278"/>
                  <a:pt x="434" y="276"/>
                  <a:pt x="426" y="271"/>
                </a:cubicBezTo>
                <a:cubicBezTo>
                  <a:pt x="416" y="248"/>
                  <a:pt x="457" y="249"/>
                  <a:pt x="482" y="248"/>
                </a:cubicBezTo>
                <a:cubicBezTo>
                  <a:pt x="485" y="247"/>
                  <a:pt x="496" y="252"/>
                  <a:pt x="497" y="248"/>
                </a:cubicBezTo>
                <a:cubicBezTo>
                  <a:pt x="501" y="239"/>
                  <a:pt x="479" y="239"/>
                  <a:pt x="469" y="239"/>
                </a:cubicBezTo>
                <a:cubicBezTo>
                  <a:pt x="450" y="240"/>
                  <a:pt x="416" y="241"/>
                  <a:pt x="400" y="239"/>
                </a:cubicBezTo>
                <a:cubicBezTo>
                  <a:pt x="394" y="238"/>
                  <a:pt x="392" y="221"/>
                  <a:pt x="392" y="221"/>
                </a:cubicBezTo>
                <a:cubicBezTo>
                  <a:pt x="393" y="215"/>
                  <a:pt x="392" y="208"/>
                  <a:pt x="394" y="202"/>
                </a:cubicBezTo>
                <a:cubicBezTo>
                  <a:pt x="394" y="202"/>
                  <a:pt x="426" y="181"/>
                  <a:pt x="430" y="179"/>
                </a:cubicBezTo>
                <a:cubicBezTo>
                  <a:pt x="435" y="165"/>
                  <a:pt x="429" y="166"/>
                  <a:pt x="415" y="164"/>
                </a:cubicBezTo>
                <a:cubicBezTo>
                  <a:pt x="394" y="166"/>
                  <a:pt x="388" y="164"/>
                  <a:pt x="382" y="183"/>
                </a:cubicBezTo>
                <a:cubicBezTo>
                  <a:pt x="374" y="191"/>
                  <a:pt x="374" y="200"/>
                  <a:pt x="357" y="202"/>
                </a:cubicBezTo>
                <a:cubicBezTo>
                  <a:pt x="349" y="209"/>
                  <a:pt x="346" y="213"/>
                  <a:pt x="340" y="221"/>
                </a:cubicBezTo>
                <a:cubicBezTo>
                  <a:pt x="336" y="233"/>
                  <a:pt x="346" y="243"/>
                  <a:pt x="357" y="246"/>
                </a:cubicBezTo>
                <a:cubicBezTo>
                  <a:pt x="362" y="249"/>
                  <a:pt x="363" y="241"/>
                  <a:pt x="363" y="247"/>
                </a:cubicBezTo>
                <a:cubicBezTo>
                  <a:pt x="346" y="257"/>
                  <a:pt x="354" y="269"/>
                  <a:pt x="340" y="271"/>
                </a:cubicBezTo>
                <a:cubicBezTo>
                  <a:pt x="336" y="284"/>
                  <a:pt x="336" y="296"/>
                  <a:pt x="321" y="300"/>
                </a:cubicBezTo>
                <a:cubicBezTo>
                  <a:pt x="307" y="309"/>
                  <a:pt x="313" y="305"/>
                  <a:pt x="304" y="312"/>
                </a:cubicBezTo>
                <a:cubicBezTo>
                  <a:pt x="281" y="306"/>
                  <a:pt x="294" y="298"/>
                  <a:pt x="282" y="283"/>
                </a:cubicBezTo>
                <a:cubicBezTo>
                  <a:pt x="278" y="270"/>
                  <a:pt x="272" y="266"/>
                  <a:pt x="261" y="258"/>
                </a:cubicBezTo>
                <a:cubicBezTo>
                  <a:pt x="247" y="261"/>
                  <a:pt x="237" y="270"/>
                  <a:pt x="225" y="277"/>
                </a:cubicBezTo>
                <a:cubicBezTo>
                  <a:pt x="217" y="274"/>
                  <a:pt x="213" y="271"/>
                  <a:pt x="208" y="265"/>
                </a:cubicBezTo>
                <a:cubicBezTo>
                  <a:pt x="205" y="255"/>
                  <a:pt x="197" y="250"/>
                  <a:pt x="194" y="240"/>
                </a:cubicBezTo>
                <a:cubicBezTo>
                  <a:pt x="195" y="231"/>
                  <a:pt x="192" y="222"/>
                  <a:pt x="196" y="214"/>
                </a:cubicBezTo>
                <a:cubicBezTo>
                  <a:pt x="198" y="210"/>
                  <a:pt x="204" y="211"/>
                  <a:pt x="208" y="210"/>
                </a:cubicBezTo>
                <a:cubicBezTo>
                  <a:pt x="221" y="206"/>
                  <a:pt x="235" y="200"/>
                  <a:pt x="248" y="196"/>
                </a:cubicBezTo>
                <a:cubicBezTo>
                  <a:pt x="256" y="193"/>
                  <a:pt x="271" y="183"/>
                  <a:pt x="271" y="183"/>
                </a:cubicBezTo>
                <a:cubicBezTo>
                  <a:pt x="279" y="171"/>
                  <a:pt x="286" y="158"/>
                  <a:pt x="298" y="150"/>
                </a:cubicBezTo>
                <a:cubicBezTo>
                  <a:pt x="305" y="139"/>
                  <a:pt x="328" y="122"/>
                  <a:pt x="342" y="120"/>
                </a:cubicBezTo>
                <a:cubicBezTo>
                  <a:pt x="356" y="111"/>
                  <a:pt x="369" y="106"/>
                  <a:pt x="386" y="104"/>
                </a:cubicBezTo>
                <a:cubicBezTo>
                  <a:pt x="398" y="102"/>
                  <a:pt x="421" y="100"/>
                  <a:pt x="421" y="100"/>
                </a:cubicBezTo>
                <a:cubicBezTo>
                  <a:pt x="431" y="100"/>
                  <a:pt x="449" y="88"/>
                  <a:pt x="458" y="89"/>
                </a:cubicBezTo>
                <a:cubicBezTo>
                  <a:pt x="467" y="90"/>
                  <a:pt x="464" y="103"/>
                  <a:pt x="474" y="107"/>
                </a:cubicBezTo>
                <a:cubicBezTo>
                  <a:pt x="484" y="111"/>
                  <a:pt x="501" y="109"/>
                  <a:pt x="516" y="112"/>
                </a:cubicBezTo>
                <a:cubicBezTo>
                  <a:pt x="533" y="118"/>
                  <a:pt x="549" y="121"/>
                  <a:pt x="567" y="125"/>
                </a:cubicBezTo>
                <a:cubicBezTo>
                  <a:pt x="579" y="130"/>
                  <a:pt x="598" y="133"/>
                  <a:pt x="610" y="134"/>
                </a:cubicBezTo>
                <a:cubicBezTo>
                  <a:pt x="622" y="146"/>
                  <a:pt x="601" y="157"/>
                  <a:pt x="590" y="160"/>
                </a:cubicBezTo>
                <a:cubicBezTo>
                  <a:pt x="567" y="158"/>
                  <a:pt x="550" y="151"/>
                  <a:pt x="528" y="144"/>
                </a:cubicBezTo>
                <a:cubicBezTo>
                  <a:pt x="527" y="144"/>
                  <a:pt x="513" y="145"/>
                  <a:pt x="515" y="152"/>
                </a:cubicBezTo>
                <a:cubicBezTo>
                  <a:pt x="517" y="159"/>
                  <a:pt x="528" y="160"/>
                  <a:pt x="534" y="164"/>
                </a:cubicBezTo>
                <a:cubicBezTo>
                  <a:pt x="536" y="165"/>
                  <a:pt x="540" y="168"/>
                  <a:pt x="540" y="168"/>
                </a:cubicBezTo>
                <a:cubicBezTo>
                  <a:pt x="546" y="188"/>
                  <a:pt x="558" y="190"/>
                  <a:pt x="576" y="196"/>
                </a:cubicBezTo>
                <a:cubicBezTo>
                  <a:pt x="587" y="192"/>
                  <a:pt x="579" y="187"/>
                  <a:pt x="572" y="185"/>
                </a:cubicBezTo>
                <a:cubicBezTo>
                  <a:pt x="566" y="167"/>
                  <a:pt x="595" y="180"/>
                  <a:pt x="603" y="183"/>
                </a:cubicBezTo>
                <a:cubicBezTo>
                  <a:pt x="618" y="180"/>
                  <a:pt x="613" y="176"/>
                  <a:pt x="603" y="173"/>
                </a:cubicBezTo>
                <a:cubicBezTo>
                  <a:pt x="608" y="164"/>
                  <a:pt x="615" y="159"/>
                  <a:pt x="624" y="156"/>
                </a:cubicBezTo>
                <a:cubicBezTo>
                  <a:pt x="638" y="158"/>
                  <a:pt x="635" y="154"/>
                  <a:pt x="645" y="161"/>
                </a:cubicBezTo>
                <a:cubicBezTo>
                  <a:pt x="663" y="157"/>
                  <a:pt x="659" y="151"/>
                  <a:pt x="645" y="146"/>
                </a:cubicBezTo>
                <a:cubicBezTo>
                  <a:pt x="644" y="141"/>
                  <a:pt x="644" y="134"/>
                  <a:pt x="642" y="131"/>
                </a:cubicBezTo>
                <a:cubicBezTo>
                  <a:pt x="640" y="128"/>
                  <a:pt x="629" y="129"/>
                  <a:pt x="634" y="129"/>
                </a:cubicBezTo>
                <a:cubicBezTo>
                  <a:pt x="647" y="120"/>
                  <a:pt x="657" y="124"/>
                  <a:pt x="670" y="131"/>
                </a:cubicBezTo>
                <a:cubicBezTo>
                  <a:pt x="676" y="134"/>
                  <a:pt x="654" y="136"/>
                  <a:pt x="657" y="139"/>
                </a:cubicBezTo>
                <a:cubicBezTo>
                  <a:pt x="660" y="142"/>
                  <a:pt x="677" y="149"/>
                  <a:pt x="689" y="148"/>
                </a:cubicBezTo>
                <a:cubicBezTo>
                  <a:pt x="701" y="133"/>
                  <a:pt x="712" y="133"/>
                  <a:pt x="730" y="131"/>
                </a:cubicBezTo>
                <a:cubicBezTo>
                  <a:pt x="739" y="128"/>
                  <a:pt x="746" y="122"/>
                  <a:pt x="755" y="118"/>
                </a:cubicBezTo>
                <a:cubicBezTo>
                  <a:pt x="758" y="121"/>
                  <a:pt x="756" y="127"/>
                  <a:pt x="760" y="129"/>
                </a:cubicBezTo>
                <a:cubicBezTo>
                  <a:pt x="762" y="130"/>
                  <a:pt x="772" y="125"/>
                  <a:pt x="774" y="125"/>
                </a:cubicBezTo>
                <a:cubicBezTo>
                  <a:pt x="784" y="124"/>
                  <a:pt x="793" y="124"/>
                  <a:pt x="803" y="123"/>
                </a:cubicBezTo>
                <a:cubicBezTo>
                  <a:pt x="817" y="127"/>
                  <a:pt x="808" y="132"/>
                  <a:pt x="826" y="129"/>
                </a:cubicBezTo>
                <a:cubicBezTo>
                  <a:pt x="841" y="119"/>
                  <a:pt x="820" y="109"/>
                  <a:pt x="810" y="106"/>
                </a:cubicBezTo>
                <a:cubicBezTo>
                  <a:pt x="808" y="105"/>
                  <a:pt x="803" y="103"/>
                  <a:pt x="805" y="102"/>
                </a:cubicBezTo>
                <a:cubicBezTo>
                  <a:pt x="813" y="99"/>
                  <a:pt x="828" y="108"/>
                  <a:pt x="828" y="108"/>
                </a:cubicBezTo>
                <a:cubicBezTo>
                  <a:pt x="837" y="111"/>
                  <a:pt x="850" y="107"/>
                  <a:pt x="864" y="110"/>
                </a:cubicBezTo>
                <a:cubicBezTo>
                  <a:pt x="878" y="113"/>
                  <a:pt x="899" y="123"/>
                  <a:pt x="910" y="125"/>
                </a:cubicBezTo>
                <a:cubicBezTo>
                  <a:pt x="920" y="127"/>
                  <a:pt x="922" y="132"/>
                  <a:pt x="928" y="123"/>
                </a:cubicBezTo>
                <a:cubicBezTo>
                  <a:pt x="916" y="117"/>
                  <a:pt x="903" y="109"/>
                  <a:pt x="895" y="98"/>
                </a:cubicBezTo>
                <a:cubicBezTo>
                  <a:pt x="898" y="85"/>
                  <a:pt x="901" y="80"/>
                  <a:pt x="903" y="66"/>
                </a:cubicBezTo>
                <a:cubicBezTo>
                  <a:pt x="916" y="68"/>
                  <a:pt x="927" y="69"/>
                  <a:pt x="939" y="75"/>
                </a:cubicBezTo>
                <a:cubicBezTo>
                  <a:pt x="944" y="89"/>
                  <a:pt x="939" y="85"/>
                  <a:pt x="949" y="91"/>
                </a:cubicBezTo>
                <a:cubicBezTo>
                  <a:pt x="957" y="104"/>
                  <a:pt x="967" y="113"/>
                  <a:pt x="976" y="125"/>
                </a:cubicBezTo>
                <a:cubicBezTo>
                  <a:pt x="979" y="142"/>
                  <a:pt x="980" y="143"/>
                  <a:pt x="966" y="148"/>
                </a:cubicBezTo>
                <a:cubicBezTo>
                  <a:pt x="960" y="153"/>
                  <a:pt x="946" y="150"/>
                  <a:pt x="943" y="158"/>
                </a:cubicBezTo>
                <a:cubicBezTo>
                  <a:pt x="957" y="161"/>
                  <a:pt x="968" y="158"/>
                  <a:pt x="981" y="154"/>
                </a:cubicBezTo>
                <a:cubicBezTo>
                  <a:pt x="995" y="145"/>
                  <a:pt x="989" y="148"/>
                  <a:pt x="999" y="143"/>
                </a:cubicBezTo>
                <a:cubicBezTo>
                  <a:pt x="997" y="130"/>
                  <a:pt x="988" y="123"/>
                  <a:pt x="1004" y="118"/>
                </a:cubicBezTo>
                <a:cubicBezTo>
                  <a:pt x="996" y="116"/>
                  <a:pt x="988" y="114"/>
                  <a:pt x="979" y="112"/>
                </a:cubicBezTo>
                <a:cubicBezTo>
                  <a:pt x="976" y="102"/>
                  <a:pt x="969" y="97"/>
                  <a:pt x="960" y="91"/>
                </a:cubicBezTo>
                <a:cubicBezTo>
                  <a:pt x="962" y="68"/>
                  <a:pt x="959" y="67"/>
                  <a:pt x="976" y="75"/>
                </a:cubicBezTo>
                <a:cubicBezTo>
                  <a:pt x="985" y="86"/>
                  <a:pt x="987" y="94"/>
                  <a:pt x="1002" y="98"/>
                </a:cubicBezTo>
                <a:cubicBezTo>
                  <a:pt x="1009" y="97"/>
                  <a:pt x="1016" y="98"/>
                  <a:pt x="1022" y="96"/>
                </a:cubicBezTo>
                <a:cubicBezTo>
                  <a:pt x="1024" y="95"/>
                  <a:pt x="1018" y="94"/>
                  <a:pt x="1016" y="93"/>
                </a:cubicBezTo>
                <a:cubicBezTo>
                  <a:pt x="1008" y="90"/>
                  <a:pt x="999" y="88"/>
                  <a:pt x="991" y="85"/>
                </a:cubicBezTo>
                <a:cubicBezTo>
                  <a:pt x="993" y="84"/>
                  <a:pt x="995" y="81"/>
                  <a:pt x="997" y="81"/>
                </a:cubicBezTo>
                <a:cubicBezTo>
                  <a:pt x="999" y="81"/>
                  <a:pt x="1006" y="84"/>
                  <a:pt x="1004" y="83"/>
                </a:cubicBezTo>
                <a:cubicBezTo>
                  <a:pt x="997" y="80"/>
                  <a:pt x="990" y="77"/>
                  <a:pt x="983" y="75"/>
                </a:cubicBezTo>
                <a:cubicBezTo>
                  <a:pt x="986" y="74"/>
                  <a:pt x="1015" y="70"/>
                  <a:pt x="1025" y="72"/>
                </a:cubicBezTo>
                <a:cubicBezTo>
                  <a:pt x="1035" y="74"/>
                  <a:pt x="1039" y="83"/>
                  <a:pt x="1045" y="85"/>
                </a:cubicBezTo>
                <a:cubicBezTo>
                  <a:pt x="1050" y="84"/>
                  <a:pt x="1059" y="88"/>
                  <a:pt x="1060" y="83"/>
                </a:cubicBezTo>
                <a:cubicBezTo>
                  <a:pt x="1061" y="78"/>
                  <a:pt x="1048" y="75"/>
                  <a:pt x="1048" y="75"/>
                </a:cubicBezTo>
                <a:cubicBezTo>
                  <a:pt x="1044" y="72"/>
                  <a:pt x="1035" y="73"/>
                  <a:pt x="1032" y="71"/>
                </a:cubicBezTo>
                <a:cubicBezTo>
                  <a:pt x="1029" y="69"/>
                  <a:pt x="1019" y="64"/>
                  <a:pt x="1027" y="60"/>
                </a:cubicBezTo>
                <a:cubicBezTo>
                  <a:pt x="1043" y="48"/>
                  <a:pt x="1063" y="49"/>
                  <a:pt x="1083" y="48"/>
                </a:cubicBezTo>
                <a:cubicBezTo>
                  <a:pt x="1073" y="40"/>
                  <a:pt x="1083" y="32"/>
                  <a:pt x="1093" y="29"/>
                </a:cubicBezTo>
                <a:cubicBezTo>
                  <a:pt x="1111" y="15"/>
                  <a:pt x="1160" y="19"/>
                  <a:pt x="1181" y="18"/>
                </a:cubicBezTo>
                <a:cubicBezTo>
                  <a:pt x="1196" y="13"/>
                  <a:pt x="1207" y="10"/>
                  <a:pt x="1219" y="0"/>
                </a:cubicBezTo>
                <a:cubicBezTo>
                  <a:pt x="1255" y="2"/>
                  <a:pt x="1289" y="9"/>
                  <a:pt x="1325" y="12"/>
                </a:cubicBezTo>
                <a:cubicBezTo>
                  <a:pt x="1336" y="15"/>
                  <a:pt x="1352" y="15"/>
                  <a:pt x="1359" y="24"/>
                </a:cubicBezTo>
                <a:cubicBezTo>
                  <a:pt x="1357" y="35"/>
                  <a:pt x="1353" y="37"/>
                  <a:pt x="1342" y="41"/>
                </a:cubicBezTo>
                <a:cubicBezTo>
                  <a:pt x="1336" y="48"/>
                  <a:pt x="1329" y="51"/>
                  <a:pt x="1320" y="54"/>
                </a:cubicBezTo>
                <a:cubicBezTo>
                  <a:pt x="1315" y="60"/>
                  <a:pt x="1299" y="64"/>
                  <a:pt x="1310" y="68"/>
                </a:cubicBezTo>
                <a:cubicBezTo>
                  <a:pt x="1321" y="65"/>
                  <a:pt x="1315" y="67"/>
                  <a:pt x="1329" y="62"/>
                </a:cubicBezTo>
                <a:cubicBezTo>
                  <a:pt x="1331" y="61"/>
                  <a:pt x="1335" y="60"/>
                  <a:pt x="1335" y="60"/>
                </a:cubicBezTo>
                <a:cubicBezTo>
                  <a:pt x="1348" y="60"/>
                  <a:pt x="1382" y="52"/>
                  <a:pt x="1408" y="52"/>
                </a:cubicBezTo>
                <a:cubicBezTo>
                  <a:pt x="1434" y="52"/>
                  <a:pt x="1472" y="62"/>
                  <a:pt x="1490" y="62"/>
                </a:cubicBezTo>
                <a:cubicBezTo>
                  <a:pt x="1501" y="51"/>
                  <a:pt x="1501" y="52"/>
                  <a:pt x="1519" y="54"/>
                </a:cubicBezTo>
                <a:cubicBezTo>
                  <a:pt x="1535" y="59"/>
                  <a:pt x="1551" y="57"/>
                  <a:pt x="1567" y="62"/>
                </a:cubicBezTo>
                <a:cubicBezTo>
                  <a:pt x="1578" y="76"/>
                  <a:pt x="1592" y="85"/>
                  <a:pt x="1607" y="95"/>
                </a:cubicBezTo>
                <a:cubicBezTo>
                  <a:pt x="1618" y="92"/>
                  <a:pt x="1616" y="90"/>
                  <a:pt x="1619" y="79"/>
                </a:cubicBezTo>
                <a:cubicBezTo>
                  <a:pt x="1626" y="81"/>
                  <a:pt x="1640" y="85"/>
                  <a:pt x="1640" y="85"/>
                </a:cubicBezTo>
                <a:cubicBezTo>
                  <a:pt x="1655" y="80"/>
                  <a:pt x="1661" y="81"/>
                  <a:pt x="1678" y="83"/>
                </a:cubicBezTo>
                <a:cubicBezTo>
                  <a:pt x="1688" y="85"/>
                  <a:pt x="1690" y="90"/>
                  <a:pt x="1696" y="81"/>
                </a:cubicBezTo>
                <a:cubicBezTo>
                  <a:pt x="1698" y="72"/>
                  <a:pt x="1700" y="70"/>
                  <a:pt x="1709" y="68"/>
                </a:cubicBezTo>
                <a:cubicBezTo>
                  <a:pt x="1744" y="70"/>
                  <a:pt x="1770" y="67"/>
                  <a:pt x="1805" y="72"/>
                </a:cubicBezTo>
                <a:cubicBezTo>
                  <a:pt x="1813" y="77"/>
                  <a:pt x="1822" y="84"/>
                  <a:pt x="1830" y="89"/>
                </a:cubicBezTo>
                <a:cubicBezTo>
                  <a:pt x="1847" y="100"/>
                  <a:pt x="1884" y="89"/>
                  <a:pt x="1903" y="91"/>
                </a:cubicBezTo>
                <a:cubicBezTo>
                  <a:pt x="1922" y="93"/>
                  <a:pt x="1950" y="101"/>
                  <a:pt x="1950" y="101"/>
                </a:cubicBezTo>
                <a:cubicBezTo>
                  <a:pt x="1974" y="120"/>
                  <a:pt x="2016" y="103"/>
                  <a:pt x="2055" y="118"/>
                </a:cubicBezTo>
                <a:cubicBezTo>
                  <a:pt x="2068" y="124"/>
                  <a:pt x="2075" y="120"/>
                  <a:pt x="2090" y="122"/>
                </a:cubicBezTo>
                <a:cubicBezTo>
                  <a:pt x="2100" y="119"/>
                  <a:pt x="2096" y="124"/>
                  <a:pt x="2091" y="118"/>
                </a:cubicBezTo>
                <a:cubicBezTo>
                  <a:pt x="2081" y="108"/>
                  <a:pt x="2078" y="108"/>
                  <a:pt x="2080" y="108"/>
                </a:cubicBezTo>
                <a:cubicBezTo>
                  <a:pt x="2099" y="106"/>
                  <a:pt x="2118" y="111"/>
                  <a:pt x="2137" y="112"/>
                </a:cubicBezTo>
                <a:cubicBezTo>
                  <a:pt x="2156" y="115"/>
                  <a:pt x="2171" y="111"/>
                  <a:pt x="2190" y="113"/>
                </a:cubicBezTo>
                <a:cubicBezTo>
                  <a:pt x="2199" y="119"/>
                  <a:pt x="2211" y="130"/>
                  <a:pt x="2220" y="135"/>
                </a:cubicBezTo>
                <a:cubicBezTo>
                  <a:pt x="2232" y="143"/>
                  <a:pt x="2249" y="161"/>
                  <a:pt x="2261" y="169"/>
                </a:cubicBezTo>
                <a:cubicBezTo>
                  <a:pt x="2264" y="177"/>
                  <a:pt x="2242" y="172"/>
                  <a:pt x="2247" y="179"/>
                </a:cubicBezTo>
                <a:cubicBezTo>
                  <a:pt x="2258" y="195"/>
                  <a:pt x="2270" y="200"/>
                  <a:pt x="2287" y="204"/>
                </a:cubicBezTo>
                <a:cubicBezTo>
                  <a:pt x="2296" y="218"/>
                  <a:pt x="2264" y="209"/>
                  <a:pt x="2254" y="210"/>
                </a:cubicBezTo>
                <a:cubicBezTo>
                  <a:pt x="2224" y="221"/>
                  <a:pt x="2234" y="235"/>
                  <a:pt x="2208" y="244"/>
                </a:cubicBezTo>
                <a:cubicBezTo>
                  <a:pt x="2198" y="237"/>
                  <a:pt x="2192" y="239"/>
                  <a:pt x="2179" y="240"/>
                </a:cubicBezTo>
                <a:cubicBezTo>
                  <a:pt x="2178" y="241"/>
                  <a:pt x="2169" y="241"/>
                  <a:pt x="2168" y="241"/>
                </a:cubicBezTo>
                <a:cubicBezTo>
                  <a:pt x="2164" y="241"/>
                  <a:pt x="2156" y="244"/>
                  <a:pt x="2156" y="244"/>
                </a:cubicBezTo>
                <a:cubicBezTo>
                  <a:pt x="2149" y="248"/>
                  <a:pt x="2139" y="241"/>
                  <a:pt x="2133" y="247"/>
                </a:cubicBezTo>
                <a:cubicBezTo>
                  <a:pt x="2126" y="271"/>
                  <a:pt x="2142" y="284"/>
                  <a:pt x="2160" y="290"/>
                </a:cubicBezTo>
                <a:cubicBezTo>
                  <a:pt x="2168" y="298"/>
                  <a:pt x="2168" y="303"/>
                  <a:pt x="2156" y="306"/>
                </a:cubicBezTo>
                <a:cubicBezTo>
                  <a:pt x="2166" y="312"/>
                  <a:pt x="2170" y="318"/>
                  <a:pt x="2156" y="323"/>
                </a:cubicBezTo>
                <a:cubicBezTo>
                  <a:pt x="2146" y="331"/>
                  <a:pt x="2154" y="342"/>
                  <a:pt x="2143" y="350"/>
                </a:cubicBezTo>
                <a:cubicBezTo>
                  <a:pt x="2140" y="358"/>
                  <a:pt x="2140" y="362"/>
                  <a:pt x="2133" y="369"/>
                </a:cubicBezTo>
                <a:cubicBezTo>
                  <a:pt x="2123" y="366"/>
                  <a:pt x="2120" y="357"/>
                  <a:pt x="2110" y="354"/>
                </a:cubicBezTo>
                <a:cubicBezTo>
                  <a:pt x="2104" y="344"/>
                  <a:pt x="2103" y="331"/>
                  <a:pt x="2093" y="325"/>
                </a:cubicBezTo>
                <a:cubicBezTo>
                  <a:pt x="2090" y="316"/>
                  <a:pt x="2084" y="302"/>
                  <a:pt x="2076" y="296"/>
                </a:cubicBezTo>
                <a:cubicBezTo>
                  <a:pt x="2071" y="281"/>
                  <a:pt x="2086" y="268"/>
                  <a:pt x="2099" y="262"/>
                </a:cubicBezTo>
                <a:cubicBezTo>
                  <a:pt x="2103" y="251"/>
                  <a:pt x="2108" y="248"/>
                  <a:pt x="2116" y="240"/>
                </a:cubicBezTo>
                <a:cubicBezTo>
                  <a:pt x="2120" y="227"/>
                  <a:pt x="2112" y="218"/>
                  <a:pt x="2099" y="216"/>
                </a:cubicBezTo>
                <a:cubicBezTo>
                  <a:pt x="2097" y="223"/>
                  <a:pt x="2085" y="231"/>
                  <a:pt x="2085" y="231"/>
                </a:cubicBezTo>
                <a:cubicBezTo>
                  <a:pt x="2078" y="242"/>
                  <a:pt x="2069" y="227"/>
                  <a:pt x="2058" y="223"/>
                </a:cubicBezTo>
                <a:cubicBezTo>
                  <a:pt x="2045" y="227"/>
                  <a:pt x="2039" y="222"/>
                  <a:pt x="2026" y="225"/>
                </a:cubicBezTo>
                <a:cubicBezTo>
                  <a:pt x="2023" y="234"/>
                  <a:pt x="2022" y="249"/>
                  <a:pt x="2030" y="254"/>
                </a:cubicBezTo>
                <a:cubicBezTo>
                  <a:pt x="2025" y="270"/>
                  <a:pt x="1984" y="253"/>
                  <a:pt x="1970" y="250"/>
                </a:cubicBezTo>
                <a:cubicBezTo>
                  <a:pt x="1952" y="251"/>
                  <a:pt x="1932" y="256"/>
                  <a:pt x="1914" y="252"/>
                </a:cubicBezTo>
                <a:cubicBezTo>
                  <a:pt x="1903" y="254"/>
                  <a:pt x="1882" y="258"/>
                  <a:pt x="1882" y="258"/>
                </a:cubicBezTo>
                <a:cubicBezTo>
                  <a:pt x="1876" y="264"/>
                  <a:pt x="1874" y="270"/>
                  <a:pt x="1866" y="273"/>
                </a:cubicBezTo>
                <a:cubicBezTo>
                  <a:pt x="1856" y="285"/>
                  <a:pt x="1845" y="293"/>
                  <a:pt x="1836" y="306"/>
                </a:cubicBezTo>
                <a:cubicBezTo>
                  <a:pt x="1841" y="323"/>
                  <a:pt x="1821" y="305"/>
                  <a:pt x="1832" y="315"/>
                </a:cubicBezTo>
                <a:cubicBezTo>
                  <a:pt x="1839" y="321"/>
                  <a:pt x="1841" y="322"/>
                  <a:pt x="1851" y="327"/>
                </a:cubicBezTo>
                <a:cubicBezTo>
                  <a:pt x="1856" y="330"/>
                  <a:pt x="1874" y="325"/>
                  <a:pt x="1880" y="326"/>
                </a:cubicBezTo>
                <a:cubicBezTo>
                  <a:pt x="1891" y="330"/>
                  <a:pt x="1914" y="341"/>
                  <a:pt x="1918" y="350"/>
                </a:cubicBezTo>
                <a:cubicBezTo>
                  <a:pt x="1937" y="369"/>
                  <a:pt x="1927" y="382"/>
                  <a:pt x="1905" y="388"/>
                </a:cubicBezTo>
                <a:cubicBezTo>
                  <a:pt x="1900" y="404"/>
                  <a:pt x="1918" y="422"/>
                  <a:pt x="1926" y="436"/>
                </a:cubicBezTo>
                <a:cubicBezTo>
                  <a:pt x="1923" y="456"/>
                  <a:pt x="1912" y="475"/>
                  <a:pt x="1891" y="482"/>
                </a:cubicBezTo>
                <a:cubicBezTo>
                  <a:pt x="1881" y="490"/>
                  <a:pt x="1868" y="479"/>
                  <a:pt x="1862" y="480"/>
                </a:cubicBezTo>
                <a:cubicBezTo>
                  <a:pt x="1856" y="481"/>
                  <a:pt x="1860" y="486"/>
                  <a:pt x="1857" y="490"/>
                </a:cubicBezTo>
                <a:cubicBezTo>
                  <a:pt x="1849" y="492"/>
                  <a:pt x="1852" y="500"/>
                  <a:pt x="1845" y="504"/>
                </a:cubicBezTo>
                <a:cubicBezTo>
                  <a:pt x="1842" y="512"/>
                  <a:pt x="1831" y="511"/>
                  <a:pt x="1834" y="519"/>
                </a:cubicBezTo>
                <a:cubicBezTo>
                  <a:pt x="1832" y="524"/>
                  <a:pt x="1823" y="529"/>
                  <a:pt x="1823" y="532"/>
                </a:cubicBezTo>
                <a:cubicBezTo>
                  <a:pt x="1823" y="535"/>
                  <a:pt x="1829" y="533"/>
                  <a:pt x="1836" y="540"/>
                </a:cubicBezTo>
                <a:cubicBezTo>
                  <a:pt x="1839" y="553"/>
                  <a:pt x="1858" y="561"/>
                  <a:pt x="1863" y="575"/>
                </a:cubicBezTo>
                <a:cubicBezTo>
                  <a:pt x="1867" y="605"/>
                  <a:pt x="1861" y="595"/>
                  <a:pt x="1834" y="603"/>
                </a:cubicBezTo>
                <a:cubicBezTo>
                  <a:pt x="1822" y="591"/>
                  <a:pt x="1835" y="576"/>
                  <a:pt x="1826" y="561"/>
                </a:cubicBezTo>
                <a:cubicBezTo>
                  <a:pt x="1821" y="552"/>
                  <a:pt x="1799" y="556"/>
                  <a:pt x="1793" y="548"/>
                </a:cubicBezTo>
                <a:cubicBezTo>
                  <a:pt x="1791" y="538"/>
                  <a:pt x="1800" y="532"/>
                  <a:pt x="1792" y="527"/>
                </a:cubicBezTo>
                <a:cubicBezTo>
                  <a:pt x="1788" y="524"/>
                  <a:pt x="1774" y="525"/>
                  <a:pt x="1767" y="526"/>
                </a:cubicBezTo>
                <a:cubicBezTo>
                  <a:pt x="1760" y="527"/>
                  <a:pt x="1751" y="537"/>
                  <a:pt x="1747" y="536"/>
                </a:cubicBezTo>
                <a:cubicBezTo>
                  <a:pt x="1746" y="530"/>
                  <a:pt x="1749" y="523"/>
                  <a:pt x="1744" y="519"/>
                </a:cubicBezTo>
                <a:cubicBezTo>
                  <a:pt x="1737" y="513"/>
                  <a:pt x="1717" y="528"/>
                  <a:pt x="1717" y="528"/>
                </a:cubicBezTo>
                <a:cubicBezTo>
                  <a:pt x="1712" y="535"/>
                  <a:pt x="1707" y="537"/>
                  <a:pt x="1699" y="540"/>
                </a:cubicBezTo>
                <a:cubicBezTo>
                  <a:pt x="1697" y="545"/>
                  <a:pt x="1705" y="546"/>
                  <a:pt x="1714" y="550"/>
                </a:cubicBezTo>
                <a:cubicBezTo>
                  <a:pt x="1718" y="554"/>
                  <a:pt x="1719" y="564"/>
                  <a:pt x="1726" y="565"/>
                </a:cubicBezTo>
                <a:cubicBezTo>
                  <a:pt x="1733" y="566"/>
                  <a:pt x="1752" y="554"/>
                  <a:pt x="1755" y="557"/>
                </a:cubicBezTo>
                <a:cubicBezTo>
                  <a:pt x="1767" y="565"/>
                  <a:pt x="1757" y="579"/>
                  <a:pt x="1747" y="582"/>
                </a:cubicBezTo>
                <a:cubicBezTo>
                  <a:pt x="1742" y="588"/>
                  <a:pt x="1739" y="593"/>
                  <a:pt x="1732" y="598"/>
                </a:cubicBezTo>
                <a:cubicBezTo>
                  <a:pt x="1739" y="600"/>
                  <a:pt x="1769" y="631"/>
                  <a:pt x="1774" y="638"/>
                </a:cubicBezTo>
                <a:cubicBezTo>
                  <a:pt x="1777" y="648"/>
                  <a:pt x="1777" y="657"/>
                  <a:pt x="1768" y="663"/>
                </a:cubicBezTo>
                <a:cubicBezTo>
                  <a:pt x="1777" y="666"/>
                  <a:pt x="1783" y="663"/>
                  <a:pt x="1786" y="674"/>
                </a:cubicBezTo>
                <a:cubicBezTo>
                  <a:pt x="1784" y="681"/>
                  <a:pt x="1780" y="696"/>
                  <a:pt x="1780" y="696"/>
                </a:cubicBezTo>
                <a:cubicBezTo>
                  <a:pt x="1763" y="710"/>
                  <a:pt x="1777" y="735"/>
                  <a:pt x="1761" y="740"/>
                </a:cubicBezTo>
                <a:cubicBezTo>
                  <a:pt x="1746" y="759"/>
                  <a:pt x="1710" y="776"/>
                  <a:pt x="1686" y="780"/>
                </a:cubicBezTo>
                <a:cubicBezTo>
                  <a:pt x="1673" y="782"/>
                  <a:pt x="1665" y="787"/>
                  <a:pt x="1653" y="793"/>
                </a:cubicBezTo>
                <a:cubicBezTo>
                  <a:pt x="1645" y="794"/>
                  <a:pt x="1645" y="783"/>
                  <a:pt x="1636" y="784"/>
                </a:cubicBezTo>
                <a:cubicBezTo>
                  <a:pt x="1605" y="786"/>
                  <a:pt x="1614" y="781"/>
                  <a:pt x="1601" y="797"/>
                </a:cubicBezTo>
                <a:cubicBezTo>
                  <a:pt x="1600" y="804"/>
                  <a:pt x="1596" y="808"/>
                  <a:pt x="1594" y="815"/>
                </a:cubicBezTo>
                <a:cubicBezTo>
                  <a:pt x="1599" y="844"/>
                  <a:pt x="1617" y="852"/>
                  <a:pt x="1642" y="864"/>
                </a:cubicBezTo>
                <a:cubicBezTo>
                  <a:pt x="1649" y="874"/>
                  <a:pt x="1654" y="883"/>
                  <a:pt x="1657" y="895"/>
                </a:cubicBezTo>
                <a:cubicBezTo>
                  <a:pt x="1656" y="903"/>
                  <a:pt x="1656" y="912"/>
                  <a:pt x="1655" y="920"/>
                </a:cubicBezTo>
                <a:cubicBezTo>
                  <a:pt x="1653" y="937"/>
                  <a:pt x="1626" y="943"/>
                  <a:pt x="1613" y="951"/>
                </a:cubicBezTo>
                <a:cubicBezTo>
                  <a:pt x="1616" y="942"/>
                  <a:pt x="1615" y="945"/>
                  <a:pt x="1605" y="957"/>
                </a:cubicBezTo>
                <a:cubicBezTo>
                  <a:pt x="1590" y="949"/>
                  <a:pt x="1585" y="944"/>
                  <a:pt x="1571" y="928"/>
                </a:cubicBezTo>
                <a:cubicBezTo>
                  <a:pt x="1570" y="926"/>
                  <a:pt x="1574" y="931"/>
                  <a:pt x="1576" y="932"/>
                </a:cubicBezTo>
                <a:cubicBezTo>
                  <a:pt x="1567" y="915"/>
                  <a:pt x="1553" y="909"/>
                  <a:pt x="1536" y="905"/>
                </a:cubicBezTo>
                <a:cubicBezTo>
                  <a:pt x="1519" y="908"/>
                  <a:pt x="1520" y="920"/>
                  <a:pt x="1517" y="936"/>
                </a:cubicBezTo>
                <a:cubicBezTo>
                  <a:pt x="1519" y="951"/>
                  <a:pt x="1519" y="962"/>
                  <a:pt x="1528" y="974"/>
                </a:cubicBezTo>
                <a:cubicBezTo>
                  <a:pt x="1529" y="976"/>
                  <a:pt x="1538" y="984"/>
                  <a:pt x="1540" y="985"/>
                </a:cubicBezTo>
                <a:cubicBezTo>
                  <a:pt x="1544" y="987"/>
                  <a:pt x="1552" y="989"/>
                  <a:pt x="1552" y="989"/>
                </a:cubicBezTo>
                <a:cubicBezTo>
                  <a:pt x="1559" y="995"/>
                  <a:pt x="1563" y="1003"/>
                  <a:pt x="1569" y="1010"/>
                </a:cubicBezTo>
                <a:cubicBezTo>
                  <a:pt x="1571" y="1016"/>
                  <a:pt x="1575" y="1028"/>
                  <a:pt x="1575" y="1028"/>
                </a:cubicBezTo>
                <a:cubicBezTo>
                  <a:pt x="1577" y="1040"/>
                  <a:pt x="1578" y="1052"/>
                  <a:pt x="1590" y="1058"/>
                </a:cubicBezTo>
                <a:cubicBezTo>
                  <a:pt x="1605" y="1080"/>
                  <a:pt x="1584" y="1057"/>
                  <a:pt x="1570" y="1055"/>
                </a:cubicBezTo>
                <a:cubicBezTo>
                  <a:pt x="1556" y="1050"/>
                  <a:pt x="1554" y="1042"/>
                  <a:pt x="1546" y="1032"/>
                </a:cubicBezTo>
                <a:cubicBezTo>
                  <a:pt x="1541" y="1016"/>
                  <a:pt x="1530" y="1010"/>
                  <a:pt x="1521" y="997"/>
                </a:cubicBezTo>
                <a:cubicBezTo>
                  <a:pt x="1518" y="993"/>
                  <a:pt x="1513" y="985"/>
                  <a:pt x="1513" y="985"/>
                </a:cubicBezTo>
                <a:cubicBezTo>
                  <a:pt x="1510" y="974"/>
                  <a:pt x="1503" y="964"/>
                  <a:pt x="1500" y="953"/>
                </a:cubicBezTo>
                <a:cubicBezTo>
                  <a:pt x="1499" y="934"/>
                  <a:pt x="1499" y="916"/>
                  <a:pt x="1498" y="897"/>
                </a:cubicBezTo>
                <a:cubicBezTo>
                  <a:pt x="1497" y="886"/>
                  <a:pt x="1482" y="855"/>
                  <a:pt x="1482" y="855"/>
                </a:cubicBezTo>
                <a:cubicBezTo>
                  <a:pt x="1479" y="832"/>
                  <a:pt x="1468" y="861"/>
                  <a:pt x="1452" y="866"/>
                </a:cubicBezTo>
                <a:cubicBezTo>
                  <a:pt x="1437" y="859"/>
                  <a:pt x="1443" y="843"/>
                  <a:pt x="1432" y="832"/>
                </a:cubicBezTo>
                <a:cubicBezTo>
                  <a:pt x="1430" y="823"/>
                  <a:pt x="1425" y="822"/>
                  <a:pt x="1419" y="815"/>
                </a:cubicBezTo>
                <a:cubicBezTo>
                  <a:pt x="1412" y="808"/>
                  <a:pt x="1407" y="794"/>
                  <a:pt x="1402" y="786"/>
                </a:cubicBezTo>
                <a:cubicBezTo>
                  <a:pt x="1398" y="780"/>
                  <a:pt x="1384" y="772"/>
                  <a:pt x="1384" y="772"/>
                </a:cubicBezTo>
                <a:cubicBezTo>
                  <a:pt x="1376" y="759"/>
                  <a:pt x="1379" y="757"/>
                  <a:pt x="1373" y="767"/>
                </a:cubicBezTo>
                <a:cubicBezTo>
                  <a:pt x="1377" y="780"/>
                  <a:pt x="1362" y="777"/>
                  <a:pt x="1352" y="780"/>
                </a:cubicBezTo>
                <a:cubicBezTo>
                  <a:pt x="1348" y="781"/>
                  <a:pt x="1340" y="784"/>
                  <a:pt x="1340" y="784"/>
                </a:cubicBezTo>
                <a:cubicBezTo>
                  <a:pt x="1331" y="792"/>
                  <a:pt x="1331" y="803"/>
                  <a:pt x="1323" y="811"/>
                </a:cubicBezTo>
                <a:cubicBezTo>
                  <a:pt x="1320" y="814"/>
                  <a:pt x="1310" y="816"/>
                  <a:pt x="1306" y="820"/>
                </a:cubicBezTo>
                <a:cubicBezTo>
                  <a:pt x="1287" y="836"/>
                  <a:pt x="1270" y="855"/>
                  <a:pt x="1250" y="868"/>
                </a:cubicBezTo>
                <a:cubicBezTo>
                  <a:pt x="1248" y="874"/>
                  <a:pt x="1244" y="886"/>
                  <a:pt x="1244" y="886"/>
                </a:cubicBezTo>
                <a:cubicBezTo>
                  <a:pt x="1240" y="932"/>
                  <a:pt x="1244" y="945"/>
                  <a:pt x="1214" y="970"/>
                </a:cubicBezTo>
                <a:cubicBezTo>
                  <a:pt x="1201" y="970"/>
                  <a:pt x="1178" y="904"/>
                  <a:pt x="1168" y="886"/>
                </a:cubicBezTo>
                <a:cubicBezTo>
                  <a:pt x="1164" y="875"/>
                  <a:pt x="1163" y="871"/>
                  <a:pt x="1156" y="863"/>
                </a:cubicBezTo>
                <a:cubicBezTo>
                  <a:pt x="1153" y="854"/>
                  <a:pt x="1147" y="847"/>
                  <a:pt x="1143" y="838"/>
                </a:cubicBezTo>
                <a:cubicBezTo>
                  <a:pt x="1140" y="821"/>
                  <a:pt x="1136" y="803"/>
                  <a:pt x="1133" y="786"/>
                </a:cubicBezTo>
                <a:cubicBezTo>
                  <a:pt x="1132" y="782"/>
                  <a:pt x="1131" y="774"/>
                  <a:pt x="1131" y="774"/>
                </a:cubicBezTo>
                <a:cubicBezTo>
                  <a:pt x="1124" y="781"/>
                  <a:pt x="1120" y="789"/>
                  <a:pt x="1114" y="797"/>
                </a:cubicBezTo>
                <a:cubicBezTo>
                  <a:pt x="1106" y="798"/>
                  <a:pt x="1087" y="782"/>
                  <a:pt x="1083" y="778"/>
                </a:cubicBezTo>
                <a:cubicBezTo>
                  <a:pt x="1083" y="776"/>
                  <a:pt x="1085" y="774"/>
                  <a:pt x="1087" y="772"/>
                </a:cubicBezTo>
                <a:cubicBezTo>
                  <a:pt x="1095" y="765"/>
                  <a:pt x="1105" y="763"/>
                  <a:pt x="1091" y="767"/>
                </a:cubicBezTo>
                <a:cubicBezTo>
                  <a:pt x="1082" y="764"/>
                  <a:pt x="1076" y="755"/>
                  <a:pt x="1066" y="751"/>
                </a:cubicBezTo>
                <a:cubicBezTo>
                  <a:pt x="1058" y="743"/>
                  <a:pt x="1052" y="741"/>
                  <a:pt x="1048" y="730"/>
                </a:cubicBezTo>
                <a:cubicBezTo>
                  <a:pt x="1014" y="738"/>
                  <a:pt x="974" y="727"/>
                  <a:pt x="939" y="724"/>
                </a:cubicBezTo>
                <a:cubicBezTo>
                  <a:pt x="931" y="721"/>
                  <a:pt x="924" y="720"/>
                  <a:pt x="916" y="719"/>
                </a:cubicBezTo>
                <a:cubicBezTo>
                  <a:pt x="912" y="713"/>
                  <a:pt x="907" y="710"/>
                  <a:pt x="901" y="705"/>
                </a:cubicBezTo>
                <a:cubicBezTo>
                  <a:pt x="891" y="707"/>
                  <a:pt x="886" y="707"/>
                  <a:pt x="878" y="713"/>
                </a:cubicBezTo>
                <a:cubicBezTo>
                  <a:pt x="863" y="708"/>
                  <a:pt x="881" y="715"/>
                  <a:pt x="868" y="705"/>
                </a:cubicBezTo>
                <a:cubicBezTo>
                  <a:pt x="861" y="700"/>
                  <a:pt x="851" y="698"/>
                  <a:pt x="843" y="694"/>
                </a:cubicBezTo>
                <a:cubicBezTo>
                  <a:pt x="833" y="689"/>
                  <a:pt x="829" y="681"/>
                  <a:pt x="822" y="674"/>
                </a:cubicBezTo>
                <a:cubicBezTo>
                  <a:pt x="818" y="670"/>
                  <a:pt x="808" y="668"/>
                  <a:pt x="803" y="665"/>
                </a:cubicBezTo>
                <a:cubicBezTo>
                  <a:pt x="797" y="666"/>
                  <a:pt x="790" y="664"/>
                  <a:pt x="785" y="667"/>
                </a:cubicBezTo>
                <a:cubicBezTo>
                  <a:pt x="779" y="670"/>
                  <a:pt x="790" y="684"/>
                  <a:pt x="791" y="686"/>
                </a:cubicBezTo>
                <a:cubicBezTo>
                  <a:pt x="798" y="698"/>
                  <a:pt x="810" y="707"/>
                  <a:pt x="820" y="717"/>
                </a:cubicBezTo>
                <a:cubicBezTo>
                  <a:pt x="826" y="723"/>
                  <a:pt x="828" y="730"/>
                  <a:pt x="837" y="718"/>
                </a:cubicBezTo>
                <a:cubicBezTo>
                  <a:pt x="843" y="723"/>
                  <a:pt x="837" y="754"/>
                  <a:pt x="849" y="751"/>
                </a:cubicBezTo>
                <a:cubicBezTo>
                  <a:pt x="878" y="757"/>
                  <a:pt x="880" y="734"/>
                  <a:pt x="899" y="722"/>
                </a:cubicBezTo>
                <a:cubicBezTo>
                  <a:pt x="905" y="729"/>
                  <a:pt x="904" y="735"/>
                  <a:pt x="908" y="742"/>
                </a:cubicBezTo>
                <a:cubicBezTo>
                  <a:pt x="915" y="756"/>
                  <a:pt x="945" y="757"/>
                  <a:pt x="949" y="770"/>
                </a:cubicBezTo>
                <a:cubicBezTo>
                  <a:pt x="946" y="783"/>
                  <a:pt x="944" y="789"/>
                  <a:pt x="935" y="799"/>
                </a:cubicBezTo>
                <a:cubicBezTo>
                  <a:pt x="933" y="806"/>
                  <a:pt x="932" y="816"/>
                  <a:pt x="928" y="822"/>
                </a:cubicBezTo>
                <a:cubicBezTo>
                  <a:pt x="918" y="838"/>
                  <a:pt x="889" y="851"/>
                  <a:pt x="872" y="853"/>
                </a:cubicBezTo>
                <a:cubicBezTo>
                  <a:pt x="852" y="860"/>
                  <a:pt x="837" y="873"/>
                  <a:pt x="820" y="886"/>
                </a:cubicBezTo>
                <a:cubicBezTo>
                  <a:pt x="805" y="897"/>
                  <a:pt x="778" y="897"/>
                  <a:pt x="760" y="909"/>
                </a:cubicBezTo>
                <a:cubicBezTo>
                  <a:pt x="742" y="907"/>
                  <a:pt x="738" y="906"/>
                  <a:pt x="734" y="889"/>
                </a:cubicBezTo>
                <a:cubicBezTo>
                  <a:pt x="729" y="845"/>
                  <a:pt x="721" y="835"/>
                  <a:pt x="690" y="808"/>
                </a:cubicBezTo>
                <a:cubicBezTo>
                  <a:pt x="688" y="793"/>
                  <a:pt x="678" y="793"/>
                  <a:pt x="670" y="780"/>
                </a:cubicBezTo>
                <a:cubicBezTo>
                  <a:pt x="662" y="769"/>
                  <a:pt x="662" y="755"/>
                  <a:pt x="653" y="744"/>
                </a:cubicBezTo>
                <a:cubicBezTo>
                  <a:pt x="649" y="731"/>
                  <a:pt x="642" y="725"/>
                  <a:pt x="632" y="717"/>
                </a:cubicBezTo>
                <a:cubicBezTo>
                  <a:pt x="626" y="712"/>
                  <a:pt x="621" y="700"/>
                  <a:pt x="615" y="694"/>
                </a:cubicBezTo>
                <a:cubicBezTo>
                  <a:pt x="613" y="687"/>
                  <a:pt x="605" y="676"/>
                  <a:pt x="605" y="676"/>
                </a:cubicBezTo>
                <a:cubicBezTo>
                  <a:pt x="599" y="682"/>
                  <a:pt x="593" y="684"/>
                  <a:pt x="592" y="692"/>
                </a:cubicBezTo>
                <a:cubicBezTo>
                  <a:pt x="587" y="687"/>
                  <a:pt x="578" y="674"/>
                  <a:pt x="578" y="674"/>
                </a:cubicBezTo>
                <a:cubicBezTo>
                  <a:pt x="575" y="663"/>
                  <a:pt x="577" y="669"/>
                  <a:pt x="572" y="655"/>
                </a:cubicBezTo>
                <a:cubicBezTo>
                  <a:pt x="571" y="653"/>
                  <a:pt x="570" y="649"/>
                  <a:pt x="570" y="649"/>
                </a:cubicBezTo>
                <a:cubicBezTo>
                  <a:pt x="581" y="644"/>
                  <a:pt x="593" y="648"/>
                  <a:pt x="605" y="640"/>
                </a:cubicBezTo>
                <a:cubicBezTo>
                  <a:pt x="609" y="634"/>
                  <a:pt x="611" y="628"/>
                  <a:pt x="613" y="621"/>
                </a:cubicBezTo>
                <a:cubicBezTo>
                  <a:pt x="606" y="595"/>
                  <a:pt x="631" y="566"/>
                  <a:pt x="606" y="570"/>
                </a:cubicBezTo>
                <a:cubicBezTo>
                  <a:pt x="600" y="561"/>
                  <a:pt x="590" y="580"/>
                  <a:pt x="580" y="580"/>
                </a:cubicBezTo>
                <a:cubicBezTo>
                  <a:pt x="570" y="580"/>
                  <a:pt x="555" y="572"/>
                  <a:pt x="547" y="572"/>
                </a:cubicBezTo>
                <a:cubicBezTo>
                  <a:pt x="539" y="572"/>
                  <a:pt x="539" y="578"/>
                  <a:pt x="531" y="577"/>
                </a:cubicBezTo>
                <a:cubicBezTo>
                  <a:pt x="523" y="576"/>
                  <a:pt x="506" y="571"/>
                  <a:pt x="499" y="567"/>
                </a:cubicBezTo>
                <a:cubicBezTo>
                  <a:pt x="493" y="563"/>
                  <a:pt x="490" y="557"/>
                  <a:pt x="486" y="552"/>
                </a:cubicBezTo>
                <a:cubicBezTo>
                  <a:pt x="475" y="518"/>
                  <a:pt x="493" y="516"/>
                  <a:pt x="525" y="514"/>
                </a:cubicBezTo>
                <a:cubicBezTo>
                  <a:pt x="524" y="509"/>
                  <a:pt x="541" y="506"/>
                  <a:pt x="551" y="503"/>
                </a:cubicBezTo>
                <a:cubicBezTo>
                  <a:pt x="555" y="502"/>
                  <a:pt x="565" y="500"/>
                  <a:pt x="565" y="500"/>
                </a:cubicBezTo>
                <a:cubicBezTo>
                  <a:pt x="583" y="487"/>
                  <a:pt x="604" y="504"/>
                  <a:pt x="624" y="507"/>
                </a:cubicBezTo>
                <a:cubicBezTo>
                  <a:pt x="635" y="511"/>
                  <a:pt x="645" y="513"/>
                  <a:pt x="657" y="515"/>
                </a:cubicBezTo>
                <a:cubicBezTo>
                  <a:pt x="664" y="514"/>
                  <a:pt x="667" y="508"/>
                  <a:pt x="674" y="506"/>
                </a:cubicBezTo>
                <a:cubicBezTo>
                  <a:pt x="680" y="504"/>
                  <a:pt x="681" y="500"/>
                  <a:pt x="678" y="494"/>
                </a:cubicBezTo>
                <a:cubicBezTo>
                  <a:pt x="672" y="482"/>
                  <a:pt x="656" y="478"/>
                  <a:pt x="645" y="475"/>
                </a:cubicBezTo>
                <a:cubicBezTo>
                  <a:pt x="638" y="471"/>
                  <a:pt x="632" y="466"/>
                  <a:pt x="624" y="463"/>
                </a:cubicBezTo>
                <a:cubicBezTo>
                  <a:pt x="619" y="461"/>
                  <a:pt x="613" y="464"/>
                  <a:pt x="609" y="461"/>
                </a:cubicBezTo>
                <a:cubicBezTo>
                  <a:pt x="607" y="460"/>
                  <a:pt x="611" y="458"/>
                  <a:pt x="613" y="456"/>
                </a:cubicBezTo>
                <a:cubicBezTo>
                  <a:pt x="619" y="450"/>
                  <a:pt x="629" y="449"/>
                  <a:pt x="636" y="444"/>
                </a:cubicBezTo>
                <a:cubicBezTo>
                  <a:pt x="636" y="407"/>
                  <a:pt x="598" y="436"/>
                  <a:pt x="592" y="436"/>
                </a:cubicBezTo>
                <a:cubicBezTo>
                  <a:pt x="584" y="449"/>
                  <a:pt x="587" y="451"/>
                  <a:pt x="601" y="454"/>
                </a:cubicBezTo>
                <a:cubicBezTo>
                  <a:pt x="605" y="453"/>
                  <a:pt x="615" y="448"/>
                  <a:pt x="613" y="452"/>
                </a:cubicBezTo>
                <a:cubicBezTo>
                  <a:pt x="612" y="455"/>
                  <a:pt x="598" y="459"/>
                  <a:pt x="593" y="461"/>
                </a:cubicBezTo>
                <a:cubicBezTo>
                  <a:pt x="584" y="460"/>
                  <a:pt x="576" y="458"/>
                  <a:pt x="567" y="457"/>
                </a:cubicBezTo>
                <a:cubicBezTo>
                  <a:pt x="565" y="457"/>
                  <a:pt x="561" y="456"/>
                  <a:pt x="561" y="456"/>
                </a:cubicBezTo>
                <a:cubicBezTo>
                  <a:pt x="571" y="427"/>
                  <a:pt x="541" y="438"/>
                  <a:pt x="519" y="436"/>
                </a:cubicBezTo>
                <a:cubicBezTo>
                  <a:pt x="514" y="457"/>
                  <a:pt x="512" y="466"/>
                  <a:pt x="499" y="482"/>
                </a:cubicBezTo>
                <a:cubicBezTo>
                  <a:pt x="501" y="498"/>
                  <a:pt x="502" y="507"/>
                  <a:pt x="519" y="513"/>
                </a:cubicBezTo>
                <a:cubicBezTo>
                  <a:pt x="508" y="515"/>
                  <a:pt x="502" y="513"/>
                  <a:pt x="492" y="515"/>
                </a:cubicBezTo>
                <a:cubicBezTo>
                  <a:pt x="483" y="521"/>
                  <a:pt x="478" y="518"/>
                  <a:pt x="469" y="515"/>
                </a:cubicBezTo>
                <a:cubicBezTo>
                  <a:pt x="453" y="518"/>
                  <a:pt x="458" y="518"/>
                  <a:pt x="451" y="530"/>
                </a:cubicBezTo>
                <a:cubicBezTo>
                  <a:pt x="442" y="526"/>
                  <a:pt x="439" y="518"/>
                  <a:pt x="436" y="530"/>
                </a:cubicBezTo>
                <a:cubicBezTo>
                  <a:pt x="438" y="539"/>
                  <a:pt x="443" y="542"/>
                  <a:pt x="448" y="550"/>
                </a:cubicBezTo>
                <a:cubicBezTo>
                  <a:pt x="450" y="561"/>
                  <a:pt x="444" y="560"/>
                  <a:pt x="436" y="555"/>
                </a:cubicBezTo>
                <a:cubicBezTo>
                  <a:pt x="433" y="543"/>
                  <a:pt x="426" y="546"/>
                  <a:pt x="413" y="544"/>
                </a:cubicBezTo>
                <a:cubicBezTo>
                  <a:pt x="411" y="540"/>
                  <a:pt x="410" y="535"/>
                  <a:pt x="407" y="532"/>
                </a:cubicBezTo>
                <a:cubicBezTo>
                  <a:pt x="404" y="529"/>
                  <a:pt x="396" y="525"/>
                  <a:pt x="396" y="525"/>
                </a:cubicBezTo>
                <a:cubicBezTo>
                  <a:pt x="394" y="511"/>
                  <a:pt x="395" y="499"/>
                  <a:pt x="380" y="494"/>
                </a:cubicBezTo>
                <a:cubicBezTo>
                  <a:pt x="360" y="478"/>
                  <a:pt x="329" y="456"/>
                  <a:pt x="305" y="448"/>
                </a:cubicBezTo>
                <a:cubicBezTo>
                  <a:pt x="301" y="449"/>
                  <a:pt x="294" y="446"/>
                  <a:pt x="292" y="450"/>
                </a:cubicBezTo>
                <a:cubicBezTo>
                  <a:pt x="289" y="455"/>
                  <a:pt x="301" y="469"/>
                  <a:pt x="305" y="473"/>
                </a:cubicBezTo>
                <a:cubicBezTo>
                  <a:pt x="310" y="478"/>
                  <a:pt x="313" y="484"/>
                  <a:pt x="319" y="488"/>
                </a:cubicBezTo>
                <a:cubicBezTo>
                  <a:pt x="325" y="492"/>
                  <a:pt x="336" y="496"/>
                  <a:pt x="342" y="500"/>
                </a:cubicBezTo>
                <a:cubicBezTo>
                  <a:pt x="349" y="504"/>
                  <a:pt x="354" y="506"/>
                  <a:pt x="360" y="510"/>
                </a:cubicBezTo>
                <a:cubicBezTo>
                  <a:pt x="366" y="514"/>
                  <a:pt x="372" y="519"/>
                  <a:pt x="378" y="523"/>
                </a:cubicBezTo>
                <a:cubicBezTo>
                  <a:pt x="368" y="526"/>
                  <a:pt x="363" y="523"/>
                  <a:pt x="355" y="530"/>
                </a:cubicBezTo>
                <a:cubicBezTo>
                  <a:pt x="360" y="544"/>
                  <a:pt x="363" y="541"/>
                  <a:pt x="353" y="544"/>
                </a:cubicBezTo>
                <a:cubicBezTo>
                  <a:pt x="352" y="552"/>
                  <a:pt x="352" y="558"/>
                  <a:pt x="342" y="555"/>
                </a:cubicBezTo>
                <a:cubicBezTo>
                  <a:pt x="352" y="519"/>
                  <a:pt x="320" y="515"/>
                  <a:pt x="294" y="502"/>
                </a:cubicBezTo>
                <a:cubicBezTo>
                  <a:pt x="285" y="489"/>
                  <a:pt x="275" y="479"/>
                  <a:pt x="266" y="468"/>
                </a:cubicBezTo>
                <a:cubicBezTo>
                  <a:pt x="243" y="449"/>
                  <a:pt x="233" y="475"/>
                  <a:pt x="211" y="482"/>
                </a:cubicBezTo>
                <a:cubicBezTo>
                  <a:pt x="200" y="474"/>
                  <a:pt x="185" y="470"/>
                  <a:pt x="179" y="472"/>
                </a:cubicBezTo>
                <a:cubicBezTo>
                  <a:pt x="173" y="474"/>
                  <a:pt x="174" y="487"/>
                  <a:pt x="173" y="496"/>
                </a:cubicBezTo>
                <a:cubicBezTo>
                  <a:pt x="174" y="500"/>
                  <a:pt x="145" y="515"/>
                  <a:pt x="140" y="517"/>
                </a:cubicBezTo>
                <a:cubicBezTo>
                  <a:pt x="133" y="525"/>
                  <a:pt x="130" y="529"/>
                  <a:pt x="133" y="540"/>
                </a:cubicBezTo>
                <a:cubicBezTo>
                  <a:pt x="129" y="554"/>
                  <a:pt x="128" y="553"/>
                  <a:pt x="112" y="557"/>
                </a:cubicBezTo>
                <a:cubicBezTo>
                  <a:pt x="97" y="567"/>
                  <a:pt x="108" y="567"/>
                  <a:pt x="83" y="571"/>
                </a:cubicBezTo>
                <a:cubicBezTo>
                  <a:pt x="75" y="574"/>
                  <a:pt x="64" y="578"/>
                  <a:pt x="56" y="578"/>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41" name="Freeform 39">
            <a:extLst>
              <a:ext uri="{FF2B5EF4-FFF2-40B4-BE49-F238E27FC236}">
                <a16:creationId xmlns:a16="http://schemas.microsoft.com/office/drawing/2014/main" id="{3B9EB67B-5D90-3444-F442-1F0823F69CC1}"/>
              </a:ext>
            </a:extLst>
          </p:cNvPr>
          <p:cNvSpPr>
            <a:spLocks/>
          </p:cNvSpPr>
          <p:nvPr/>
        </p:nvSpPr>
        <p:spPr bwMode="auto">
          <a:xfrm>
            <a:off x="5124109" y="2523439"/>
            <a:ext cx="42595" cy="40672"/>
          </a:xfrm>
          <a:custGeom>
            <a:avLst/>
            <a:gdLst/>
            <a:ahLst/>
            <a:cxnLst>
              <a:cxn ang="0">
                <a:pos x="3" y="0"/>
              </a:cxn>
              <a:cxn ang="0">
                <a:pos x="26" y="8"/>
              </a:cxn>
              <a:cxn ang="0">
                <a:pos x="31" y="20"/>
              </a:cxn>
              <a:cxn ang="0">
                <a:pos x="20" y="18"/>
              </a:cxn>
              <a:cxn ang="0">
                <a:pos x="13" y="14"/>
              </a:cxn>
              <a:cxn ang="0">
                <a:pos x="5" y="13"/>
              </a:cxn>
              <a:cxn ang="0">
                <a:pos x="3" y="0"/>
              </a:cxn>
            </a:cxnLst>
            <a:rect l="0" t="0" r="r" b="b"/>
            <a:pathLst>
              <a:path w="31" h="30">
                <a:moveTo>
                  <a:pt x="3" y="0"/>
                </a:moveTo>
                <a:cubicBezTo>
                  <a:pt x="14" y="1"/>
                  <a:pt x="18" y="0"/>
                  <a:pt x="26" y="8"/>
                </a:cubicBezTo>
                <a:cubicBezTo>
                  <a:pt x="27" y="12"/>
                  <a:pt x="31" y="20"/>
                  <a:pt x="31" y="20"/>
                </a:cubicBezTo>
                <a:cubicBezTo>
                  <a:pt x="29" y="30"/>
                  <a:pt x="24" y="21"/>
                  <a:pt x="20" y="18"/>
                </a:cubicBezTo>
                <a:cubicBezTo>
                  <a:pt x="15" y="20"/>
                  <a:pt x="14" y="19"/>
                  <a:pt x="13" y="14"/>
                </a:cubicBezTo>
                <a:cubicBezTo>
                  <a:pt x="10" y="19"/>
                  <a:pt x="8" y="17"/>
                  <a:pt x="5" y="13"/>
                </a:cubicBezTo>
                <a:cubicBezTo>
                  <a:pt x="3" y="11"/>
                  <a:pt x="0" y="1"/>
                  <a:pt x="3"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42" name="Freeform 40">
            <a:extLst>
              <a:ext uri="{FF2B5EF4-FFF2-40B4-BE49-F238E27FC236}">
                <a16:creationId xmlns:a16="http://schemas.microsoft.com/office/drawing/2014/main" id="{10B96077-E494-F526-94E2-B18A42D2F63A}"/>
              </a:ext>
            </a:extLst>
          </p:cNvPr>
          <p:cNvSpPr>
            <a:spLocks/>
          </p:cNvSpPr>
          <p:nvPr/>
        </p:nvSpPr>
        <p:spPr bwMode="auto">
          <a:xfrm>
            <a:off x="4931603" y="2516125"/>
            <a:ext cx="61832" cy="31487"/>
          </a:xfrm>
          <a:custGeom>
            <a:avLst/>
            <a:gdLst/>
            <a:ahLst/>
            <a:cxnLst>
              <a:cxn ang="0">
                <a:pos x="8" y="0"/>
              </a:cxn>
              <a:cxn ang="0">
                <a:pos x="28" y="4"/>
              </a:cxn>
              <a:cxn ang="0">
                <a:pos x="45" y="3"/>
              </a:cxn>
              <a:cxn ang="0">
                <a:pos x="38" y="14"/>
              </a:cxn>
              <a:cxn ang="0">
                <a:pos x="41" y="23"/>
              </a:cxn>
              <a:cxn ang="0">
                <a:pos x="5" y="8"/>
              </a:cxn>
              <a:cxn ang="0">
                <a:pos x="3" y="3"/>
              </a:cxn>
              <a:cxn ang="0">
                <a:pos x="8" y="0"/>
              </a:cxn>
            </a:cxnLst>
            <a:rect l="0" t="0" r="r" b="b"/>
            <a:pathLst>
              <a:path w="45" h="23">
                <a:moveTo>
                  <a:pt x="8" y="0"/>
                </a:moveTo>
                <a:cubicBezTo>
                  <a:pt x="16" y="1"/>
                  <a:pt x="21" y="2"/>
                  <a:pt x="28" y="4"/>
                </a:cubicBezTo>
                <a:cubicBezTo>
                  <a:pt x="35" y="3"/>
                  <a:pt x="38" y="2"/>
                  <a:pt x="45" y="3"/>
                </a:cubicBezTo>
                <a:cubicBezTo>
                  <a:pt x="44" y="7"/>
                  <a:pt x="40" y="9"/>
                  <a:pt x="38" y="14"/>
                </a:cubicBezTo>
                <a:cubicBezTo>
                  <a:pt x="41" y="17"/>
                  <a:pt x="43" y="18"/>
                  <a:pt x="41" y="23"/>
                </a:cubicBezTo>
                <a:cubicBezTo>
                  <a:pt x="26" y="22"/>
                  <a:pt x="19" y="11"/>
                  <a:pt x="5" y="8"/>
                </a:cubicBezTo>
                <a:cubicBezTo>
                  <a:pt x="3" y="7"/>
                  <a:pt x="0" y="6"/>
                  <a:pt x="3" y="3"/>
                </a:cubicBezTo>
                <a:cubicBezTo>
                  <a:pt x="4" y="2"/>
                  <a:pt x="10" y="0"/>
                  <a:pt x="8"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43" name="Freeform 41">
            <a:extLst>
              <a:ext uri="{FF2B5EF4-FFF2-40B4-BE49-F238E27FC236}">
                <a16:creationId xmlns:a16="http://schemas.microsoft.com/office/drawing/2014/main" id="{035D513F-4366-3535-6596-93B31220256D}"/>
              </a:ext>
            </a:extLst>
          </p:cNvPr>
          <p:cNvSpPr>
            <a:spLocks/>
          </p:cNvSpPr>
          <p:nvPr/>
        </p:nvSpPr>
        <p:spPr bwMode="auto">
          <a:xfrm>
            <a:off x="5184175" y="2576246"/>
            <a:ext cx="60458" cy="14432"/>
          </a:xfrm>
          <a:custGeom>
            <a:avLst/>
            <a:gdLst/>
            <a:ahLst/>
            <a:cxnLst>
              <a:cxn ang="0">
                <a:pos x="1" y="0"/>
              </a:cxn>
              <a:cxn ang="0">
                <a:pos x="44" y="7"/>
              </a:cxn>
              <a:cxn ang="0">
                <a:pos x="30" y="10"/>
              </a:cxn>
              <a:cxn ang="0">
                <a:pos x="0" y="6"/>
              </a:cxn>
              <a:cxn ang="0">
                <a:pos x="1" y="0"/>
              </a:cxn>
            </a:cxnLst>
            <a:rect l="0" t="0" r="r" b="b"/>
            <a:pathLst>
              <a:path w="44" h="10">
                <a:moveTo>
                  <a:pt x="1" y="0"/>
                </a:moveTo>
                <a:cubicBezTo>
                  <a:pt x="17" y="6"/>
                  <a:pt x="26" y="6"/>
                  <a:pt x="44" y="7"/>
                </a:cubicBezTo>
                <a:cubicBezTo>
                  <a:pt x="34" y="9"/>
                  <a:pt x="39" y="9"/>
                  <a:pt x="30" y="10"/>
                </a:cubicBezTo>
                <a:cubicBezTo>
                  <a:pt x="20" y="8"/>
                  <a:pt x="10" y="7"/>
                  <a:pt x="0" y="6"/>
                </a:cubicBezTo>
                <a:cubicBezTo>
                  <a:pt x="1" y="2"/>
                  <a:pt x="1" y="4"/>
                  <a:pt x="1"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44" name="Freeform 42">
            <a:extLst>
              <a:ext uri="{FF2B5EF4-FFF2-40B4-BE49-F238E27FC236}">
                <a16:creationId xmlns:a16="http://schemas.microsoft.com/office/drawing/2014/main" id="{13336927-BC57-DBDF-2342-599135B1C76A}"/>
              </a:ext>
            </a:extLst>
          </p:cNvPr>
          <p:cNvSpPr>
            <a:spLocks/>
          </p:cNvSpPr>
          <p:nvPr/>
        </p:nvSpPr>
        <p:spPr bwMode="auto">
          <a:xfrm>
            <a:off x="5372557" y="2569823"/>
            <a:ext cx="49466" cy="28864"/>
          </a:xfrm>
          <a:custGeom>
            <a:avLst/>
            <a:gdLst/>
            <a:ahLst/>
            <a:cxnLst>
              <a:cxn ang="0">
                <a:pos x="4" y="12"/>
              </a:cxn>
              <a:cxn ang="0">
                <a:pos x="20" y="7"/>
              </a:cxn>
              <a:cxn ang="0">
                <a:pos x="28" y="5"/>
              </a:cxn>
              <a:cxn ang="0">
                <a:pos x="28" y="13"/>
              </a:cxn>
              <a:cxn ang="0">
                <a:pos x="19" y="20"/>
              </a:cxn>
              <a:cxn ang="0">
                <a:pos x="4" y="19"/>
              </a:cxn>
              <a:cxn ang="0">
                <a:pos x="4" y="12"/>
              </a:cxn>
            </a:cxnLst>
            <a:rect l="0" t="0" r="r" b="b"/>
            <a:pathLst>
              <a:path w="36" h="21">
                <a:moveTo>
                  <a:pt x="4" y="12"/>
                </a:moveTo>
                <a:cubicBezTo>
                  <a:pt x="10" y="10"/>
                  <a:pt x="13" y="9"/>
                  <a:pt x="20" y="7"/>
                </a:cubicBezTo>
                <a:cubicBezTo>
                  <a:pt x="23" y="6"/>
                  <a:pt x="28" y="5"/>
                  <a:pt x="28" y="5"/>
                </a:cubicBezTo>
                <a:cubicBezTo>
                  <a:pt x="36" y="0"/>
                  <a:pt x="34" y="10"/>
                  <a:pt x="28" y="13"/>
                </a:cubicBezTo>
                <a:cubicBezTo>
                  <a:pt x="25" y="17"/>
                  <a:pt x="24" y="18"/>
                  <a:pt x="19" y="20"/>
                </a:cubicBezTo>
                <a:cubicBezTo>
                  <a:pt x="14" y="20"/>
                  <a:pt x="9" y="21"/>
                  <a:pt x="4" y="19"/>
                </a:cubicBezTo>
                <a:cubicBezTo>
                  <a:pt x="0" y="17"/>
                  <a:pt x="14" y="9"/>
                  <a:pt x="4" y="12"/>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45" name="Freeform 43">
            <a:extLst>
              <a:ext uri="{FF2B5EF4-FFF2-40B4-BE49-F238E27FC236}">
                <a16:creationId xmlns:a16="http://schemas.microsoft.com/office/drawing/2014/main" id="{287EBF1D-42AE-E85F-D43D-07EFBA3F2AD6}"/>
              </a:ext>
            </a:extLst>
          </p:cNvPr>
          <p:cNvSpPr>
            <a:spLocks/>
          </p:cNvSpPr>
          <p:nvPr/>
        </p:nvSpPr>
        <p:spPr bwMode="auto">
          <a:xfrm>
            <a:off x="4838649" y="2452416"/>
            <a:ext cx="31604" cy="44607"/>
          </a:xfrm>
          <a:custGeom>
            <a:avLst/>
            <a:gdLst/>
            <a:ahLst/>
            <a:cxnLst>
              <a:cxn ang="0">
                <a:pos x="17" y="0"/>
              </a:cxn>
              <a:cxn ang="0">
                <a:pos x="9" y="33"/>
              </a:cxn>
              <a:cxn ang="0">
                <a:pos x="0" y="15"/>
              </a:cxn>
              <a:cxn ang="0">
                <a:pos x="11" y="3"/>
              </a:cxn>
              <a:cxn ang="0">
                <a:pos x="17" y="0"/>
              </a:cxn>
            </a:cxnLst>
            <a:rect l="0" t="0" r="r" b="b"/>
            <a:pathLst>
              <a:path w="23" h="33">
                <a:moveTo>
                  <a:pt x="17" y="0"/>
                </a:moveTo>
                <a:cubicBezTo>
                  <a:pt x="19" y="12"/>
                  <a:pt x="23" y="28"/>
                  <a:pt x="9" y="33"/>
                </a:cubicBezTo>
                <a:cubicBezTo>
                  <a:pt x="0" y="30"/>
                  <a:pt x="3" y="23"/>
                  <a:pt x="0" y="15"/>
                </a:cubicBezTo>
                <a:cubicBezTo>
                  <a:pt x="2" y="8"/>
                  <a:pt x="5" y="6"/>
                  <a:pt x="11" y="3"/>
                </a:cubicBezTo>
                <a:cubicBezTo>
                  <a:pt x="17" y="0"/>
                  <a:pt x="17" y="3"/>
                  <a:pt x="17"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46" name="Freeform 44">
            <a:extLst>
              <a:ext uri="{FF2B5EF4-FFF2-40B4-BE49-F238E27FC236}">
                <a16:creationId xmlns:a16="http://schemas.microsoft.com/office/drawing/2014/main" id="{8BDB1643-FC45-3963-CA16-F21E5C9CCDB1}"/>
              </a:ext>
            </a:extLst>
          </p:cNvPr>
          <p:cNvSpPr>
            <a:spLocks/>
          </p:cNvSpPr>
          <p:nvPr/>
        </p:nvSpPr>
        <p:spPr bwMode="auto">
          <a:xfrm>
            <a:off x="4847038" y="2410936"/>
            <a:ext cx="16489" cy="27552"/>
          </a:xfrm>
          <a:custGeom>
            <a:avLst/>
            <a:gdLst/>
            <a:ahLst/>
            <a:cxnLst>
              <a:cxn ang="0">
                <a:pos x="0" y="2"/>
              </a:cxn>
              <a:cxn ang="0">
                <a:pos x="9" y="20"/>
              </a:cxn>
              <a:cxn ang="0">
                <a:pos x="8" y="0"/>
              </a:cxn>
              <a:cxn ang="0">
                <a:pos x="0" y="2"/>
              </a:cxn>
            </a:cxnLst>
            <a:rect l="0" t="0" r="r" b="b"/>
            <a:pathLst>
              <a:path w="12" h="20">
                <a:moveTo>
                  <a:pt x="0" y="2"/>
                </a:moveTo>
                <a:cubicBezTo>
                  <a:pt x="3" y="9"/>
                  <a:pt x="4" y="15"/>
                  <a:pt x="9" y="20"/>
                </a:cubicBezTo>
                <a:cubicBezTo>
                  <a:pt x="12" y="15"/>
                  <a:pt x="10" y="6"/>
                  <a:pt x="8" y="0"/>
                </a:cubicBezTo>
                <a:cubicBezTo>
                  <a:pt x="6" y="0"/>
                  <a:pt x="0" y="4"/>
                  <a:pt x="0" y="2"/>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47" name="Freeform 45">
            <a:extLst>
              <a:ext uri="{FF2B5EF4-FFF2-40B4-BE49-F238E27FC236}">
                <a16:creationId xmlns:a16="http://schemas.microsoft.com/office/drawing/2014/main" id="{E6797A98-9861-7917-D43E-1AA78646E93E}"/>
              </a:ext>
            </a:extLst>
          </p:cNvPr>
          <p:cNvSpPr>
            <a:spLocks/>
          </p:cNvSpPr>
          <p:nvPr/>
        </p:nvSpPr>
        <p:spPr bwMode="auto">
          <a:xfrm>
            <a:off x="4538708" y="2057789"/>
            <a:ext cx="136031" cy="171870"/>
          </a:xfrm>
          <a:custGeom>
            <a:avLst/>
            <a:gdLst/>
            <a:ahLst/>
            <a:cxnLst>
              <a:cxn ang="0">
                <a:pos x="16" y="2"/>
              </a:cxn>
              <a:cxn ang="0">
                <a:pos x="35" y="8"/>
              </a:cxn>
              <a:cxn ang="0">
                <a:pos x="54" y="16"/>
              </a:cxn>
              <a:cxn ang="0">
                <a:pos x="34" y="37"/>
              </a:cxn>
              <a:cxn ang="0">
                <a:pos x="64" y="42"/>
              </a:cxn>
              <a:cxn ang="0">
                <a:pos x="65" y="54"/>
              </a:cxn>
              <a:cxn ang="0">
                <a:pos x="72" y="61"/>
              </a:cxn>
              <a:cxn ang="0">
                <a:pos x="81" y="83"/>
              </a:cxn>
              <a:cxn ang="0">
                <a:pos x="99" y="86"/>
              </a:cxn>
              <a:cxn ang="0">
                <a:pos x="84" y="104"/>
              </a:cxn>
              <a:cxn ang="0">
                <a:pos x="90" y="110"/>
              </a:cxn>
              <a:cxn ang="0">
                <a:pos x="63" y="110"/>
              </a:cxn>
              <a:cxn ang="0">
                <a:pos x="49" y="115"/>
              </a:cxn>
              <a:cxn ang="0">
                <a:pos x="17" y="120"/>
              </a:cxn>
              <a:cxn ang="0">
                <a:pos x="1" y="125"/>
              </a:cxn>
              <a:cxn ang="0">
                <a:pos x="16" y="114"/>
              </a:cxn>
              <a:cxn ang="0">
                <a:pos x="36" y="106"/>
              </a:cxn>
              <a:cxn ang="0">
                <a:pos x="45" y="101"/>
              </a:cxn>
              <a:cxn ang="0">
                <a:pos x="41" y="102"/>
              </a:cxn>
              <a:cxn ang="0">
                <a:pos x="28" y="101"/>
              </a:cxn>
              <a:cxn ang="0">
                <a:pos x="27" y="96"/>
              </a:cxn>
              <a:cxn ang="0">
                <a:pos x="18" y="98"/>
              </a:cxn>
              <a:cxn ang="0">
                <a:pos x="21" y="97"/>
              </a:cxn>
              <a:cxn ang="0">
                <a:pos x="22" y="74"/>
              </a:cxn>
              <a:cxn ang="0">
                <a:pos x="40" y="68"/>
              </a:cxn>
              <a:cxn ang="0">
                <a:pos x="31" y="50"/>
              </a:cxn>
              <a:cxn ang="0">
                <a:pos x="19" y="49"/>
              </a:cxn>
              <a:cxn ang="0">
                <a:pos x="19" y="38"/>
              </a:cxn>
              <a:cxn ang="0">
                <a:pos x="9" y="36"/>
              </a:cxn>
              <a:cxn ang="0">
                <a:pos x="4" y="19"/>
              </a:cxn>
              <a:cxn ang="0">
                <a:pos x="12" y="7"/>
              </a:cxn>
              <a:cxn ang="0">
                <a:pos x="16" y="2"/>
              </a:cxn>
            </a:cxnLst>
            <a:rect l="0" t="0" r="r" b="b"/>
            <a:pathLst>
              <a:path w="99" h="125">
                <a:moveTo>
                  <a:pt x="16" y="2"/>
                </a:moveTo>
                <a:cubicBezTo>
                  <a:pt x="21" y="3"/>
                  <a:pt x="33" y="2"/>
                  <a:pt x="35" y="8"/>
                </a:cubicBezTo>
                <a:cubicBezTo>
                  <a:pt x="31" y="19"/>
                  <a:pt x="43" y="15"/>
                  <a:pt x="54" y="16"/>
                </a:cubicBezTo>
                <a:cubicBezTo>
                  <a:pt x="57" y="27"/>
                  <a:pt x="41" y="32"/>
                  <a:pt x="34" y="37"/>
                </a:cubicBezTo>
                <a:cubicBezTo>
                  <a:pt x="43" y="50"/>
                  <a:pt x="23" y="22"/>
                  <a:pt x="64" y="42"/>
                </a:cubicBezTo>
                <a:cubicBezTo>
                  <a:pt x="68" y="44"/>
                  <a:pt x="63" y="50"/>
                  <a:pt x="65" y="54"/>
                </a:cubicBezTo>
                <a:cubicBezTo>
                  <a:pt x="66" y="57"/>
                  <a:pt x="72" y="61"/>
                  <a:pt x="72" y="61"/>
                </a:cubicBezTo>
                <a:cubicBezTo>
                  <a:pt x="75" y="69"/>
                  <a:pt x="79" y="75"/>
                  <a:pt x="81" y="83"/>
                </a:cubicBezTo>
                <a:cubicBezTo>
                  <a:pt x="89" y="82"/>
                  <a:pt x="95" y="79"/>
                  <a:pt x="99" y="86"/>
                </a:cubicBezTo>
                <a:cubicBezTo>
                  <a:pt x="97" y="96"/>
                  <a:pt x="94" y="101"/>
                  <a:pt x="84" y="104"/>
                </a:cubicBezTo>
                <a:cubicBezTo>
                  <a:pt x="89" y="107"/>
                  <a:pt x="96" y="104"/>
                  <a:pt x="90" y="110"/>
                </a:cubicBezTo>
                <a:cubicBezTo>
                  <a:pt x="81" y="110"/>
                  <a:pt x="72" y="108"/>
                  <a:pt x="63" y="110"/>
                </a:cubicBezTo>
                <a:cubicBezTo>
                  <a:pt x="58" y="111"/>
                  <a:pt x="49" y="115"/>
                  <a:pt x="49" y="115"/>
                </a:cubicBezTo>
                <a:cubicBezTo>
                  <a:pt x="38" y="113"/>
                  <a:pt x="29" y="118"/>
                  <a:pt x="17" y="120"/>
                </a:cubicBezTo>
                <a:cubicBezTo>
                  <a:pt x="10" y="123"/>
                  <a:pt x="10" y="124"/>
                  <a:pt x="1" y="125"/>
                </a:cubicBezTo>
                <a:cubicBezTo>
                  <a:pt x="5" y="121"/>
                  <a:pt x="11" y="116"/>
                  <a:pt x="16" y="114"/>
                </a:cubicBezTo>
                <a:cubicBezTo>
                  <a:pt x="21" y="107"/>
                  <a:pt x="27" y="107"/>
                  <a:pt x="36" y="106"/>
                </a:cubicBezTo>
                <a:cubicBezTo>
                  <a:pt x="39" y="105"/>
                  <a:pt x="47" y="104"/>
                  <a:pt x="45" y="101"/>
                </a:cubicBezTo>
                <a:cubicBezTo>
                  <a:pt x="44" y="100"/>
                  <a:pt x="42" y="102"/>
                  <a:pt x="41" y="102"/>
                </a:cubicBezTo>
                <a:cubicBezTo>
                  <a:pt x="37" y="102"/>
                  <a:pt x="32" y="103"/>
                  <a:pt x="28" y="101"/>
                </a:cubicBezTo>
                <a:cubicBezTo>
                  <a:pt x="26" y="100"/>
                  <a:pt x="28" y="97"/>
                  <a:pt x="27" y="96"/>
                </a:cubicBezTo>
                <a:cubicBezTo>
                  <a:pt x="25" y="94"/>
                  <a:pt x="21" y="98"/>
                  <a:pt x="18" y="98"/>
                </a:cubicBezTo>
                <a:cubicBezTo>
                  <a:pt x="17" y="98"/>
                  <a:pt x="20" y="97"/>
                  <a:pt x="21" y="97"/>
                </a:cubicBezTo>
                <a:cubicBezTo>
                  <a:pt x="28" y="90"/>
                  <a:pt x="23" y="82"/>
                  <a:pt x="22" y="74"/>
                </a:cubicBezTo>
                <a:cubicBezTo>
                  <a:pt x="27" y="69"/>
                  <a:pt x="32" y="69"/>
                  <a:pt x="40" y="68"/>
                </a:cubicBezTo>
                <a:cubicBezTo>
                  <a:pt x="42" y="61"/>
                  <a:pt x="37" y="53"/>
                  <a:pt x="31" y="50"/>
                </a:cubicBezTo>
                <a:cubicBezTo>
                  <a:pt x="24" y="52"/>
                  <a:pt x="22" y="55"/>
                  <a:pt x="19" y="49"/>
                </a:cubicBezTo>
                <a:cubicBezTo>
                  <a:pt x="24" y="46"/>
                  <a:pt x="24" y="41"/>
                  <a:pt x="19" y="38"/>
                </a:cubicBezTo>
                <a:cubicBezTo>
                  <a:pt x="15" y="41"/>
                  <a:pt x="0" y="39"/>
                  <a:pt x="9" y="36"/>
                </a:cubicBezTo>
                <a:cubicBezTo>
                  <a:pt x="13" y="28"/>
                  <a:pt x="13" y="22"/>
                  <a:pt x="4" y="19"/>
                </a:cubicBezTo>
                <a:cubicBezTo>
                  <a:pt x="7" y="15"/>
                  <a:pt x="9" y="11"/>
                  <a:pt x="12" y="7"/>
                </a:cubicBezTo>
                <a:cubicBezTo>
                  <a:pt x="13" y="5"/>
                  <a:pt x="18" y="0"/>
                  <a:pt x="16" y="2"/>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48" name="Freeform 46">
            <a:extLst>
              <a:ext uri="{FF2B5EF4-FFF2-40B4-BE49-F238E27FC236}">
                <a16:creationId xmlns:a16="http://schemas.microsoft.com/office/drawing/2014/main" id="{09A6536E-0EC7-7D85-EC75-190F78E64300}"/>
              </a:ext>
            </a:extLst>
          </p:cNvPr>
          <p:cNvSpPr>
            <a:spLocks/>
          </p:cNvSpPr>
          <p:nvPr/>
        </p:nvSpPr>
        <p:spPr bwMode="auto">
          <a:xfrm>
            <a:off x="4441130" y="2126833"/>
            <a:ext cx="93435" cy="73471"/>
          </a:xfrm>
          <a:custGeom>
            <a:avLst/>
            <a:gdLst/>
            <a:ahLst/>
            <a:cxnLst>
              <a:cxn ang="0">
                <a:pos x="25" y="7"/>
              </a:cxn>
              <a:cxn ang="0">
                <a:pos x="45" y="0"/>
              </a:cxn>
              <a:cxn ang="0">
                <a:pos x="68" y="10"/>
              </a:cxn>
              <a:cxn ang="0">
                <a:pos x="57" y="20"/>
              </a:cxn>
              <a:cxn ang="0">
                <a:pos x="56" y="36"/>
              </a:cxn>
              <a:cxn ang="0">
                <a:pos x="53" y="46"/>
              </a:cxn>
              <a:cxn ang="0">
                <a:pos x="24" y="53"/>
              </a:cxn>
              <a:cxn ang="0">
                <a:pos x="2" y="47"/>
              </a:cxn>
              <a:cxn ang="0">
                <a:pos x="18" y="34"/>
              </a:cxn>
              <a:cxn ang="0">
                <a:pos x="3" y="23"/>
              </a:cxn>
              <a:cxn ang="0">
                <a:pos x="17" y="13"/>
              </a:cxn>
              <a:cxn ang="0">
                <a:pos x="35" y="5"/>
              </a:cxn>
              <a:cxn ang="0">
                <a:pos x="47" y="1"/>
              </a:cxn>
            </a:cxnLst>
            <a:rect l="0" t="0" r="r" b="b"/>
            <a:pathLst>
              <a:path w="68" h="53">
                <a:moveTo>
                  <a:pt x="25" y="7"/>
                </a:moveTo>
                <a:cubicBezTo>
                  <a:pt x="32" y="5"/>
                  <a:pt x="38" y="2"/>
                  <a:pt x="45" y="0"/>
                </a:cubicBezTo>
                <a:cubicBezTo>
                  <a:pt x="58" y="1"/>
                  <a:pt x="61" y="1"/>
                  <a:pt x="68" y="10"/>
                </a:cubicBezTo>
                <a:cubicBezTo>
                  <a:pt x="65" y="18"/>
                  <a:pt x="63" y="16"/>
                  <a:pt x="57" y="20"/>
                </a:cubicBezTo>
                <a:cubicBezTo>
                  <a:pt x="57" y="25"/>
                  <a:pt x="57" y="31"/>
                  <a:pt x="56" y="36"/>
                </a:cubicBezTo>
                <a:cubicBezTo>
                  <a:pt x="56" y="39"/>
                  <a:pt x="53" y="46"/>
                  <a:pt x="53" y="46"/>
                </a:cubicBezTo>
                <a:cubicBezTo>
                  <a:pt x="41" y="43"/>
                  <a:pt x="33" y="44"/>
                  <a:pt x="24" y="53"/>
                </a:cubicBezTo>
                <a:cubicBezTo>
                  <a:pt x="14" y="51"/>
                  <a:pt x="15" y="48"/>
                  <a:pt x="2" y="47"/>
                </a:cubicBezTo>
                <a:cubicBezTo>
                  <a:pt x="0" y="40"/>
                  <a:pt x="12" y="36"/>
                  <a:pt x="18" y="34"/>
                </a:cubicBezTo>
                <a:cubicBezTo>
                  <a:pt x="24" y="25"/>
                  <a:pt x="9" y="25"/>
                  <a:pt x="3" y="23"/>
                </a:cubicBezTo>
                <a:cubicBezTo>
                  <a:pt x="0" y="15"/>
                  <a:pt x="11" y="14"/>
                  <a:pt x="17" y="13"/>
                </a:cubicBezTo>
                <a:cubicBezTo>
                  <a:pt x="26" y="14"/>
                  <a:pt x="27" y="8"/>
                  <a:pt x="35" y="5"/>
                </a:cubicBezTo>
                <a:cubicBezTo>
                  <a:pt x="39" y="1"/>
                  <a:pt x="42" y="1"/>
                  <a:pt x="47" y="1"/>
                </a:cubicBezTo>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49" name="Freeform 47">
            <a:extLst>
              <a:ext uri="{FF2B5EF4-FFF2-40B4-BE49-F238E27FC236}">
                <a16:creationId xmlns:a16="http://schemas.microsoft.com/office/drawing/2014/main" id="{5F4684C1-9709-7174-D0A0-294CA97BE692}"/>
              </a:ext>
            </a:extLst>
          </p:cNvPr>
          <p:cNvSpPr>
            <a:spLocks/>
          </p:cNvSpPr>
          <p:nvPr/>
        </p:nvSpPr>
        <p:spPr bwMode="auto">
          <a:xfrm>
            <a:off x="6512956" y="3182934"/>
            <a:ext cx="48092" cy="77407"/>
          </a:xfrm>
          <a:custGeom>
            <a:avLst/>
            <a:gdLst/>
            <a:ahLst/>
            <a:cxnLst>
              <a:cxn ang="0">
                <a:pos x="1" y="0"/>
              </a:cxn>
              <a:cxn ang="0">
                <a:pos x="1" y="21"/>
              </a:cxn>
              <a:cxn ang="0">
                <a:pos x="2" y="49"/>
              </a:cxn>
              <a:cxn ang="0">
                <a:pos x="13" y="56"/>
              </a:cxn>
              <a:cxn ang="0">
                <a:pos x="25" y="53"/>
              </a:cxn>
              <a:cxn ang="0">
                <a:pos x="5" y="0"/>
              </a:cxn>
              <a:cxn ang="0">
                <a:pos x="2" y="11"/>
              </a:cxn>
            </a:cxnLst>
            <a:rect l="0" t="0" r="r" b="b"/>
            <a:pathLst>
              <a:path w="35" h="56">
                <a:moveTo>
                  <a:pt x="1" y="0"/>
                </a:moveTo>
                <a:cubicBezTo>
                  <a:pt x="4" y="8"/>
                  <a:pt x="4" y="12"/>
                  <a:pt x="1" y="21"/>
                </a:cubicBezTo>
                <a:cubicBezTo>
                  <a:pt x="1" y="30"/>
                  <a:pt x="1" y="40"/>
                  <a:pt x="2" y="49"/>
                </a:cubicBezTo>
                <a:cubicBezTo>
                  <a:pt x="2" y="53"/>
                  <a:pt x="13" y="56"/>
                  <a:pt x="13" y="56"/>
                </a:cubicBezTo>
                <a:cubicBezTo>
                  <a:pt x="17" y="55"/>
                  <a:pt x="25" y="53"/>
                  <a:pt x="25" y="53"/>
                </a:cubicBezTo>
                <a:cubicBezTo>
                  <a:pt x="35" y="43"/>
                  <a:pt x="19" y="5"/>
                  <a:pt x="5" y="0"/>
                </a:cubicBezTo>
                <a:cubicBezTo>
                  <a:pt x="0" y="4"/>
                  <a:pt x="2" y="1"/>
                  <a:pt x="2" y="11"/>
                </a:cubicBezTo>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50" name="Freeform 48">
            <a:extLst>
              <a:ext uri="{FF2B5EF4-FFF2-40B4-BE49-F238E27FC236}">
                <a16:creationId xmlns:a16="http://schemas.microsoft.com/office/drawing/2014/main" id="{4C25AE16-0769-6A05-0F82-8CAE1F09E236}"/>
              </a:ext>
            </a:extLst>
          </p:cNvPr>
          <p:cNvSpPr>
            <a:spLocks/>
          </p:cNvSpPr>
          <p:nvPr/>
        </p:nvSpPr>
        <p:spPr bwMode="auto">
          <a:xfrm>
            <a:off x="6878331" y="3293751"/>
            <a:ext cx="218474" cy="225661"/>
          </a:xfrm>
          <a:custGeom>
            <a:avLst/>
            <a:gdLst/>
            <a:ahLst/>
            <a:cxnLst>
              <a:cxn ang="0">
                <a:pos x="8" y="0"/>
              </a:cxn>
              <a:cxn ang="0">
                <a:pos x="39" y="5"/>
              </a:cxn>
              <a:cxn ang="0">
                <a:pos x="65" y="29"/>
              </a:cxn>
              <a:cxn ang="0">
                <a:pos x="89" y="52"/>
              </a:cxn>
              <a:cxn ang="0">
                <a:pos x="126" y="75"/>
              </a:cxn>
              <a:cxn ang="0">
                <a:pos x="122" y="92"/>
              </a:cxn>
              <a:cxn ang="0">
                <a:pos x="132" y="99"/>
              </a:cxn>
              <a:cxn ang="0">
                <a:pos x="155" y="124"/>
              </a:cxn>
              <a:cxn ang="0">
                <a:pos x="153" y="164"/>
              </a:cxn>
              <a:cxn ang="0">
                <a:pos x="135" y="155"/>
              </a:cxn>
              <a:cxn ang="0">
                <a:pos x="129" y="153"/>
              </a:cxn>
              <a:cxn ang="0">
                <a:pos x="107" y="135"/>
              </a:cxn>
              <a:cxn ang="0">
                <a:pos x="96" y="128"/>
              </a:cxn>
              <a:cxn ang="0">
                <a:pos x="92" y="123"/>
              </a:cxn>
              <a:cxn ang="0">
                <a:pos x="84" y="104"/>
              </a:cxn>
              <a:cxn ang="0">
                <a:pos x="69" y="83"/>
              </a:cxn>
              <a:cxn ang="0">
                <a:pos x="45" y="50"/>
              </a:cxn>
              <a:cxn ang="0">
                <a:pos x="27" y="28"/>
              </a:cxn>
              <a:cxn ang="0">
                <a:pos x="9" y="3"/>
              </a:cxn>
              <a:cxn ang="0">
                <a:pos x="21" y="4"/>
              </a:cxn>
            </a:cxnLst>
            <a:rect l="0" t="0" r="r" b="b"/>
            <a:pathLst>
              <a:path w="159" h="164">
                <a:moveTo>
                  <a:pt x="8" y="0"/>
                </a:moveTo>
                <a:cubicBezTo>
                  <a:pt x="20" y="3"/>
                  <a:pt x="26" y="4"/>
                  <a:pt x="39" y="5"/>
                </a:cubicBezTo>
                <a:cubicBezTo>
                  <a:pt x="47" y="15"/>
                  <a:pt x="54" y="22"/>
                  <a:pt x="65" y="29"/>
                </a:cubicBezTo>
                <a:cubicBezTo>
                  <a:pt x="70" y="37"/>
                  <a:pt x="81" y="48"/>
                  <a:pt x="89" y="52"/>
                </a:cubicBezTo>
                <a:cubicBezTo>
                  <a:pt x="98" y="64"/>
                  <a:pt x="117" y="63"/>
                  <a:pt x="126" y="75"/>
                </a:cubicBezTo>
                <a:cubicBezTo>
                  <a:pt x="128" y="82"/>
                  <a:pt x="124" y="86"/>
                  <a:pt x="122" y="92"/>
                </a:cubicBezTo>
                <a:cubicBezTo>
                  <a:pt x="123" y="96"/>
                  <a:pt x="128" y="98"/>
                  <a:pt x="132" y="99"/>
                </a:cubicBezTo>
                <a:cubicBezTo>
                  <a:pt x="139" y="110"/>
                  <a:pt x="142" y="118"/>
                  <a:pt x="155" y="124"/>
                </a:cubicBezTo>
                <a:cubicBezTo>
                  <a:pt x="156" y="137"/>
                  <a:pt x="159" y="152"/>
                  <a:pt x="153" y="164"/>
                </a:cubicBezTo>
                <a:cubicBezTo>
                  <a:pt x="144" y="161"/>
                  <a:pt x="143" y="159"/>
                  <a:pt x="135" y="155"/>
                </a:cubicBezTo>
                <a:cubicBezTo>
                  <a:pt x="133" y="154"/>
                  <a:pt x="129" y="153"/>
                  <a:pt x="129" y="153"/>
                </a:cubicBezTo>
                <a:cubicBezTo>
                  <a:pt x="122" y="146"/>
                  <a:pt x="117" y="138"/>
                  <a:pt x="107" y="135"/>
                </a:cubicBezTo>
                <a:cubicBezTo>
                  <a:pt x="103" y="132"/>
                  <a:pt x="100" y="132"/>
                  <a:pt x="96" y="128"/>
                </a:cubicBezTo>
                <a:cubicBezTo>
                  <a:pt x="93" y="118"/>
                  <a:pt x="98" y="132"/>
                  <a:pt x="92" y="123"/>
                </a:cubicBezTo>
                <a:cubicBezTo>
                  <a:pt x="88" y="118"/>
                  <a:pt x="88" y="110"/>
                  <a:pt x="84" y="104"/>
                </a:cubicBezTo>
                <a:cubicBezTo>
                  <a:pt x="83" y="99"/>
                  <a:pt x="75" y="85"/>
                  <a:pt x="69" y="83"/>
                </a:cubicBezTo>
                <a:cubicBezTo>
                  <a:pt x="59" y="75"/>
                  <a:pt x="66" y="50"/>
                  <a:pt x="45" y="50"/>
                </a:cubicBezTo>
                <a:cubicBezTo>
                  <a:pt x="41" y="37"/>
                  <a:pt x="44" y="30"/>
                  <a:pt x="27" y="28"/>
                </a:cubicBezTo>
                <a:cubicBezTo>
                  <a:pt x="22" y="26"/>
                  <a:pt x="0" y="13"/>
                  <a:pt x="9" y="3"/>
                </a:cubicBezTo>
                <a:cubicBezTo>
                  <a:pt x="12" y="0"/>
                  <a:pt x="17" y="4"/>
                  <a:pt x="21" y="4"/>
                </a:cubicBezTo>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51" name="Freeform 49">
            <a:extLst>
              <a:ext uri="{FF2B5EF4-FFF2-40B4-BE49-F238E27FC236}">
                <a16:creationId xmlns:a16="http://schemas.microsoft.com/office/drawing/2014/main" id="{20AA83E0-0D1F-B89D-1219-540B21F2A5A4}"/>
              </a:ext>
            </a:extLst>
          </p:cNvPr>
          <p:cNvSpPr>
            <a:spLocks/>
          </p:cNvSpPr>
          <p:nvPr/>
        </p:nvSpPr>
        <p:spPr bwMode="auto">
          <a:xfrm>
            <a:off x="7131108" y="3548131"/>
            <a:ext cx="266566" cy="62975"/>
          </a:xfrm>
          <a:custGeom>
            <a:avLst/>
            <a:gdLst/>
            <a:ahLst/>
            <a:cxnLst>
              <a:cxn ang="0">
                <a:pos x="14" y="2"/>
              </a:cxn>
              <a:cxn ang="0">
                <a:pos x="32" y="3"/>
              </a:cxn>
              <a:cxn ang="0">
                <a:pos x="48" y="10"/>
              </a:cxn>
              <a:cxn ang="0">
                <a:pos x="74" y="15"/>
              </a:cxn>
              <a:cxn ang="0">
                <a:pos x="114" y="13"/>
              </a:cxn>
              <a:cxn ang="0">
                <a:pos x="118" y="29"/>
              </a:cxn>
              <a:cxn ang="0">
                <a:pos x="126" y="35"/>
              </a:cxn>
              <a:cxn ang="0">
                <a:pos x="153" y="38"/>
              </a:cxn>
              <a:cxn ang="0">
                <a:pos x="194" y="38"/>
              </a:cxn>
              <a:cxn ang="0">
                <a:pos x="165" y="45"/>
              </a:cxn>
              <a:cxn ang="0">
                <a:pos x="154" y="46"/>
              </a:cxn>
              <a:cxn ang="0">
                <a:pos x="109" y="41"/>
              </a:cxn>
              <a:cxn ang="0">
                <a:pos x="70" y="32"/>
              </a:cxn>
              <a:cxn ang="0">
                <a:pos x="51" y="28"/>
              </a:cxn>
              <a:cxn ang="0">
                <a:pos x="22" y="19"/>
              </a:cxn>
              <a:cxn ang="0">
                <a:pos x="16" y="16"/>
              </a:cxn>
              <a:cxn ang="0">
                <a:pos x="0" y="11"/>
              </a:cxn>
              <a:cxn ang="0">
                <a:pos x="14" y="2"/>
              </a:cxn>
            </a:cxnLst>
            <a:rect l="0" t="0" r="r" b="b"/>
            <a:pathLst>
              <a:path w="194" h="46">
                <a:moveTo>
                  <a:pt x="14" y="2"/>
                </a:moveTo>
                <a:cubicBezTo>
                  <a:pt x="20" y="3"/>
                  <a:pt x="26" y="4"/>
                  <a:pt x="32" y="3"/>
                </a:cubicBezTo>
                <a:cubicBezTo>
                  <a:pt x="38" y="4"/>
                  <a:pt x="48" y="10"/>
                  <a:pt x="48" y="10"/>
                </a:cubicBezTo>
                <a:cubicBezTo>
                  <a:pt x="53" y="21"/>
                  <a:pt x="62" y="16"/>
                  <a:pt x="74" y="15"/>
                </a:cubicBezTo>
                <a:cubicBezTo>
                  <a:pt x="85" y="9"/>
                  <a:pt x="101" y="11"/>
                  <a:pt x="114" y="13"/>
                </a:cubicBezTo>
                <a:cubicBezTo>
                  <a:pt x="99" y="23"/>
                  <a:pt x="104" y="27"/>
                  <a:pt x="118" y="29"/>
                </a:cubicBezTo>
                <a:cubicBezTo>
                  <a:pt x="121" y="31"/>
                  <a:pt x="122" y="34"/>
                  <a:pt x="126" y="35"/>
                </a:cubicBezTo>
                <a:cubicBezTo>
                  <a:pt x="146" y="34"/>
                  <a:pt x="140" y="34"/>
                  <a:pt x="153" y="38"/>
                </a:cubicBezTo>
                <a:cubicBezTo>
                  <a:pt x="167" y="36"/>
                  <a:pt x="179" y="35"/>
                  <a:pt x="194" y="38"/>
                </a:cubicBezTo>
                <a:cubicBezTo>
                  <a:pt x="184" y="46"/>
                  <a:pt x="181" y="43"/>
                  <a:pt x="165" y="45"/>
                </a:cubicBezTo>
                <a:cubicBezTo>
                  <a:pt x="161" y="45"/>
                  <a:pt x="154" y="46"/>
                  <a:pt x="154" y="46"/>
                </a:cubicBezTo>
                <a:cubicBezTo>
                  <a:pt x="139" y="45"/>
                  <a:pt x="124" y="43"/>
                  <a:pt x="109" y="41"/>
                </a:cubicBezTo>
                <a:cubicBezTo>
                  <a:pt x="97" y="33"/>
                  <a:pt x="84" y="33"/>
                  <a:pt x="70" y="32"/>
                </a:cubicBezTo>
                <a:cubicBezTo>
                  <a:pt x="63" y="31"/>
                  <a:pt x="57" y="29"/>
                  <a:pt x="51" y="28"/>
                </a:cubicBezTo>
                <a:cubicBezTo>
                  <a:pt x="42" y="22"/>
                  <a:pt x="33" y="20"/>
                  <a:pt x="22" y="19"/>
                </a:cubicBezTo>
                <a:cubicBezTo>
                  <a:pt x="13" y="13"/>
                  <a:pt x="29" y="21"/>
                  <a:pt x="16" y="16"/>
                </a:cubicBezTo>
                <a:cubicBezTo>
                  <a:pt x="11" y="16"/>
                  <a:pt x="0" y="14"/>
                  <a:pt x="0" y="11"/>
                </a:cubicBezTo>
                <a:cubicBezTo>
                  <a:pt x="5" y="5"/>
                  <a:pt x="6" y="0"/>
                  <a:pt x="14" y="2"/>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52" name="Freeform 50">
            <a:extLst>
              <a:ext uri="{FF2B5EF4-FFF2-40B4-BE49-F238E27FC236}">
                <a16:creationId xmlns:a16="http://schemas.microsoft.com/office/drawing/2014/main" id="{557CC4E2-97B2-FB01-E7D4-DDF99B927C12}"/>
              </a:ext>
            </a:extLst>
          </p:cNvPr>
          <p:cNvSpPr>
            <a:spLocks/>
          </p:cNvSpPr>
          <p:nvPr/>
        </p:nvSpPr>
        <p:spPr bwMode="auto">
          <a:xfrm>
            <a:off x="7205218" y="3260899"/>
            <a:ext cx="196489" cy="215165"/>
          </a:xfrm>
          <a:custGeom>
            <a:avLst/>
            <a:gdLst/>
            <a:ahLst/>
            <a:cxnLst>
              <a:cxn ang="0">
                <a:pos x="111" y="3"/>
              </a:cxn>
              <a:cxn ang="0">
                <a:pos x="99" y="11"/>
              </a:cxn>
              <a:cxn ang="0">
                <a:pos x="93" y="22"/>
              </a:cxn>
              <a:cxn ang="0">
                <a:pos x="85" y="33"/>
              </a:cxn>
              <a:cxn ang="0">
                <a:pos x="74" y="36"/>
              </a:cxn>
              <a:cxn ang="0">
                <a:pos x="71" y="37"/>
              </a:cxn>
              <a:cxn ang="0">
                <a:pos x="61" y="47"/>
              </a:cxn>
              <a:cxn ang="0">
                <a:pos x="38" y="61"/>
              </a:cxn>
              <a:cxn ang="0">
                <a:pos x="30" y="76"/>
              </a:cxn>
              <a:cxn ang="0">
                <a:pos x="24" y="78"/>
              </a:cxn>
              <a:cxn ang="0">
                <a:pos x="8" y="73"/>
              </a:cxn>
              <a:cxn ang="0">
                <a:pos x="0" y="90"/>
              </a:cxn>
              <a:cxn ang="0">
                <a:pos x="12" y="121"/>
              </a:cxn>
              <a:cxn ang="0">
                <a:pos x="30" y="144"/>
              </a:cxn>
              <a:cxn ang="0">
                <a:pos x="44" y="149"/>
              </a:cxn>
              <a:cxn ang="0">
                <a:pos x="59" y="144"/>
              </a:cxn>
              <a:cxn ang="0">
                <a:pos x="68" y="148"/>
              </a:cxn>
              <a:cxn ang="0">
                <a:pos x="77" y="151"/>
              </a:cxn>
              <a:cxn ang="0">
                <a:pos x="90" y="155"/>
              </a:cxn>
              <a:cxn ang="0">
                <a:pos x="104" y="143"/>
              </a:cxn>
              <a:cxn ang="0">
                <a:pos x="108" y="127"/>
              </a:cxn>
              <a:cxn ang="0">
                <a:pos x="119" y="121"/>
              </a:cxn>
              <a:cxn ang="0">
                <a:pos x="123" y="112"/>
              </a:cxn>
              <a:cxn ang="0">
                <a:pos x="141" y="88"/>
              </a:cxn>
              <a:cxn ang="0">
                <a:pos x="135" y="77"/>
              </a:cxn>
              <a:cxn ang="0">
                <a:pos x="120" y="57"/>
              </a:cxn>
              <a:cxn ang="0">
                <a:pos x="138" y="37"/>
              </a:cxn>
              <a:cxn ang="0">
                <a:pos x="143" y="28"/>
              </a:cxn>
              <a:cxn ang="0">
                <a:pos x="128" y="9"/>
              </a:cxn>
              <a:cxn ang="0">
                <a:pos x="116" y="0"/>
              </a:cxn>
              <a:cxn ang="0">
                <a:pos x="111" y="3"/>
              </a:cxn>
            </a:cxnLst>
            <a:rect l="0" t="0" r="r" b="b"/>
            <a:pathLst>
              <a:path w="143" h="156">
                <a:moveTo>
                  <a:pt x="111" y="3"/>
                </a:moveTo>
                <a:cubicBezTo>
                  <a:pt x="106" y="5"/>
                  <a:pt x="104" y="9"/>
                  <a:pt x="99" y="11"/>
                </a:cubicBezTo>
                <a:cubicBezTo>
                  <a:pt x="97" y="16"/>
                  <a:pt x="98" y="20"/>
                  <a:pt x="93" y="22"/>
                </a:cubicBezTo>
                <a:cubicBezTo>
                  <a:pt x="90" y="27"/>
                  <a:pt x="91" y="31"/>
                  <a:pt x="85" y="33"/>
                </a:cubicBezTo>
                <a:cubicBezTo>
                  <a:pt x="84" y="33"/>
                  <a:pt x="75" y="36"/>
                  <a:pt x="74" y="36"/>
                </a:cubicBezTo>
                <a:cubicBezTo>
                  <a:pt x="73" y="36"/>
                  <a:pt x="71" y="37"/>
                  <a:pt x="71" y="37"/>
                </a:cubicBezTo>
                <a:cubicBezTo>
                  <a:pt x="68" y="42"/>
                  <a:pt x="68" y="45"/>
                  <a:pt x="61" y="47"/>
                </a:cubicBezTo>
                <a:cubicBezTo>
                  <a:pt x="58" y="59"/>
                  <a:pt x="48" y="59"/>
                  <a:pt x="38" y="61"/>
                </a:cubicBezTo>
                <a:cubicBezTo>
                  <a:pt x="35" y="65"/>
                  <a:pt x="33" y="74"/>
                  <a:pt x="30" y="76"/>
                </a:cubicBezTo>
                <a:cubicBezTo>
                  <a:pt x="28" y="77"/>
                  <a:pt x="24" y="78"/>
                  <a:pt x="24" y="78"/>
                </a:cubicBezTo>
                <a:cubicBezTo>
                  <a:pt x="19" y="76"/>
                  <a:pt x="13" y="75"/>
                  <a:pt x="8" y="73"/>
                </a:cubicBezTo>
                <a:cubicBezTo>
                  <a:pt x="3" y="78"/>
                  <a:pt x="2" y="83"/>
                  <a:pt x="0" y="90"/>
                </a:cubicBezTo>
                <a:cubicBezTo>
                  <a:pt x="1" y="102"/>
                  <a:pt x="3" y="112"/>
                  <a:pt x="12" y="121"/>
                </a:cubicBezTo>
                <a:cubicBezTo>
                  <a:pt x="14" y="133"/>
                  <a:pt x="18" y="141"/>
                  <a:pt x="30" y="144"/>
                </a:cubicBezTo>
                <a:cubicBezTo>
                  <a:pt x="39" y="142"/>
                  <a:pt x="37" y="147"/>
                  <a:pt x="44" y="149"/>
                </a:cubicBezTo>
                <a:cubicBezTo>
                  <a:pt x="64" y="147"/>
                  <a:pt x="49" y="147"/>
                  <a:pt x="59" y="144"/>
                </a:cubicBezTo>
                <a:cubicBezTo>
                  <a:pt x="74" y="146"/>
                  <a:pt x="58" y="143"/>
                  <a:pt x="68" y="148"/>
                </a:cubicBezTo>
                <a:cubicBezTo>
                  <a:pt x="71" y="150"/>
                  <a:pt x="77" y="151"/>
                  <a:pt x="77" y="151"/>
                </a:cubicBezTo>
                <a:cubicBezTo>
                  <a:pt x="81" y="156"/>
                  <a:pt x="84" y="156"/>
                  <a:pt x="90" y="155"/>
                </a:cubicBezTo>
                <a:cubicBezTo>
                  <a:pt x="94" y="149"/>
                  <a:pt x="98" y="147"/>
                  <a:pt x="104" y="143"/>
                </a:cubicBezTo>
                <a:cubicBezTo>
                  <a:pt x="105" y="136"/>
                  <a:pt x="102" y="131"/>
                  <a:pt x="108" y="127"/>
                </a:cubicBezTo>
                <a:cubicBezTo>
                  <a:pt x="112" y="125"/>
                  <a:pt x="119" y="121"/>
                  <a:pt x="119" y="121"/>
                </a:cubicBezTo>
                <a:cubicBezTo>
                  <a:pt x="121" y="118"/>
                  <a:pt x="123" y="112"/>
                  <a:pt x="123" y="112"/>
                </a:cubicBezTo>
                <a:cubicBezTo>
                  <a:pt x="121" y="94"/>
                  <a:pt x="120" y="92"/>
                  <a:pt x="141" y="88"/>
                </a:cubicBezTo>
                <a:cubicBezTo>
                  <a:pt x="140" y="83"/>
                  <a:pt x="140" y="79"/>
                  <a:pt x="135" y="77"/>
                </a:cubicBezTo>
                <a:cubicBezTo>
                  <a:pt x="131" y="69"/>
                  <a:pt x="123" y="68"/>
                  <a:pt x="120" y="57"/>
                </a:cubicBezTo>
                <a:cubicBezTo>
                  <a:pt x="122" y="41"/>
                  <a:pt x="127" y="44"/>
                  <a:pt x="138" y="37"/>
                </a:cubicBezTo>
                <a:cubicBezTo>
                  <a:pt x="140" y="34"/>
                  <a:pt x="141" y="31"/>
                  <a:pt x="143" y="28"/>
                </a:cubicBezTo>
                <a:cubicBezTo>
                  <a:pt x="140" y="20"/>
                  <a:pt x="137" y="12"/>
                  <a:pt x="128" y="9"/>
                </a:cubicBezTo>
                <a:cubicBezTo>
                  <a:pt x="125" y="5"/>
                  <a:pt x="120" y="1"/>
                  <a:pt x="116" y="0"/>
                </a:cubicBezTo>
                <a:cubicBezTo>
                  <a:pt x="116" y="0"/>
                  <a:pt x="102" y="3"/>
                  <a:pt x="111" y="3"/>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53" name="Freeform 51">
            <a:extLst>
              <a:ext uri="{FF2B5EF4-FFF2-40B4-BE49-F238E27FC236}">
                <a16:creationId xmlns:a16="http://schemas.microsoft.com/office/drawing/2014/main" id="{FF3272C3-2FA7-060C-EE61-859C946792B2}"/>
              </a:ext>
            </a:extLst>
          </p:cNvPr>
          <p:cNvSpPr>
            <a:spLocks/>
          </p:cNvSpPr>
          <p:nvPr/>
        </p:nvSpPr>
        <p:spPr bwMode="auto">
          <a:xfrm>
            <a:off x="7420882" y="2984418"/>
            <a:ext cx="49466" cy="122015"/>
          </a:xfrm>
          <a:custGeom>
            <a:avLst/>
            <a:gdLst/>
            <a:ahLst/>
            <a:cxnLst>
              <a:cxn ang="0">
                <a:pos x="11" y="0"/>
              </a:cxn>
              <a:cxn ang="0">
                <a:pos x="35" y="11"/>
              </a:cxn>
              <a:cxn ang="0">
                <a:pos x="26" y="39"/>
              </a:cxn>
              <a:cxn ang="0">
                <a:pos x="30" y="51"/>
              </a:cxn>
              <a:cxn ang="0">
                <a:pos x="26" y="72"/>
              </a:cxn>
              <a:cxn ang="0">
                <a:pos x="23" y="89"/>
              </a:cxn>
              <a:cxn ang="0">
                <a:pos x="17" y="62"/>
              </a:cxn>
              <a:cxn ang="0">
                <a:pos x="2" y="42"/>
              </a:cxn>
              <a:cxn ang="0">
                <a:pos x="11" y="0"/>
              </a:cxn>
            </a:cxnLst>
            <a:rect l="0" t="0" r="r" b="b"/>
            <a:pathLst>
              <a:path w="36" h="89">
                <a:moveTo>
                  <a:pt x="11" y="0"/>
                </a:moveTo>
                <a:cubicBezTo>
                  <a:pt x="12" y="1"/>
                  <a:pt x="33" y="5"/>
                  <a:pt x="35" y="11"/>
                </a:cubicBezTo>
                <a:cubicBezTo>
                  <a:pt x="36" y="18"/>
                  <a:pt x="30" y="33"/>
                  <a:pt x="26" y="39"/>
                </a:cubicBezTo>
                <a:cubicBezTo>
                  <a:pt x="29" y="43"/>
                  <a:pt x="29" y="46"/>
                  <a:pt x="30" y="51"/>
                </a:cubicBezTo>
                <a:cubicBezTo>
                  <a:pt x="29" y="62"/>
                  <a:pt x="30" y="64"/>
                  <a:pt x="26" y="72"/>
                </a:cubicBezTo>
                <a:cubicBezTo>
                  <a:pt x="28" y="78"/>
                  <a:pt x="31" y="86"/>
                  <a:pt x="23" y="89"/>
                </a:cubicBezTo>
                <a:cubicBezTo>
                  <a:pt x="18" y="87"/>
                  <a:pt x="18" y="67"/>
                  <a:pt x="17" y="62"/>
                </a:cubicBezTo>
                <a:cubicBezTo>
                  <a:pt x="14" y="54"/>
                  <a:pt x="0" y="54"/>
                  <a:pt x="2" y="42"/>
                </a:cubicBezTo>
                <a:cubicBezTo>
                  <a:pt x="1" y="29"/>
                  <a:pt x="6" y="5"/>
                  <a:pt x="11"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54" name="Freeform 52">
            <a:extLst>
              <a:ext uri="{FF2B5EF4-FFF2-40B4-BE49-F238E27FC236}">
                <a16:creationId xmlns:a16="http://schemas.microsoft.com/office/drawing/2014/main" id="{2DA6C284-09B5-B640-BBF1-89C1DD1C9AFF}"/>
              </a:ext>
            </a:extLst>
          </p:cNvPr>
          <p:cNvSpPr>
            <a:spLocks/>
          </p:cNvSpPr>
          <p:nvPr/>
        </p:nvSpPr>
        <p:spPr bwMode="auto">
          <a:xfrm>
            <a:off x="7475451" y="3101899"/>
            <a:ext cx="78322" cy="91839"/>
          </a:xfrm>
          <a:custGeom>
            <a:avLst/>
            <a:gdLst/>
            <a:ahLst/>
            <a:cxnLst>
              <a:cxn ang="0">
                <a:pos x="27" y="2"/>
              </a:cxn>
              <a:cxn ang="0">
                <a:pos x="57" y="31"/>
              </a:cxn>
              <a:cxn ang="0">
                <a:pos x="46" y="46"/>
              </a:cxn>
              <a:cxn ang="0">
                <a:pos x="36" y="58"/>
              </a:cxn>
              <a:cxn ang="0">
                <a:pos x="10" y="55"/>
              </a:cxn>
              <a:cxn ang="0">
                <a:pos x="21" y="45"/>
              </a:cxn>
              <a:cxn ang="0">
                <a:pos x="16" y="32"/>
              </a:cxn>
              <a:cxn ang="0">
                <a:pos x="0" y="45"/>
              </a:cxn>
              <a:cxn ang="0">
                <a:pos x="5" y="20"/>
              </a:cxn>
              <a:cxn ang="0">
                <a:pos x="27" y="21"/>
              </a:cxn>
              <a:cxn ang="0">
                <a:pos x="39" y="7"/>
              </a:cxn>
              <a:cxn ang="0">
                <a:pos x="27" y="2"/>
              </a:cxn>
            </a:cxnLst>
            <a:rect l="0" t="0" r="r" b="b"/>
            <a:pathLst>
              <a:path w="57" h="67">
                <a:moveTo>
                  <a:pt x="27" y="2"/>
                </a:moveTo>
                <a:cubicBezTo>
                  <a:pt x="47" y="7"/>
                  <a:pt x="50" y="13"/>
                  <a:pt x="57" y="31"/>
                </a:cubicBezTo>
                <a:cubicBezTo>
                  <a:pt x="54" y="39"/>
                  <a:pt x="51" y="41"/>
                  <a:pt x="46" y="46"/>
                </a:cubicBezTo>
                <a:cubicBezTo>
                  <a:pt x="45" y="49"/>
                  <a:pt x="39" y="56"/>
                  <a:pt x="36" y="58"/>
                </a:cubicBezTo>
                <a:cubicBezTo>
                  <a:pt x="30" y="67"/>
                  <a:pt x="13" y="66"/>
                  <a:pt x="10" y="55"/>
                </a:cubicBezTo>
                <a:cubicBezTo>
                  <a:pt x="11" y="51"/>
                  <a:pt x="17" y="47"/>
                  <a:pt x="21" y="45"/>
                </a:cubicBezTo>
                <a:cubicBezTo>
                  <a:pt x="22" y="39"/>
                  <a:pt x="20" y="36"/>
                  <a:pt x="16" y="32"/>
                </a:cubicBezTo>
                <a:cubicBezTo>
                  <a:pt x="0" y="36"/>
                  <a:pt x="10" y="39"/>
                  <a:pt x="0" y="45"/>
                </a:cubicBezTo>
                <a:cubicBezTo>
                  <a:pt x="1" y="25"/>
                  <a:pt x="2" y="33"/>
                  <a:pt x="5" y="20"/>
                </a:cubicBezTo>
                <a:cubicBezTo>
                  <a:pt x="13" y="21"/>
                  <a:pt x="20" y="24"/>
                  <a:pt x="27" y="21"/>
                </a:cubicBezTo>
                <a:cubicBezTo>
                  <a:pt x="24" y="0"/>
                  <a:pt x="15" y="7"/>
                  <a:pt x="39" y="7"/>
                </a:cubicBezTo>
                <a:lnTo>
                  <a:pt x="27" y="2"/>
                </a:ln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55" name="Freeform 53">
            <a:extLst>
              <a:ext uri="{FF2B5EF4-FFF2-40B4-BE49-F238E27FC236}">
                <a16:creationId xmlns:a16="http://schemas.microsoft.com/office/drawing/2014/main" id="{36EB8453-8279-3476-D9EB-16E56454C9B4}"/>
              </a:ext>
            </a:extLst>
          </p:cNvPr>
          <p:cNvSpPr>
            <a:spLocks/>
          </p:cNvSpPr>
          <p:nvPr/>
        </p:nvSpPr>
        <p:spPr bwMode="auto">
          <a:xfrm>
            <a:off x="7526635" y="3182034"/>
            <a:ext cx="59085" cy="83967"/>
          </a:xfrm>
          <a:custGeom>
            <a:avLst/>
            <a:gdLst/>
            <a:ahLst/>
            <a:cxnLst>
              <a:cxn ang="0">
                <a:pos x="29" y="6"/>
              </a:cxn>
              <a:cxn ang="0">
                <a:pos x="43" y="39"/>
              </a:cxn>
              <a:cxn ang="0">
                <a:pos x="35" y="39"/>
              </a:cxn>
              <a:cxn ang="0">
                <a:pos x="31" y="45"/>
              </a:cxn>
              <a:cxn ang="0">
                <a:pos x="26" y="61"/>
              </a:cxn>
              <a:cxn ang="0">
                <a:pos x="16" y="57"/>
              </a:cxn>
              <a:cxn ang="0">
                <a:pos x="5" y="37"/>
              </a:cxn>
              <a:cxn ang="0">
                <a:pos x="14" y="24"/>
              </a:cxn>
              <a:cxn ang="0">
                <a:pos x="21" y="16"/>
              </a:cxn>
              <a:cxn ang="0">
                <a:pos x="29" y="6"/>
              </a:cxn>
            </a:cxnLst>
            <a:rect l="0" t="0" r="r" b="b"/>
            <a:pathLst>
              <a:path w="43" h="61">
                <a:moveTo>
                  <a:pt x="29" y="6"/>
                </a:moveTo>
                <a:cubicBezTo>
                  <a:pt x="43" y="10"/>
                  <a:pt x="40" y="27"/>
                  <a:pt x="43" y="39"/>
                </a:cubicBezTo>
                <a:cubicBezTo>
                  <a:pt x="40" y="45"/>
                  <a:pt x="39" y="43"/>
                  <a:pt x="35" y="39"/>
                </a:cubicBezTo>
                <a:cubicBezTo>
                  <a:pt x="30" y="40"/>
                  <a:pt x="26" y="40"/>
                  <a:pt x="31" y="45"/>
                </a:cubicBezTo>
                <a:cubicBezTo>
                  <a:pt x="33" y="52"/>
                  <a:pt x="36" y="58"/>
                  <a:pt x="26" y="61"/>
                </a:cubicBezTo>
                <a:cubicBezTo>
                  <a:pt x="23" y="60"/>
                  <a:pt x="19" y="58"/>
                  <a:pt x="16" y="57"/>
                </a:cubicBezTo>
                <a:cubicBezTo>
                  <a:pt x="11" y="50"/>
                  <a:pt x="13" y="41"/>
                  <a:pt x="5" y="37"/>
                </a:cubicBezTo>
                <a:cubicBezTo>
                  <a:pt x="0" y="29"/>
                  <a:pt x="7" y="26"/>
                  <a:pt x="14" y="24"/>
                </a:cubicBezTo>
                <a:cubicBezTo>
                  <a:pt x="15" y="20"/>
                  <a:pt x="19" y="20"/>
                  <a:pt x="21" y="16"/>
                </a:cubicBezTo>
                <a:cubicBezTo>
                  <a:pt x="23" y="9"/>
                  <a:pt x="22" y="0"/>
                  <a:pt x="29" y="6"/>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56" name="Freeform 54">
            <a:extLst>
              <a:ext uri="{FF2B5EF4-FFF2-40B4-BE49-F238E27FC236}">
                <a16:creationId xmlns:a16="http://schemas.microsoft.com/office/drawing/2014/main" id="{509EB682-2711-DE0C-3C7C-942A1A7F25FB}"/>
              </a:ext>
            </a:extLst>
          </p:cNvPr>
          <p:cNvSpPr>
            <a:spLocks/>
          </p:cNvSpPr>
          <p:nvPr/>
        </p:nvSpPr>
        <p:spPr bwMode="auto">
          <a:xfrm>
            <a:off x="7426440" y="3423952"/>
            <a:ext cx="86565" cy="104959"/>
          </a:xfrm>
          <a:custGeom>
            <a:avLst/>
            <a:gdLst/>
            <a:ahLst/>
            <a:cxnLst>
              <a:cxn ang="0">
                <a:pos x="16" y="4"/>
              </a:cxn>
              <a:cxn ang="0">
                <a:pos x="28" y="12"/>
              </a:cxn>
              <a:cxn ang="0">
                <a:pos x="40" y="9"/>
              </a:cxn>
              <a:cxn ang="0">
                <a:pos x="46" y="7"/>
              </a:cxn>
              <a:cxn ang="0">
                <a:pos x="54" y="1"/>
              </a:cxn>
              <a:cxn ang="0">
                <a:pos x="60" y="7"/>
              </a:cxn>
              <a:cxn ang="0">
                <a:pos x="49" y="16"/>
              </a:cxn>
              <a:cxn ang="0">
                <a:pos x="51" y="37"/>
              </a:cxn>
              <a:cxn ang="0">
                <a:pos x="53" y="55"/>
              </a:cxn>
              <a:cxn ang="0">
                <a:pos x="40" y="62"/>
              </a:cxn>
              <a:cxn ang="0">
                <a:pos x="31" y="50"/>
              </a:cxn>
              <a:cxn ang="0">
                <a:pos x="21" y="34"/>
              </a:cxn>
              <a:cxn ang="0">
                <a:pos x="19" y="61"/>
              </a:cxn>
              <a:cxn ang="0">
                <a:pos x="18" y="74"/>
              </a:cxn>
              <a:cxn ang="0">
                <a:pos x="10" y="73"/>
              </a:cxn>
              <a:cxn ang="0">
                <a:pos x="10" y="55"/>
              </a:cxn>
              <a:cxn ang="0">
                <a:pos x="9" y="50"/>
              </a:cxn>
              <a:cxn ang="0">
                <a:pos x="0" y="40"/>
              </a:cxn>
              <a:cxn ang="0">
                <a:pos x="5" y="27"/>
              </a:cxn>
              <a:cxn ang="0">
                <a:pos x="6" y="24"/>
              </a:cxn>
              <a:cxn ang="0">
                <a:pos x="16" y="4"/>
              </a:cxn>
            </a:cxnLst>
            <a:rect l="0" t="0" r="r" b="b"/>
            <a:pathLst>
              <a:path w="63" h="76">
                <a:moveTo>
                  <a:pt x="16" y="4"/>
                </a:moveTo>
                <a:cubicBezTo>
                  <a:pt x="20" y="7"/>
                  <a:pt x="28" y="12"/>
                  <a:pt x="28" y="12"/>
                </a:cubicBezTo>
                <a:cubicBezTo>
                  <a:pt x="32" y="11"/>
                  <a:pt x="36" y="10"/>
                  <a:pt x="40" y="9"/>
                </a:cubicBezTo>
                <a:cubicBezTo>
                  <a:pt x="42" y="8"/>
                  <a:pt x="46" y="7"/>
                  <a:pt x="46" y="7"/>
                </a:cubicBezTo>
                <a:cubicBezTo>
                  <a:pt x="48" y="3"/>
                  <a:pt x="50" y="3"/>
                  <a:pt x="54" y="1"/>
                </a:cubicBezTo>
                <a:cubicBezTo>
                  <a:pt x="61" y="2"/>
                  <a:pt x="63" y="0"/>
                  <a:pt x="60" y="7"/>
                </a:cubicBezTo>
                <a:cubicBezTo>
                  <a:pt x="58" y="11"/>
                  <a:pt x="49" y="16"/>
                  <a:pt x="49" y="16"/>
                </a:cubicBezTo>
                <a:cubicBezTo>
                  <a:pt x="44" y="24"/>
                  <a:pt x="46" y="29"/>
                  <a:pt x="51" y="37"/>
                </a:cubicBezTo>
                <a:cubicBezTo>
                  <a:pt x="51" y="43"/>
                  <a:pt x="56" y="50"/>
                  <a:pt x="53" y="55"/>
                </a:cubicBezTo>
                <a:cubicBezTo>
                  <a:pt x="50" y="59"/>
                  <a:pt x="40" y="62"/>
                  <a:pt x="40" y="62"/>
                </a:cubicBezTo>
                <a:cubicBezTo>
                  <a:pt x="29" y="60"/>
                  <a:pt x="40" y="56"/>
                  <a:pt x="31" y="50"/>
                </a:cubicBezTo>
                <a:cubicBezTo>
                  <a:pt x="28" y="40"/>
                  <a:pt x="33" y="37"/>
                  <a:pt x="21" y="34"/>
                </a:cubicBezTo>
                <a:cubicBezTo>
                  <a:pt x="19" y="36"/>
                  <a:pt x="19" y="54"/>
                  <a:pt x="19" y="61"/>
                </a:cubicBezTo>
                <a:cubicBezTo>
                  <a:pt x="19" y="65"/>
                  <a:pt x="21" y="71"/>
                  <a:pt x="18" y="74"/>
                </a:cubicBezTo>
                <a:cubicBezTo>
                  <a:pt x="16" y="76"/>
                  <a:pt x="11" y="75"/>
                  <a:pt x="10" y="73"/>
                </a:cubicBezTo>
                <a:cubicBezTo>
                  <a:pt x="9" y="72"/>
                  <a:pt x="10" y="58"/>
                  <a:pt x="10" y="55"/>
                </a:cubicBezTo>
                <a:cubicBezTo>
                  <a:pt x="9" y="50"/>
                  <a:pt x="15" y="46"/>
                  <a:pt x="9" y="50"/>
                </a:cubicBezTo>
                <a:cubicBezTo>
                  <a:pt x="5" y="48"/>
                  <a:pt x="1" y="44"/>
                  <a:pt x="0" y="40"/>
                </a:cubicBezTo>
                <a:cubicBezTo>
                  <a:pt x="1" y="35"/>
                  <a:pt x="3" y="32"/>
                  <a:pt x="5" y="27"/>
                </a:cubicBezTo>
                <a:cubicBezTo>
                  <a:pt x="5" y="26"/>
                  <a:pt x="6" y="24"/>
                  <a:pt x="6" y="24"/>
                </a:cubicBezTo>
                <a:cubicBezTo>
                  <a:pt x="7" y="8"/>
                  <a:pt x="5" y="11"/>
                  <a:pt x="16" y="4"/>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57" name="Freeform 55">
            <a:extLst>
              <a:ext uri="{FF2B5EF4-FFF2-40B4-BE49-F238E27FC236}">
                <a16:creationId xmlns:a16="http://schemas.microsoft.com/office/drawing/2014/main" id="{A753A2CA-2384-8402-9C10-CF812B53EB04}"/>
              </a:ext>
            </a:extLst>
          </p:cNvPr>
          <p:cNvSpPr>
            <a:spLocks/>
          </p:cNvSpPr>
          <p:nvPr/>
        </p:nvSpPr>
        <p:spPr bwMode="auto">
          <a:xfrm>
            <a:off x="7447835" y="3360740"/>
            <a:ext cx="100305" cy="47232"/>
          </a:xfrm>
          <a:custGeom>
            <a:avLst/>
            <a:gdLst/>
            <a:ahLst/>
            <a:cxnLst>
              <a:cxn ang="0">
                <a:pos x="6" y="27"/>
              </a:cxn>
              <a:cxn ang="0">
                <a:pos x="61" y="23"/>
              </a:cxn>
              <a:cxn ang="0">
                <a:pos x="73" y="12"/>
              </a:cxn>
              <a:cxn ang="0">
                <a:pos x="61" y="9"/>
              </a:cxn>
              <a:cxn ang="0">
                <a:pos x="54" y="15"/>
              </a:cxn>
              <a:cxn ang="0">
                <a:pos x="29" y="11"/>
              </a:cxn>
              <a:cxn ang="0">
                <a:pos x="7" y="20"/>
              </a:cxn>
              <a:cxn ang="0">
                <a:pos x="3" y="29"/>
              </a:cxn>
              <a:cxn ang="0">
                <a:pos x="0" y="35"/>
              </a:cxn>
              <a:cxn ang="0">
                <a:pos x="6" y="27"/>
              </a:cxn>
            </a:cxnLst>
            <a:rect l="0" t="0" r="r" b="b"/>
            <a:pathLst>
              <a:path w="73" h="35">
                <a:moveTo>
                  <a:pt x="6" y="27"/>
                </a:moveTo>
                <a:cubicBezTo>
                  <a:pt x="28" y="20"/>
                  <a:pt x="19" y="24"/>
                  <a:pt x="61" y="23"/>
                </a:cubicBezTo>
                <a:cubicBezTo>
                  <a:pt x="71" y="20"/>
                  <a:pt x="68" y="19"/>
                  <a:pt x="73" y="12"/>
                </a:cubicBezTo>
                <a:cubicBezTo>
                  <a:pt x="71" y="0"/>
                  <a:pt x="69" y="6"/>
                  <a:pt x="61" y="9"/>
                </a:cubicBezTo>
                <a:cubicBezTo>
                  <a:pt x="60" y="13"/>
                  <a:pt x="58" y="14"/>
                  <a:pt x="54" y="15"/>
                </a:cubicBezTo>
                <a:cubicBezTo>
                  <a:pt x="46" y="14"/>
                  <a:pt x="37" y="13"/>
                  <a:pt x="29" y="11"/>
                </a:cubicBezTo>
                <a:cubicBezTo>
                  <a:pt x="17" y="12"/>
                  <a:pt x="16" y="14"/>
                  <a:pt x="7" y="20"/>
                </a:cubicBezTo>
                <a:cubicBezTo>
                  <a:pt x="4" y="25"/>
                  <a:pt x="5" y="22"/>
                  <a:pt x="3" y="29"/>
                </a:cubicBezTo>
                <a:cubicBezTo>
                  <a:pt x="2" y="31"/>
                  <a:pt x="0" y="35"/>
                  <a:pt x="0" y="35"/>
                </a:cubicBezTo>
                <a:lnTo>
                  <a:pt x="6" y="27"/>
                </a:ln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58" name="Freeform 56">
            <a:extLst>
              <a:ext uri="{FF2B5EF4-FFF2-40B4-BE49-F238E27FC236}">
                <a16:creationId xmlns:a16="http://schemas.microsoft.com/office/drawing/2014/main" id="{BA5B60C7-CADA-DAAC-9A8C-12D93A143173}"/>
              </a:ext>
            </a:extLst>
          </p:cNvPr>
          <p:cNvSpPr>
            <a:spLocks/>
          </p:cNvSpPr>
          <p:nvPr/>
        </p:nvSpPr>
        <p:spPr bwMode="auto">
          <a:xfrm>
            <a:off x="7156095" y="2939778"/>
            <a:ext cx="45344" cy="44607"/>
          </a:xfrm>
          <a:custGeom>
            <a:avLst/>
            <a:gdLst/>
            <a:ahLst/>
            <a:cxnLst>
              <a:cxn ang="0">
                <a:pos x="15" y="6"/>
              </a:cxn>
              <a:cxn ang="0">
                <a:pos x="4" y="10"/>
              </a:cxn>
              <a:cxn ang="0">
                <a:pos x="8" y="27"/>
              </a:cxn>
              <a:cxn ang="0">
                <a:pos x="21" y="30"/>
              </a:cxn>
              <a:cxn ang="0">
                <a:pos x="32" y="20"/>
              </a:cxn>
              <a:cxn ang="0">
                <a:pos x="29" y="6"/>
              </a:cxn>
              <a:cxn ang="0">
                <a:pos x="15" y="6"/>
              </a:cxn>
            </a:cxnLst>
            <a:rect l="0" t="0" r="r" b="b"/>
            <a:pathLst>
              <a:path w="33" h="33">
                <a:moveTo>
                  <a:pt x="15" y="6"/>
                </a:moveTo>
                <a:cubicBezTo>
                  <a:pt x="10" y="7"/>
                  <a:pt x="8" y="7"/>
                  <a:pt x="4" y="10"/>
                </a:cubicBezTo>
                <a:cubicBezTo>
                  <a:pt x="2" y="19"/>
                  <a:pt x="0" y="21"/>
                  <a:pt x="8" y="27"/>
                </a:cubicBezTo>
                <a:cubicBezTo>
                  <a:pt x="10" y="33"/>
                  <a:pt x="16" y="31"/>
                  <a:pt x="21" y="30"/>
                </a:cubicBezTo>
                <a:cubicBezTo>
                  <a:pt x="26" y="27"/>
                  <a:pt x="27" y="23"/>
                  <a:pt x="32" y="20"/>
                </a:cubicBezTo>
                <a:cubicBezTo>
                  <a:pt x="33" y="14"/>
                  <a:pt x="33" y="10"/>
                  <a:pt x="29" y="6"/>
                </a:cubicBezTo>
                <a:cubicBezTo>
                  <a:pt x="27" y="0"/>
                  <a:pt x="12" y="6"/>
                  <a:pt x="15" y="6"/>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59" name="Freeform 57">
            <a:extLst>
              <a:ext uri="{FF2B5EF4-FFF2-40B4-BE49-F238E27FC236}">
                <a16:creationId xmlns:a16="http://schemas.microsoft.com/office/drawing/2014/main" id="{70C1D462-143D-CE3C-65D9-6C4E3953993E}"/>
              </a:ext>
            </a:extLst>
          </p:cNvPr>
          <p:cNvSpPr>
            <a:spLocks/>
          </p:cNvSpPr>
          <p:nvPr/>
        </p:nvSpPr>
        <p:spPr bwMode="auto">
          <a:xfrm>
            <a:off x="7397968" y="2824920"/>
            <a:ext cx="37100" cy="69535"/>
          </a:xfrm>
          <a:custGeom>
            <a:avLst/>
            <a:gdLst/>
            <a:ahLst/>
            <a:cxnLst>
              <a:cxn ang="0">
                <a:pos x="11" y="2"/>
              </a:cxn>
              <a:cxn ang="0">
                <a:pos x="2" y="19"/>
              </a:cxn>
              <a:cxn ang="0">
                <a:pos x="12" y="38"/>
              </a:cxn>
              <a:cxn ang="0">
                <a:pos x="17" y="50"/>
              </a:cxn>
              <a:cxn ang="0">
                <a:pos x="20" y="37"/>
              </a:cxn>
              <a:cxn ang="0">
                <a:pos x="21" y="34"/>
              </a:cxn>
              <a:cxn ang="0">
                <a:pos x="15" y="0"/>
              </a:cxn>
              <a:cxn ang="0">
                <a:pos x="11" y="2"/>
              </a:cxn>
            </a:cxnLst>
            <a:rect l="0" t="0" r="r" b="b"/>
            <a:pathLst>
              <a:path w="27" h="50">
                <a:moveTo>
                  <a:pt x="11" y="2"/>
                </a:moveTo>
                <a:cubicBezTo>
                  <a:pt x="7" y="8"/>
                  <a:pt x="8" y="15"/>
                  <a:pt x="2" y="19"/>
                </a:cubicBezTo>
                <a:cubicBezTo>
                  <a:pt x="0" y="26"/>
                  <a:pt x="5" y="36"/>
                  <a:pt x="12" y="38"/>
                </a:cubicBezTo>
                <a:cubicBezTo>
                  <a:pt x="14" y="43"/>
                  <a:pt x="14" y="46"/>
                  <a:pt x="17" y="50"/>
                </a:cubicBezTo>
                <a:cubicBezTo>
                  <a:pt x="18" y="41"/>
                  <a:pt x="17" y="45"/>
                  <a:pt x="20" y="37"/>
                </a:cubicBezTo>
                <a:cubicBezTo>
                  <a:pt x="20" y="36"/>
                  <a:pt x="21" y="34"/>
                  <a:pt x="21" y="34"/>
                </a:cubicBezTo>
                <a:cubicBezTo>
                  <a:pt x="21" y="28"/>
                  <a:pt x="27" y="3"/>
                  <a:pt x="15" y="0"/>
                </a:cubicBezTo>
                <a:cubicBezTo>
                  <a:pt x="13" y="4"/>
                  <a:pt x="11" y="12"/>
                  <a:pt x="11" y="2"/>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60" name="Freeform 58">
            <a:extLst>
              <a:ext uri="{FF2B5EF4-FFF2-40B4-BE49-F238E27FC236}">
                <a16:creationId xmlns:a16="http://schemas.microsoft.com/office/drawing/2014/main" id="{564C864B-D839-AD7F-8B72-BCFD47935249}"/>
              </a:ext>
            </a:extLst>
          </p:cNvPr>
          <p:cNvSpPr>
            <a:spLocks/>
          </p:cNvSpPr>
          <p:nvPr/>
        </p:nvSpPr>
        <p:spPr bwMode="auto">
          <a:xfrm>
            <a:off x="7612302" y="3362669"/>
            <a:ext cx="35725" cy="65599"/>
          </a:xfrm>
          <a:custGeom>
            <a:avLst/>
            <a:gdLst/>
            <a:ahLst/>
            <a:cxnLst>
              <a:cxn ang="0">
                <a:pos x="12" y="0"/>
              </a:cxn>
              <a:cxn ang="0">
                <a:pos x="16" y="12"/>
              </a:cxn>
              <a:cxn ang="0">
                <a:pos x="24" y="11"/>
              </a:cxn>
              <a:cxn ang="0">
                <a:pos x="26" y="27"/>
              </a:cxn>
              <a:cxn ang="0">
                <a:pos x="15" y="29"/>
              </a:cxn>
              <a:cxn ang="0">
                <a:pos x="11" y="43"/>
              </a:cxn>
              <a:cxn ang="0">
                <a:pos x="3" y="36"/>
              </a:cxn>
              <a:cxn ang="0">
                <a:pos x="4" y="32"/>
              </a:cxn>
              <a:cxn ang="0">
                <a:pos x="8" y="31"/>
              </a:cxn>
              <a:cxn ang="0">
                <a:pos x="3" y="18"/>
              </a:cxn>
              <a:cxn ang="0">
                <a:pos x="12" y="0"/>
              </a:cxn>
            </a:cxnLst>
            <a:rect l="0" t="0" r="r" b="b"/>
            <a:pathLst>
              <a:path w="26" h="48">
                <a:moveTo>
                  <a:pt x="12" y="0"/>
                </a:moveTo>
                <a:cubicBezTo>
                  <a:pt x="14" y="4"/>
                  <a:pt x="15" y="8"/>
                  <a:pt x="16" y="12"/>
                </a:cubicBezTo>
                <a:cubicBezTo>
                  <a:pt x="22" y="11"/>
                  <a:pt x="21" y="6"/>
                  <a:pt x="24" y="11"/>
                </a:cubicBezTo>
                <a:cubicBezTo>
                  <a:pt x="22" y="18"/>
                  <a:pt x="22" y="21"/>
                  <a:pt x="26" y="27"/>
                </a:cubicBezTo>
                <a:cubicBezTo>
                  <a:pt x="22" y="28"/>
                  <a:pt x="17" y="26"/>
                  <a:pt x="15" y="29"/>
                </a:cubicBezTo>
                <a:cubicBezTo>
                  <a:pt x="0" y="48"/>
                  <a:pt x="21" y="40"/>
                  <a:pt x="11" y="43"/>
                </a:cubicBezTo>
                <a:cubicBezTo>
                  <a:pt x="5" y="42"/>
                  <a:pt x="5" y="41"/>
                  <a:pt x="3" y="36"/>
                </a:cubicBezTo>
                <a:cubicBezTo>
                  <a:pt x="3" y="35"/>
                  <a:pt x="3" y="33"/>
                  <a:pt x="4" y="32"/>
                </a:cubicBezTo>
                <a:cubicBezTo>
                  <a:pt x="5" y="31"/>
                  <a:pt x="8" y="32"/>
                  <a:pt x="8" y="31"/>
                </a:cubicBezTo>
                <a:cubicBezTo>
                  <a:pt x="9" y="28"/>
                  <a:pt x="4" y="21"/>
                  <a:pt x="3" y="18"/>
                </a:cubicBezTo>
                <a:cubicBezTo>
                  <a:pt x="4" y="7"/>
                  <a:pt x="3" y="3"/>
                  <a:pt x="12"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61" name="Freeform 59">
            <a:extLst>
              <a:ext uri="{FF2B5EF4-FFF2-40B4-BE49-F238E27FC236}">
                <a16:creationId xmlns:a16="http://schemas.microsoft.com/office/drawing/2014/main" id="{D86C00C7-5F57-BC64-65C5-2BEBD77635DC}"/>
              </a:ext>
            </a:extLst>
          </p:cNvPr>
          <p:cNvSpPr>
            <a:spLocks/>
          </p:cNvSpPr>
          <p:nvPr/>
        </p:nvSpPr>
        <p:spPr bwMode="auto">
          <a:xfrm>
            <a:off x="7733595" y="3435870"/>
            <a:ext cx="383360" cy="203358"/>
          </a:xfrm>
          <a:custGeom>
            <a:avLst/>
            <a:gdLst/>
            <a:ahLst/>
            <a:cxnLst>
              <a:cxn ang="0">
                <a:pos x="7" y="5"/>
              </a:cxn>
              <a:cxn ang="0">
                <a:pos x="23" y="0"/>
              </a:cxn>
              <a:cxn ang="0">
                <a:pos x="47" y="1"/>
              </a:cxn>
              <a:cxn ang="0">
                <a:pos x="56" y="8"/>
              </a:cxn>
              <a:cxn ang="0">
                <a:pos x="50" y="29"/>
              </a:cxn>
              <a:cxn ang="0">
                <a:pos x="62" y="37"/>
              </a:cxn>
              <a:cxn ang="0">
                <a:pos x="78" y="33"/>
              </a:cxn>
              <a:cxn ang="0">
                <a:pos x="84" y="31"/>
              </a:cxn>
              <a:cxn ang="0">
                <a:pos x="102" y="18"/>
              </a:cxn>
              <a:cxn ang="0">
                <a:pos x="131" y="21"/>
              </a:cxn>
              <a:cxn ang="0">
                <a:pos x="150" y="31"/>
              </a:cxn>
              <a:cxn ang="0">
                <a:pos x="156" y="33"/>
              </a:cxn>
              <a:cxn ang="0">
                <a:pos x="176" y="39"/>
              </a:cxn>
              <a:cxn ang="0">
                <a:pos x="186" y="44"/>
              </a:cxn>
              <a:cxn ang="0">
                <a:pos x="194" y="50"/>
              </a:cxn>
              <a:cxn ang="0">
                <a:pos x="204" y="56"/>
              </a:cxn>
              <a:cxn ang="0">
                <a:pos x="211" y="63"/>
              </a:cxn>
              <a:cxn ang="0">
                <a:pos x="223" y="73"/>
              </a:cxn>
              <a:cxn ang="0">
                <a:pos x="234" y="81"/>
              </a:cxn>
              <a:cxn ang="0">
                <a:pos x="234" y="89"/>
              </a:cxn>
              <a:cxn ang="0">
                <a:pos x="228" y="91"/>
              </a:cxn>
              <a:cxn ang="0">
                <a:pos x="239" y="103"/>
              </a:cxn>
              <a:cxn ang="0">
                <a:pos x="241" y="107"/>
              </a:cxn>
              <a:cxn ang="0">
                <a:pos x="245" y="110"/>
              </a:cxn>
              <a:cxn ang="0">
                <a:pos x="267" y="127"/>
              </a:cxn>
              <a:cxn ang="0">
                <a:pos x="279" y="133"/>
              </a:cxn>
              <a:cxn ang="0">
                <a:pos x="254" y="141"/>
              </a:cxn>
              <a:cxn ang="0">
                <a:pos x="237" y="138"/>
              </a:cxn>
              <a:cxn ang="0">
                <a:pos x="224" y="122"/>
              </a:cxn>
              <a:cxn ang="0">
                <a:pos x="182" y="107"/>
              </a:cxn>
              <a:cxn ang="0">
                <a:pos x="169" y="110"/>
              </a:cxn>
              <a:cxn ang="0">
                <a:pos x="173" y="122"/>
              </a:cxn>
              <a:cxn ang="0">
                <a:pos x="137" y="125"/>
              </a:cxn>
              <a:cxn ang="0">
                <a:pos x="131" y="116"/>
              </a:cxn>
              <a:cxn ang="0">
                <a:pos x="105" y="108"/>
              </a:cxn>
              <a:cxn ang="0">
                <a:pos x="110" y="95"/>
              </a:cxn>
              <a:cxn ang="0">
                <a:pos x="63" y="59"/>
              </a:cxn>
              <a:cxn ang="0">
                <a:pos x="45" y="47"/>
              </a:cxn>
              <a:cxn ang="0">
                <a:pos x="33" y="56"/>
              </a:cxn>
              <a:cxn ang="0">
                <a:pos x="21" y="38"/>
              </a:cxn>
              <a:cxn ang="0">
                <a:pos x="43" y="26"/>
              </a:cxn>
              <a:cxn ang="0">
                <a:pos x="1" y="6"/>
              </a:cxn>
              <a:cxn ang="0">
                <a:pos x="7" y="5"/>
              </a:cxn>
            </a:cxnLst>
            <a:rect l="0" t="0" r="r" b="b"/>
            <a:pathLst>
              <a:path w="279" h="148">
                <a:moveTo>
                  <a:pt x="7" y="5"/>
                </a:moveTo>
                <a:cubicBezTo>
                  <a:pt x="13" y="4"/>
                  <a:pt x="17" y="1"/>
                  <a:pt x="23" y="0"/>
                </a:cubicBezTo>
                <a:cubicBezTo>
                  <a:pt x="31" y="0"/>
                  <a:pt x="39" y="0"/>
                  <a:pt x="47" y="1"/>
                </a:cubicBezTo>
                <a:cubicBezTo>
                  <a:pt x="51" y="1"/>
                  <a:pt x="56" y="8"/>
                  <a:pt x="56" y="8"/>
                </a:cubicBezTo>
                <a:cubicBezTo>
                  <a:pt x="55" y="16"/>
                  <a:pt x="52" y="22"/>
                  <a:pt x="50" y="29"/>
                </a:cubicBezTo>
                <a:cubicBezTo>
                  <a:pt x="54" y="32"/>
                  <a:pt x="62" y="37"/>
                  <a:pt x="62" y="37"/>
                </a:cubicBezTo>
                <a:cubicBezTo>
                  <a:pt x="68" y="36"/>
                  <a:pt x="73" y="35"/>
                  <a:pt x="78" y="33"/>
                </a:cubicBezTo>
                <a:cubicBezTo>
                  <a:pt x="80" y="32"/>
                  <a:pt x="84" y="31"/>
                  <a:pt x="84" y="31"/>
                </a:cubicBezTo>
                <a:cubicBezTo>
                  <a:pt x="89" y="20"/>
                  <a:pt x="88" y="20"/>
                  <a:pt x="102" y="18"/>
                </a:cubicBezTo>
                <a:cubicBezTo>
                  <a:pt x="118" y="19"/>
                  <a:pt x="120" y="19"/>
                  <a:pt x="131" y="21"/>
                </a:cubicBezTo>
                <a:cubicBezTo>
                  <a:pt x="134" y="26"/>
                  <a:pt x="144" y="29"/>
                  <a:pt x="150" y="31"/>
                </a:cubicBezTo>
                <a:cubicBezTo>
                  <a:pt x="152" y="32"/>
                  <a:pt x="156" y="33"/>
                  <a:pt x="156" y="33"/>
                </a:cubicBezTo>
                <a:cubicBezTo>
                  <a:pt x="160" y="39"/>
                  <a:pt x="169" y="38"/>
                  <a:pt x="176" y="39"/>
                </a:cubicBezTo>
                <a:cubicBezTo>
                  <a:pt x="179" y="41"/>
                  <a:pt x="183" y="42"/>
                  <a:pt x="186" y="44"/>
                </a:cubicBezTo>
                <a:cubicBezTo>
                  <a:pt x="187" y="48"/>
                  <a:pt x="190" y="49"/>
                  <a:pt x="194" y="50"/>
                </a:cubicBezTo>
                <a:cubicBezTo>
                  <a:pt x="197" y="53"/>
                  <a:pt x="201" y="54"/>
                  <a:pt x="204" y="56"/>
                </a:cubicBezTo>
                <a:cubicBezTo>
                  <a:pt x="206" y="60"/>
                  <a:pt x="209" y="59"/>
                  <a:pt x="211" y="63"/>
                </a:cubicBezTo>
                <a:cubicBezTo>
                  <a:pt x="212" y="74"/>
                  <a:pt x="213" y="72"/>
                  <a:pt x="223" y="73"/>
                </a:cubicBezTo>
                <a:cubicBezTo>
                  <a:pt x="227" y="75"/>
                  <a:pt x="230" y="78"/>
                  <a:pt x="234" y="81"/>
                </a:cubicBezTo>
                <a:cubicBezTo>
                  <a:pt x="235" y="83"/>
                  <a:pt x="236" y="87"/>
                  <a:pt x="234" y="89"/>
                </a:cubicBezTo>
                <a:cubicBezTo>
                  <a:pt x="233" y="90"/>
                  <a:pt x="228" y="91"/>
                  <a:pt x="228" y="91"/>
                </a:cubicBezTo>
                <a:cubicBezTo>
                  <a:pt x="229" y="97"/>
                  <a:pt x="233" y="101"/>
                  <a:pt x="239" y="103"/>
                </a:cubicBezTo>
                <a:cubicBezTo>
                  <a:pt x="240" y="104"/>
                  <a:pt x="240" y="106"/>
                  <a:pt x="241" y="107"/>
                </a:cubicBezTo>
                <a:cubicBezTo>
                  <a:pt x="242" y="108"/>
                  <a:pt x="244" y="109"/>
                  <a:pt x="245" y="110"/>
                </a:cubicBezTo>
                <a:cubicBezTo>
                  <a:pt x="255" y="123"/>
                  <a:pt x="241" y="125"/>
                  <a:pt x="267" y="127"/>
                </a:cubicBezTo>
                <a:cubicBezTo>
                  <a:pt x="271" y="128"/>
                  <a:pt x="279" y="133"/>
                  <a:pt x="279" y="133"/>
                </a:cubicBezTo>
                <a:cubicBezTo>
                  <a:pt x="276" y="148"/>
                  <a:pt x="272" y="143"/>
                  <a:pt x="254" y="141"/>
                </a:cubicBezTo>
                <a:cubicBezTo>
                  <a:pt x="248" y="140"/>
                  <a:pt x="243" y="139"/>
                  <a:pt x="237" y="138"/>
                </a:cubicBezTo>
                <a:cubicBezTo>
                  <a:pt x="235" y="134"/>
                  <a:pt x="228" y="123"/>
                  <a:pt x="224" y="122"/>
                </a:cubicBezTo>
                <a:cubicBezTo>
                  <a:pt x="214" y="106"/>
                  <a:pt x="200" y="109"/>
                  <a:pt x="182" y="107"/>
                </a:cubicBezTo>
                <a:cubicBezTo>
                  <a:pt x="176" y="105"/>
                  <a:pt x="171" y="103"/>
                  <a:pt x="169" y="110"/>
                </a:cubicBezTo>
                <a:cubicBezTo>
                  <a:pt x="170" y="115"/>
                  <a:pt x="170" y="118"/>
                  <a:pt x="173" y="122"/>
                </a:cubicBezTo>
                <a:cubicBezTo>
                  <a:pt x="163" y="132"/>
                  <a:pt x="153" y="126"/>
                  <a:pt x="137" y="125"/>
                </a:cubicBezTo>
                <a:cubicBezTo>
                  <a:pt x="134" y="122"/>
                  <a:pt x="134" y="118"/>
                  <a:pt x="131" y="116"/>
                </a:cubicBezTo>
                <a:cubicBezTo>
                  <a:pt x="124" y="110"/>
                  <a:pt x="113" y="111"/>
                  <a:pt x="105" y="108"/>
                </a:cubicBezTo>
                <a:cubicBezTo>
                  <a:pt x="100" y="101"/>
                  <a:pt x="105" y="100"/>
                  <a:pt x="110" y="95"/>
                </a:cubicBezTo>
                <a:cubicBezTo>
                  <a:pt x="107" y="70"/>
                  <a:pt x="86" y="62"/>
                  <a:pt x="63" y="59"/>
                </a:cubicBezTo>
                <a:cubicBezTo>
                  <a:pt x="58" y="54"/>
                  <a:pt x="52" y="49"/>
                  <a:pt x="45" y="47"/>
                </a:cubicBezTo>
                <a:cubicBezTo>
                  <a:pt x="36" y="40"/>
                  <a:pt x="36" y="48"/>
                  <a:pt x="33" y="56"/>
                </a:cubicBezTo>
                <a:cubicBezTo>
                  <a:pt x="26" y="49"/>
                  <a:pt x="24" y="47"/>
                  <a:pt x="21" y="38"/>
                </a:cubicBezTo>
                <a:cubicBezTo>
                  <a:pt x="26" y="31"/>
                  <a:pt x="35" y="27"/>
                  <a:pt x="43" y="26"/>
                </a:cubicBezTo>
                <a:cubicBezTo>
                  <a:pt x="48" y="24"/>
                  <a:pt x="0" y="11"/>
                  <a:pt x="1" y="6"/>
                </a:cubicBezTo>
                <a:cubicBezTo>
                  <a:pt x="1" y="6"/>
                  <a:pt x="7" y="5"/>
                  <a:pt x="7" y="5"/>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62" name="Freeform 60">
            <a:extLst>
              <a:ext uri="{FF2B5EF4-FFF2-40B4-BE49-F238E27FC236}">
                <a16:creationId xmlns:a16="http://schemas.microsoft.com/office/drawing/2014/main" id="{517A3790-3B77-9E6F-7935-24D16373B02F}"/>
              </a:ext>
            </a:extLst>
          </p:cNvPr>
          <p:cNvSpPr>
            <a:spLocks/>
          </p:cNvSpPr>
          <p:nvPr/>
        </p:nvSpPr>
        <p:spPr bwMode="auto">
          <a:xfrm>
            <a:off x="7490408" y="3602453"/>
            <a:ext cx="109924" cy="51168"/>
          </a:xfrm>
          <a:custGeom>
            <a:avLst/>
            <a:gdLst/>
            <a:ahLst/>
            <a:cxnLst>
              <a:cxn ang="0">
                <a:pos x="40" y="5"/>
              </a:cxn>
              <a:cxn ang="0">
                <a:pos x="23" y="23"/>
              </a:cxn>
              <a:cxn ang="0">
                <a:pos x="8" y="30"/>
              </a:cxn>
              <a:cxn ang="0">
                <a:pos x="12" y="37"/>
              </a:cxn>
              <a:cxn ang="0">
                <a:pos x="36" y="23"/>
              </a:cxn>
              <a:cxn ang="0">
                <a:pos x="80" y="4"/>
              </a:cxn>
              <a:cxn ang="0">
                <a:pos x="70" y="1"/>
              </a:cxn>
              <a:cxn ang="0">
                <a:pos x="40" y="5"/>
              </a:cxn>
            </a:cxnLst>
            <a:rect l="0" t="0" r="r" b="b"/>
            <a:pathLst>
              <a:path w="80" h="37">
                <a:moveTo>
                  <a:pt x="40" y="5"/>
                </a:moveTo>
                <a:cubicBezTo>
                  <a:pt x="34" y="7"/>
                  <a:pt x="31" y="19"/>
                  <a:pt x="23" y="23"/>
                </a:cubicBezTo>
                <a:cubicBezTo>
                  <a:pt x="19" y="29"/>
                  <a:pt x="15" y="29"/>
                  <a:pt x="8" y="30"/>
                </a:cubicBezTo>
                <a:cubicBezTo>
                  <a:pt x="0" y="36"/>
                  <a:pt x="2" y="36"/>
                  <a:pt x="12" y="37"/>
                </a:cubicBezTo>
                <a:cubicBezTo>
                  <a:pt x="21" y="36"/>
                  <a:pt x="27" y="24"/>
                  <a:pt x="36" y="23"/>
                </a:cubicBezTo>
                <a:cubicBezTo>
                  <a:pt x="49" y="14"/>
                  <a:pt x="64" y="9"/>
                  <a:pt x="80" y="4"/>
                </a:cubicBezTo>
                <a:cubicBezTo>
                  <a:pt x="76" y="0"/>
                  <a:pt x="75" y="0"/>
                  <a:pt x="70" y="1"/>
                </a:cubicBezTo>
                <a:cubicBezTo>
                  <a:pt x="63" y="1"/>
                  <a:pt x="48" y="1"/>
                  <a:pt x="40" y="5"/>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63" name="Freeform 61">
            <a:extLst>
              <a:ext uri="{FF2B5EF4-FFF2-40B4-BE49-F238E27FC236}">
                <a16:creationId xmlns:a16="http://schemas.microsoft.com/office/drawing/2014/main" id="{11DEF1E9-BA75-DF11-1AB1-D5203B2CCFB7}"/>
              </a:ext>
            </a:extLst>
          </p:cNvPr>
          <p:cNvSpPr>
            <a:spLocks/>
          </p:cNvSpPr>
          <p:nvPr/>
        </p:nvSpPr>
        <p:spPr bwMode="auto">
          <a:xfrm>
            <a:off x="7630294" y="3462412"/>
            <a:ext cx="64581" cy="32800"/>
          </a:xfrm>
          <a:custGeom>
            <a:avLst/>
            <a:gdLst/>
            <a:ahLst/>
            <a:cxnLst>
              <a:cxn ang="0">
                <a:pos x="3" y="6"/>
              </a:cxn>
              <a:cxn ang="0">
                <a:pos x="35" y="5"/>
              </a:cxn>
              <a:cxn ang="0">
                <a:pos x="47" y="19"/>
              </a:cxn>
              <a:cxn ang="0">
                <a:pos x="45" y="23"/>
              </a:cxn>
              <a:cxn ang="0">
                <a:pos x="39" y="21"/>
              </a:cxn>
              <a:cxn ang="0">
                <a:pos x="20" y="18"/>
              </a:cxn>
              <a:cxn ang="0">
                <a:pos x="0" y="15"/>
              </a:cxn>
              <a:cxn ang="0">
                <a:pos x="3" y="6"/>
              </a:cxn>
            </a:cxnLst>
            <a:rect l="0" t="0" r="r" b="b"/>
            <a:pathLst>
              <a:path w="47" h="24">
                <a:moveTo>
                  <a:pt x="3" y="6"/>
                </a:moveTo>
                <a:cubicBezTo>
                  <a:pt x="12" y="0"/>
                  <a:pt x="25" y="4"/>
                  <a:pt x="35" y="5"/>
                </a:cubicBezTo>
                <a:cubicBezTo>
                  <a:pt x="43" y="8"/>
                  <a:pt x="42" y="12"/>
                  <a:pt x="47" y="19"/>
                </a:cubicBezTo>
                <a:cubicBezTo>
                  <a:pt x="46" y="20"/>
                  <a:pt x="46" y="23"/>
                  <a:pt x="45" y="23"/>
                </a:cubicBezTo>
                <a:cubicBezTo>
                  <a:pt x="43" y="24"/>
                  <a:pt x="39" y="21"/>
                  <a:pt x="39" y="21"/>
                </a:cubicBezTo>
                <a:cubicBezTo>
                  <a:pt x="34" y="14"/>
                  <a:pt x="28" y="17"/>
                  <a:pt x="20" y="18"/>
                </a:cubicBezTo>
                <a:cubicBezTo>
                  <a:pt x="8" y="20"/>
                  <a:pt x="12" y="19"/>
                  <a:pt x="0" y="15"/>
                </a:cubicBezTo>
                <a:cubicBezTo>
                  <a:pt x="1" y="6"/>
                  <a:pt x="5" y="5"/>
                  <a:pt x="3" y="6"/>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64" name="Freeform 62">
            <a:extLst>
              <a:ext uri="{FF2B5EF4-FFF2-40B4-BE49-F238E27FC236}">
                <a16:creationId xmlns:a16="http://schemas.microsoft.com/office/drawing/2014/main" id="{989B1E42-AA87-0AA8-92BC-70F48D6E585F}"/>
              </a:ext>
            </a:extLst>
          </p:cNvPr>
          <p:cNvSpPr>
            <a:spLocks/>
          </p:cNvSpPr>
          <p:nvPr/>
        </p:nvSpPr>
        <p:spPr bwMode="auto">
          <a:xfrm>
            <a:off x="7585775" y="3479258"/>
            <a:ext cx="20611" cy="11808"/>
          </a:xfrm>
          <a:custGeom>
            <a:avLst/>
            <a:gdLst/>
            <a:ahLst/>
            <a:cxnLst>
              <a:cxn ang="0">
                <a:pos x="0" y="0"/>
              </a:cxn>
              <a:cxn ang="0">
                <a:pos x="14" y="1"/>
              </a:cxn>
              <a:cxn ang="0">
                <a:pos x="14" y="9"/>
              </a:cxn>
              <a:cxn ang="0">
                <a:pos x="0" y="0"/>
              </a:cxn>
            </a:cxnLst>
            <a:rect l="0" t="0" r="r" b="b"/>
            <a:pathLst>
              <a:path w="15" h="9">
                <a:moveTo>
                  <a:pt x="0" y="0"/>
                </a:moveTo>
                <a:cubicBezTo>
                  <a:pt x="5" y="0"/>
                  <a:pt x="10" y="0"/>
                  <a:pt x="14" y="1"/>
                </a:cubicBezTo>
                <a:cubicBezTo>
                  <a:pt x="15" y="1"/>
                  <a:pt x="15" y="9"/>
                  <a:pt x="14" y="9"/>
                </a:cubicBezTo>
                <a:cubicBezTo>
                  <a:pt x="12" y="9"/>
                  <a:pt x="0" y="1"/>
                  <a:pt x="0"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65" name="Freeform 63">
            <a:extLst>
              <a:ext uri="{FF2B5EF4-FFF2-40B4-BE49-F238E27FC236}">
                <a16:creationId xmlns:a16="http://schemas.microsoft.com/office/drawing/2014/main" id="{ADFA640E-0F88-8BE2-B618-C3D346229D09}"/>
              </a:ext>
            </a:extLst>
          </p:cNvPr>
          <p:cNvSpPr>
            <a:spLocks/>
          </p:cNvSpPr>
          <p:nvPr/>
        </p:nvSpPr>
        <p:spPr bwMode="auto">
          <a:xfrm>
            <a:off x="8090394" y="3507413"/>
            <a:ext cx="92062" cy="38048"/>
          </a:xfrm>
          <a:custGeom>
            <a:avLst/>
            <a:gdLst/>
            <a:ahLst/>
            <a:cxnLst>
              <a:cxn ang="0">
                <a:pos x="8" y="16"/>
              </a:cxn>
              <a:cxn ang="0">
                <a:pos x="48" y="12"/>
              </a:cxn>
              <a:cxn ang="0">
                <a:pos x="58" y="0"/>
              </a:cxn>
              <a:cxn ang="0">
                <a:pos x="67" y="7"/>
              </a:cxn>
              <a:cxn ang="0">
                <a:pos x="33" y="26"/>
              </a:cxn>
              <a:cxn ang="0">
                <a:pos x="0" y="19"/>
              </a:cxn>
              <a:cxn ang="0">
                <a:pos x="8" y="16"/>
              </a:cxn>
            </a:cxnLst>
            <a:rect l="0" t="0" r="r" b="b"/>
            <a:pathLst>
              <a:path w="67" h="28">
                <a:moveTo>
                  <a:pt x="8" y="16"/>
                </a:moveTo>
                <a:cubicBezTo>
                  <a:pt x="24" y="15"/>
                  <a:pt x="34" y="14"/>
                  <a:pt x="48" y="12"/>
                </a:cubicBezTo>
                <a:cubicBezTo>
                  <a:pt x="52" y="7"/>
                  <a:pt x="55" y="5"/>
                  <a:pt x="58" y="0"/>
                </a:cubicBezTo>
                <a:cubicBezTo>
                  <a:pt x="63" y="1"/>
                  <a:pt x="65" y="2"/>
                  <a:pt x="67" y="7"/>
                </a:cubicBezTo>
                <a:cubicBezTo>
                  <a:pt x="63" y="26"/>
                  <a:pt x="50" y="25"/>
                  <a:pt x="33" y="26"/>
                </a:cubicBezTo>
                <a:cubicBezTo>
                  <a:pt x="19" y="28"/>
                  <a:pt x="13" y="19"/>
                  <a:pt x="0" y="19"/>
                </a:cubicBezTo>
                <a:lnTo>
                  <a:pt x="8" y="16"/>
                </a:ln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66" name="Freeform 64">
            <a:extLst>
              <a:ext uri="{FF2B5EF4-FFF2-40B4-BE49-F238E27FC236}">
                <a16:creationId xmlns:a16="http://schemas.microsoft.com/office/drawing/2014/main" id="{9723E7EA-C1AB-33BF-E86A-8C37F76C9F40}"/>
              </a:ext>
            </a:extLst>
          </p:cNvPr>
          <p:cNvSpPr>
            <a:spLocks/>
          </p:cNvSpPr>
          <p:nvPr/>
        </p:nvSpPr>
        <p:spPr bwMode="auto">
          <a:xfrm>
            <a:off x="7575971" y="2376162"/>
            <a:ext cx="228093" cy="286013"/>
          </a:xfrm>
          <a:custGeom>
            <a:avLst/>
            <a:gdLst/>
            <a:ahLst/>
            <a:cxnLst>
              <a:cxn ang="0">
                <a:pos x="109" y="0"/>
              </a:cxn>
              <a:cxn ang="0">
                <a:pos x="124" y="12"/>
              </a:cxn>
              <a:cxn ang="0">
                <a:pos x="139" y="14"/>
              </a:cxn>
              <a:cxn ang="0">
                <a:pos x="159" y="20"/>
              </a:cxn>
              <a:cxn ang="0">
                <a:pos x="166" y="28"/>
              </a:cxn>
              <a:cxn ang="0">
                <a:pos x="142" y="37"/>
              </a:cxn>
              <a:cxn ang="0">
                <a:pos x="136" y="50"/>
              </a:cxn>
              <a:cxn ang="0">
                <a:pos x="127" y="44"/>
              </a:cxn>
              <a:cxn ang="0">
                <a:pos x="117" y="46"/>
              </a:cxn>
              <a:cxn ang="0">
                <a:pos x="124" y="64"/>
              </a:cxn>
              <a:cxn ang="0">
                <a:pos x="135" y="74"/>
              </a:cxn>
              <a:cxn ang="0">
                <a:pos x="142" y="87"/>
              </a:cxn>
              <a:cxn ang="0">
                <a:pos x="138" y="110"/>
              </a:cxn>
              <a:cxn ang="0">
                <a:pos x="144" y="141"/>
              </a:cxn>
              <a:cxn ang="0">
                <a:pos x="129" y="147"/>
              </a:cxn>
              <a:cxn ang="0">
                <a:pos x="98" y="153"/>
              </a:cxn>
              <a:cxn ang="0">
                <a:pos x="88" y="166"/>
              </a:cxn>
              <a:cxn ang="0">
                <a:pos x="80" y="154"/>
              </a:cxn>
              <a:cxn ang="0">
                <a:pos x="64" y="153"/>
              </a:cxn>
              <a:cxn ang="0">
                <a:pos x="58" y="157"/>
              </a:cxn>
              <a:cxn ang="0">
                <a:pos x="67" y="160"/>
              </a:cxn>
              <a:cxn ang="0">
                <a:pos x="66" y="169"/>
              </a:cxn>
              <a:cxn ang="0">
                <a:pos x="58" y="171"/>
              </a:cxn>
              <a:cxn ang="0">
                <a:pos x="51" y="178"/>
              </a:cxn>
              <a:cxn ang="0">
                <a:pos x="42" y="172"/>
              </a:cxn>
              <a:cxn ang="0">
                <a:pos x="45" y="162"/>
              </a:cxn>
              <a:cxn ang="0">
                <a:pos x="21" y="166"/>
              </a:cxn>
              <a:cxn ang="0">
                <a:pos x="31" y="169"/>
              </a:cxn>
              <a:cxn ang="0">
                <a:pos x="34" y="178"/>
              </a:cxn>
              <a:cxn ang="0">
                <a:pos x="25" y="192"/>
              </a:cxn>
              <a:cxn ang="0">
                <a:pos x="3" y="181"/>
              </a:cxn>
              <a:cxn ang="0">
                <a:pos x="19" y="163"/>
              </a:cxn>
              <a:cxn ang="0">
                <a:pos x="52" y="135"/>
              </a:cxn>
              <a:cxn ang="0">
                <a:pos x="66" y="136"/>
              </a:cxn>
              <a:cxn ang="0">
                <a:pos x="70" y="138"/>
              </a:cxn>
              <a:cxn ang="0">
                <a:pos x="78" y="140"/>
              </a:cxn>
              <a:cxn ang="0">
                <a:pos x="87" y="126"/>
              </a:cxn>
              <a:cxn ang="0">
                <a:pos x="96" y="121"/>
              </a:cxn>
              <a:cxn ang="0">
                <a:pos x="108" y="114"/>
              </a:cxn>
              <a:cxn ang="0">
                <a:pos x="114" y="104"/>
              </a:cxn>
              <a:cxn ang="0">
                <a:pos x="116" y="96"/>
              </a:cxn>
              <a:cxn ang="0">
                <a:pos x="117" y="58"/>
              </a:cxn>
              <a:cxn ang="0">
                <a:pos x="116" y="52"/>
              </a:cxn>
              <a:cxn ang="0">
                <a:pos x="105" y="48"/>
              </a:cxn>
              <a:cxn ang="0">
                <a:pos x="97" y="49"/>
              </a:cxn>
              <a:cxn ang="0">
                <a:pos x="111" y="31"/>
              </a:cxn>
              <a:cxn ang="0">
                <a:pos x="109" y="0"/>
              </a:cxn>
            </a:cxnLst>
            <a:rect l="0" t="0" r="r" b="b"/>
            <a:pathLst>
              <a:path w="166" h="208">
                <a:moveTo>
                  <a:pt x="109" y="0"/>
                </a:moveTo>
                <a:cubicBezTo>
                  <a:pt x="118" y="2"/>
                  <a:pt x="117" y="9"/>
                  <a:pt x="124" y="12"/>
                </a:cubicBezTo>
                <a:cubicBezTo>
                  <a:pt x="129" y="14"/>
                  <a:pt x="134" y="13"/>
                  <a:pt x="139" y="14"/>
                </a:cubicBezTo>
                <a:cubicBezTo>
                  <a:pt x="148" y="17"/>
                  <a:pt x="147" y="19"/>
                  <a:pt x="159" y="20"/>
                </a:cubicBezTo>
                <a:cubicBezTo>
                  <a:pt x="162" y="22"/>
                  <a:pt x="166" y="28"/>
                  <a:pt x="166" y="28"/>
                </a:cubicBezTo>
                <a:cubicBezTo>
                  <a:pt x="162" y="38"/>
                  <a:pt x="152" y="36"/>
                  <a:pt x="142" y="37"/>
                </a:cubicBezTo>
                <a:cubicBezTo>
                  <a:pt x="138" y="43"/>
                  <a:pt x="145" y="48"/>
                  <a:pt x="136" y="50"/>
                </a:cubicBezTo>
                <a:cubicBezTo>
                  <a:pt x="133" y="48"/>
                  <a:pt x="131" y="45"/>
                  <a:pt x="127" y="44"/>
                </a:cubicBezTo>
                <a:cubicBezTo>
                  <a:pt x="124" y="44"/>
                  <a:pt x="118" y="43"/>
                  <a:pt x="117" y="46"/>
                </a:cubicBezTo>
                <a:cubicBezTo>
                  <a:pt x="116" y="51"/>
                  <a:pt x="119" y="62"/>
                  <a:pt x="124" y="64"/>
                </a:cubicBezTo>
                <a:cubicBezTo>
                  <a:pt x="127" y="68"/>
                  <a:pt x="135" y="74"/>
                  <a:pt x="135" y="74"/>
                </a:cubicBezTo>
                <a:cubicBezTo>
                  <a:pt x="136" y="78"/>
                  <a:pt x="139" y="83"/>
                  <a:pt x="142" y="87"/>
                </a:cubicBezTo>
                <a:cubicBezTo>
                  <a:pt x="141" y="95"/>
                  <a:pt x="140" y="102"/>
                  <a:pt x="138" y="110"/>
                </a:cubicBezTo>
                <a:cubicBezTo>
                  <a:pt x="139" y="119"/>
                  <a:pt x="139" y="134"/>
                  <a:pt x="144" y="141"/>
                </a:cubicBezTo>
                <a:cubicBezTo>
                  <a:pt x="140" y="146"/>
                  <a:pt x="135" y="146"/>
                  <a:pt x="129" y="147"/>
                </a:cubicBezTo>
                <a:cubicBezTo>
                  <a:pt x="122" y="158"/>
                  <a:pt x="113" y="152"/>
                  <a:pt x="98" y="153"/>
                </a:cubicBezTo>
                <a:cubicBezTo>
                  <a:pt x="100" y="161"/>
                  <a:pt x="95" y="164"/>
                  <a:pt x="88" y="166"/>
                </a:cubicBezTo>
                <a:cubicBezTo>
                  <a:pt x="78" y="165"/>
                  <a:pt x="77" y="164"/>
                  <a:pt x="80" y="154"/>
                </a:cubicBezTo>
                <a:cubicBezTo>
                  <a:pt x="69" y="151"/>
                  <a:pt x="75" y="152"/>
                  <a:pt x="64" y="153"/>
                </a:cubicBezTo>
                <a:cubicBezTo>
                  <a:pt x="63" y="153"/>
                  <a:pt x="57" y="155"/>
                  <a:pt x="58" y="157"/>
                </a:cubicBezTo>
                <a:cubicBezTo>
                  <a:pt x="60" y="160"/>
                  <a:pt x="67" y="160"/>
                  <a:pt x="67" y="160"/>
                </a:cubicBezTo>
                <a:cubicBezTo>
                  <a:pt x="69" y="162"/>
                  <a:pt x="70" y="167"/>
                  <a:pt x="66" y="169"/>
                </a:cubicBezTo>
                <a:cubicBezTo>
                  <a:pt x="64" y="170"/>
                  <a:pt x="58" y="171"/>
                  <a:pt x="58" y="171"/>
                </a:cubicBezTo>
                <a:cubicBezTo>
                  <a:pt x="53" y="178"/>
                  <a:pt x="56" y="176"/>
                  <a:pt x="51" y="178"/>
                </a:cubicBezTo>
                <a:cubicBezTo>
                  <a:pt x="46" y="177"/>
                  <a:pt x="44" y="177"/>
                  <a:pt x="42" y="172"/>
                </a:cubicBezTo>
                <a:cubicBezTo>
                  <a:pt x="44" y="167"/>
                  <a:pt x="46" y="168"/>
                  <a:pt x="45" y="162"/>
                </a:cubicBezTo>
                <a:cubicBezTo>
                  <a:pt x="37" y="163"/>
                  <a:pt x="29" y="164"/>
                  <a:pt x="21" y="166"/>
                </a:cubicBezTo>
                <a:cubicBezTo>
                  <a:pt x="24" y="167"/>
                  <a:pt x="29" y="166"/>
                  <a:pt x="31" y="169"/>
                </a:cubicBezTo>
                <a:cubicBezTo>
                  <a:pt x="33" y="172"/>
                  <a:pt x="34" y="178"/>
                  <a:pt x="34" y="178"/>
                </a:cubicBezTo>
                <a:cubicBezTo>
                  <a:pt x="33" y="194"/>
                  <a:pt x="35" y="208"/>
                  <a:pt x="25" y="192"/>
                </a:cubicBezTo>
                <a:cubicBezTo>
                  <a:pt x="21" y="178"/>
                  <a:pt x="23" y="182"/>
                  <a:pt x="3" y="181"/>
                </a:cubicBezTo>
                <a:cubicBezTo>
                  <a:pt x="0" y="168"/>
                  <a:pt x="6" y="164"/>
                  <a:pt x="19" y="163"/>
                </a:cubicBezTo>
                <a:cubicBezTo>
                  <a:pt x="21" y="154"/>
                  <a:pt x="43" y="138"/>
                  <a:pt x="52" y="135"/>
                </a:cubicBezTo>
                <a:cubicBezTo>
                  <a:pt x="57" y="135"/>
                  <a:pt x="61" y="135"/>
                  <a:pt x="66" y="136"/>
                </a:cubicBezTo>
                <a:cubicBezTo>
                  <a:pt x="67" y="136"/>
                  <a:pt x="69" y="138"/>
                  <a:pt x="70" y="138"/>
                </a:cubicBezTo>
                <a:cubicBezTo>
                  <a:pt x="73" y="139"/>
                  <a:pt x="78" y="140"/>
                  <a:pt x="78" y="140"/>
                </a:cubicBezTo>
                <a:cubicBezTo>
                  <a:pt x="81" y="134"/>
                  <a:pt x="80" y="128"/>
                  <a:pt x="87" y="126"/>
                </a:cubicBezTo>
                <a:cubicBezTo>
                  <a:pt x="89" y="124"/>
                  <a:pt x="96" y="121"/>
                  <a:pt x="96" y="121"/>
                </a:cubicBezTo>
                <a:cubicBezTo>
                  <a:pt x="99" y="118"/>
                  <a:pt x="104" y="115"/>
                  <a:pt x="108" y="114"/>
                </a:cubicBezTo>
                <a:cubicBezTo>
                  <a:pt x="110" y="112"/>
                  <a:pt x="113" y="107"/>
                  <a:pt x="114" y="104"/>
                </a:cubicBezTo>
                <a:cubicBezTo>
                  <a:pt x="115" y="101"/>
                  <a:pt x="116" y="96"/>
                  <a:pt x="116" y="96"/>
                </a:cubicBezTo>
                <a:cubicBezTo>
                  <a:pt x="115" y="85"/>
                  <a:pt x="112" y="69"/>
                  <a:pt x="117" y="58"/>
                </a:cubicBezTo>
                <a:cubicBezTo>
                  <a:pt x="117" y="56"/>
                  <a:pt x="117" y="54"/>
                  <a:pt x="116" y="52"/>
                </a:cubicBezTo>
                <a:cubicBezTo>
                  <a:pt x="114" y="49"/>
                  <a:pt x="105" y="48"/>
                  <a:pt x="105" y="48"/>
                </a:cubicBezTo>
                <a:cubicBezTo>
                  <a:pt x="98" y="53"/>
                  <a:pt x="100" y="54"/>
                  <a:pt x="97" y="49"/>
                </a:cubicBezTo>
                <a:cubicBezTo>
                  <a:pt x="94" y="33"/>
                  <a:pt x="96" y="32"/>
                  <a:pt x="111" y="31"/>
                </a:cubicBezTo>
                <a:cubicBezTo>
                  <a:pt x="111" y="26"/>
                  <a:pt x="105" y="4"/>
                  <a:pt x="109"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67" name="Freeform 65">
            <a:extLst>
              <a:ext uri="{FF2B5EF4-FFF2-40B4-BE49-F238E27FC236}">
                <a16:creationId xmlns:a16="http://schemas.microsoft.com/office/drawing/2014/main" id="{4498374F-37C2-49BA-FF6A-FF0339B46012}"/>
              </a:ext>
            </a:extLst>
          </p:cNvPr>
          <p:cNvSpPr>
            <a:spLocks/>
          </p:cNvSpPr>
          <p:nvPr/>
        </p:nvSpPr>
        <p:spPr bwMode="auto">
          <a:xfrm>
            <a:off x="7645319" y="2158424"/>
            <a:ext cx="112673" cy="162686"/>
          </a:xfrm>
          <a:custGeom>
            <a:avLst/>
            <a:gdLst/>
            <a:ahLst/>
            <a:cxnLst>
              <a:cxn ang="0">
                <a:pos x="5" y="0"/>
              </a:cxn>
              <a:cxn ang="0">
                <a:pos x="12" y="11"/>
              </a:cxn>
              <a:cxn ang="0">
                <a:pos x="35" y="43"/>
              </a:cxn>
              <a:cxn ang="0">
                <a:pos x="62" y="71"/>
              </a:cxn>
              <a:cxn ang="0">
                <a:pos x="48" y="73"/>
              </a:cxn>
              <a:cxn ang="0">
                <a:pos x="54" y="95"/>
              </a:cxn>
              <a:cxn ang="0">
                <a:pos x="65" y="106"/>
              </a:cxn>
              <a:cxn ang="0">
                <a:pos x="74" y="115"/>
              </a:cxn>
              <a:cxn ang="0">
                <a:pos x="69" y="115"/>
              </a:cxn>
              <a:cxn ang="0">
                <a:pos x="50" y="113"/>
              </a:cxn>
              <a:cxn ang="0">
                <a:pos x="38" y="88"/>
              </a:cxn>
              <a:cxn ang="0">
                <a:pos x="32" y="66"/>
              </a:cxn>
              <a:cxn ang="0">
                <a:pos x="27" y="58"/>
              </a:cxn>
              <a:cxn ang="0">
                <a:pos x="14" y="42"/>
              </a:cxn>
              <a:cxn ang="0">
                <a:pos x="8" y="34"/>
              </a:cxn>
              <a:cxn ang="0">
                <a:pos x="2" y="22"/>
              </a:cxn>
              <a:cxn ang="0">
                <a:pos x="5" y="0"/>
              </a:cxn>
            </a:cxnLst>
            <a:rect l="0" t="0" r="r" b="b"/>
            <a:pathLst>
              <a:path w="82" h="118">
                <a:moveTo>
                  <a:pt x="5" y="0"/>
                </a:moveTo>
                <a:cubicBezTo>
                  <a:pt x="6" y="4"/>
                  <a:pt x="8" y="9"/>
                  <a:pt x="12" y="11"/>
                </a:cubicBezTo>
                <a:cubicBezTo>
                  <a:pt x="15" y="17"/>
                  <a:pt x="29" y="41"/>
                  <a:pt x="35" y="43"/>
                </a:cubicBezTo>
                <a:cubicBezTo>
                  <a:pt x="41" y="52"/>
                  <a:pt x="52" y="65"/>
                  <a:pt x="62" y="71"/>
                </a:cubicBezTo>
                <a:cubicBezTo>
                  <a:pt x="58" y="72"/>
                  <a:pt x="50" y="69"/>
                  <a:pt x="48" y="73"/>
                </a:cubicBezTo>
                <a:cubicBezTo>
                  <a:pt x="45" y="77"/>
                  <a:pt x="47" y="93"/>
                  <a:pt x="54" y="95"/>
                </a:cubicBezTo>
                <a:cubicBezTo>
                  <a:pt x="57" y="99"/>
                  <a:pt x="61" y="105"/>
                  <a:pt x="65" y="106"/>
                </a:cubicBezTo>
                <a:cubicBezTo>
                  <a:pt x="67" y="110"/>
                  <a:pt x="71" y="112"/>
                  <a:pt x="74" y="115"/>
                </a:cubicBezTo>
                <a:cubicBezTo>
                  <a:pt x="78" y="118"/>
                  <a:pt x="82" y="118"/>
                  <a:pt x="69" y="115"/>
                </a:cubicBezTo>
                <a:cubicBezTo>
                  <a:pt x="62" y="111"/>
                  <a:pt x="59" y="112"/>
                  <a:pt x="50" y="113"/>
                </a:cubicBezTo>
                <a:cubicBezTo>
                  <a:pt x="48" y="105"/>
                  <a:pt x="45" y="93"/>
                  <a:pt x="38" y="88"/>
                </a:cubicBezTo>
                <a:cubicBezTo>
                  <a:pt x="36" y="81"/>
                  <a:pt x="37" y="71"/>
                  <a:pt x="32" y="66"/>
                </a:cubicBezTo>
                <a:cubicBezTo>
                  <a:pt x="31" y="63"/>
                  <a:pt x="27" y="58"/>
                  <a:pt x="27" y="58"/>
                </a:cubicBezTo>
                <a:cubicBezTo>
                  <a:pt x="26" y="52"/>
                  <a:pt x="20" y="44"/>
                  <a:pt x="14" y="42"/>
                </a:cubicBezTo>
                <a:cubicBezTo>
                  <a:pt x="12" y="38"/>
                  <a:pt x="12" y="36"/>
                  <a:pt x="8" y="34"/>
                </a:cubicBezTo>
                <a:cubicBezTo>
                  <a:pt x="6" y="28"/>
                  <a:pt x="6" y="26"/>
                  <a:pt x="2" y="22"/>
                </a:cubicBezTo>
                <a:cubicBezTo>
                  <a:pt x="3" y="3"/>
                  <a:pt x="0" y="9"/>
                  <a:pt x="5"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68" name="Freeform 66">
            <a:extLst>
              <a:ext uri="{FF2B5EF4-FFF2-40B4-BE49-F238E27FC236}">
                <a16:creationId xmlns:a16="http://schemas.microsoft.com/office/drawing/2014/main" id="{E18E0ECB-BC96-88D1-0E60-489EA00B34B3}"/>
              </a:ext>
            </a:extLst>
          </p:cNvPr>
          <p:cNvSpPr>
            <a:spLocks/>
          </p:cNvSpPr>
          <p:nvPr/>
        </p:nvSpPr>
        <p:spPr bwMode="auto">
          <a:xfrm>
            <a:off x="7311575" y="3709536"/>
            <a:ext cx="750232" cy="541850"/>
          </a:xfrm>
          <a:custGeom>
            <a:avLst/>
            <a:gdLst/>
            <a:ahLst/>
            <a:cxnLst>
              <a:cxn ang="0">
                <a:pos x="438" y="8"/>
              </a:cxn>
              <a:cxn ang="0">
                <a:pos x="450" y="51"/>
              </a:cxn>
              <a:cxn ang="0">
                <a:pos x="480" y="116"/>
              </a:cxn>
              <a:cxn ang="0">
                <a:pos x="495" y="130"/>
              </a:cxn>
              <a:cxn ang="0">
                <a:pos x="508" y="160"/>
              </a:cxn>
              <a:cxn ang="0">
                <a:pos x="541" y="204"/>
              </a:cxn>
              <a:cxn ang="0">
                <a:pos x="542" y="246"/>
              </a:cxn>
              <a:cxn ang="0">
                <a:pos x="501" y="310"/>
              </a:cxn>
              <a:cxn ang="0">
                <a:pos x="460" y="357"/>
              </a:cxn>
              <a:cxn ang="0">
                <a:pos x="405" y="387"/>
              </a:cxn>
              <a:cxn ang="0">
                <a:pos x="382" y="390"/>
              </a:cxn>
              <a:cxn ang="0">
                <a:pos x="322" y="382"/>
              </a:cxn>
              <a:cxn ang="0">
                <a:pos x="307" y="350"/>
              </a:cxn>
              <a:cxn ang="0">
                <a:pos x="290" y="333"/>
              </a:cxn>
              <a:cxn ang="0">
                <a:pos x="307" y="325"/>
              </a:cxn>
              <a:cxn ang="0">
                <a:pos x="291" y="319"/>
              </a:cxn>
              <a:cxn ang="0">
                <a:pos x="276" y="337"/>
              </a:cxn>
              <a:cxn ang="0">
                <a:pos x="240" y="296"/>
              </a:cxn>
              <a:cxn ang="0">
                <a:pos x="183" y="295"/>
              </a:cxn>
              <a:cxn ang="0">
                <a:pos x="145" y="308"/>
              </a:cxn>
              <a:cxn ang="0">
                <a:pos x="108" y="324"/>
              </a:cxn>
              <a:cxn ang="0">
                <a:pos x="24" y="343"/>
              </a:cxn>
              <a:cxn ang="0">
                <a:pos x="1" y="218"/>
              </a:cxn>
              <a:cxn ang="0">
                <a:pos x="76" y="136"/>
              </a:cxn>
              <a:cxn ang="0">
                <a:pos x="122" y="123"/>
              </a:cxn>
              <a:cxn ang="0">
                <a:pos x="150" y="87"/>
              </a:cxn>
              <a:cxn ang="0">
                <a:pos x="160" y="91"/>
              </a:cxn>
              <a:cxn ang="0">
                <a:pos x="195" y="55"/>
              </a:cxn>
              <a:cxn ang="0">
                <a:pos x="229" y="58"/>
              </a:cxn>
              <a:cxn ang="0">
                <a:pos x="252" y="48"/>
              </a:cxn>
              <a:cxn ang="0">
                <a:pos x="343" y="15"/>
              </a:cxn>
              <a:cxn ang="0">
                <a:pos x="333" y="58"/>
              </a:cxn>
              <a:cxn ang="0">
                <a:pos x="387" y="96"/>
              </a:cxn>
              <a:cxn ang="0">
                <a:pos x="414" y="60"/>
              </a:cxn>
              <a:cxn ang="0">
                <a:pos x="432" y="0"/>
              </a:cxn>
            </a:cxnLst>
            <a:rect l="0" t="0" r="r" b="b"/>
            <a:pathLst>
              <a:path w="546" h="394">
                <a:moveTo>
                  <a:pt x="432" y="0"/>
                </a:moveTo>
                <a:cubicBezTo>
                  <a:pt x="434" y="4"/>
                  <a:pt x="434" y="6"/>
                  <a:pt x="438" y="8"/>
                </a:cubicBezTo>
                <a:cubicBezTo>
                  <a:pt x="440" y="14"/>
                  <a:pt x="444" y="19"/>
                  <a:pt x="445" y="25"/>
                </a:cubicBezTo>
                <a:cubicBezTo>
                  <a:pt x="447" y="34"/>
                  <a:pt x="448" y="42"/>
                  <a:pt x="450" y="51"/>
                </a:cubicBezTo>
                <a:cubicBezTo>
                  <a:pt x="458" y="48"/>
                  <a:pt x="462" y="53"/>
                  <a:pt x="468" y="56"/>
                </a:cubicBezTo>
                <a:cubicBezTo>
                  <a:pt x="472" y="73"/>
                  <a:pt x="462" y="104"/>
                  <a:pt x="480" y="116"/>
                </a:cubicBezTo>
                <a:cubicBezTo>
                  <a:pt x="481" y="119"/>
                  <a:pt x="487" y="124"/>
                  <a:pt x="487" y="124"/>
                </a:cubicBezTo>
                <a:cubicBezTo>
                  <a:pt x="489" y="128"/>
                  <a:pt x="491" y="128"/>
                  <a:pt x="495" y="130"/>
                </a:cubicBezTo>
                <a:cubicBezTo>
                  <a:pt x="496" y="133"/>
                  <a:pt x="501" y="138"/>
                  <a:pt x="504" y="140"/>
                </a:cubicBezTo>
                <a:cubicBezTo>
                  <a:pt x="506" y="146"/>
                  <a:pt x="506" y="156"/>
                  <a:pt x="508" y="160"/>
                </a:cubicBezTo>
                <a:cubicBezTo>
                  <a:pt x="510" y="165"/>
                  <a:pt x="524" y="170"/>
                  <a:pt x="529" y="175"/>
                </a:cubicBezTo>
                <a:cubicBezTo>
                  <a:pt x="533" y="184"/>
                  <a:pt x="534" y="197"/>
                  <a:pt x="541" y="204"/>
                </a:cubicBezTo>
                <a:cubicBezTo>
                  <a:pt x="542" y="210"/>
                  <a:pt x="543" y="215"/>
                  <a:pt x="546" y="220"/>
                </a:cubicBezTo>
                <a:cubicBezTo>
                  <a:pt x="543" y="243"/>
                  <a:pt x="545" y="235"/>
                  <a:pt x="542" y="246"/>
                </a:cubicBezTo>
                <a:cubicBezTo>
                  <a:pt x="540" y="266"/>
                  <a:pt x="530" y="285"/>
                  <a:pt x="514" y="296"/>
                </a:cubicBezTo>
                <a:cubicBezTo>
                  <a:pt x="512" y="300"/>
                  <a:pt x="506" y="308"/>
                  <a:pt x="501" y="310"/>
                </a:cubicBezTo>
                <a:cubicBezTo>
                  <a:pt x="497" y="318"/>
                  <a:pt x="489" y="328"/>
                  <a:pt x="481" y="333"/>
                </a:cubicBezTo>
                <a:cubicBezTo>
                  <a:pt x="478" y="342"/>
                  <a:pt x="467" y="350"/>
                  <a:pt x="460" y="357"/>
                </a:cubicBezTo>
                <a:cubicBezTo>
                  <a:pt x="454" y="374"/>
                  <a:pt x="440" y="375"/>
                  <a:pt x="424" y="376"/>
                </a:cubicBezTo>
                <a:cubicBezTo>
                  <a:pt x="418" y="380"/>
                  <a:pt x="411" y="383"/>
                  <a:pt x="405" y="387"/>
                </a:cubicBezTo>
                <a:cubicBezTo>
                  <a:pt x="403" y="391"/>
                  <a:pt x="400" y="392"/>
                  <a:pt x="396" y="394"/>
                </a:cubicBezTo>
                <a:cubicBezTo>
                  <a:pt x="390" y="393"/>
                  <a:pt x="387" y="391"/>
                  <a:pt x="382" y="390"/>
                </a:cubicBezTo>
                <a:cubicBezTo>
                  <a:pt x="376" y="386"/>
                  <a:pt x="365" y="393"/>
                  <a:pt x="358" y="394"/>
                </a:cubicBezTo>
                <a:cubicBezTo>
                  <a:pt x="346" y="390"/>
                  <a:pt x="334" y="388"/>
                  <a:pt x="322" y="382"/>
                </a:cubicBezTo>
                <a:cubicBezTo>
                  <a:pt x="320" y="379"/>
                  <a:pt x="318" y="373"/>
                  <a:pt x="318" y="373"/>
                </a:cubicBezTo>
                <a:cubicBezTo>
                  <a:pt x="316" y="357"/>
                  <a:pt x="320" y="353"/>
                  <a:pt x="307" y="350"/>
                </a:cubicBezTo>
                <a:cubicBezTo>
                  <a:pt x="305" y="343"/>
                  <a:pt x="310" y="342"/>
                  <a:pt x="314" y="337"/>
                </a:cubicBezTo>
                <a:cubicBezTo>
                  <a:pt x="312" y="326"/>
                  <a:pt x="299" y="332"/>
                  <a:pt x="290" y="333"/>
                </a:cubicBezTo>
                <a:cubicBezTo>
                  <a:pt x="288" y="339"/>
                  <a:pt x="289" y="351"/>
                  <a:pt x="285" y="339"/>
                </a:cubicBezTo>
                <a:cubicBezTo>
                  <a:pt x="288" y="331"/>
                  <a:pt x="300" y="328"/>
                  <a:pt x="307" y="325"/>
                </a:cubicBezTo>
                <a:cubicBezTo>
                  <a:pt x="309" y="322"/>
                  <a:pt x="321" y="303"/>
                  <a:pt x="310" y="307"/>
                </a:cubicBezTo>
                <a:cubicBezTo>
                  <a:pt x="304" y="313"/>
                  <a:pt x="300" y="318"/>
                  <a:pt x="291" y="319"/>
                </a:cubicBezTo>
                <a:cubicBezTo>
                  <a:pt x="286" y="321"/>
                  <a:pt x="284" y="324"/>
                  <a:pt x="280" y="328"/>
                </a:cubicBezTo>
                <a:cubicBezTo>
                  <a:pt x="279" y="330"/>
                  <a:pt x="277" y="336"/>
                  <a:pt x="276" y="337"/>
                </a:cubicBezTo>
                <a:cubicBezTo>
                  <a:pt x="274" y="338"/>
                  <a:pt x="270" y="339"/>
                  <a:pt x="270" y="339"/>
                </a:cubicBezTo>
                <a:cubicBezTo>
                  <a:pt x="263" y="321"/>
                  <a:pt x="262" y="299"/>
                  <a:pt x="240" y="296"/>
                </a:cubicBezTo>
                <a:cubicBezTo>
                  <a:pt x="230" y="293"/>
                  <a:pt x="222" y="292"/>
                  <a:pt x="212" y="290"/>
                </a:cubicBezTo>
                <a:cubicBezTo>
                  <a:pt x="201" y="291"/>
                  <a:pt x="193" y="293"/>
                  <a:pt x="183" y="295"/>
                </a:cubicBezTo>
                <a:cubicBezTo>
                  <a:pt x="184" y="294"/>
                  <a:pt x="187" y="300"/>
                  <a:pt x="186" y="300"/>
                </a:cubicBezTo>
                <a:cubicBezTo>
                  <a:pt x="173" y="300"/>
                  <a:pt x="158" y="307"/>
                  <a:pt x="145" y="308"/>
                </a:cubicBezTo>
                <a:cubicBezTo>
                  <a:pt x="137" y="310"/>
                  <a:pt x="130" y="313"/>
                  <a:pt x="121" y="314"/>
                </a:cubicBezTo>
                <a:cubicBezTo>
                  <a:pt x="115" y="316"/>
                  <a:pt x="112" y="322"/>
                  <a:pt x="108" y="324"/>
                </a:cubicBezTo>
                <a:cubicBezTo>
                  <a:pt x="103" y="326"/>
                  <a:pt x="98" y="326"/>
                  <a:pt x="93" y="328"/>
                </a:cubicBezTo>
                <a:cubicBezTo>
                  <a:pt x="70" y="326"/>
                  <a:pt x="46" y="337"/>
                  <a:pt x="24" y="343"/>
                </a:cubicBezTo>
                <a:cubicBezTo>
                  <a:pt x="9" y="342"/>
                  <a:pt x="1" y="341"/>
                  <a:pt x="0" y="325"/>
                </a:cubicBezTo>
                <a:cubicBezTo>
                  <a:pt x="20" y="304"/>
                  <a:pt x="16" y="254"/>
                  <a:pt x="1" y="218"/>
                </a:cubicBezTo>
                <a:cubicBezTo>
                  <a:pt x="7" y="202"/>
                  <a:pt x="7" y="164"/>
                  <a:pt x="40" y="156"/>
                </a:cubicBezTo>
                <a:cubicBezTo>
                  <a:pt x="50" y="146"/>
                  <a:pt x="62" y="139"/>
                  <a:pt x="76" y="136"/>
                </a:cubicBezTo>
                <a:cubicBezTo>
                  <a:pt x="81" y="135"/>
                  <a:pt x="89" y="135"/>
                  <a:pt x="94" y="132"/>
                </a:cubicBezTo>
                <a:cubicBezTo>
                  <a:pt x="101" y="127"/>
                  <a:pt x="114" y="126"/>
                  <a:pt x="122" y="123"/>
                </a:cubicBezTo>
                <a:cubicBezTo>
                  <a:pt x="124" y="117"/>
                  <a:pt x="133" y="105"/>
                  <a:pt x="138" y="100"/>
                </a:cubicBezTo>
                <a:cubicBezTo>
                  <a:pt x="140" y="94"/>
                  <a:pt x="144" y="89"/>
                  <a:pt x="150" y="87"/>
                </a:cubicBezTo>
                <a:cubicBezTo>
                  <a:pt x="153" y="87"/>
                  <a:pt x="156" y="87"/>
                  <a:pt x="159" y="88"/>
                </a:cubicBezTo>
                <a:cubicBezTo>
                  <a:pt x="160" y="88"/>
                  <a:pt x="159" y="92"/>
                  <a:pt x="160" y="91"/>
                </a:cubicBezTo>
                <a:cubicBezTo>
                  <a:pt x="172" y="83"/>
                  <a:pt x="163" y="71"/>
                  <a:pt x="180" y="68"/>
                </a:cubicBezTo>
                <a:cubicBezTo>
                  <a:pt x="185" y="65"/>
                  <a:pt x="191" y="59"/>
                  <a:pt x="195" y="55"/>
                </a:cubicBezTo>
                <a:cubicBezTo>
                  <a:pt x="197" y="49"/>
                  <a:pt x="210" y="46"/>
                  <a:pt x="216" y="45"/>
                </a:cubicBezTo>
                <a:cubicBezTo>
                  <a:pt x="223" y="47"/>
                  <a:pt x="223" y="53"/>
                  <a:pt x="229" y="58"/>
                </a:cubicBezTo>
                <a:cubicBezTo>
                  <a:pt x="232" y="61"/>
                  <a:pt x="241" y="63"/>
                  <a:pt x="241" y="63"/>
                </a:cubicBezTo>
                <a:cubicBezTo>
                  <a:pt x="249" y="62"/>
                  <a:pt x="246" y="52"/>
                  <a:pt x="252" y="48"/>
                </a:cubicBezTo>
                <a:cubicBezTo>
                  <a:pt x="257" y="38"/>
                  <a:pt x="265" y="36"/>
                  <a:pt x="270" y="26"/>
                </a:cubicBezTo>
                <a:cubicBezTo>
                  <a:pt x="284" y="12"/>
                  <a:pt x="317" y="13"/>
                  <a:pt x="343" y="15"/>
                </a:cubicBezTo>
                <a:cubicBezTo>
                  <a:pt x="355" y="19"/>
                  <a:pt x="346" y="39"/>
                  <a:pt x="339" y="46"/>
                </a:cubicBezTo>
                <a:cubicBezTo>
                  <a:pt x="338" y="50"/>
                  <a:pt x="334" y="54"/>
                  <a:pt x="333" y="58"/>
                </a:cubicBezTo>
                <a:cubicBezTo>
                  <a:pt x="336" y="67"/>
                  <a:pt x="340" y="70"/>
                  <a:pt x="348" y="75"/>
                </a:cubicBezTo>
                <a:cubicBezTo>
                  <a:pt x="356" y="85"/>
                  <a:pt x="375" y="95"/>
                  <a:pt x="387" y="96"/>
                </a:cubicBezTo>
                <a:cubicBezTo>
                  <a:pt x="394" y="98"/>
                  <a:pt x="395" y="87"/>
                  <a:pt x="402" y="88"/>
                </a:cubicBezTo>
                <a:cubicBezTo>
                  <a:pt x="410" y="93"/>
                  <a:pt x="412" y="66"/>
                  <a:pt x="414" y="60"/>
                </a:cubicBezTo>
                <a:cubicBezTo>
                  <a:pt x="415" y="49"/>
                  <a:pt x="414" y="42"/>
                  <a:pt x="420" y="33"/>
                </a:cubicBezTo>
                <a:cubicBezTo>
                  <a:pt x="424" y="22"/>
                  <a:pt x="427" y="10"/>
                  <a:pt x="432"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69" name="Freeform 67">
            <a:extLst>
              <a:ext uri="{FF2B5EF4-FFF2-40B4-BE49-F238E27FC236}">
                <a16:creationId xmlns:a16="http://schemas.microsoft.com/office/drawing/2014/main" id="{C7EE6B73-EB12-AFCE-BF6C-2676C098E7FB}"/>
              </a:ext>
            </a:extLst>
          </p:cNvPr>
          <p:cNvSpPr>
            <a:spLocks/>
          </p:cNvSpPr>
          <p:nvPr/>
        </p:nvSpPr>
        <p:spPr bwMode="auto">
          <a:xfrm>
            <a:off x="7828067" y="4341671"/>
            <a:ext cx="79695" cy="76095"/>
          </a:xfrm>
          <a:custGeom>
            <a:avLst/>
            <a:gdLst/>
            <a:ahLst/>
            <a:cxnLst>
              <a:cxn ang="0">
                <a:pos x="5" y="11"/>
              </a:cxn>
              <a:cxn ang="0">
                <a:pos x="35" y="12"/>
              </a:cxn>
              <a:cxn ang="0">
                <a:pos x="45" y="8"/>
              </a:cxn>
              <a:cxn ang="0">
                <a:pos x="58" y="19"/>
              </a:cxn>
              <a:cxn ang="0">
                <a:pos x="34" y="42"/>
              </a:cxn>
              <a:cxn ang="0">
                <a:pos x="13" y="55"/>
              </a:cxn>
              <a:cxn ang="0">
                <a:pos x="5" y="17"/>
              </a:cxn>
              <a:cxn ang="0">
                <a:pos x="26" y="12"/>
              </a:cxn>
              <a:cxn ang="0">
                <a:pos x="5" y="11"/>
              </a:cxn>
            </a:cxnLst>
            <a:rect l="0" t="0" r="r" b="b"/>
            <a:pathLst>
              <a:path w="58" h="55">
                <a:moveTo>
                  <a:pt x="5" y="11"/>
                </a:moveTo>
                <a:cubicBezTo>
                  <a:pt x="18" y="12"/>
                  <a:pt x="22" y="13"/>
                  <a:pt x="35" y="12"/>
                </a:cubicBezTo>
                <a:cubicBezTo>
                  <a:pt x="42" y="10"/>
                  <a:pt x="39" y="11"/>
                  <a:pt x="45" y="8"/>
                </a:cubicBezTo>
                <a:cubicBezTo>
                  <a:pt x="54" y="11"/>
                  <a:pt x="55" y="10"/>
                  <a:pt x="58" y="19"/>
                </a:cubicBezTo>
                <a:cubicBezTo>
                  <a:pt x="52" y="28"/>
                  <a:pt x="45" y="39"/>
                  <a:pt x="34" y="42"/>
                </a:cubicBezTo>
                <a:cubicBezTo>
                  <a:pt x="27" y="47"/>
                  <a:pt x="20" y="50"/>
                  <a:pt x="13" y="55"/>
                </a:cubicBezTo>
                <a:cubicBezTo>
                  <a:pt x="0" y="52"/>
                  <a:pt x="10" y="28"/>
                  <a:pt x="5" y="17"/>
                </a:cubicBezTo>
                <a:cubicBezTo>
                  <a:pt x="8" y="0"/>
                  <a:pt x="10" y="12"/>
                  <a:pt x="26" y="12"/>
                </a:cubicBezTo>
                <a:lnTo>
                  <a:pt x="5" y="11"/>
                </a:ln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70" name="Freeform 68">
            <a:extLst>
              <a:ext uri="{FF2B5EF4-FFF2-40B4-BE49-F238E27FC236}">
                <a16:creationId xmlns:a16="http://schemas.microsoft.com/office/drawing/2014/main" id="{986110C4-9ABA-0AEB-5DFC-4A62B98F3853}"/>
              </a:ext>
            </a:extLst>
          </p:cNvPr>
          <p:cNvSpPr>
            <a:spLocks/>
          </p:cNvSpPr>
          <p:nvPr/>
        </p:nvSpPr>
        <p:spPr bwMode="auto">
          <a:xfrm>
            <a:off x="8265814" y="4366165"/>
            <a:ext cx="195115" cy="112831"/>
          </a:xfrm>
          <a:custGeom>
            <a:avLst/>
            <a:gdLst/>
            <a:ahLst/>
            <a:cxnLst>
              <a:cxn ang="0">
                <a:pos x="142" y="4"/>
              </a:cxn>
              <a:cxn ang="0">
                <a:pos x="121" y="28"/>
              </a:cxn>
              <a:cxn ang="0">
                <a:pos x="112" y="35"/>
              </a:cxn>
              <a:cxn ang="0">
                <a:pos x="106" y="37"/>
              </a:cxn>
              <a:cxn ang="0">
                <a:pos x="84" y="47"/>
              </a:cxn>
              <a:cxn ang="0">
                <a:pos x="66" y="64"/>
              </a:cxn>
              <a:cxn ang="0">
                <a:pos x="63" y="71"/>
              </a:cxn>
              <a:cxn ang="0">
                <a:pos x="37" y="82"/>
              </a:cxn>
              <a:cxn ang="0">
                <a:pos x="12" y="78"/>
              </a:cxn>
              <a:cxn ang="0">
                <a:pos x="15" y="64"/>
              </a:cxn>
              <a:cxn ang="0">
                <a:pos x="22" y="56"/>
              </a:cxn>
              <a:cxn ang="0">
                <a:pos x="33" y="47"/>
              </a:cxn>
              <a:cxn ang="0">
                <a:pos x="88" y="30"/>
              </a:cxn>
              <a:cxn ang="0">
                <a:pos x="100" y="17"/>
              </a:cxn>
              <a:cxn ang="0">
                <a:pos x="108" y="10"/>
              </a:cxn>
              <a:cxn ang="0">
                <a:pos x="121" y="0"/>
              </a:cxn>
              <a:cxn ang="0">
                <a:pos x="127" y="1"/>
              </a:cxn>
              <a:cxn ang="0">
                <a:pos x="131" y="7"/>
              </a:cxn>
              <a:cxn ang="0">
                <a:pos x="142" y="4"/>
              </a:cxn>
            </a:cxnLst>
            <a:rect l="0" t="0" r="r" b="b"/>
            <a:pathLst>
              <a:path w="142" h="82">
                <a:moveTo>
                  <a:pt x="142" y="4"/>
                </a:moveTo>
                <a:cubicBezTo>
                  <a:pt x="140" y="5"/>
                  <a:pt x="125" y="24"/>
                  <a:pt x="121" y="28"/>
                </a:cubicBezTo>
                <a:cubicBezTo>
                  <a:pt x="118" y="31"/>
                  <a:pt x="115" y="33"/>
                  <a:pt x="112" y="35"/>
                </a:cubicBezTo>
                <a:cubicBezTo>
                  <a:pt x="110" y="36"/>
                  <a:pt x="106" y="37"/>
                  <a:pt x="106" y="37"/>
                </a:cubicBezTo>
                <a:cubicBezTo>
                  <a:pt x="103" y="45"/>
                  <a:pt x="91" y="46"/>
                  <a:pt x="84" y="47"/>
                </a:cubicBezTo>
                <a:cubicBezTo>
                  <a:pt x="76" y="50"/>
                  <a:pt x="73" y="59"/>
                  <a:pt x="66" y="64"/>
                </a:cubicBezTo>
                <a:cubicBezTo>
                  <a:pt x="65" y="66"/>
                  <a:pt x="65" y="69"/>
                  <a:pt x="63" y="71"/>
                </a:cubicBezTo>
                <a:cubicBezTo>
                  <a:pt x="58" y="77"/>
                  <a:pt x="44" y="77"/>
                  <a:pt x="37" y="82"/>
                </a:cubicBezTo>
                <a:cubicBezTo>
                  <a:pt x="29" y="81"/>
                  <a:pt x="20" y="79"/>
                  <a:pt x="12" y="78"/>
                </a:cubicBezTo>
                <a:cubicBezTo>
                  <a:pt x="0" y="74"/>
                  <a:pt x="9" y="70"/>
                  <a:pt x="15" y="64"/>
                </a:cubicBezTo>
                <a:cubicBezTo>
                  <a:pt x="23" y="54"/>
                  <a:pt x="15" y="61"/>
                  <a:pt x="22" y="56"/>
                </a:cubicBezTo>
                <a:cubicBezTo>
                  <a:pt x="24" y="50"/>
                  <a:pt x="27" y="49"/>
                  <a:pt x="33" y="47"/>
                </a:cubicBezTo>
                <a:cubicBezTo>
                  <a:pt x="40" y="40"/>
                  <a:pt x="77" y="32"/>
                  <a:pt x="88" y="30"/>
                </a:cubicBezTo>
                <a:cubicBezTo>
                  <a:pt x="95" y="26"/>
                  <a:pt x="95" y="22"/>
                  <a:pt x="100" y="17"/>
                </a:cubicBezTo>
                <a:cubicBezTo>
                  <a:pt x="101" y="13"/>
                  <a:pt x="104" y="12"/>
                  <a:pt x="108" y="10"/>
                </a:cubicBezTo>
                <a:cubicBezTo>
                  <a:pt x="110" y="4"/>
                  <a:pt x="115" y="2"/>
                  <a:pt x="121" y="0"/>
                </a:cubicBezTo>
                <a:cubicBezTo>
                  <a:pt x="123" y="0"/>
                  <a:pt x="125" y="0"/>
                  <a:pt x="127" y="1"/>
                </a:cubicBezTo>
                <a:cubicBezTo>
                  <a:pt x="129" y="2"/>
                  <a:pt x="131" y="7"/>
                  <a:pt x="131" y="7"/>
                </a:cubicBezTo>
                <a:cubicBezTo>
                  <a:pt x="135" y="7"/>
                  <a:pt x="142" y="4"/>
                  <a:pt x="142" y="4"/>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71" name="Freeform 69">
            <a:extLst>
              <a:ext uri="{FF2B5EF4-FFF2-40B4-BE49-F238E27FC236}">
                <a16:creationId xmlns:a16="http://schemas.microsoft.com/office/drawing/2014/main" id="{F76FE349-348D-BD27-138B-5F8511062628}"/>
              </a:ext>
            </a:extLst>
          </p:cNvPr>
          <p:cNvSpPr>
            <a:spLocks/>
          </p:cNvSpPr>
          <p:nvPr/>
        </p:nvSpPr>
        <p:spPr bwMode="auto">
          <a:xfrm>
            <a:off x="8501778" y="4226669"/>
            <a:ext cx="98932" cy="129886"/>
          </a:xfrm>
          <a:custGeom>
            <a:avLst/>
            <a:gdLst/>
            <a:ahLst/>
            <a:cxnLst>
              <a:cxn ang="0">
                <a:pos x="2" y="91"/>
              </a:cxn>
              <a:cxn ang="0">
                <a:pos x="11" y="71"/>
              </a:cxn>
              <a:cxn ang="0">
                <a:pos x="1" y="63"/>
              </a:cxn>
              <a:cxn ang="0">
                <a:pos x="9" y="55"/>
              </a:cxn>
              <a:cxn ang="0">
                <a:pos x="15" y="53"/>
              </a:cxn>
              <a:cxn ang="0">
                <a:pos x="23" y="41"/>
              </a:cxn>
              <a:cxn ang="0">
                <a:pos x="15" y="11"/>
              </a:cxn>
              <a:cxn ang="0">
                <a:pos x="12" y="2"/>
              </a:cxn>
              <a:cxn ang="0">
                <a:pos x="29" y="2"/>
              </a:cxn>
              <a:cxn ang="0">
                <a:pos x="30" y="21"/>
              </a:cxn>
              <a:cxn ang="0">
                <a:pos x="38" y="32"/>
              </a:cxn>
              <a:cxn ang="0">
                <a:pos x="44" y="27"/>
              </a:cxn>
              <a:cxn ang="0">
                <a:pos x="50" y="45"/>
              </a:cxn>
              <a:cxn ang="0">
                <a:pos x="69" y="41"/>
              </a:cxn>
              <a:cxn ang="0">
                <a:pos x="66" y="56"/>
              </a:cxn>
              <a:cxn ang="0">
                <a:pos x="43" y="63"/>
              </a:cxn>
              <a:cxn ang="0">
                <a:pos x="9" y="95"/>
              </a:cxn>
              <a:cxn ang="0">
                <a:pos x="2" y="91"/>
              </a:cxn>
            </a:cxnLst>
            <a:rect l="0" t="0" r="r" b="b"/>
            <a:pathLst>
              <a:path w="72" h="95">
                <a:moveTo>
                  <a:pt x="2" y="91"/>
                </a:moveTo>
                <a:cubicBezTo>
                  <a:pt x="5" y="84"/>
                  <a:pt x="6" y="76"/>
                  <a:pt x="11" y="71"/>
                </a:cubicBezTo>
                <a:cubicBezTo>
                  <a:pt x="2" y="66"/>
                  <a:pt x="4" y="70"/>
                  <a:pt x="1" y="63"/>
                </a:cubicBezTo>
                <a:cubicBezTo>
                  <a:pt x="3" y="60"/>
                  <a:pt x="5" y="57"/>
                  <a:pt x="9" y="55"/>
                </a:cubicBezTo>
                <a:cubicBezTo>
                  <a:pt x="11" y="54"/>
                  <a:pt x="15" y="53"/>
                  <a:pt x="15" y="53"/>
                </a:cubicBezTo>
                <a:cubicBezTo>
                  <a:pt x="19" y="49"/>
                  <a:pt x="20" y="45"/>
                  <a:pt x="23" y="41"/>
                </a:cubicBezTo>
                <a:cubicBezTo>
                  <a:pt x="22" y="35"/>
                  <a:pt x="22" y="16"/>
                  <a:pt x="15" y="11"/>
                </a:cubicBezTo>
                <a:cubicBezTo>
                  <a:pt x="14" y="8"/>
                  <a:pt x="12" y="2"/>
                  <a:pt x="12" y="2"/>
                </a:cubicBezTo>
                <a:cubicBezTo>
                  <a:pt x="18" y="0"/>
                  <a:pt x="23" y="0"/>
                  <a:pt x="29" y="2"/>
                </a:cubicBezTo>
                <a:cubicBezTo>
                  <a:pt x="31" y="10"/>
                  <a:pt x="31" y="10"/>
                  <a:pt x="30" y="21"/>
                </a:cubicBezTo>
                <a:cubicBezTo>
                  <a:pt x="31" y="31"/>
                  <a:pt x="29" y="34"/>
                  <a:pt x="38" y="32"/>
                </a:cubicBezTo>
                <a:cubicBezTo>
                  <a:pt x="39" y="28"/>
                  <a:pt x="39" y="24"/>
                  <a:pt x="44" y="27"/>
                </a:cubicBezTo>
                <a:cubicBezTo>
                  <a:pt x="45" y="33"/>
                  <a:pt x="44" y="41"/>
                  <a:pt x="50" y="45"/>
                </a:cubicBezTo>
                <a:cubicBezTo>
                  <a:pt x="57" y="44"/>
                  <a:pt x="62" y="43"/>
                  <a:pt x="69" y="41"/>
                </a:cubicBezTo>
                <a:cubicBezTo>
                  <a:pt x="72" y="45"/>
                  <a:pt x="70" y="53"/>
                  <a:pt x="66" y="56"/>
                </a:cubicBezTo>
                <a:cubicBezTo>
                  <a:pt x="60" y="60"/>
                  <a:pt x="49" y="61"/>
                  <a:pt x="43" y="63"/>
                </a:cubicBezTo>
                <a:cubicBezTo>
                  <a:pt x="32" y="80"/>
                  <a:pt x="25" y="84"/>
                  <a:pt x="9" y="95"/>
                </a:cubicBezTo>
                <a:cubicBezTo>
                  <a:pt x="0" y="93"/>
                  <a:pt x="0" y="95"/>
                  <a:pt x="2" y="91"/>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72" name="Freeform 70">
            <a:extLst>
              <a:ext uri="{FF2B5EF4-FFF2-40B4-BE49-F238E27FC236}">
                <a16:creationId xmlns:a16="http://schemas.microsoft.com/office/drawing/2014/main" id="{3D02A672-5081-3FD0-52D9-2202DA4BE980}"/>
              </a:ext>
            </a:extLst>
          </p:cNvPr>
          <p:cNvSpPr>
            <a:spLocks/>
          </p:cNvSpPr>
          <p:nvPr/>
        </p:nvSpPr>
        <p:spPr bwMode="auto">
          <a:xfrm>
            <a:off x="7124630" y="1642447"/>
            <a:ext cx="141527" cy="26240"/>
          </a:xfrm>
          <a:custGeom>
            <a:avLst/>
            <a:gdLst/>
            <a:ahLst/>
            <a:cxnLst>
              <a:cxn ang="0">
                <a:pos x="0" y="0"/>
              </a:cxn>
              <a:cxn ang="0">
                <a:pos x="81" y="3"/>
              </a:cxn>
              <a:cxn ang="0">
                <a:pos x="95" y="8"/>
              </a:cxn>
              <a:cxn ang="0">
                <a:pos x="66" y="15"/>
              </a:cxn>
              <a:cxn ang="0">
                <a:pos x="57" y="19"/>
              </a:cxn>
              <a:cxn ang="0">
                <a:pos x="8" y="12"/>
              </a:cxn>
              <a:cxn ang="0">
                <a:pos x="0" y="0"/>
              </a:cxn>
            </a:cxnLst>
            <a:rect l="0" t="0" r="r" b="b"/>
            <a:pathLst>
              <a:path w="103" h="19">
                <a:moveTo>
                  <a:pt x="0" y="0"/>
                </a:moveTo>
                <a:cubicBezTo>
                  <a:pt x="27" y="1"/>
                  <a:pt x="54" y="2"/>
                  <a:pt x="81" y="3"/>
                </a:cubicBezTo>
                <a:cubicBezTo>
                  <a:pt x="83" y="3"/>
                  <a:pt x="103" y="3"/>
                  <a:pt x="95" y="8"/>
                </a:cubicBezTo>
                <a:cubicBezTo>
                  <a:pt x="92" y="18"/>
                  <a:pt x="71" y="15"/>
                  <a:pt x="66" y="15"/>
                </a:cubicBezTo>
                <a:cubicBezTo>
                  <a:pt x="63" y="17"/>
                  <a:pt x="57" y="19"/>
                  <a:pt x="57" y="19"/>
                </a:cubicBezTo>
                <a:cubicBezTo>
                  <a:pt x="39" y="18"/>
                  <a:pt x="24" y="17"/>
                  <a:pt x="8" y="12"/>
                </a:cubicBezTo>
                <a:cubicBezTo>
                  <a:pt x="4" y="8"/>
                  <a:pt x="3" y="4"/>
                  <a:pt x="0"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73" name="Freeform 71">
            <a:extLst>
              <a:ext uri="{FF2B5EF4-FFF2-40B4-BE49-F238E27FC236}">
                <a16:creationId xmlns:a16="http://schemas.microsoft.com/office/drawing/2014/main" id="{C7837632-2BB3-6623-6AF0-C1C5B2C97212}"/>
              </a:ext>
            </a:extLst>
          </p:cNvPr>
          <p:cNvSpPr>
            <a:spLocks/>
          </p:cNvSpPr>
          <p:nvPr/>
        </p:nvSpPr>
        <p:spPr bwMode="auto">
          <a:xfrm>
            <a:off x="7230692" y="1688833"/>
            <a:ext cx="59085" cy="14432"/>
          </a:xfrm>
          <a:custGeom>
            <a:avLst/>
            <a:gdLst/>
            <a:ahLst/>
            <a:cxnLst>
              <a:cxn ang="0">
                <a:pos x="2" y="0"/>
              </a:cxn>
              <a:cxn ang="0">
                <a:pos x="37" y="4"/>
              </a:cxn>
              <a:cxn ang="0">
                <a:pos x="35" y="10"/>
              </a:cxn>
              <a:cxn ang="0">
                <a:pos x="0" y="7"/>
              </a:cxn>
              <a:cxn ang="0">
                <a:pos x="2" y="0"/>
              </a:cxn>
            </a:cxnLst>
            <a:rect l="0" t="0" r="r" b="b"/>
            <a:pathLst>
              <a:path w="43" h="10">
                <a:moveTo>
                  <a:pt x="2" y="0"/>
                </a:moveTo>
                <a:cubicBezTo>
                  <a:pt x="14" y="1"/>
                  <a:pt x="25" y="3"/>
                  <a:pt x="37" y="4"/>
                </a:cubicBezTo>
                <a:cubicBezTo>
                  <a:pt x="43" y="7"/>
                  <a:pt x="40" y="9"/>
                  <a:pt x="35" y="10"/>
                </a:cubicBezTo>
                <a:cubicBezTo>
                  <a:pt x="23" y="9"/>
                  <a:pt x="12" y="8"/>
                  <a:pt x="0" y="7"/>
                </a:cubicBezTo>
                <a:cubicBezTo>
                  <a:pt x="2" y="0"/>
                  <a:pt x="6" y="0"/>
                  <a:pt x="2"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74" name="Freeform 72">
            <a:extLst>
              <a:ext uri="{FF2B5EF4-FFF2-40B4-BE49-F238E27FC236}">
                <a16:creationId xmlns:a16="http://schemas.microsoft.com/office/drawing/2014/main" id="{9737EC56-F0A8-FD80-D53E-5D4872326855}"/>
              </a:ext>
            </a:extLst>
          </p:cNvPr>
          <p:cNvSpPr>
            <a:spLocks/>
          </p:cNvSpPr>
          <p:nvPr/>
        </p:nvSpPr>
        <p:spPr bwMode="auto">
          <a:xfrm>
            <a:off x="7295095" y="1651009"/>
            <a:ext cx="86565" cy="17056"/>
          </a:xfrm>
          <a:custGeom>
            <a:avLst/>
            <a:gdLst/>
            <a:ahLst/>
            <a:cxnLst>
              <a:cxn ang="0">
                <a:pos x="2" y="0"/>
              </a:cxn>
              <a:cxn ang="0">
                <a:pos x="24" y="3"/>
              </a:cxn>
              <a:cxn ang="0">
                <a:pos x="61" y="5"/>
              </a:cxn>
              <a:cxn ang="0">
                <a:pos x="56" y="12"/>
              </a:cxn>
              <a:cxn ang="0">
                <a:pos x="22" y="8"/>
              </a:cxn>
              <a:cxn ang="0">
                <a:pos x="4" y="5"/>
              </a:cxn>
              <a:cxn ang="0">
                <a:pos x="2" y="0"/>
              </a:cxn>
            </a:cxnLst>
            <a:rect l="0" t="0" r="r" b="b"/>
            <a:pathLst>
              <a:path w="63" h="12">
                <a:moveTo>
                  <a:pt x="2" y="0"/>
                </a:moveTo>
                <a:cubicBezTo>
                  <a:pt x="9" y="1"/>
                  <a:pt x="24" y="3"/>
                  <a:pt x="24" y="3"/>
                </a:cubicBezTo>
                <a:cubicBezTo>
                  <a:pt x="35" y="9"/>
                  <a:pt x="49" y="5"/>
                  <a:pt x="61" y="5"/>
                </a:cubicBezTo>
                <a:cubicBezTo>
                  <a:pt x="63" y="10"/>
                  <a:pt x="62" y="11"/>
                  <a:pt x="56" y="12"/>
                </a:cubicBezTo>
                <a:cubicBezTo>
                  <a:pt x="45" y="11"/>
                  <a:pt x="33" y="10"/>
                  <a:pt x="22" y="8"/>
                </a:cubicBezTo>
                <a:cubicBezTo>
                  <a:pt x="16" y="7"/>
                  <a:pt x="4" y="5"/>
                  <a:pt x="4" y="5"/>
                </a:cubicBezTo>
                <a:cubicBezTo>
                  <a:pt x="0" y="2"/>
                  <a:pt x="1" y="4"/>
                  <a:pt x="2"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75" name="Freeform 73">
            <a:extLst>
              <a:ext uri="{FF2B5EF4-FFF2-40B4-BE49-F238E27FC236}">
                <a16:creationId xmlns:a16="http://schemas.microsoft.com/office/drawing/2014/main" id="{AAEFF779-ECD6-CE1B-70C5-0F4CFFA727C7}"/>
              </a:ext>
            </a:extLst>
          </p:cNvPr>
          <p:cNvSpPr>
            <a:spLocks/>
          </p:cNvSpPr>
          <p:nvPr/>
        </p:nvSpPr>
        <p:spPr bwMode="auto">
          <a:xfrm>
            <a:off x="5634849" y="1626620"/>
            <a:ext cx="219848" cy="132511"/>
          </a:xfrm>
          <a:custGeom>
            <a:avLst/>
            <a:gdLst/>
            <a:ahLst/>
            <a:cxnLst>
              <a:cxn ang="0">
                <a:pos x="77" y="10"/>
              </a:cxn>
              <a:cxn ang="0">
                <a:pos x="160" y="1"/>
              </a:cxn>
              <a:cxn ang="0">
                <a:pos x="130" y="15"/>
              </a:cxn>
              <a:cxn ang="0">
                <a:pos x="117" y="19"/>
              </a:cxn>
              <a:cxn ang="0">
                <a:pos x="89" y="28"/>
              </a:cxn>
              <a:cxn ang="0">
                <a:pos x="57" y="48"/>
              </a:cxn>
              <a:cxn ang="0">
                <a:pos x="49" y="60"/>
              </a:cxn>
              <a:cxn ang="0">
                <a:pos x="70" y="85"/>
              </a:cxn>
              <a:cxn ang="0">
                <a:pos x="63" y="91"/>
              </a:cxn>
              <a:cxn ang="0">
                <a:pos x="30" y="84"/>
              </a:cxn>
              <a:cxn ang="0">
                <a:pos x="10" y="81"/>
              </a:cxn>
              <a:cxn ang="0">
                <a:pos x="0" y="75"/>
              </a:cxn>
              <a:cxn ang="0">
                <a:pos x="11" y="66"/>
              </a:cxn>
              <a:cxn ang="0">
                <a:pos x="7" y="57"/>
              </a:cxn>
              <a:cxn ang="0">
                <a:pos x="17" y="52"/>
              </a:cxn>
              <a:cxn ang="0">
                <a:pos x="28" y="39"/>
              </a:cxn>
              <a:cxn ang="0">
                <a:pos x="39" y="28"/>
              </a:cxn>
              <a:cxn ang="0">
                <a:pos x="59" y="15"/>
              </a:cxn>
              <a:cxn ang="0">
                <a:pos x="69" y="11"/>
              </a:cxn>
              <a:cxn ang="0">
                <a:pos x="77" y="10"/>
              </a:cxn>
            </a:cxnLst>
            <a:rect l="0" t="0" r="r" b="b"/>
            <a:pathLst>
              <a:path w="160" h="96">
                <a:moveTo>
                  <a:pt x="77" y="10"/>
                </a:moveTo>
                <a:cubicBezTo>
                  <a:pt x="79" y="11"/>
                  <a:pt x="151" y="0"/>
                  <a:pt x="160" y="1"/>
                </a:cubicBezTo>
                <a:cubicBezTo>
                  <a:pt x="154" y="11"/>
                  <a:pt x="141" y="14"/>
                  <a:pt x="130" y="15"/>
                </a:cubicBezTo>
                <a:cubicBezTo>
                  <a:pt x="126" y="16"/>
                  <a:pt x="121" y="18"/>
                  <a:pt x="117" y="19"/>
                </a:cubicBezTo>
                <a:cubicBezTo>
                  <a:pt x="109" y="24"/>
                  <a:pt x="98" y="26"/>
                  <a:pt x="89" y="28"/>
                </a:cubicBezTo>
                <a:cubicBezTo>
                  <a:pt x="78" y="33"/>
                  <a:pt x="68" y="44"/>
                  <a:pt x="57" y="48"/>
                </a:cubicBezTo>
                <a:cubicBezTo>
                  <a:pt x="54" y="52"/>
                  <a:pt x="49" y="60"/>
                  <a:pt x="49" y="60"/>
                </a:cubicBezTo>
                <a:cubicBezTo>
                  <a:pt x="51" y="80"/>
                  <a:pt x="53" y="81"/>
                  <a:pt x="70" y="85"/>
                </a:cubicBezTo>
                <a:cubicBezTo>
                  <a:pt x="78" y="91"/>
                  <a:pt x="74" y="90"/>
                  <a:pt x="63" y="91"/>
                </a:cubicBezTo>
                <a:cubicBezTo>
                  <a:pt x="50" y="96"/>
                  <a:pt x="41" y="88"/>
                  <a:pt x="30" y="84"/>
                </a:cubicBezTo>
                <a:cubicBezTo>
                  <a:pt x="23" y="77"/>
                  <a:pt x="23" y="79"/>
                  <a:pt x="10" y="81"/>
                </a:cubicBezTo>
                <a:cubicBezTo>
                  <a:pt x="0" y="78"/>
                  <a:pt x="2" y="81"/>
                  <a:pt x="0" y="75"/>
                </a:cubicBezTo>
                <a:cubicBezTo>
                  <a:pt x="2" y="70"/>
                  <a:pt x="6" y="67"/>
                  <a:pt x="11" y="66"/>
                </a:cubicBezTo>
                <a:cubicBezTo>
                  <a:pt x="9" y="59"/>
                  <a:pt x="10" y="62"/>
                  <a:pt x="7" y="57"/>
                </a:cubicBezTo>
                <a:cubicBezTo>
                  <a:pt x="14" y="52"/>
                  <a:pt x="11" y="54"/>
                  <a:pt x="17" y="52"/>
                </a:cubicBezTo>
                <a:cubicBezTo>
                  <a:pt x="22" y="48"/>
                  <a:pt x="21" y="41"/>
                  <a:pt x="28" y="39"/>
                </a:cubicBezTo>
                <a:cubicBezTo>
                  <a:pt x="31" y="33"/>
                  <a:pt x="33" y="30"/>
                  <a:pt x="39" y="28"/>
                </a:cubicBezTo>
                <a:cubicBezTo>
                  <a:pt x="47" y="22"/>
                  <a:pt x="48" y="17"/>
                  <a:pt x="59" y="15"/>
                </a:cubicBezTo>
                <a:cubicBezTo>
                  <a:pt x="62" y="13"/>
                  <a:pt x="69" y="11"/>
                  <a:pt x="69" y="11"/>
                </a:cubicBezTo>
                <a:cubicBezTo>
                  <a:pt x="72" y="10"/>
                  <a:pt x="62" y="11"/>
                  <a:pt x="77" y="1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76" name="Freeform 74">
            <a:extLst>
              <a:ext uri="{FF2B5EF4-FFF2-40B4-BE49-F238E27FC236}">
                <a16:creationId xmlns:a16="http://schemas.microsoft.com/office/drawing/2014/main" id="{3BAA1569-87F2-55DB-FD46-DEE1B9507AC3}"/>
              </a:ext>
            </a:extLst>
          </p:cNvPr>
          <p:cNvSpPr>
            <a:spLocks/>
          </p:cNvSpPr>
          <p:nvPr/>
        </p:nvSpPr>
        <p:spPr bwMode="auto">
          <a:xfrm>
            <a:off x="6171821" y="1513860"/>
            <a:ext cx="108550" cy="26240"/>
          </a:xfrm>
          <a:custGeom>
            <a:avLst/>
            <a:gdLst/>
            <a:ahLst/>
            <a:cxnLst>
              <a:cxn ang="0">
                <a:pos x="33" y="8"/>
              </a:cxn>
              <a:cxn ang="0">
                <a:pos x="39" y="0"/>
              </a:cxn>
              <a:cxn ang="0">
                <a:pos x="66" y="5"/>
              </a:cxn>
              <a:cxn ang="0">
                <a:pos x="79" y="10"/>
              </a:cxn>
              <a:cxn ang="0">
                <a:pos x="69" y="17"/>
              </a:cxn>
              <a:cxn ang="0">
                <a:pos x="61" y="19"/>
              </a:cxn>
              <a:cxn ang="0">
                <a:pos x="33" y="12"/>
              </a:cxn>
              <a:cxn ang="0">
                <a:pos x="33" y="8"/>
              </a:cxn>
            </a:cxnLst>
            <a:rect l="0" t="0" r="r" b="b"/>
            <a:pathLst>
              <a:path w="79" h="19">
                <a:moveTo>
                  <a:pt x="33" y="8"/>
                </a:moveTo>
                <a:cubicBezTo>
                  <a:pt x="35" y="1"/>
                  <a:pt x="33" y="3"/>
                  <a:pt x="39" y="0"/>
                </a:cubicBezTo>
                <a:cubicBezTo>
                  <a:pt x="50" y="2"/>
                  <a:pt x="55" y="4"/>
                  <a:pt x="66" y="5"/>
                </a:cubicBezTo>
                <a:cubicBezTo>
                  <a:pt x="72" y="6"/>
                  <a:pt x="74" y="7"/>
                  <a:pt x="79" y="10"/>
                </a:cubicBezTo>
                <a:cubicBezTo>
                  <a:pt x="78" y="14"/>
                  <a:pt x="73" y="16"/>
                  <a:pt x="69" y="17"/>
                </a:cubicBezTo>
                <a:cubicBezTo>
                  <a:pt x="66" y="18"/>
                  <a:pt x="61" y="19"/>
                  <a:pt x="61" y="19"/>
                </a:cubicBezTo>
                <a:cubicBezTo>
                  <a:pt x="49" y="19"/>
                  <a:pt x="0" y="16"/>
                  <a:pt x="33" y="12"/>
                </a:cubicBezTo>
                <a:cubicBezTo>
                  <a:pt x="34" y="8"/>
                  <a:pt x="35" y="8"/>
                  <a:pt x="33" y="8"/>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77" name="Freeform 75">
            <a:extLst>
              <a:ext uri="{FF2B5EF4-FFF2-40B4-BE49-F238E27FC236}">
                <a16:creationId xmlns:a16="http://schemas.microsoft.com/office/drawing/2014/main" id="{793E7257-52DF-ED93-D6B3-3CE2218257FB}"/>
              </a:ext>
            </a:extLst>
          </p:cNvPr>
          <p:cNvSpPr>
            <a:spLocks/>
          </p:cNvSpPr>
          <p:nvPr/>
        </p:nvSpPr>
        <p:spPr bwMode="auto">
          <a:xfrm>
            <a:off x="6260738" y="1544437"/>
            <a:ext cx="100305" cy="30176"/>
          </a:xfrm>
          <a:custGeom>
            <a:avLst/>
            <a:gdLst/>
            <a:ahLst/>
            <a:cxnLst>
              <a:cxn ang="0">
                <a:pos x="31" y="0"/>
              </a:cxn>
              <a:cxn ang="0">
                <a:pos x="54" y="5"/>
              </a:cxn>
              <a:cxn ang="0">
                <a:pos x="71" y="13"/>
              </a:cxn>
              <a:cxn ang="0">
                <a:pos x="72" y="17"/>
              </a:cxn>
              <a:cxn ang="0">
                <a:pos x="49" y="13"/>
              </a:cxn>
              <a:cxn ang="0">
                <a:pos x="27" y="12"/>
              </a:cxn>
              <a:cxn ang="0">
                <a:pos x="0" y="8"/>
              </a:cxn>
              <a:cxn ang="0">
                <a:pos x="9" y="7"/>
              </a:cxn>
              <a:cxn ang="0">
                <a:pos x="13" y="6"/>
              </a:cxn>
              <a:cxn ang="0">
                <a:pos x="25" y="4"/>
              </a:cxn>
              <a:cxn ang="0">
                <a:pos x="31" y="0"/>
              </a:cxn>
            </a:cxnLst>
            <a:rect l="0" t="0" r="r" b="b"/>
            <a:pathLst>
              <a:path w="73" h="22">
                <a:moveTo>
                  <a:pt x="31" y="0"/>
                </a:moveTo>
                <a:cubicBezTo>
                  <a:pt x="39" y="2"/>
                  <a:pt x="46" y="2"/>
                  <a:pt x="54" y="5"/>
                </a:cubicBezTo>
                <a:cubicBezTo>
                  <a:pt x="64" y="2"/>
                  <a:pt x="65" y="4"/>
                  <a:pt x="71" y="13"/>
                </a:cubicBezTo>
                <a:cubicBezTo>
                  <a:pt x="71" y="14"/>
                  <a:pt x="73" y="16"/>
                  <a:pt x="72" y="17"/>
                </a:cubicBezTo>
                <a:cubicBezTo>
                  <a:pt x="63" y="22"/>
                  <a:pt x="57" y="14"/>
                  <a:pt x="49" y="13"/>
                </a:cubicBezTo>
                <a:cubicBezTo>
                  <a:pt x="42" y="12"/>
                  <a:pt x="34" y="12"/>
                  <a:pt x="27" y="12"/>
                </a:cubicBezTo>
                <a:cubicBezTo>
                  <a:pt x="19" y="9"/>
                  <a:pt x="8" y="9"/>
                  <a:pt x="0" y="8"/>
                </a:cubicBezTo>
                <a:cubicBezTo>
                  <a:pt x="3" y="8"/>
                  <a:pt x="6" y="7"/>
                  <a:pt x="9" y="7"/>
                </a:cubicBezTo>
                <a:cubicBezTo>
                  <a:pt x="10" y="7"/>
                  <a:pt x="12" y="6"/>
                  <a:pt x="13" y="6"/>
                </a:cubicBezTo>
                <a:cubicBezTo>
                  <a:pt x="17" y="5"/>
                  <a:pt x="25" y="4"/>
                  <a:pt x="25" y="4"/>
                </a:cubicBezTo>
                <a:cubicBezTo>
                  <a:pt x="27" y="3"/>
                  <a:pt x="29" y="1"/>
                  <a:pt x="31" y="0"/>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78" name="Freeform 76">
            <a:extLst>
              <a:ext uri="{FF2B5EF4-FFF2-40B4-BE49-F238E27FC236}">
                <a16:creationId xmlns:a16="http://schemas.microsoft.com/office/drawing/2014/main" id="{464EC7E1-EA29-D4D3-39C1-BD0086BFDC63}"/>
              </a:ext>
            </a:extLst>
          </p:cNvPr>
          <p:cNvSpPr>
            <a:spLocks/>
          </p:cNvSpPr>
          <p:nvPr/>
        </p:nvSpPr>
        <p:spPr bwMode="auto">
          <a:xfrm>
            <a:off x="6392810" y="1559550"/>
            <a:ext cx="75573" cy="38048"/>
          </a:xfrm>
          <a:custGeom>
            <a:avLst/>
            <a:gdLst/>
            <a:ahLst/>
            <a:cxnLst>
              <a:cxn ang="0">
                <a:pos x="6" y="4"/>
              </a:cxn>
              <a:cxn ang="0">
                <a:pos x="3" y="19"/>
              </a:cxn>
              <a:cxn ang="0">
                <a:pos x="19" y="17"/>
              </a:cxn>
              <a:cxn ang="0">
                <a:pos x="55" y="19"/>
              </a:cxn>
              <a:cxn ang="0">
                <a:pos x="21" y="7"/>
              </a:cxn>
              <a:cxn ang="0">
                <a:pos x="6" y="3"/>
              </a:cxn>
              <a:cxn ang="0">
                <a:pos x="6" y="4"/>
              </a:cxn>
            </a:cxnLst>
            <a:rect l="0" t="0" r="r" b="b"/>
            <a:pathLst>
              <a:path w="55" h="27">
                <a:moveTo>
                  <a:pt x="6" y="4"/>
                </a:moveTo>
                <a:cubicBezTo>
                  <a:pt x="7" y="12"/>
                  <a:pt x="7" y="13"/>
                  <a:pt x="3" y="19"/>
                </a:cubicBezTo>
                <a:cubicBezTo>
                  <a:pt x="0" y="27"/>
                  <a:pt x="15" y="19"/>
                  <a:pt x="19" y="17"/>
                </a:cubicBezTo>
                <a:cubicBezTo>
                  <a:pt x="52" y="20"/>
                  <a:pt x="40" y="22"/>
                  <a:pt x="55" y="19"/>
                </a:cubicBezTo>
                <a:cubicBezTo>
                  <a:pt x="53" y="2"/>
                  <a:pt x="38" y="8"/>
                  <a:pt x="21" y="7"/>
                </a:cubicBezTo>
                <a:cubicBezTo>
                  <a:pt x="19" y="0"/>
                  <a:pt x="12" y="2"/>
                  <a:pt x="6" y="3"/>
                </a:cubicBezTo>
                <a:cubicBezTo>
                  <a:pt x="2" y="4"/>
                  <a:pt x="2" y="4"/>
                  <a:pt x="6" y="4"/>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79" name="Freeform 77">
            <a:extLst>
              <a:ext uri="{FF2B5EF4-FFF2-40B4-BE49-F238E27FC236}">
                <a16:creationId xmlns:a16="http://schemas.microsoft.com/office/drawing/2014/main" id="{0C544343-FB51-8602-9D0A-D84EB25AB7C0}"/>
              </a:ext>
            </a:extLst>
          </p:cNvPr>
          <p:cNvSpPr>
            <a:spLocks/>
          </p:cNvSpPr>
          <p:nvPr/>
        </p:nvSpPr>
        <p:spPr bwMode="auto">
          <a:xfrm>
            <a:off x="4860662" y="1550158"/>
            <a:ext cx="193741" cy="69535"/>
          </a:xfrm>
          <a:custGeom>
            <a:avLst/>
            <a:gdLst/>
            <a:ahLst/>
            <a:cxnLst>
              <a:cxn ang="0">
                <a:pos x="2" y="3"/>
              </a:cxn>
              <a:cxn ang="0">
                <a:pos x="47" y="7"/>
              </a:cxn>
              <a:cxn ang="0">
                <a:pos x="53" y="16"/>
              </a:cxn>
              <a:cxn ang="0">
                <a:pos x="50" y="7"/>
              </a:cxn>
              <a:cxn ang="0">
                <a:pos x="57" y="0"/>
              </a:cxn>
              <a:cxn ang="0">
                <a:pos x="66" y="1"/>
              </a:cxn>
              <a:cxn ang="0">
                <a:pos x="72" y="7"/>
              </a:cxn>
              <a:cxn ang="0">
                <a:pos x="115" y="18"/>
              </a:cxn>
              <a:cxn ang="0">
                <a:pos x="131" y="23"/>
              </a:cxn>
              <a:cxn ang="0">
                <a:pos x="137" y="25"/>
              </a:cxn>
              <a:cxn ang="0">
                <a:pos x="131" y="40"/>
              </a:cxn>
              <a:cxn ang="0">
                <a:pos x="116" y="28"/>
              </a:cxn>
              <a:cxn ang="0">
                <a:pos x="102" y="21"/>
              </a:cxn>
              <a:cxn ang="0">
                <a:pos x="86" y="24"/>
              </a:cxn>
              <a:cxn ang="0">
                <a:pos x="78" y="42"/>
              </a:cxn>
              <a:cxn ang="0">
                <a:pos x="68" y="51"/>
              </a:cxn>
              <a:cxn ang="0">
                <a:pos x="38" y="37"/>
              </a:cxn>
              <a:cxn ang="0">
                <a:pos x="42" y="27"/>
              </a:cxn>
              <a:cxn ang="0">
                <a:pos x="39" y="19"/>
              </a:cxn>
              <a:cxn ang="0">
                <a:pos x="17" y="23"/>
              </a:cxn>
              <a:cxn ang="0">
                <a:pos x="0" y="10"/>
              </a:cxn>
              <a:cxn ang="0">
                <a:pos x="12" y="5"/>
              </a:cxn>
              <a:cxn ang="0">
                <a:pos x="2" y="3"/>
              </a:cxn>
            </a:cxnLst>
            <a:rect l="0" t="0" r="r" b="b"/>
            <a:pathLst>
              <a:path w="141" h="51">
                <a:moveTo>
                  <a:pt x="2" y="3"/>
                </a:moveTo>
                <a:cubicBezTo>
                  <a:pt x="17" y="5"/>
                  <a:pt x="32" y="6"/>
                  <a:pt x="47" y="7"/>
                </a:cubicBezTo>
                <a:cubicBezTo>
                  <a:pt x="48" y="12"/>
                  <a:pt x="48" y="14"/>
                  <a:pt x="53" y="16"/>
                </a:cubicBezTo>
                <a:cubicBezTo>
                  <a:pt x="55" y="11"/>
                  <a:pt x="51" y="11"/>
                  <a:pt x="50" y="7"/>
                </a:cubicBezTo>
                <a:cubicBezTo>
                  <a:pt x="51" y="2"/>
                  <a:pt x="52" y="2"/>
                  <a:pt x="57" y="0"/>
                </a:cubicBezTo>
                <a:cubicBezTo>
                  <a:pt x="60" y="0"/>
                  <a:pt x="63" y="0"/>
                  <a:pt x="66" y="1"/>
                </a:cubicBezTo>
                <a:cubicBezTo>
                  <a:pt x="69" y="2"/>
                  <a:pt x="72" y="7"/>
                  <a:pt x="72" y="7"/>
                </a:cubicBezTo>
                <a:cubicBezTo>
                  <a:pt x="76" y="20"/>
                  <a:pt x="106" y="18"/>
                  <a:pt x="115" y="18"/>
                </a:cubicBezTo>
                <a:cubicBezTo>
                  <a:pt x="121" y="19"/>
                  <a:pt x="125" y="21"/>
                  <a:pt x="131" y="23"/>
                </a:cubicBezTo>
                <a:cubicBezTo>
                  <a:pt x="133" y="24"/>
                  <a:pt x="137" y="25"/>
                  <a:pt x="137" y="25"/>
                </a:cubicBezTo>
                <a:cubicBezTo>
                  <a:pt x="140" y="33"/>
                  <a:pt x="141" y="37"/>
                  <a:pt x="131" y="40"/>
                </a:cubicBezTo>
                <a:cubicBezTo>
                  <a:pt x="121" y="38"/>
                  <a:pt x="123" y="33"/>
                  <a:pt x="116" y="28"/>
                </a:cubicBezTo>
                <a:cubicBezTo>
                  <a:pt x="113" y="23"/>
                  <a:pt x="108" y="22"/>
                  <a:pt x="102" y="21"/>
                </a:cubicBezTo>
                <a:cubicBezTo>
                  <a:pt x="97" y="22"/>
                  <a:pt x="86" y="24"/>
                  <a:pt x="86" y="24"/>
                </a:cubicBezTo>
                <a:cubicBezTo>
                  <a:pt x="84" y="31"/>
                  <a:pt x="83" y="37"/>
                  <a:pt x="78" y="42"/>
                </a:cubicBezTo>
                <a:cubicBezTo>
                  <a:pt x="77" y="46"/>
                  <a:pt x="72" y="49"/>
                  <a:pt x="68" y="51"/>
                </a:cubicBezTo>
                <a:cubicBezTo>
                  <a:pt x="54" y="45"/>
                  <a:pt x="57" y="41"/>
                  <a:pt x="38" y="37"/>
                </a:cubicBezTo>
                <a:cubicBezTo>
                  <a:pt x="33" y="32"/>
                  <a:pt x="36" y="29"/>
                  <a:pt x="42" y="27"/>
                </a:cubicBezTo>
                <a:cubicBezTo>
                  <a:pt x="46" y="20"/>
                  <a:pt x="48" y="23"/>
                  <a:pt x="39" y="19"/>
                </a:cubicBezTo>
                <a:cubicBezTo>
                  <a:pt x="31" y="20"/>
                  <a:pt x="24" y="22"/>
                  <a:pt x="17" y="23"/>
                </a:cubicBezTo>
                <a:cubicBezTo>
                  <a:pt x="5" y="22"/>
                  <a:pt x="4" y="21"/>
                  <a:pt x="0" y="10"/>
                </a:cubicBezTo>
                <a:cubicBezTo>
                  <a:pt x="2" y="5"/>
                  <a:pt x="7" y="5"/>
                  <a:pt x="12" y="5"/>
                </a:cubicBezTo>
                <a:lnTo>
                  <a:pt x="2" y="3"/>
                </a:ln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80" name="Freeform 78">
            <a:extLst>
              <a:ext uri="{FF2B5EF4-FFF2-40B4-BE49-F238E27FC236}">
                <a16:creationId xmlns:a16="http://schemas.microsoft.com/office/drawing/2014/main" id="{207262EA-F8F9-0FCB-96A3-7A1BD0EFC8C8}"/>
              </a:ext>
            </a:extLst>
          </p:cNvPr>
          <p:cNvSpPr>
            <a:spLocks/>
          </p:cNvSpPr>
          <p:nvPr/>
        </p:nvSpPr>
        <p:spPr bwMode="auto">
          <a:xfrm>
            <a:off x="4966429" y="1539399"/>
            <a:ext cx="140154" cy="27552"/>
          </a:xfrm>
          <a:custGeom>
            <a:avLst/>
            <a:gdLst/>
            <a:ahLst/>
            <a:cxnLst>
              <a:cxn ang="0">
                <a:pos x="5" y="1"/>
              </a:cxn>
              <a:cxn ang="0">
                <a:pos x="62" y="2"/>
              </a:cxn>
              <a:cxn ang="0">
                <a:pos x="97" y="4"/>
              </a:cxn>
              <a:cxn ang="0">
                <a:pos x="64" y="16"/>
              </a:cxn>
              <a:cxn ang="0">
                <a:pos x="40" y="15"/>
              </a:cxn>
              <a:cxn ang="0">
                <a:pos x="6" y="10"/>
              </a:cxn>
              <a:cxn ang="0">
                <a:pos x="5" y="1"/>
              </a:cxn>
            </a:cxnLst>
            <a:rect l="0" t="0" r="r" b="b"/>
            <a:pathLst>
              <a:path w="102" h="20">
                <a:moveTo>
                  <a:pt x="5" y="1"/>
                </a:moveTo>
                <a:cubicBezTo>
                  <a:pt x="26" y="5"/>
                  <a:pt x="31" y="3"/>
                  <a:pt x="62" y="2"/>
                </a:cubicBezTo>
                <a:cubicBezTo>
                  <a:pt x="74" y="0"/>
                  <a:pt x="85" y="3"/>
                  <a:pt x="97" y="4"/>
                </a:cubicBezTo>
                <a:cubicBezTo>
                  <a:pt x="102" y="20"/>
                  <a:pt x="67" y="16"/>
                  <a:pt x="64" y="16"/>
                </a:cubicBezTo>
                <a:cubicBezTo>
                  <a:pt x="56" y="17"/>
                  <a:pt x="48" y="18"/>
                  <a:pt x="40" y="15"/>
                </a:cubicBezTo>
                <a:cubicBezTo>
                  <a:pt x="26" y="16"/>
                  <a:pt x="19" y="11"/>
                  <a:pt x="6" y="10"/>
                </a:cubicBezTo>
                <a:cubicBezTo>
                  <a:pt x="0" y="7"/>
                  <a:pt x="0" y="6"/>
                  <a:pt x="5" y="1"/>
                </a:cubicBezTo>
                <a:close/>
              </a:path>
            </a:pathLst>
          </a:custGeom>
          <a:solidFill>
            <a:schemeClr val="accent1"/>
          </a:solidFill>
          <a:ln w="6350" cap="flat" cmpd="sng">
            <a:solidFill>
              <a:schemeClr val="bg1"/>
            </a:solidFill>
            <a:prstDash val="solid"/>
            <a:round/>
            <a:headEnd/>
            <a:tailEnd/>
          </a:ln>
          <a:effectLst/>
        </p:spPr>
        <p:txBody>
          <a:bodyPr wrap="none" lIns="0" tIns="0" rIns="0" bIns="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81" name="Textframe 21">
            <a:extLst>
              <a:ext uri="{FF2B5EF4-FFF2-40B4-BE49-F238E27FC236}">
                <a16:creationId xmlns:a16="http://schemas.microsoft.com/office/drawing/2014/main" id="{6208AD1C-8607-1C97-683F-39C8FD554D99}"/>
              </a:ext>
            </a:extLst>
          </p:cNvPr>
          <p:cNvSpPr txBox="1"/>
          <p:nvPr>
            <p:custDataLst>
              <p:tags r:id="rId1"/>
            </p:custDataLst>
          </p:nvPr>
        </p:nvSpPr>
        <p:spPr>
          <a:xfrm>
            <a:off x="2216318" y="2555655"/>
            <a:ext cx="735272" cy="120703"/>
          </a:xfrm>
          <a:prstGeom prst="rect">
            <a:avLst/>
          </a:prstGeom>
          <a:noFill/>
          <a:ln w="9525">
            <a:noFill/>
          </a:ln>
        </p:spPr>
        <p:txBody>
          <a:bodyPr vert="horz" wrap="none" lIns="27000" tIns="0" rIns="0" bIns="0" rtlCol="0">
            <a:spAutoFit/>
          </a:bodyPr>
          <a:lstStyle>
            <a:defPPr>
              <a:defRPr lang="de-DE"/>
            </a:defPPr>
            <a:lvl1pPr>
              <a:lnSpc>
                <a:spcPct val="90000"/>
              </a:lnSpc>
              <a:spcBef>
                <a:spcPts val="400"/>
              </a:spcBef>
              <a:buSzPct val="100000"/>
              <a:defRPr b="0">
                <a:latin typeface="+mn-lt"/>
                <a:cs typeface="Arial Narrow" pitchFamily="34" charset="0"/>
              </a:defRPr>
            </a:lvl1pPr>
            <a:lvl2pPr marL="120686" lvl="1" indent="-120686">
              <a:buSzPct val="100000"/>
              <a:buFont typeface="Arial Narrow"/>
              <a:buChar char="&gt;"/>
              <a:defRPr sz="1100" b="0"/>
            </a:lvl2pPr>
          </a:lstStyle>
          <a:p>
            <a:pPr algn="ctr" defTabSz="685800" fontAlgn="base">
              <a:spcBef>
                <a:spcPts val="300"/>
              </a:spcBef>
              <a:spcAft>
                <a:spcPct val="0"/>
              </a:spcAft>
              <a:defRPr/>
            </a:pPr>
            <a:r>
              <a:rPr lang="en-US" altLang="de-DE" sz="1050">
                <a:solidFill>
                  <a:srgbClr val="212121"/>
                </a:solidFill>
                <a:latin typeface="+mj-lt"/>
                <a:ea typeface="Microsoft YaHei"/>
                <a:sym typeface="Arial Narrow"/>
              </a:rPr>
              <a:t>North America</a:t>
            </a:r>
            <a:endParaRPr lang="en-US" altLang="de-DE" sz="1050" i="1">
              <a:solidFill>
                <a:srgbClr val="212121"/>
              </a:solidFill>
              <a:latin typeface="+mj-lt"/>
              <a:ea typeface="Microsoft YaHei"/>
              <a:sym typeface="Arial Narrow"/>
            </a:endParaRPr>
          </a:p>
        </p:txBody>
      </p:sp>
      <p:sp>
        <p:nvSpPr>
          <p:cNvPr id="82" name="Freeform: Shape 9">
            <a:extLst>
              <a:ext uri="{FF2B5EF4-FFF2-40B4-BE49-F238E27FC236}">
                <a16:creationId xmlns:a16="http://schemas.microsoft.com/office/drawing/2014/main" id="{FA75C7A5-2E10-F8A3-D368-6B5CEA26C9A0}"/>
              </a:ext>
            </a:extLst>
          </p:cNvPr>
          <p:cNvSpPr>
            <a:spLocks noChangeAspect="1"/>
          </p:cNvSpPr>
          <p:nvPr/>
        </p:nvSpPr>
        <p:spPr>
          <a:xfrm>
            <a:off x="463426" y="3960619"/>
            <a:ext cx="108367" cy="136525"/>
          </a:xfrm>
          <a:custGeom>
            <a:avLst/>
            <a:gdLst>
              <a:gd name="connsiteX0" fmla="*/ 2289753 w 2944795"/>
              <a:gd name="connsiteY0" fmla="*/ 2852045 h 3709979"/>
              <a:gd name="connsiteX1" fmla="*/ 2492642 w 2944795"/>
              <a:gd name="connsiteY1" fmla="*/ 3054935 h 3709979"/>
              <a:gd name="connsiteX2" fmla="*/ 2289753 w 2944795"/>
              <a:gd name="connsiteY2" fmla="*/ 3257824 h 3709979"/>
              <a:gd name="connsiteX3" fmla="*/ 2086863 w 2944795"/>
              <a:gd name="connsiteY3" fmla="*/ 3054935 h 3709979"/>
              <a:gd name="connsiteX4" fmla="*/ 2289753 w 2944795"/>
              <a:gd name="connsiteY4" fmla="*/ 2852045 h 3709979"/>
              <a:gd name="connsiteX5" fmla="*/ 655044 w 2944795"/>
              <a:gd name="connsiteY5" fmla="*/ 2852045 h 3709979"/>
              <a:gd name="connsiteX6" fmla="*/ 857933 w 2944795"/>
              <a:gd name="connsiteY6" fmla="*/ 3054935 h 3709979"/>
              <a:gd name="connsiteX7" fmla="*/ 655044 w 2944795"/>
              <a:gd name="connsiteY7" fmla="*/ 3257824 h 3709979"/>
              <a:gd name="connsiteX8" fmla="*/ 452154 w 2944795"/>
              <a:gd name="connsiteY8" fmla="*/ 3054935 h 3709979"/>
              <a:gd name="connsiteX9" fmla="*/ 655044 w 2944795"/>
              <a:gd name="connsiteY9" fmla="*/ 2852045 h 3709979"/>
              <a:gd name="connsiteX10" fmla="*/ 655043 w 2944795"/>
              <a:gd name="connsiteY10" fmla="*/ 2736110 h 3709979"/>
              <a:gd name="connsiteX11" fmla="*/ 336217 w 2944795"/>
              <a:gd name="connsiteY11" fmla="*/ 3054936 h 3709979"/>
              <a:gd name="connsiteX12" fmla="*/ 655043 w 2944795"/>
              <a:gd name="connsiteY12" fmla="*/ 3373762 h 3709979"/>
              <a:gd name="connsiteX13" fmla="*/ 968072 w 2944795"/>
              <a:gd name="connsiteY13" fmla="*/ 3112904 h 3709979"/>
              <a:gd name="connsiteX14" fmla="*/ 1605725 w 2944795"/>
              <a:gd name="connsiteY14" fmla="*/ 3112904 h 3709979"/>
              <a:gd name="connsiteX15" fmla="*/ 1536163 w 2944795"/>
              <a:gd name="connsiteY15" fmla="*/ 3182466 h 3709979"/>
              <a:gd name="connsiteX16" fmla="*/ 1536163 w 2944795"/>
              <a:gd name="connsiteY16" fmla="*/ 3263622 h 3709979"/>
              <a:gd name="connsiteX17" fmla="*/ 1617319 w 2944795"/>
              <a:gd name="connsiteY17" fmla="*/ 3263622 h 3709979"/>
              <a:gd name="connsiteX18" fmla="*/ 1785427 w 2944795"/>
              <a:gd name="connsiteY18" fmla="*/ 3095514 h 3709979"/>
              <a:gd name="connsiteX19" fmla="*/ 1802817 w 2944795"/>
              <a:gd name="connsiteY19" fmla="*/ 3054936 h 3709979"/>
              <a:gd name="connsiteX20" fmla="*/ 1791224 w 2944795"/>
              <a:gd name="connsiteY20" fmla="*/ 3014358 h 3709979"/>
              <a:gd name="connsiteX21" fmla="*/ 1617319 w 2944795"/>
              <a:gd name="connsiteY21" fmla="*/ 2846249 h 3709979"/>
              <a:gd name="connsiteX22" fmla="*/ 1536163 w 2944795"/>
              <a:gd name="connsiteY22" fmla="*/ 2846249 h 3709979"/>
              <a:gd name="connsiteX23" fmla="*/ 1536163 w 2944795"/>
              <a:gd name="connsiteY23" fmla="*/ 2927405 h 3709979"/>
              <a:gd name="connsiteX24" fmla="*/ 1605725 w 2944795"/>
              <a:gd name="connsiteY24" fmla="*/ 2996967 h 3709979"/>
              <a:gd name="connsiteX25" fmla="*/ 968072 w 2944795"/>
              <a:gd name="connsiteY25" fmla="*/ 2996967 h 3709979"/>
              <a:gd name="connsiteX26" fmla="*/ 655043 w 2944795"/>
              <a:gd name="connsiteY26" fmla="*/ 2736110 h 3709979"/>
              <a:gd name="connsiteX27" fmla="*/ 2291926 w 2944795"/>
              <a:gd name="connsiteY27" fmla="*/ 1837599 h 3709979"/>
              <a:gd name="connsiteX28" fmla="*/ 2249174 w 2944795"/>
              <a:gd name="connsiteY28" fmla="*/ 1854990 h 3709979"/>
              <a:gd name="connsiteX29" fmla="*/ 2081066 w 2944795"/>
              <a:gd name="connsiteY29" fmla="*/ 2028895 h 3709979"/>
              <a:gd name="connsiteX30" fmla="*/ 2081066 w 2944795"/>
              <a:gd name="connsiteY30" fmla="*/ 2110051 h 3709979"/>
              <a:gd name="connsiteX31" fmla="*/ 2162222 w 2944795"/>
              <a:gd name="connsiteY31" fmla="*/ 2110051 h 3709979"/>
              <a:gd name="connsiteX32" fmla="*/ 2231784 w 2944795"/>
              <a:gd name="connsiteY32" fmla="*/ 2040489 h 3709979"/>
              <a:gd name="connsiteX33" fmla="*/ 2231784 w 2944795"/>
              <a:gd name="connsiteY33" fmla="*/ 2741906 h 3709979"/>
              <a:gd name="connsiteX34" fmla="*/ 1970926 w 2944795"/>
              <a:gd name="connsiteY34" fmla="*/ 3054936 h 3709979"/>
              <a:gd name="connsiteX35" fmla="*/ 2289752 w 2944795"/>
              <a:gd name="connsiteY35" fmla="*/ 3373762 h 3709979"/>
              <a:gd name="connsiteX36" fmla="*/ 2608578 w 2944795"/>
              <a:gd name="connsiteY36" fmla="*/ 3049139 h 3709979"/>
              <a:gd name="connsiteX37" fmla="*/ 2347720 w 2944795"/>
              <a:gd name="connsiteY37" fmla="*/ 2736110 h 3709979"/>
              <a:gd name="connsiteX38" fmla="*/ 2347720 w 2944795"/>
              <a:gd name="connsiteY38" fmla="*/ 2034692 h 3709979"/>
              <a:gd name="connsiteX39" fmla="*/ 2417282 w 2944795"/>
              <a:gd name="connsiteY39" fmla="*/ 2104254 h 3709979"/>
              <a:gd name="connsiteX40" fmla="*/ 2498438 w 2944795"/>
              <a:gd name="connsiteY40" fmla="*/ 2104254 h 3709979"/>
              <a:gd name="connsiteX41" fmla="*/ 2498438 w 2944795"/>
              <a:gd name="connsiteY41" fmla="*/ 2023098 h 3709979"/>
              <a:gd name="connsiteX42" fmla="*/ 2330330 w 2944795"/>
              <a:gd name="connsiteY42" fmla="*/ 1854990 h 3709979"/>
              <a:gd name="connsiteX43" fmla="*/ 2291926 w 2944795"/>
              <a:gd name="connsiteY43" fmla="*/ 1837599 h 3709979"/>
              <a:gd name="connsiteX44" fmla="*/ 1530366 w 2944795"/>
              <a:gd name="connsiteY44" fmla="*/ 1199946 h 3709979"/>
              <a:gd name="connsiteX45" fmla="*/ 2365112 w 2944795"/>
              <a:gd name="connsiteY45" fmla="*/ 1199946 h 3709979"/>
              <a:gd name="connsiteX46" fmla="*/ 2365112 w 2944795"/>
              <a:gd name="connsiteY46" fmla="*/ 1628912 h 3709979"/>
              <a:gd name="connsiteX47" fmla="*/ 1530366 w 2944795"/>
              <a:gd name="connsiteY47" fmla="*/ 1628912 h 3709979"/>
              <a:gd name="connsiteX48" fmla="*/ 1530366 w 2944795"/>
              <a:gd name="connsiteY48" fmla="*/ 1414429 h 3709979"/>
              <a:gd name="connsiteX49" fmla="*/ 1472398 w 2944795"/>
              <a:gd name="connsiteY49" fmla="*/ 1084009 h 3709979"/>
              <a:gd name="connsiteX50" fmla="*/ 1414429 w 2944795"/>
              <a:gd name="connsiteY50" fmla="*/ 1141978 h 3709979"/>
              <a:gd name="connsiteX51" fmla="*/ 1414429 w 2944795"/>
              <a:gd name="connsiteY51" fmla="*/ 1362259 h 3709979"/>
              <a:gd name="connsiteX52" fmla="*/ 655043 w 2944795"/>
              <a:gd name="connsiteY52" fmla="*/ 2179613 h 3709979"/>
              <a:gd name="connsiteX53" fmla="*/ 655043 w 2944795"/>
              <a:gd name="connsiteY53" fmla="*/ 2225988 h 3709979"/>
              <a:gd name="connsiteX54" fmla="*/ 568091 w 2944795"/>
              <a:gd name="connsiteY54" fmla="*/ 2139035 h 3709979"/>
              <a:gd name="connsiteX55" fmla="*/ 486935 w 2944795"/>
              <a:gd name="connsiteY55" fmla="*/ 2139035 h 3709979"/>
              <a:gd name="connsiteX56" fmla="*/ 486935 w 2944795"/>
              <a:gd name="connsiteY56" fmla="*/ 2220191 h 3709979"/>
              <a:gd name="connsiteX57" fmla="*/ 672434 w 2944795"/>
              <a:gd name="connsiteY57" fmla="*/ 2405690 h 3709979"/>
              <a:gd name="connsiteX58" fmla="*/ 753589 w 2944795"/>
              <a:gd name="connsiteY58" fmla="*/ 2405690 h 3709979"/>
              <a:gd name="connsiteX59" fmla="*/ 939088 w 2944795"/>
              <a:gd name="connsiteY59" fmla="*/ 2220191 h 3709979"/>
              <a:gd name="connsiteX60" fmla="*/ 939088 w 2944795"/>
              <a:gd name="connsiteY60" fmla="*/ 2139035 h 3709979"/>
              <a:gd name="connsiteX61" fmla="*/ 857933 w 2944795"/>
              <a:gd name="connsiteY61" fmla="*/ 2139035 h 3709979"/>
              <a:gd name="connsiteX62" fmla="*/ 770980 w 2944795"/>
              <a:gd name="connsiteY62" fmla="*/ 2225988 h 3709979"/>
              <a:gd name="connsiteX63" fmla="*/ 770980 w 2944795"/>
              <a:gd name="connsiteY63" fmla="*/ 2179613 h 3709979"/>
              <a:gd name="connsiteX64" fmla="*/ 1414429 w 2944795"/>
              <a:gd name="connsiteY64" fmla="*/ 1478195 h 3709979"/>
              <a:gd name="connsiteX65" fmla="*/ 1414429 w 2944795"/>
              <a:gd name="connsiteY65" fmla="*/ 1692679 h 3709979"/>
              <a:gd name="connsiteX66" fmla="*/ 1472398 w 2944795"/>
              <a:gd name="connsiteY66" fmla="*/ 1750647 h 3709979"/>
              <a:gd name="connsiteX67" fmla="*/ 2423079 w 2944795"/>
              <a:gd name="connsiteY67" fmla="*/ 1750647 h 3709979"/>
              <a:gd name="connsiteX68" fmla="*/ 2481048 w 2944795"/>
              <a:gd name="connsiteY68" fmla="*/ 1692679 h 3709979"/>
              <a:gd name="connsiteX69" fmla="*/ 2481048 w 2944795"/>
              <a:gd name="connsiteY69" fmla="*/ 1141978 h 3709979"/>
              <a:gd name="connsiteX70" fmla="*/ 2423079 w 2944795"/>
              <a:gd name="connsiteY70" fmla="*/ 1084009 h 3709979"/>
              <a:gd name="connsiteX71" fmla="*/ 394185 w 2944795"/>
              <a:gd name="connsiteY71" fmla="*/ 765183 h 3709979"/>
              <a:gd name="connsiteX72" fmla="*/ 336217 w 2944795"/>
              <a:gd name="connsiteY72" fmla="*/ 823152 h 3709979"/>
              <a:gd name="connsiteX73" fmla="*/ 394185 w 2944795"/>
              <a:gd name="connsiteY73" fmla="*/ 881120 h 3709979"/>
              <a:gd name="connsiteX74" fmla="*/ 1739052 w 2944795"/>
              <a:gd name="connsiteY74" fmla="*/ 881120 h 3709979"/>
              <a:gd name="connsiteX75" fmla="*/ 1797020 w 2944795"/>
              <a:gd name="connsiteY75" fmla="*/ 823152 h 3709979"/>
              <a:gd name="connsiteX76" fmla="*/ 1739052 w 2944795"/>
              <a:gd name="connsiteY76" fmla="*/ 765183 h 3709979"/>
              <a:gd name="connsiteX77" fmla="*/ 394185 w 2944795"/>
              <a:gd name="connsiteY77" fmla="*/ 399982 h 3709979"/>
              <a:gd name="connsiteX78" fmla="*/ 336217 w 2944795"/>
              <a:gd name="connsiteY78" fmla="*/ 457951 h 3709979"/>
              <a:gd name="connsiteX79" fmla="*/ 394185 w 2944795"/>
              <a:gd name="connsiteY79" fmla="*/ 515919 h 3709979"/>
              <a:gd name="connsiteX80" fmla="*/ 1199946 w 2944795"/>
              <a:gd name="connsiteY80" fmla="*/ 515919 h 3709979"/>
              <a:gd name="connsiteX81" fmla="*/ 1257914 w 2944795"/>
              <a:gd name="connsiteY81" fmla="*/ 457951 h 3709979"/>
              <a:gd name="connsiteX82" fmla="*/ 1199946 w 2944795"/>
              <a:gd name="connsiteY82" fmla="*/ 399982 h 3709979"/>
              <a:gd name="connsiteX83" fmla="*/ 2150628 w 2944795"/>
              <a:gd name="connsiteY83" fmla="*/ 34781 h 3709979"/>
              <a:gd name="connsiteX84" fmla="*/ 2910015 w 2944795"/>
              <a:gd name="connsiteY84" fmla="*/ 794168 h 3709979"/>
              <a:gd name="connsiteX85" fmla="*/ 2910015 w 2944795"/>
              <a:gd name="connsiteY85" fmla="*/ 799965 h 3709979"/>
              <a:gd name="connsiteX86" fmla="*/ 2382503 w 2944795"/>
              <a:gd name="connsiteY86" fmla="*/ 799965 h 3709979"/>
              <a:gd name="connsiteX87" fmla="*/ 2150628 w 2944795"/>
              <a:gd name="connsiteY87" fmla="*/ 579685 h 3709979"/>
              <a:gd name="connsiteX88" fmla="*/ 226077 w 2944795"/>
              <a:gd name="connsiteY88" fmla="*/ 0 h 3709979"/>
              <a:gd name="connsiteX89" fmla="*/ 2034691 w 2944795"/>
              <a:gd name="connsiteY89" fmla="*/ 0 h 3709979"/>
              <a:gd name="connsiteX90" fmla="*/ 2034691 w 2944795"/>
              <a:gd name="connsiteY90" fmla="*/ 573887 h 3709979"/>
              <a:gd name="connsiteX91" fmla="*/ 2382501 w 2944795"/>
              <a:gd name="connsiteY91" fmla="*/ 910104 h 3709979"/>
              <a:gd name="connsiteX92" fmla="*/ 2944795 w 2944795"/>
              <a:gd name="connsiteY92" fmla="*/ 910104 h 3709979"/>
              <a:gd name="connsiteX93" fmla="*/ 2944795 w 2944795"/>
              <a:gd name="connsiteY93" fmla="*/ 3483902 h 3709979"/>
              <a:gd name="connsiteX94" fmla="*/ 2718718 w 2944795"/>
              <a:gd name="connsiteY94" fmla="*/ 3709979 h 3709979"/>
              <a:gd name="connsiteX95" fmla="*/ 226077 w 2944795"/>
              <a:gd name="connsiteY95" fmla="*/ 3709979 h 3709979"/>
              <a:gd name="connsiteX96" fmla="*/ 0 w 2944795"/>
              <a:gd name="connsiteY96" fmla="*/ 3483902 h 3709979"/>
              <a:gd name="connsiteX97" fmla="*/ 0 w 2944795"/>
              <a:gd name="connsiteY97" fmla="*/ 226077 h 3709979"/>
              <a:gd name="connsiteX98" fmla="*/ 226077 w 2944795"/>
              <a:gd name="connsiteY98" fmla="*/ 0 h 370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944795" h="3709979">
                <a:moveTo>
                  <a:pt x="2289753" y="2852045"/>
                </a:moveTo>
                <a:cubicBezTo>
                  <a:pt x="2401805" y="2852045"/>
                  <a:pt x="2492642" y="2942882"/>
                  <a:pt x="2492642" y="3054935"/>
                </a:cubicBezTo>
                <a:cubicBezTo>
                  <a:pt x="2492642" y="3166987"/>
                  <a:pt x="2401805" y="3257824"/>
                  <a:pt x="2289753" y="3257824"/>
                </a:cubicBezTo>
                <a:cubicBezTo>
                  <a:pt x="2177700" y="3257824"/>
                  <a:pt x="2086863" y="3166987"/>
                  <a:pt x="2086863" y="3054935"/>
                </a:cubicBezTo>
                <a:cubicBezTo>
                  <a:pt x="2086863" y="2942882"/>
                  <a:pt x="2177700" y="2852045"/>
                  <a:pt x="2289753" y="2852045"/>
                </a:cubicBezTo>
                <a:close/>
                <a:moveTo>
                  <a:pt x="655044" y="2852045"/>
                </a:moveTo>
                <a:cubicBezTo>
                  <a:pt x="765184" y="2852045"/>
                  <a:pt x="857933" y="2944795"/>
                  <a:pt x="857933" y="3054935"/>
                </a:cubicBezTo>
                <a:cubicBezTo>
                  <a:pt x="857933" y="3165075"/>
                  <a:pt x="765184" y="3257824"/>
                  <a:pt x="655044" y="3257824"/>
                </a:cubicBezTo>
                <a:cubicBezTo>
                  <a:pt x="544904" y="3257824"/>
                  <a:pt x="452154" y="3165075"/>
                  <a:pt x="452154" y="3054935"/>
                </a:cubicBezTo>
                <a:cubicBezTo>
                  <a:pt x="452154" y="2944795"/>
                  <a:pt x="544904" y="2852045"/>
                  <a:pt x="655044" y="2852045"/>
                </a:cubicBezTo>
                <a:close/>
                <a:moveTo>
                  <a:pt x="655043" y="2736110"/>
                </a:moveTo>
                <a:cubicBezTo>
                  <a:pt x="481138" y="2736110"/>
                  <a:pt x="336217" y="2881031"/>
                  <a:pt x="336217" y="3054936"/>
                </a:cubicBezTo>
                <a:cubicBezTo>
                  <a:pt x="336217" y="3228841"/>
                  <a:pt x="481138" y="3373762"/>
                  <a:pt x="655043" y="3373762"/>
                </a:cubicBezTo>
                <a:cubicBezTo>
                  <a:pt x="811558" y="3373762"/>
                  <a:pt x="939088" y="3257825"/>
                  <a:pt x="968072" y="3112904"/>
                </a:cubicBezTo>
                <a:lnTo>
                  <a:pt x="1605725" y="3112904"/>
                </a:lnTo>
                <a:lnTo>
                  <a:pt x="1536163" y="3182466"/>
                </a:lnTo>
                <a:cubicBezTo>
                  <a:pt x="1512975" y="3205654"/>
                  <a:pt x="1512975" y="3240435"/>
                  <a:pt x="1536163" y="3263622"/>
                </a:cubicBezTo>
                <a:cubicBezTo>
                  <a:pt x="1559350" y="3286809"/>
                  <a:pt x="1594131" y="3286809"/>
                  <a:pt x="1617319" y="3263622"/>
                </a:cubicBezTo>
                <a:lnTo>
                  <a:pt x="1785427" y="3095514"/>
                </a:lnTo>
                <a:cubicBezTo>
                  <a:pt x="1797020" y="3083920"/>
                  <a:pt x="1802817" y="3072326"/>
                  <a:pt x="1802817" y="3054936"/>
                </a:cubicBezTo>
                <a:cubicBezTo>
                  <a:pt x="1802817" y="3037545"/>
                  <a:pt x="1797020" y="3025952"/>
                  <a:pt x="1791224" y="3014358"/>
                </a:cubicBezTo>
                <a:lnTo>
                  <a:pt x="1617319" y="2846249"/>
                </a:lnTo>
                <a:cubicBezTo>
                  <a:pt x="1594131" y="2823062"/>
                  <a:pt x="1559350" y="2823062"/>
                  <a:pt x="1536163" y="2846249"/>
                </a:cubicBezTo>
                <a:cubicBezTo>
                  <a:pt x="1512975" y="2869437"/>
                  <a:pt x="1512975" y="2904218"/>
                  <a:pt x="1536163" y="2927405"/>
                </a:cubicBezTo>
                <a:lnTo>
                  <a:pt x="1605725" y="2996967"/>
                </a:lnTo>
                <a:lnTo>
                  <a:pt x="968072" y="2996967"/>
                </a:lnTo>
                <a:cubicBezTo>
                  <a:pt x="939088" y="2846249"/>
                  <a:pt x="811558" y="2736110"/>
                  <a:pt x="655043" y="2736110"/>
                </a:cubicBezTo>
                <a:close/>
                <a:moveTo>
                  <a:pt x="2291926" y="1837599"/>
                </a:moveTo>
                <a:cubicBezTo>
                  <a:pt x="2276709" y="1837599"/>
                  <a:pt x="2260768" y="1843396"/>
                  <a:pt x="2249174" y="1854990"/>
                </a:cubicBezTo>
                <a:lnTo>
                  <a:pt x="2081066" y="2028895"/>
                </a:lnTo>
                <a:cubicBezTo>
                  <a:pt x="2057878" y="2052083"/>
                  <a:pt x="2057878" y="2086864"/>
                  <a:pt x="2081066" y="2110051"/>
                </a:cubicBezTo>
                <a:cubicBezTo>
                  <a:pt x="2104253" y="2133238"/>
                  <a:pt x="2139034" y="2133238"/>
                  <a:pt x="2162222" y="2110051"/>
                </a:cubicBezTo>
                <a:lnTo>
                  <a:pt x="2231784" y="2040489"/>
                </a:lnTo>
                <a:lnTo>
                  <a:pt x="2231784" y="2741906"/>
                </a:lnTo>
                <a:cubicBezTo>
                  <a:pt x="2081066" y="2770891"/>
                  <a:pt x="1970926" y="2898421"/>
                  <a:pt x="1970926" y="3054936"/>
                </a:cubicBezTo>
                <a:cubicBezTo>
                  <a:pt x="1970926" y="3228841"/>
                  <a:pt x="2115847" y="3373762"/>
                  <a:pt x="2289752" y="3373762"/>
                </a:cubicBezTo>
                <a:cubicBezTo>
                  <a:pt x="2463657" y="3373762"/>
                  <a:pt x="2608578" y="3228841"/>
                  <a:pt x="2608578" y="3049139"/>
                </a:cubicBezTo>
                <a:cubicBezTo>
                  <a:pt x="2608578" y="2892624"/>
                  <a:pt x="2492641" y="2765094"/>
                  <a:pt x="2347720" y="2736110"/>
                </a:cubicBezTo>
                <a:lnTo>
                  <a:pt x="2347720" y="2034692"/>
                </a:lnTo>
                <a:lnTo>
                  <a:pt x="2417282" y="2104254"/>
                </a:lnTo>
                <a:cubicBezTo>
                  <a:pt x="2440470" y="2127442"/>
                  <a:pt x="2475251" y="2127442"/>
                  <a:pt x="2498438" y="2104254"/>
                </a:cubicBezTo>
                <a:cubicBezTo>
                  <a:pt x="2521625" y="2081067"/>
                  <a:pt x="2521625" y="2046286"/>
                  <a:pt x="2498438" y="2023098"/>
                </a:cubicBezTo>
                <a:lnTo>
                  <a:pt x="2330330" y="1854990"/>
                </a:lnTo>
                <a:cubicBezTo>
                  <a:pt x="2321635" y="1843396"/>
                  <a:pt x="2307143" y="1837599"/>
                  <a:pt x="2291926" y="1837599"/>
                </a:cubicBezTo>
                <a:close/>
                <a:moveTo>
                  <a:pt x="1530366" y="1199946"/>
                </a:moveTo>
                <a:lnTo>
                  <a:pt x="2365112" y="1199946"/>
                </a:lnTo>
                <a:lnTo>
                  <a:pt x="2365112" y="1628912"/>
                </a:lnTo>
                <a:lnTo>
                  <a:pt x="1530366" y="1628912"/>
                </a:lnTo>
                <a:lnTo>
                  <a:pt x="1530366" y="1414429"/>
                </a:lnTo>
                <a:close/>
                <a:moveTo>
                  <a:pt x="1472398" y="1084009"/>
                </a:moveTo>
                <a:cubicBezTo>
                  <a:pt x="1437617" y="1084009"/>
                  <a:pt x="1414429" y="1107197"/>
                  <a:pt x="1414429" y="1141978"/>
                </a:cubicBezTo>
                <a:lnTo>
                  <a:pt x="1414429" y="1362259"/>
                </a:lnTo>
                <a:cubicBezTo>
                  <a:pt x="991260" y="1391243"/>
                  <a:pt x="655043" y="1744850"/>
                  <a:pt x="655043" y="2179613"/>
                </a:cubicBezTo>
                <a:lnTo>
                  <a:pt x="655043" y="2225988"/>
                </a:lnTo>
                <a:lnTo>
                  <a:pt x="568091" y="2139035"/>
                </a:lnTo>
                <a:cubicBezTo>
                  <a:pt x="544903" y="2115848"/>
                  <a:pt x="510122" y="2115848"/>
                  <a:pt x="486935" y="2139035"/>
                </a:cubicBezTo>
                <a:cubicBezTo>
                  <a:pt x="463747" y="2162222"/>
                  <a:pt x="463747" y="2197004"/>
                  <a:pt x="486935" y="2220191"/>
                </a:cubicBezTo>
                <a:lnTo>
                  <a:pt x="672434" y="2405690"/>
                </a:lnTo>
                <a:cubicBezTo>
                  <a:pt x="695621" y="2428877"/>
                  <a:pt x="730402" y="2428877"/>
                  <a:pt x="753589" y="2405690"/>
                </a:cubicBezTo>
                <a:lnTo>
                  <a:pt x="939088" y="2220191"/>
                </a:lnTo>
                <a:cubicBezTo>
                  <a:pt x="962276" y="2197004"/>
                  <a:pt x="962276" y="2162222"/>
                  <a:pt x="939088" y="2139035"/>
                </a:cubicBezTo>
                <a:cubicBezTo>
                  <a:pt x="915901" y="2115848"/>
                  <a:pt x="881120" y="2115848"/>
                  <a:pt x="857933" y="2139035"/>
                </a:cubicBezTo>
                <a:lnTo>
                  <a:pt x="770980" y="2225988"/>
                </a:lnTo>
                <a:lnTo>
                  <a:pt x="770980" y="2179613"/>
                </a:lnTo>
                <a:cubicBezTo>
                  <a:pt x="770980" y="1808615"/>
                  <a:pt x="1055025" y="1507180"/>
                  <a:pt x="1414429" y="1478195"/>
                </a:cubicBezTo>
                <a:lnTo>
                  <a:pt x="1414429" y="1692679"/>
                </a:lnTo>
                <a:cubicBezTo>
                  <a:pt x="1414429" y="1727459"/>
                  <a:pt x="1437617" y="1750647"/>
                  <a:pt x="1472398" y="1750647"/>
                </a:cubicBezTo>
                <a:lnTo>
                  <a:pt x="2423079" y="1750647"/>
                </a:lnTo>
                <a:cubicBezTo>
                  <a:pt x="2457860" y="1750647"/>
                  <a:pt x="2481048" y="1727459"/>
                  <a:pt x="2481048" y="1692679"/>
                </a:cubicBezTo>
                <a:lnTo>
                  <a:pt x="2481048" y="1141978"/>
                </a:lnTo>
                <a:cubicBezTo>
                  <a:pt x="2481048" y="1107197"/>
                  <a:pt x="2457860" y="1084009"/>
                  <a:pt x="2423079" y="1084009"/>
                </a:cubicBezTo>
                <a:close/>
                <a:moveTo>
                  <a:pt x="394185" y="765183"/>
                </a:moveTo>
                <a:cubicBezTo>
                  <a:pt x="365201" y="765183"/>
                  <a:pt x="336217" y="788371"/>
                  <a:pt x="336217" y="823152"/>
                </a:cubicBezTo>
                <a:cubicBezTo>
                  <a:pt x="336217" y="857933"/>
                  <a:pt x="359404" y="881120"/>
                  <a:pt x="394185" y="881120"/>
                </a:cubicBezTo>
                <a:lnTo>
                  <a:pt x="1739052" y="881120"/>
                </a:lnTo>
                <a:cubicBezTo>
                  <a:pt x="1773833" y="881120"/>
                  <a:pt x="1797020" y="857933"/>
                  <a:pt x="1797020" y="823152"/>
                </a:cubicBezTo>
                <a:cubicBezTo>
                  <a:pt x="1797020" y="788371"/>
                  <a:pt x="1773833" y="765183"/>
                  <a:pt x="1739052" y="765183"/>
                </a:cubicBezTo>
                <a:close/>
                <a:moveTo>
                  <a:pt x="394185" y="399982"/>
                </a:moveTo>
                <a:cubicBezTo>
                  <a:pt x="365201" y="399982"/>
                  <a:pt x="336217" y="423170"/>
                  <a:pt x="336217" y="457951"/>
                </a:cubicBezTo>
                <a:cubicBezTo>
                  <a:pt x="336217" y="492732"/>
                  <a:pt x="359404" y="515919"/>
                  <a:pt x="394185" y="515919"/>
                </a:cubicBezTo>
                <a:lnTo>
                  <a:pt x="1199946" y="515919"/>
                </a:lnTo>
                <a:cubicBezTo>
                  <a:pt x="1234727" y="515919"/>
                  <a:pt x="1257914" y="492732"/>
                  <a:pt x="1257914" y="457951"/>
                </a:cubicBezTo>
                <a:cubicBezTo>
                  <a:pt x="1257914" y="423170"/>
                  <a:pt x="1234727" y="399982"/>
                  <a:pt x="1199946" y="399982"/>
                </a:cubicBezTo>
                <a:close/>
                <a:moveTo>
                  <a:pt x="2150628" y="34781"/>
                </a:moveTo>
                <a:lnTo>
                  <a:pt x="2910015" y="794168"/>
                </a:lnTo>
                <a:lnTo>
                  <a:pt x="2910015" y="799965"/>
                </a:lnTo>
                <a:lnTo>
                  <a:pt x="2382503" y="799965"/>
                </a:lnTo>
                <a:cubicBezTo>
                  <a:pt x="2254971" y="799965"/>
                  <a:pt x="2150628" y="701419"/>
                  <a:pt x="2150628" y="579685"/>
                </a:cubicBezTo>
                <a:close/>
                <a:moveTo>
                  <a:pt x="226077" y="0"/>
                </a:moveTo>
                <a:lnTo>
                  <a:pt x="2034691" y="0"/>
                </a:lnTo>
                <a:lnTo>
                  <a:pt x="2034691" y="573887"/>
                </a:lnTo>
                <a:cubicBezTo>
                  <a:pt x="2034691" y="759386"/>
                  <a:pt x="2191206" y="910104"/>
                  <a:pt x="2382501" y="910104"/>
                </a:cubicBezTo>
                <a:lnTo>
                  <a:pt x="2944795" y="910104"/>
                </a:lnTo>
                <a:lnTo>
                  <a:pt x="2944795" y="3483902"/>
                </a:lnTo>
                <a:cubicBezTo>
                  <a:pt x="2944795" y="3611432"/>
                  <a:pt x="2840452" y="3709979"/>
                  <a:pt x="2718718" y="3709979"/>
                </a:cubicBezTo>
                <a:lnTo>
                  <a:pt x="226077" y="3709979"/>
                </a:lnTo>
                <a:cubicBezTo>
                  <a:pt x="104343" y="3709979"/>
                  <a:pt x="0" y="3611432"/>
                  <a:pt x="0" y="3483902"/>
                </a:cubicBezTo>
                <a:lnTo>
                  <a:pt x="0" y="226077"/>
                </a:lnTo>
                <a:cubicBezTo>
                  <a:pt x="0" y="104343"/>
                  <a:pt x="104343" y="0"/>
                  <a:pt x="226077" y="0"/>
                </a:cubicBezTo>
                <a:close/>
              </a:path>
            </a:pathLst>
          </a:custGeom>
          <a:solidFill>
            <a:schemeClr val="accent6"/>
          </a:solidFill>
          <a:ln w="9525" cap="flat">
            <a:noFill/>
            <a:prstDash val="solid"/>
            <a:miter/>
          </a:ln>
        </p:spPr>
        <p:txBody>
          <a:bodyPr rtlCol="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83" name="Rechteck 362">
            <a:extLst>
              <a:ext uri="{FF2B5EF4-FFF2-40B4-BE49-F238E27FC236}">
                <a16:creationId xmlns:a16="http://schemas.microsoft.com/office/drawing/2014/main" id="{A99AC126-40BC-7295-7614-56086F07EB17}"/>
              </a:ext>
            </a:extLst>
          </p:cNvPr>
          <p:cNvSpPr/>
          <p:nvPr/>
        </p:nvSpPr>
        <p:spPr>
          <a:xfrm>
            <a:off x="426516" y="4389243"/>
            <a:ext cx="182166" cy="173038"/>
          </a:xfrm>
          <a:prstGeom prst="rect">
            <a:avLst/>
          </a:prstGeom>
        </p:spPr>
        <p:txBody>
          <a:bodyPr wrap="square" lIns="0" tIns="0" rIns="0" bIns="0">
            <a:spAutoFit/>
          </a:bodyPr>
          <a:lstStyle/>
          <a:p>
            <a:pPr algn="ctr" defTabSz="685800" fontAlgn="base">
              <a:spcBef>
                <a:spcPct val="0"/>
              </a:spcBef>
              <a:spcAft>
                <a:spcPct val="0"/>
              </a:spcAft>
              <a:defRPr/>
            </a:pPr>
            <a:r>
              <a:rPr lang="en-US" altLang="de-DE" sz="1125" b="1">
                <a:solidFill>
                  <a:srgbClr val="005489"/>
                </a:solidFill>
                <a:latin typeface="+mj-lt"/>
                <a:ea typeface="Microsoft YaHei"/>
                <a:cs typeface="Calibri"/>
                <a:sym typeface="Arial Narrow"/>
              </a:rPr>
              <a:t>Ø</a:t>
            </a:r>
            <a:endParaRPr lang="en-US" altLang="de-DE" sz="1125" b="1" i="1" baseline="30000">
              <a:solidFill>
                <a:srgbClr val="005489"/>
              </a:solidFill>
              <a:latin typeface="+mj-lt"/>
              <a:ea typeface="Microsoft YaHei"/>
              <a:cs typeface="Calibri"/>
              <a:sym typeface="Arial Narrow"/>
            </a:endParaRPr>
          </a:p>
        </p:txBody>
      </p:sp>
      <p:graphicFrame>
        <p:nvGraphicFramePr>
          <p:cNvPr id="84" name="Chart 6">
            <a:extLst>
              <a:ext uri="{FF2B5EF4-FFF2-40B4-BE49-F238E27FC236}">
                <a16:creationId xmlns:a16="http://schemas.microsoft.com/office/drawing/2014/main" id="{55905AD7-0B8E-3725-D696-8259D88EAF76}"/>
              </a:ext>
            </a:extLst>
          </p:cNvPr>
          <p:cNvGraphicFramePr/>
          <p:nvPr>
            <p:custDataLst>
              <p:tags r:id="rId2"/>
            </p:custDataLst>
            <p:extLst>
              <p:ext uri="{D42A27DB-BD31-4B8C-83A1-F6EECF244321}">
                <p14:modId xmlns:p14="http://schemas.microsoft.com/office/powerpoint/2010/main" val="1705488790"/>
              </p:ext>
            </p:extLst>
          </p:nvPr>
        </p:nvGraphicFramePr>
        <p:xfrm>
          <a:off x="1710010" y="1385693"/>
          <a:ext cx="1658937" cy="1266825"/>
        </p:xfrm>
        <a:graphic>
          <a:graphicData uri="http://schemas.openxmlformats.org/drawingml/2006/chart">
            <c:chart xmlns:c="http://schemas.openxmlformats.org/drawingml/2006/chart" xmlns:r="http://schemas.openxmlformats.org/officeDocument/2006/relationships" r:id="rId67"/>
          </a:graphicData>
        </a:graphic>
      </p:graphicFrame>
      <p:sp>
        <p:nvSpPr>
          <p:cNvPr id="85" name="Textframe 21">
            <a:extLst>
              <a:ext uri="{FF2B5EF4-FFF2-40B4-BE49-F238E27FC236}">
                <a16:creationId xmlns:a16="http://schemas.microsoft.com/office/drawing/2014/main" id="{0CAA4024-0C1C-E109-9CF9-30F87D6A5DB1}"/>
              </a:ext>
            </a:extLst>
          </p:cNvPr>
          <p:cNvSpPr txBox="1"/>
          <p:nvPr>
            <p:custDataLst>
              <p:tags r:id="rId3"/>
            </p:custDataLst>
          </p:nvPr>
        </p:nvSpPr>
        <p:spPr>
          <a:xfrm>
            <a:off x="2943421" y="4281130"/>
            <a:ext cx="753819" cy="119391"/>
          </a:xfrm>
          <a:prstGeom prst="rect">
            <a:avLst/>
          </a:prstGeom>
          <a:noFill/>
          <a:ln w="9525">
            <a:noFill/>
          </a:ln>
        </p:spPr>
        <p:txBody>
          <a:bodyPr vert="horz" wrap="none" lIns="27000" tIns="0" rIns="0" bIns="0" rtlCol="0">
            <a:spAutoFit/>
          </a:bodyPr>
          <a:lstStyle>
            <a:defPPr>
              <a:defRPr lang="de-DE"/>
            </a:defPPr>
            <a:lvl1pPr>
              <a:lnSpc>
                <a:spcPct val="90000"/>
              </a:lnSpc>
              <a:spcBef>
                <a:spcPts val="400"/>
              </a:spcBef>
              <a:buSzPct val="100000"/>
              <a:defRPr b="0">
                <a:latin typeface="+mn-lt"/>
                <a:cs typeface="Arial Narrow" pitchFamily="34" charset="0"/>
              </a:defRPr>
            </a:lvl1pPr>
            <a:lvl2pPr marL="120686" lvl="1" indent="-120686">
              <a:buSzPct val="100000"/>
              <a:buFont typeface="Arial Narrow"/>
              <a:buChar char="&gt;"/>
              <a:defRPr sz="1100" b="0"/>
            </a:lvl2pPr>
          </a:lstStyle>
          <a:p>
            <a:pPr algn="ctr" defTabSz="685800" fontAlgn="base">
              <a:spcBef>
                <a:spcPts val="300"/>
              </a:spcBef>
              <a:spcAft>
                <a:spcPct val="0"/>
              </a:spcAft>
              <a:defRPr/>
            </a:pPr>
            <a:r>
              <a:rPr lang="en-US" altLang="de-DE" sz="1050">
                <a:solidFill>
                  <a:srgbClr val="212121"/>
                </a:solidFill>
                <a:latin typeface="+mj-lt"/>
                <a:ea typeface="Microsoft YaHei"/>
                <a:sym typeface="Arial Narrow"/>
              </a:rPr>
              <a:t>South America</a:t>
            </a:r>
            <a:endParaRPr lang="en-US" altLang="de-DE" sz="1050" i="1">
              <a:solidFill>
                <a:srgbClr val="212121"/>
              </a:solidFill>
              <a:latin typeface="+mj-lt"/>
              <a:ea typeface="Microsoft YaHei"/>
              <a:sym typeface="Arial Narrow"/>
            </a:endParaRPr>
          </a:p>
        </p:txBody>
      </p:sp>
      <p:sp>
        <p:nvSpPr>
          <p:cNvPr id="86" name="Textframe 21">
            <a:extLst>
              <a:ext uri="{FF2B5EF4-FFF2-40B4-BE49-F238E27FC236}">
                <a16:creationId xmlns:a16="http://schemas.microsoft.com/office/drawing/2014/main" id="{E84004A3-3887-822E-657E-9966E93D1099}"/>
              </a:ext>
            </a:extLst>
          </p:cNvPr>
          <p:cNvSpPr txBox="1"/>
          <p:nvPr>
            <p:custDataLst>
              <p:tags r:id="rId4"/>
            </p:custDataLst>
          </p:nvPr>
        </p:nvSpPr>
        <p:spPr>
          <a:xfrm>
            <a:off x="4779822" y="4192393"/>
            <a:ext cx="371910" cy="146050"/>
          </a:xfrm>
          <a:prstGeom prst="rect">
            <a:avLst/>
          </a:prstGeom>
          <a:noFill/>
          <a:ln w="9525">
            <a:noFill/>
          </a:ln>
        </p:spPr>
        <p:txBody>
          <a:bodyPr vert="horz" wrap="none" lIns="27000" tIns="0" rIns="0" bIns="0" rtlCol="0">
            <a:spAutoFit/>
          </a:bodyPr>
          <a:lstStyle>
            <a:defPPr>
              <a:defRPr lang="de-DE"/>
            </a:defPPr>
            <a:lvl1pPr>
              <a:lnSpc>
                <a:spcPct val="90000"/>
              </a:lnSpc>
              <a:spcBef>
                <a:spcPts val="400"/>
              </a:spcBef>
              <a:buSzPct val="100000"/>
              <a:defRPr b="0">
                <a:latin typeface="+mn-lt"/>
                <a:cs typeface="Arial Narrow" pitchFamily="34" charset="0"/>
              </a:defRPr>
            </a:lvl1pPr>
            <a:lvl2pPr marL="120686" lvl="1" indent="-120686">
              <a:buSzPct val="100000"/>
              <a:buFont typeface="Arial Narrow"/>
              <a:buChar char="&gt;"/>
              <a:defRPr sz="1100" b="0"/>
            </a:lvl2pPr>
          </a:lstStyle>
          <a:p>
            <a:pPr algn="ctr" defTabSz="685800" fontAlgn="base">
              <a:spcBef>
                <a:spcPts val="300"/>
              </a:spcBef>
              <a:spcAft>
                <a:spcPct val="0"/>
              </a:spcAft>
              <a:defRPr/>
            </a:pPr>
            <a:r>
              <a:rPr lang="en-US" altLang="de-DE" sz="1050">
                <a:solidFill>
                  <a:srgbClr val="212121"/>
                </a:solidFill>
                <a:latin typeface="+mj-lt"/>
                <a:ea typeface="Microsoft YaHei"/>
                <a:sym typeface="Arial Narrow"/>
              </a:rPr>
              <a:t>Africa</a:t>
            </a:r>
            <a:endParaRPr lang="en-US" altLang="de-DE" sz="1050" i="1">
              <a:solidFill>
                <a:srgbClr val="212121"/>
              </a:solidFill>
              <a:latin typeface="+mj-lt"/>
              <a:ea typeface="Microsoft YaHei"/>
              <a:sym typeface="Arial Narrow"/>
            </a:endParaRPr>
          </a:p>
        </p:txBody>
      </p:sp>
      <p:sp>
        <p:nvSpPr>
          <p:cNvPr id="87" name="Textframe 21">
            <a:extLst>
              <a:ext uri="{FF2B5EF4-FFF2-40B4-BE49-F238E27FC236}">
                <a16:creationId xmlns:a16="http://schemas.microsoft.com/office/drawing/2014/main" id="{B358C5E8-C54D-E91C-DD25-B9C80BDEE9EF}"/>
              </a:ext>
            </a:extLst>
          </p:cNvPr>
          <p:cNvSpPr txBox="1"/>
          <p:nvPr>
            <p:custDataLst>
              <p:tags r:id="rId5"/>
            </p:custDataLst>
          </p:nvPr>
        </p:nvSpPr>
        <p:spPr>
          <a:xfrm>
            <a:off x="7467093" y="4320818"/>
            <a:ext cx="438518" cy="119391"/>
          </a:xfrm>
          <a:prstGeom prst="rect">
            <a:avLst/>
          </a:prstGeom>
          <a:noFill/>
          <a:ln w="9525">
            <a:noFill/>
          </a:ln>
        </p:spPr>
        <p:txBody>
          <a:bodyPr vert="horz" wrap="none" lIns="27000" tIns="0" rIns="0" bIns="0" rtlCol="0">
            <a:spAutoFit/>
          </a:bodyPr>
          <a:lstStyle>
            <a:defPPr>
              <a:defRPr lang="de-DE"/>
            </a:defPPr>
            <a:lvl1pPr>
              <a:lnSpc>
                <a:spcPct val="90000"/>
              </a:lnSpc>
              <a:spcBef>
                <a:spcPts val="400"/>
              </a:spcBef>
              <a:buSzPct val="100000"/>
              <a:defRPr b="0">
                <a:latin typeface="+mn-lt"/>
                <a:cs typeface="Arial Narrow" pitchFamily="34" charset="0"/>
              </a:defRPr>
            </a:lvl1pPr>
            <a:lvl2pPr marL="120686" lvl="1" indent="-120686">
              <a:buSzPct val="100000"/>
              <a:buFont typeface="Arial Narrow"/>
              <a:buChar char="&gt;"/>
              <a:defRPr sz="1100" b="0"/>
            </a:lvl2pPr>
          </a:lstStyle>
          <a:p>
            <a:pPr algn="ctr" defTabSz="685800" fontAlgn="base">
              <a:spcBef>
                <a:spcPts val="300"/>
              </a:spcBef>
              <a:spcAft>
                <a:spcPct val="0"/>
              </a:spcAft>
              <a:defRPr/>
            </a:pPr>
            <a:r>
              <a:rPr lang="en-US" altLang="de-DE" sz="1050">
                <a:solidFill>
                  <a:srgbClr val="212121"/>
                </a:solidFill>
                <a:latin typeface="+mj-lt"/>
                <a:ea typeface="Microsoft YaHei"/>
                <a:sym typeface="Arial Narrow"/>
              </a:rPr>
              <a:t>Oceania</a:t>
            </a:r>
            <a:endParaRPr lang="en-US" altLang="de-DE" sz="1050" i="1">
              <a:solidFill>
                <a:srgbClr val="212121"/>
              </a:solidFill>
              <a:latin typeface="+mj-lt"/>
              <a:ea typeface="Microsoft YaHei"/>
              <a:sym typeface="Arial Narrow"/>
            </a:endParaRPr>
          </a:p>
        </p:txBody>
      </p:sp>
      <p:sp>
        <p:nvSpPr>
          <p:cNvPr id="88" name="Textframe 21">
            <a:extLst>
              <a:ext uri="{FF2B5EF4-FFF2-40B4-BE49-F238E27FC236}">
                <a16:creationId xmlns:a16="http://schemas.microsoft.com/office/drawing/2014/main" id="{F39A5BA1-59D1-4DA2-47B2-276D9E80F21F}"/>
              </a:ext>
            </a:extLst>
          </p:cNvPr>
          <p:cNvSpPr txBox="1"/>
          <p:nvPr>
            <p:custDataLst>
              <p:tags r:id="rId6"/>
            </p:custDataLst>
          </p:nvPr>
        </p:nvSpPr>
        <p:spPr>
          <a:xfrm>
            <a:off x="6902084" y="2717580"/>
            <a:ext cx="239798" cy="120703"/>
          </a:xfrm>
          <a:prstGeom prst="rect">
            <a:avLst/>
          </a:prstGeom>
          <a:noFill/>
          <a:ln w="9525">
            <a:noFill/>
          </a:ln>
        </p:spPr>
        <p:txBody>
          <a:bodyPr vert="horz" wrap="none" lIns="27000" tIns="0" rIns="0" bIns="0" rtlCol="0">
            <a:spAutoFit/>
          </a:bodyPr>
          <a:lstStyle>
            <a:defPPr>
              <a:defRPr lang="de-DE"/>
            </a:defPPr>
            <a:lvl1pPr>
              <a:lnSpc>
                <a:spcPct val="90000"/>
              </a:lnSpc>
              <a:spcBef>
                <a:spcPts val="400"/>
              </a:spcBef>
              <a:buSzPct val="100000"/>
              <a:defRPr b="0">
                <a:latin typeface="+mn-lt"/>
                <a:cs typeface="Arial Narrow" pitchFamily="34" charset="0"/>
              </a:defRPr>
            </a:lvl1pPr>
            <a:lvl2pPr marL="120686" lvl="1" indent="-120686">
              <a:buSzPct val="100000"/>
              <a:buFont typeface="Arial Narrow"/>
              <a:buChar char="&gt;"/>
              <a:defRPr sz="1100" b="0"/>
            </a:lvl2pPr>
          </a:lstStyle>
          <a:p>
            <a:pPr algn="ctr" defTabSz="685800" fontAlgn="base">
              <a:spcBef>
                <a:spcPts val="300"/>
              </a:spcBef>
              <a:spcAft>
                <a:spcPct val="0"/>
              </a:spcAft>
              <a:defRPr/>
            </a:pPr>
            <a:r>
              <a:rPr lang="en-US" altLang="de-DE" sz="1050">
                <a:solidFill>
                  <a:srgbClr val="212121"/>
                </a:solidFill>
                <a:latin typeface="+mj-lt"/>
                <a:ea typeface="Microsoft YaHei"/>
                <a:sym typeface="Arial Narrow"/>
              </a:rPr>
              <a:t>Asia</a:t>
            </a:r>
            <a:endParaRPr lang="en-US" altLang="de-DE" sz="1050" i="1">
              <a:solidFill>
                <a:srgbClr val="212121"/>
              </a:solidFill>
              <a:latin typeface="+mj-lt"/>
              <a:ea typeface="Microsoft YaHei"/>
              <a:sym typeface="Arial Narrow"/>
            </a:endParaRPr>
          </a:p>
        </p:txBody>
      </p:sp>
      <p:sp>
        <p:nvSpPr>
          <p:cNvPr id="89" name="Textframe 21">
            <a:extLst>
              <a:ext uri="{FF2B5EF4-FFF2-40B4-BE49-F238E27FC236}">
                <a16:creationId xmlns:a16="http://schemas.microsoft.com/office/drawing/2014/main" id="{AC42E0A9-D2B1-4F44-707C-0CB109749B72}"/>
              </a:ext>
            </a:extLst>
          </p:cNvPr>
          <p:cNvSpPr txBox="1"/>
          <p:nvPr>
            <p:custDataLst>
              <p:tags r:id="rId7"/>
            </p:custDataLst>
          </p:nvPr>
        </p:nvSpPr>
        <p:spPr>
          <a:xfrm>
            <a:off x="4411196" y="2474692"/>
            <a:ext cx="382876" cy="120703"/>
          </a:xfrm>
          <a:prstGeom prst="rect">
            <a:avLst/>
          </a:prstGeom>
          <a:noFill/>
          <a:ln w="9525">
            <a:noFill/>
          </a:ln>
        </p:spPr>
        <p:txBody>
          <a:bodyPr vert="horz" wrap="none" lIns="27000" tIns="0" rIns="0" bIns="0" rtlCol="0">
            <a:spAutoFit/>
          </a:bodyPr>
          <a:lstStyle>
            <a:defPPr>
              <a:defRPr lang="de-DE"/>
            </a:defPPr>
            <a:lvl1pPr>
              <a:lnSpc>
                <a:spcPct val="90000"/>
              </a:lnSpc>
              <a:spcBef>
                <a:spcPts val="400"/>
              </a:spcBef>
              <a:buSzPct val="100000"/>
              <a:defRPr b="0">
                <a:latin typeface="+mn-lt"/>
                <a:cs typeface="Arial Narrow" pitchFamily="34" charset="0"/>
              </a:defRPr>
            </a:lvl1pPr>
            <a:lvl2pPr marL="120686" lvl="1" indent="-120686">
              <a:buSzPct val="100000"/>
              <a:buFont typeface="Arial Narrow"/>
              <a:buChar char="&gt;"/>
              <a:defRPr sz="1100" b="0"/>
            </a:lvl2pPr>
          </a:lstStyle>
          <a:p>
            <a:pPr algn="ctr" defTabSz="685800" fontAlgn="base">
              <a:spcBef>
                <a:spcPts val="300"/>
              </a:spcBef>
              <a:spcAft>
                <a:spcPct val="0"/>
              </a:spcAft>
              <a:defRPr/>
            </a:pPr>
            <a:r>
              <a:rPr lang="en-US" altLang="de-DE" sz="1050">
                <a:solidFill>
                  <a:srgbClr val="212121"/>
                </a:solidFill>
                <a:latin typeface="+mj-lt"/>
                <a:ea typeface="Microsoft YaHei"/>
                <a:sym typeface="Arial Narrow"/>
              </a:rPr>
              <a:t>Europe</a:t>
            </a:r>
            <a:endParaRPr lang="en-US" altLang="de-DE" sz="1050" i="1">
              <a:solidFill>
                <a:srgbClr val="212121"/>
              </a:solidFill>
              <a:latin typeface="+mj-lt"/>
              <a:ea typeface="Microsoft YaHei"/>
              <a:sym typeface="Arial Narrow"/>
            </a:endParaRPr>
          </a:p>
        </p:txBody>
      </p:sp>
      <p:sp>
        <p:nvSpPr>
          <p:cNvPr id="90" name="Textframe 21">
            <a:extLst>
              <a:ext uri="{FF2B5EF4-FFF2-40B4-BE49-F238E27FC236}">
                <a16:creationId xmlns:a16="http://schemas.microsoft.com/office/drawing/2014/main" id="{320E7481-1E98-870B-CEF7-3E5E7FA79A74}"/>
              </a:ext>
            </a:extLst>
          </p:cNvPr>
          <p:cNvSpPr txBox="1"/>
          <p:nvPr>
            <p:custDataLst>
              <p:tags r:id="rId8"/>
            </p:custDataLst>
          </p:nvPr>
        </p:nvSpPr>
        <p:spPr>
          <a:xfrm>
            <a:off x="5475500" y="3078205"/>
            <a:ext cx="605442" cy="120703"/>
          </a:xfrm>
          <a:prstGeom prst="rect">
            <a:avLst/>
          </a:prstGeom>
          <a:noFill/>
          <a:ln w="9525">
            <a:noFill/>
          </a:ln>
        </p:spPr>
        <p:txBody>
          <a:bodyPr vert="horz" wrap="none" lIns="27000" tIns="0" rIns="0" bIns="0" rtlCol="0">
            <a:spAutoFit/>
          </a:bodyPr>
          <a:lstStyle>
            <a:defPPr>
              <a:defRPr lang="de-DE"/>
            </a:defPPr>
            <a:lvl1pPr>
              <a:lnSpc>
                <a:spcPct val="90000"/>
              </a:lnSpc>
              <a:spcBef>
                <a:spcPts val="400"/>
              </a:spcBef>
              <a:buSzPct val="100000"/>
              <a:defRPr b="0">
                <a:latin typeface="+mn-lt"/>
                <a:cs typeface="Arial Narrow" pitchFamily="34" charset="0"/>
              </a:defRPr>
            </a:lvl1pPr>
            <a:lvl2pPr marL="120686" lvl="1" indent="-120686">
              <a:buSzPct val="100000"/>
              <a:buFont typeface="Arial Narrow"/>
              <a:buChar char="&gt;"/>
              <a:defRPr sz="1100" b="0"/>
            </a:lvl2pPr>
          </a:lstStyle>
          <a:p>
            <a:pPr algn="ctr" defTabSz="685800" fontAlgn="base">
              <a:spcBef>
                <a:spcPts val="300"/>
              </a:spcBef>
              <a:spcAft>
                <a:spcPct val="0"/>
              </a:spcAft>
              <a:defRPr/>
            </a:pPr>
            <a:r>
              <a:rPr lang="en-US" altLang="de-DE" sz="1050" dirty="0">
                <a:solidFill>
                  <a:srgbClr val="212121"/>
                </a:solidFill>
                <a:latin typeface="+mj-lt"/>
                <a:ea typeface="Microsoft YaHei"/>
                <a:sym typeface="Arial Narrow"/>
              </a:rPr>
              <a:t>Middle East</a:t>
            </a:r>
            <a:endParaRPr lang="en-US" altLang="de-DE" sz="1050" i="1" dirty="0">
              <a:solidFill>
                <a:srgbClr val="212121"/>
              </a:solidFill>
              <a:latin typeface="+mj-lt"/>
              <a:ea typeface="Microsoft YaHei"/>
              <a:sym typeface="Arial Narrow"/>
            </a:endParaRPr>
          </a:p>
        </p:txBody>
      </p:sp>
      <p:sp>
        <p:nvSpPr>
          <p:cNvPr id="91" name="Freeform: Shape 9">
            <a:extLst>
              <a:ext uri="{FF2B5EF4-FFF2-40B4-BE49-F238E27FC236}">
                <a16:creationId xmlns:a16="http://schemas.microsoft.com/office/drawing/2014/main" id="{A1A9DCD4-5F65-C2DA-9CEF-674E8512012C}"/>
              </a:ext>
            </a:extLst>
          </p:cNvPr>
          <p:cNvSpPr>
            <a:spLocks noChangeAspect="1"/>
          </p:cNvSpPr>
          <p:nvPr/>
        </p:nvSpPr>
        <p:spPr>
          <a:xfrm>
            <a:off x="2142692" y="2420932"/>
            <a:ext cx="75062" cy="94333"/>
          </a:xfrm>
          <a:custGeom>
            <a:avLst/>
            <a:gdLst>
              <a:gd name="connsiteX0" fmla="*/ 2289753 w 2944795"/>
              <a:gd name="connsiteY0" fmla="*/ 2852045 h 3709979"/>
              <a:gd name="connsiteX1" fmla="*/ 2492642 w 2944795"/>
              <a:gd name="connsiteY1" fmla="*/ 3054935 h 3709979"/>
              <a:gd name="connsiteX2" fmla="*/ 2289753 w 2944795"/>
              <a:gd name="connsiteY2" fmla="*/ 3257824 h 3709979"/>
              <a:gd name="connsiteX3" fmla="*/ 2086863 w 2944795"/>
              <a:gd name="connsiteY3" fmla="*/ 3054935 h 3709979"/>
              <a:gd name="connsiteX4" fmla="*/ 2289753 w 2944795"/>
              <a:gd name="connsiteY4" fmla="*/ 2852045 h 3709979"/>
              <a:gd name="connsiteX5" fmla="*/ 655044 w 2944795"/>
              <a:gd name="connsiteY5" fmla="*/ 2852045 h 3709979"/>
              <a:gd name="connsiteX6" fmla="*/ 857933 w 2944795"/>
              <a:gd name="connsiteY6" fmla="*/ 3054935 h 3709979"/>
              <a:gd name="connsiteX7" fmla="*/ 655044 w 2944795"/>
              <a:gd name="connsiteY7" fmla="*/ 3257824 h 3709979"/>
              <a:gd name="connsiteX8" fmla="*/ 452154 w 2944795"/>
              <a:gd name="connsiteY8" fmla="*/ 3054935 h 3709979"/>
              <a:gd name="connsiteX9" fmla="*/ 655044 w 2944795"/>
              <a:gd name="connsiteY9" fmla="*/ 2852045 h 3709979"/>
              <a:gd name="connsiteX10" fmla="*/ 655043 w 2944795"/>
              <a:gd name="connsiteY10" fmla="*/ 2736110 h 3709979"/>
              <a:gd name="connsiteX11" fmla="*/ 336217 w 2944795"/>
              <a:gd name="connsiteY11" fmla="*/ 3054936 h 3709979"/>
              <a:gd name="connsiteX12" fmla="*/ 655043 w 2944795"/>
              <a:gd name="connsiteY12" fmla="*/ 3373762 h 3709979"/>
              <a:gd name="connsiteX13" fmla="*/ 968072 w 2944795"/>
              <a:gd name="connsiteY13" fmla="*/ 3112904 h 3709979"/>
              <a:gd name="connsiteX14" fmla="*/ 1605725 w 2944795"/>
              <a:gd name="connsiteY14" fmla="*/ 3112904 h 3709979"/>
              <a:gd name="connsiteX15" fmla="*/ 1536163 w 2944795"/>
              <a:gd name="connsiteY15" fmla="*/ 3182466 h 3709979"/>
              <a:gd name="connsiteX16" fmla="*/ 1536163 w 2944795"/>
              <a:gd name="connsiteY16" fmla="*/ 3263622 h 3709979"/>
              <a:gd name="connsiteX17" fmla="*/ 1617319 w 2944795"/>
              <a:gd name="connsiteY17" fmla="*/ 3263622 h 3709979"/>
              <a:gd name="connsiteX18" fmla="*/ 1785427 w 2944795"/>
              <a:gd name="connsiteY18" fmla="*/ 3095514 h 3709979"/>
              <a:gd name="connsiteX19" fmla="*/ 1802817 w 2944795"/>
              <a:gd name="connsiteY19" fmla="*/ 3054936 h 3709979"/>
              <a:gd name="connsiteX20" fmla="*/ 1791224 w 2944795"/>
              <a:gd name="connsiteY20" fmla="*/ 3014358 h 3709979"/>
              <a:gd name="connsiteX21" fmla="*/ 1617319 w 2944795"/>
              <a:gd name="connsiteY21" fmla="*/ 2846249 h 3709979"/>
              <a:gd name="connsiteX22" fmla="*/ 1536163 w 2944795"/>
              <a:gd name="connsiteY22" fmla="*/ 2846249 h 3709979"/>
              <a:gd name="connsiteX23" fmla="*/ 1536163 w 2944795"/>
              <a:gd name="connsiteY23" fmla="*/ 2927405 h 3709979"/>
              <a:gd name="connsiteX24" fmla="*/ 1605725 w 2944795"/>
              <a:gd name="connsiteY24" fmla="*/ 2996967 h 3709979"/>
              <a:gd name="connsiteX25" fmla="*/ 968072 w 2944795"/>
              <a:gd name="connsiteY25" fmla="*/ 2996967 h 3709979"/>
              <a:gd name="connsiteX26" fmla="*/ 655043 w 2944795"/>
              <a:gd name="connsiteY26" fmla="*/ 2736110 h 3709979"/>
              <a:gd name="connsiteX27" fmla="*/ 2291926 w 2944795"/>
              <a:gd name="connsiteY27" fmla="*/ 1837599 h 3709979"/>
              <a:gd name="connsiteX28" fmla="*/ 2249174 w 2944795"/>
              <a:gd name="connsiteY28" fmla="*/ 1854990 h 3709979"/>
              <a:gd name="connsiteX29" fmla="*/ 2081066 w 2944795"/>
              <a:gd name="connsiteY29" fmla="*/ 2028895 h 3709979"/>
              <a:gd name="connsiteX30" fmla="*/ 2081066 w 2944795"/>
              <a:gd name="connsiteY30" fmla="*/ 2110051 h 3709979"/>
              <a:gd name="connsiteX31" fmla="*/ 2162222 w 2944795"/>
              <a:gd name="connsiteY31" fmla="*/ 2110051 h 3709979"/>
              <a:gd name="connsiteX32" fmla="*/ 2231784 w 2944795"/>
              <a:gd name="connsiteY32" fmla="*/ 2040489 h 3709979"/>
              <a:gd name="connsiteX33" fmla="*/ 2231784 w 2944795"/>
              <a:gd name="connsiteY33" fmla="*/ 2741906 h 3709979"/>
              <a:gd name="connsiteX34" fmla="*/ 1970926 w 2944795"/>
              <a:gd name="connsiteY34" fmla="*/ 3054936 h 3709979"/>
              <a:gd name="connsiteX35" fmla="*/ 2289752 w 2944795"/>
              <a:gd name="connsiteY35" fmla="*/ 3373762 h 3709979"/>
              <a:gd name="connsiteX36" fmla="*/ 2608578 w 2944795"/>
              <a:gd name="connsiteY36" fmla="*/ 3049139 h 3709979"/>
              <a:gd name="connsiteX37" fmla="*/ 2347720 w 2944795"/>
              <a:gd name="connsiteY37" fmla="*/ 2736110 h 3709979"/>
              <a:gd name="connsiteX38" fmla="*/ 2347720 w 2944795"/>
              <a:gd name="connsiteY38" fmla="*/ 2034692 h 3709979"/>
              <a:gd name="connsiteX39" fmla="*/ 2417282 w 2944795"/>
              <a:gd name="connsiteY39" fmla="*/ 2104254 h 3709979"/>
              <a:gd name="connsiteX40" fmla="*/ 2498438 w 2944795"/>
              <a:gd name="connsiteY40" fmla="*/ 2104254 h 3709979"/>
              <a:gd name="connsiteX41" fmla="*/ 2498438 w 2944795"/>
              <a:gd name="connsiteY41" fmla="*/ 2023098 h 3709979"/>
              <a:gd name="connsiteX42" fmla="*/ 2330330 w 2944795"/>
              <a:gd name="connsiteY42" fmla="*/ 1854990 h 3709979"/>
              <a:gd name="connsiteX43" fmla="*/ 2291926 w 2944795"/>
              <a:gd name="connsiteY43" fmla="*/ 1837599 h 3709979"/>
              <a:gd name="connsiteX44" fmla="*/ 1530366 w 2944795"/>
              <a:gd name="connsiteY44" fmla="*/ 1199946 h 3709979"/>
              <a:gd name="connsiteX45" fmla="*/ 2365112 w 2944795"/>
              <a:gd name="connsiteY45" fmla="*/ 1199946 h 3709979"/>
              <a:gd name="connsiteX46" fmla="*/ 2365112 w 2944795"/>
              <a:gd name="connsiteY46" fmla="*/ 1628912 h 3709979"/>
              <a:gd name="connsiteX47" fmla="*/ 1530366 w 2944795"/>
              <a:gd name="connsiteY47" fmla="*/ 1628912 h 3709979"/>
              <a:gd name="connsiteX48" fmla="*/ 1530366 w 2944795"/>
              <a:gd name="connsiteY48" fmla="*/ 1414429 h 3709979"/>
              <a:gd name="connsiteX49" fmla="*/ 1472398 w 2944795"/>
              <a:gd name="connsiteY49" fmla="*/ 1084009 h 3709979"/>
              <a:gd name="connsiteX50" fmla="*/ 1414429 w 2944795"/>
              <a:gd name="connsiteY50" fmla="*/ 1141978 h 3709979"/>
              <a:gd name="connsiteX51" fmla="*/ 1414429 w 2944795"/>
              <a:gd name="connsiteY51" fmla="*/ 1362259 h 3709979"/>
              <a:gd name="connsiteX52" fmla="*/ 655043 w 2944795"/>
              <a:gd name="connsiteY52" fmla="*/ 2179613 h 3709979"/>
              <a:gd name="connsiteX53" fmla="*/ 655043 w 2944795"/>
              <a:gd name="connsiteY53" fmla="*/ 2225988 h 3709979"/>
              <a:gd name="connsiteX54" fmla="*/ 568091 w 2944795"/>
              <a:gd name="connsiteY54" fmla="*/ 2139035 h 3709979"/>
              <a:gd name="connsiteX55" fmla="*/ 486935 w 2944795"/>
              <a:gd name="connsiteY55" fmla="*/ 2139035 h 3709979"/>
              <a:gd name="connsiteX56" fmla="*/ 486935 w 2944795"/>
              <a:gd name="connsiteY56" fmla="*/ 2220191 h 3709979"/>
              <a:gd name="connsiteX57" fmla="*/ 672434 w 2944795"/>
              <a:gd name="connsiteY57" fmla="*/ 2405690 h 3709979"/>
              <a:gd name="connsiteX58" fmla="*/ 753589 w 2944795"/>
              <a:gd name="connsiteY58" fmla="*/ 2405690 h 3709979"/>
              <a:gd name="connsiteX59" fmla="*/ 939088 w 2944795"/>
              <a:gd name="connsiteY59" fmla="*/ 2220191 h 3709979"/>
              <a:gd name="connsiteX60" fmla="*/ 939088 w 2944795"/>
              <a:gd name="connsiteY60" fmla="*/ 2139035 h 3709979"/>
              <a:gd name="connsiteX61" fmla="*/ 857933 w 2944795"/>
              <a:gd name="connsiteY61" fmla="*/ 2139035 h 3709979"/>
              <a:gd name="connsiteX62" fmla="*/ 770980 w 2944795"/>
              <a:gd name="connsiteY62" fmla="*/ 2225988 h 3709979"/>
              <a:gd name="connsiteX63" fmla="*/ 770980 w 2944795"/>
              <a:gd name="connsiteY63" fmla="*/ 2179613 h 3709979"/>
              <a:gd name="connsiteX64" fmla="*/ 1414429 w 2944795"/>
              <a:gd name="connsiteY64" fmla="*/ 1478195 h 3709979"/>
              <a:gd name="connsiteX65" fmla="*/ 1414429 w 2944795"/>
              <a:gd name="connsiteY65" fmla="*/ 1692679 h 3709979"/>
              <a:gd name="connsiteX66" fmla="*/ 1472398 w 2944795"/>
              <a:gd name="connsiteY66" fmla="*/ 1750647 h 3709979"/>
              <a:gd name="connsiteX67" fmla="*/ 2423079 w 2944795"/>
              <a:gd name="connsiteY67" fmla="*/ 1750647 h 3709979"/>
              <a:gd name="connsiteX68" fmla="*/ 2481048 w 2944795"/>
              <a:gd name="connsiteY68" fmla="*/ 1692679 h 3709979"/>
              <a:gd name="connsiteX69" fmla="*/ 2481048 w 2944795"/>
              <a:gd name="connsiteY69" fmla="*/ 1141978 h 3709979"/>
              <a:gd name="connsiteX70" fmla="*/ 2423079 w 2944795"/>
              <a:gd name="connsiteY70" fmla="*/ 1084009 h 3709979"/>
              <a:gd name="connsiteX71" fmla="*/ 394185 w 2944795"/>
              <a:gd name="connsiteY71" fmla="*/ 765183 h 3709979"/>
              <a:gd name="connsiteX72" fmla="*/ 336217 w 2944795"/>
              <a:gd name="connsiteY72" fmla="*/ 823152 h 3709979"/>
              <a:gd name="connsiteX73" fmla="*/ 394185 w 2944795"/>
              <a:gd name="connsiteY73" fmla="*/ 881120 h 3709979"/>
              <a:gd name="connsiteX74" fmla="*/ 1739052 w 2944795"/>
              <a:gd name="connsiteY74" fmla="*/ 881120 h 3709979"/>
              <a:gd name="connsiteX75" fmla="*/ 1797020 w 2944795"/>
              <a:gd name="connsiteY75" fmla="*/ 823152 h 3709979"/>
              <a:gd name="connsiteX76" fmla="*/ 1739052 w 2944795"/>
              <a:gd name="connsiteY76" fmla="*/ 765183 h 3709979"/>
              <a:gd name="connsiteX77" fmla="*/ 394185 w 2944795"/>
              <a:gd name="connsiteY77" fmla="*/ 399982 h 3709979"/>
              <a:gd name="connsiteX78" fmla="*/ 336217 w 2944795"/>
              <a:gd name="connsiteY78" fmla="*/ 457951 h 3709979"/>
              <a:gd name="connsiteX79" fmla="*/ 394185 w 2944795"/>
              <a:gd name="connsiteY79" fmla="*/ 515919 h 3709979"/>
              <a:gd name="connsiteX80" fmla="*/ 1199946 w 2944795"/>
              <a:gd name="connsiteY80" fmla="*/ 515919 h 3709979"/>
              <a:gd name="connsiteX81" fmla="*/ 1257914 w 2944795"/>
              <a:gd name="connsiteY81" fmla="*/ 457951 h 3709979"/>
              <a:gd name="connsiteX82" fmla="*/ 1199946 w 2944795"/>
              <a:gd name="connsiteY82" fmla="*/ 399982 h 3709979"/>
              <a:gd name="connsiteX83" fmla="*/ 2150628 w 2944795"/>
              <a:gd name="connsiteY83" fmla="*/ 34781 h 3709979"/>
              <a:gd name="connsiteX84" fmla="*/ 2910015 w 2944795"/>
              <a:gd name="connsiteY84" fmla="*/ 794168 h 3709979"/>
              <a:gd name="connsiteX85" fmla="*/ 2910015 w 2944795"/>
              <a:gd name="connsiteY85" fmla="*/ 799965 h 3709979"/>
              <a:gd name="connsiteX86" fmla="*/ 2382503 w 2944795"/>
              <a:gd name="connsiteY86" fmla="*/ 799965 h 3709979"/>
              <a:gd name="connsiteX87" fmla="*/ 2150628 w 2944795"/>
              <a:gd name="connsiteY87" fmla="*/ 579685 h 3709979"/>
              <a:gd name="connsiteX88" fmla="*/ 226077 w 2944795"/>
              <a:gd name="connsiteY88" fmla="*/ 0 h 3709979"/>
              <a:gd name="connsiteX89" fmla="*/ 2034691 w 2944795"/>
              <a:gd name="connsiteY89" fmla="*/ 0 h 3709979"/>
              <a:gd name="connsiteX90" fmla="*/ 2034691 w 2944795"/>
              <a:gd name="connsiteY90" fmla="*/ 573887 h 3709979"/>
              <a:gd name="connsiteX91" fmla="*/ 2382501 w 2944795"/>
              <a:gd name="connsiteY91" fmla="*/ 910104 h 3709979"/>
              <a:gd name="connsiteX92" fmla="*/ 2944795 w 2944795"/>
              <a:gd name="connsiteY92" fmla="*/ 910104 h 3709979"/>
              <a:gd name="connsiteX93" fmla="*/ 2944795 w 2944795"/>
              <a:gd name="connsiteY93" fmla="*/ 3483902 h 3709979"/>
              <a:gd name="connsiteX94" fmla="*/ 2718718 w 2944795"/>
              <a:gd name="connsiteY94" fmla="*/ 3709979 h 3709979"/>
              <a:gd name="connsiteX95" fmla="*/ 226077 w 2944795"/>
              <a:gd name="connsiteY95" fmla="*/ 3709979 h 3709979"/>
              <a:gd name="connsiteX96" fmla="*/ 0 w 2944795"/>
              <a:gd name="connsiteY96" fmla="*/ 3483902 h 3709979"/>
              <a:gd name="connsiteX97" fmla="*/ 0 w 2944795"/>
              <a:gd name="connsiteY97" fmla="*/ 226077 h 3709979"/>
              <a:gd name="connsiteX98" fmla="*/ 226077 w 2944795"/>
              <a:gd name="connsiteY98" fmla="*/ 0 h 370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944795" h="3709979">
                <a:moveTo>
                  <a:pt x="2289753" y="2852045"/>
                </a:moveTo>
                <a:cubicBezTo>
                  <a:pt x="2401805" y="2852045"/>
                  <a:pt x="2492642" y="2942882"/>
                  <a:pt x="2492642" y="3054935"/>
                </a:cubicBezTo>
                <a:cubicBezTo>
                  <a:pt x="2492642" y="3166987"/>
                  <a:pt x="2401805" y="3257824"/>
                  <a:pt x="2289753" y="3257824"/>
                </a:cubicBezTo>
                <a:cubicBezTo>
                  <a:pt x="2177700" y="3257824"/>
                  <a:pt x="2086863" y="3166987"/>
                  <a:pt x="2086863" y="3054935"/>
                </a:cubicBezTo>
                <a:cubicBezTo>
                  <a:pt x="2086863" y="2942882"/>
                  <a:pt x="2177700" y="2852045"/>
                  <a:pt x="2289753" y="2852045"/>
                </a:cubicBezTo>
                <a:close/>
                <a:moveTo>
                  <a:pt x="655044" y="2852045"/>
                </a:moveTo>
                <a:cubicBezTo>
                  <a:pt x="765184" y="2852045"/>
                  <a:pt x="857933" y="2944795"/>
                  <a:pt x="857933" y="3054935"/>
                </a:cubicBezTo>
                <a:cubicBezTo>
                  <a:pt x="857933" y="3165075"/>
                  <a:pt x="765184" y="3257824"/>
                  <a:pt x="655044" y="3257824"/>
                </a:cubicBezTo>
                <a:cubicBezTo>
                  <a:pt x="544904" y="3257824"/>
                  <a:pt x="452154" y="3165075"/>
                  <a:pt x="452154" y="3054935"/>
                </a:cubicBezTo>
                <a:cubicBezTo>
                  <a:pt x="452154" y="2944795"/>
                  <a:pt x="544904" y="2852045"/>
                  <a:pt x="655044" y="2852045"/>
                </a:cubicBezTo>
                <a:close/>
                <a:moveTo>
                  <a:pt x="655043" y="2736110"/>
                </a:moveTo>
                <a:cubicBezTo>
                  <a:pt x="481138" y="2736110"/>
                  <a:pt x="336217" y="2881031"/>
                  <a:pt x="336217" y="3054936"/>
                </a:cubicBezTo>
                <a:cubicBezTo>
                  <a:pt x="336217" y="3228841"/>
                  <a:pt x="481138" y="3373762"/>
                  <a:pt x="655043" y="3373762"/>
                </a:cubicBezTo>
                <a:cubicBezTo>
                  <a:pt x="811558" y="3373762"/>
                  <a:pt x="939088" y="3257825"/>
                  <a:pt x="968072" y="3112904"/>
                </a:cubicBezTo>
                <a:lnTo>
                  <a:pt x="1605725" y="3112904"/>
                </a:lnTo>
                <a:lnTo>
                  <a:pt x="1536163" y="3182466"/>
                </a:lnTo>
                <a:cubicBezTo>
                  <a:pt x="1512975" y="3205654"/>
                  <a:pt x="1512975" y="3240435"/>
                  <a:pt x="1536163" y="3263622"/>
                </a:cubicBezTo>
                <a:cubicBezTo>
                  <a:pt x="1559350" y="3286809"/>
                  <a:pt x="1594131" y="3286809"/>
                  <a:pt x="1617319" y="3263622"/>
                </a:cubicBezTo>
                <a:lnTo>
                  <a:pt x="1785427" y="3095514"/>
                </a:lnTo>
                <a:cubicBezTo>
                  <a:pt x="1797020" y="3083920"/>
                  <a:pt x="1802817" y="3072326"/>
                  <a:pt x="1802817" y="3054936"/>
                </a:cubicBezTo>
                <a:cubicBezTo>
                  <a:pt x="1802817" y="3037545"/>
                  <a:pt x="1797020" y="3025952"/>
                  <a:pt x="1791224" y="3014358"/>
                </a:cubicBezTo>
                <a:lnTo>
                  <a:pt x="1617319" y="2846249"/>
                </a:lnTo>
                <a:cubicBezTo>
                  <a:pt x="1594131" y="2823062"/>
                  <a:pt x="1559350" y="2823062"/>
                  <a:pt x="1536163" y="2846249"/>
                </a:cubicBezTo>
                <a:cubicBezTo>
                  <a:pt x="1512975" y="2869437"/>
                  <a:pt x="1512975" y="2904218"/>
                  <a:pt x="1536163" y="2927405"/>
                </a:cubicBezTo>
                <a:lnTo>
                  <a:pt x="1605725" y="2996967"/>
                </a:lnTo>
                <a:lnTo>
                  <a:pt x="968072" y="2996967"/>
                </a:lnTo>
                <a:cubicBezTo>
                  <a:pt x="939088" y="2846249"/>
                  <a:pt x="811558" y="2736110"/>
                  <a:pt x="655043" y="2736110"/>
                </a:cubicBezTo>
                <a:close/>
                <a:moveTo>
                  <a:pt x="2291926" y="1837599"/>
                </a:moveTo>
                <a:cubicBezTo>
                  <a:pt x="2276709" y="1837599"/>
                  <a:pt x="2260768" y="1843396"/>
                  <a:pt x="2249174" y="1854990"/>
                </a:cubicBezTo>
                <a:lnTo>
                  <a:pt x="2081066" y="2028895"/>
                </a:lnTo>
                <a:cubicBezTo>
                  <a:pt x="2057878" y="2052083"/>
                  <a:pt x="2057878" y="2086864"/>
                  <a:pt x="2081066" y="2110051"/>
                </a:cubicBezTo>
                <a:cubicBezTo>
                  <a:pt x="2104253" y="2133238"/>
                  <a:pt x="2139034" y="2133238"/>
                  <a:pt x="2162222" y="2110051"/>
                </a:cubicBezTo>
                <a:lnTo>
                  <a:pt x="2231784" y="2040489"/>
                </a:lnTo>
                <a:lnTo>
                  <a:pt x="2231784" y="2741906"/>
                </a:lnTo>
                <a:cubicBezTo>
                  <a:pt x="2081066" y="2770891"/>
                  <a:pt x="1970926" y="2898421"/>
                  <a:pt x="1970926" y="3054936"/>
                </a:cubicBezTo>
                <a:cubicBezTo>
                  <a:pt x="1970926" y="3228841"/>
                  <a:pt x="2115847" y="3373762"/>
                  <a:pt x="2289752" y="3373762"/>
                </a:cubicBezTo>
                <a:cubicBezTo>
                  <a:pt x="2463657" y="3373762"/>
                  <a:pt x="2608578" y="3228841"/>
                  <a:pt x="2608578" y="3049139"/>
                </a:cubicBezTo>
                <a:cubicBezTo>
                  <a:pt x="2608578" y="2892624"/>
                  <a:pt x="2492641" y="2765094"/>
                  <a:pt x="2347720" y="2736110"/>
                </a:cubicBezTo>
                <a:lnTo>
                  <a:pt x="2347720" y="2034692"/>
                </a:lnTo>
                <a:lnTo>
                  <a:pt x="2417282" y="2104254"/>
                </a:lnTo>
                <a:cubicBezTo>
                  <a:pt x="2440470" y="2127442"/>
                  <a:pt x="2475251" y="2127442"/>
                  <a:pt x="2498438" y="2104254"/>
                </a:cubicBezTo>
                <a:cubicBezTo>
                  <a:pt x="2521625" y="2081067"/>
                  <a:pt x="2521625" y="2046286"/>
                  <a:pt x="2498438" y="2023098"/>
                </a:cubicBezTo>
                <a:lnTo>
                  <a:pt x="2330330" y="1854990"/>
                </a:lnTo>
                <a:cubicBezTo>
                  <a:pt x="2321635" y="1843396"/>
                  <a:pt x="2307143" y="1837599"/>
                  <a:pt x="2291926" y="1837599"/>
                </a:cubicBezTo>
                <a:close/>
                <a:moveTo>
                  <a:pt x="1530366" y="1199946"/>
                </a:moveTo>
                <a:lnTo>
                  <a:pt x="2365112" y="1199946"/>
                </a:lnTo>
                <a:lnTo>
                  <a:pt x="2365112" y="1628912"/>
                </a:lnTo>
                <a:lnTo>
                  <a:pt x="1530366" y="1628912"/>
                </a:lnTo>
                <a:lnTo>
                  <a:pt x="1530366" y="1414429"/>
                </a:lnTo>
                <a:close/>
                <a:moveTo>
                  <a:pt x="1472398" y="1084009"/>
                </a:moveTo>
                <a:cubicBezTo>
                  <a:pt x="1437617" y="1084009"/>
                  <a:pt x="1414429" y="1107197"/>
                  <a:pt x="1414429" y="1141978"/>
                </a:cubicBezTo>
                <a:lnTo>
                  <a:pt x="1414429" y="1362259"/>
                </a:lnTo>
                <a:cubicBezTo>
                  <a:pt x="991260" y="1391243"/>
                  <a:pt x="655043" y="1744850"/>
                  <a:pt x="655043" y="2179613"/>
                </a:cubicBezTo>
                <a:lnTo>
                  <a:pt x="655043" y="2225988"/>
                </a:lnTo>
                <a:lnTo>
                  <a:pt x="568091" y="2139035"/>
                </a:lnTo>
                <a:cubicBezTo>
                  <a:pt x="544903" y="2115848"/>
                  <a:pt x="510122" y="2115848"/>
                  <a:pt x="486935" y="2139035"/>
                </a:cubicBezTo>
                <a:cubicBezTo>
                  <a:pt x="463747" y="2162222"/>
                  <a:pt x="463747" y="2197004"/>
                  <a:pt x="486935" y="2220191"/>
                </a:cubicBezTo>
                <a:lnTo>
                  <a:pt x="672434" y="2405690"/>
                </a:lnTo>
                <a:cubicBezTo>
                  <a:pt x="695621" y="2428877"/>
                  <a:pt x="730402" y="2428877"/>
                  <a:pt x="753589" y="2405690"/>
                </a:cubicBezTo>
                <a:lnTo>
                  <a:pt x="939088" y="2220191"/>
                </a:lnTo>
                <a:cubicBezTo>
                  <a:pt x="962276" y="2197004"/>
                  <a:pt x="962276" y="2162222"/>
                  <a:pt x="939088" y="2139035"/>
                </a:cubicBezTo>
                <a:cubicBezTo>
                  <a:pt x="915901" y="2115848"/>
                  <a:pt x="881120" y="2115848"/>
                  <a:pt x="857933" y="2139035"/>
                </a:cubicBezTo>
                <a:lnTo>
                  <a:pt x="770980" y="2225988"/>
                </a:lnTo>
                <a:lnTo>
                  <a:pt x="770980" y="2179613"/>
                </a:lnTo>
                <a:cubicBezTo>
                  <a:pt x="770980" y="1808615"/>
                  <a:pt x="1055025" y="1507180"/>
                  <a:pt x="1414429" y="1478195"/>
                </a:cubicBezTo>
                <a:lnTo>
                  <a:pt x="1414429" y="1692679"/>
                </a:lnTo>
                <a:cubicBezTo>
                  <a:pt x="1414429" y="1727459"/>
                  <a:pt x="1437617" y="1750647"/>
                  <a:pt x="1472398" y="1750647"/>
                </a:cubicBezTo>
                <a:lnTo>
                  <a:pt x="2423079" y="1750647"/>
                </a:lnTo>
                <a:cubicBezTo>
                  <a:pt x="2457860" y="1750647"/>
                  <a:pt x="2481048" y="1727459"/>
                  <a:pt x="2481048" y="1692679"/>
                </a:cubicBezTo>
                <a:lnTo>
                  <a:pt x="2481048" y="1141978"/>
                </a:lnTo>
                <a:cubicBezTo>
                  <a:pt x="2481048" y="1107197"/>
                  <a:pt x="2457860" y="1084009"/>
                  <a:pt x="2423079" y="1084009"/>
                </a:cubicBezTo>
                <a:close/>
                <a:moveTo>
                  <a:pt x="394185" y="765183"/>
                </a:moveTo>
                <a:cubicBezTo>
                  <a:pt x="365201" y="765183"/>
                  <a:pt x="336217" y="788371"/>
                  <a:pt x="336217" y="823152"/>
                </a:cubicBezTo>
                <a:cubicBezTo>
                  <a:pt x="336217" y="857933"/>
                  <a:pt x="359404" y="881120"/>
                  <a:pt x="394185" y="881120"/>
                </a:cubicBezTo>
                <a:lnTo>
                  <a:pt x="1739052" y="881120"/>
                </a:lnTo>
                <a:cubicBezTo>
                  <a:pt x="1773833" y="881120"/>
                  <a:pt x="1797020" y="857933"/>
                  <a:pt x="1797020" y="823152"/>
                </a:cubicBezTo>
                <a:cubicBezTo>
                  <a:pt x="1797020" y="788371"/>
                  <a:pt x="1773833" y="765183"/>
                  <a:pt x="1739052" y="765183"/>
                </a:cubicBezTo>
                <a:close/>
                <a:moveTo>
                  <a:pt x="394185" y="399982"/>
                </a:moveTo>
                <a:cubicBezTo>
                  <a:pt x="365201" y="399982"/>
                  <a:pt x="336217" y="423170"/>
                  <a:pt x="336217" y="457951"/>
                </a:cubicBezTo>
                <a:cubicBezTo>
                  <a:pt x="336217" y="492732"/>
                  <a:pt x="359404" y="515919"/>
                  <a:pt x="394185" y="515919"/>
                </a:cubicBezTo>
                <a:lnTo>
                  <a:pt x="1199946" y="515919"/>
                </a:lnTo>
                <a:cubicBezTo>
                  <a:pt x="1234727" y="515919"/>
                  <a:pt x="1257914" y="492732"/>
                  <a:pt x="1257914" y="457951"/>
                </a:cubicBezTo>
                <a:cubicBezTo>
                  <a:pt x="1257914" y="423170"/>
                  <a:pt x="1234727" y="399982"/>
                  <a:pt x="1199946" y="399982"/>
                </a:cubicBezTo>
                <a:close/>
                <a:moveTo>
                  <a:pt x="2150628" y="34781"/>
                </a:moveTo>
                <a:lnTo>
                  <a:pt x="2910015" y="794168"/>
                </a:lnTo>
                <a:lnTo>
                  <a:pt x="2910015" y="799965"/>
                </a:lnTo>
                <a:lnTo>
                  <a:pt x="2382503" y="799965"/>
                </a:lnTo>
                <a:cubicBezTo>
                  <a:pt x="2254971" y="799965"/>
                  <a:pt x="2150628" y="701419"/>
                  <a:pt x="2150628" y="579685"/>
                </a:cubicBezTo>
                <a:close/>
                <a:moveTo>
                  <a:pt x="226077" y="0"/>
                </a:moveTo>
                <a:lnTo>
                  <a:pt x="2034691" y="0"/>
                </a:lnTo>
                <a:lnTo>
                  <a:pt x="2034691" y="573887"/>
                </a:lnTo>
                <a:cubicBezTo>
                  <a:pt x="2034691" y="759386"/>
                  <a:pt x="2191206" y="910104"/>
                  <a:pt x="2382501" y="910104"/>
                </a:cubicBezTo>
                <a:lnTo>
                  <a:pt x="2944795" y="910104"/>
                </a:lnTo>
                <a:lnTo>
                  <a:pt x="2944795" y="3483902"/>
                </a:lnTo>
                <a:cubicBezTo>
                  <a:pt x="2944795" y="3611432"/>
                  <a:pt x="2840452" y="3709979"/>
                  <a:pt x="2718718" y="3709979"/>
                </a:cubicBezTo>
                <a:lnTo>
                  <a:pt x="226077" y="3709979"/>
                </a:lnTo>
                <a:cubicBezTo>
                  <a:pt x="104343" y="3709979"/>
                  <a:pt x="0" y="3611432"/>
                  <a:pt x="0" y="3483902"/>
                </a:cubicBezTo>
                <a:lnTo>
                  <a:pt x="0" y="226077"/>
                </a:lnTo>
                <a:cubicBezTo>
                  <a:pt x="0" y="104343"/>
                  <a:pt x="104343" y="0"/>
                  <a:pt x="226077" y="0"/>
                </a:cubicBezTo>
                <a:close/>
              </a:path>
            </a:pathLst>
          </a:custGeom>
          <a:solidFill>
            <a:schemeClr val="accent5"/>
          </a:solidFill>
          <a:ln w="9525" cap="flat">
            <a:noFill/>
            <a:prstDash val="solid"/>
            <a:miter/>
          </a:ln>
        </p:spPr>
        <p:txBody>
          <a:bodyPr rtlCol="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92" name="Rechteck 155">
            <a:extLst>
              <a:ext uri="{FF2B5EF4-FFF2-40B4-BE49-F238E27FC236}">
                <a16:creationId xmlns:a16="http://schemas.microsoft.com/office/drawing/2014/main" id="{B5B6CD31-21EE-8E19-66D7-6E4B301835CD}"/>
              </a:ext>
            </a:extLst>
          </p:cNvPr>
          <p:cNvSpPr/>
          <p:nvPr/>
        </p:nvSpPr>
        <p:spPr>
          <a:xfrm>
            <a:off x="2824501" y="2372259"/>
            <a:ext cx="150550" cy="143006"/>
          </a:xfrm>
          <a:prstGeom prst="rect">
            <a:avLst/>
          </a:prstGeom>
        </p:spPr>
        <p:txBody>
          <a:bodyPr wrap="square" lIns="0" tIns="0" rIns="0" bIns="0">
            <a:spAutoFit/>
          </a:bodyPr>
          <a:lstStyle/>
          <a:p>
            <a:pPr algn="ctr" defTabSz="685800" fontAlgn="base">
              <a:spcBef>
                <a:spcPct val="0"/>
              </a:spcBef>
              <a:spcAft>
                <a:spcPct val="0"/>
              </a:spcAft>
              <a:defRPr/>
            </a:pPr>
            <a:r>
              <a:rPr lang="en-US" altLang="de-DE" sz="1125" b="1">
                <a:solidFill>
                  <a:srgbClr val="787878">
                    <a:lumMod val="100000"/>
                  </a:srgbClr>
                </a:solidFill>
                <a:latin typeface="+mj-lt"/>
                <a:ea typeface="Microsoft YaHei"/>
                <a:cs typeface="Calibri"/>
                <a:sym typeface="Arial Narrow"/>
              </a:rPr>
              <a:t>Ø</a:t>
            </a:r>
            <a:endParaRPr lang="en-US" altLang="de-DE" sz="1125" b="1" i="1" baseline="30000">
              <a:solidFill>
                <a:srgbClr val="787878">
                  <a:lumMod val="100000"/>
                </a:srgbClr>
              </a:solidFill>
              <a:latin typeface="+mj-lt"/>
              <a:ea typeface="Microsoft YaHei"/>
              <a:cs typeface="Calibri"/>
              <a:sym typeface="Arial Narrow"/>
            </a:endParaRPr>
          </a:p>
        </p:txBody>
      </p:sp>
      <p:sp>
        <p:nvSpPr>
          <p:cNvPr id="93" name="Freeform: Shape 9">
            <a:extLst>
              <a:ext uri="{FF2B5EF4-FFF2-40B4-BE49-F238E27FC236}">
                <a16:creationId xmlns:a16="http://schemas.microsoft.com/office/drawing/2014/main" id="{ABCAB522-3C3C-9DAB-7B38-28BEF83CE69F}"/>
              </a:ext>
            </a:extLst>
          </p:cNvPr>
          <p:cNvSpPr>
            <a:spLocks noChangeAspect="1"/>
          </p:cNvSpPr>
          <p:nvPr/>
        </p:nvSpPr>
        <p:spPr>
          <a:xfrm>
            <a:off x="2923887" y="4133322"/>
            <a:ext cx="74549" cy="94333"/>
          </a:xfrm>
          <a:custGeom>
            <a:avLst/>
            <a:gdLst>
              <a:gd name="connsiteX0" fmla="*/ 2289753 w 2944795"/>
              <a:gd name="connsiteY0" fmla="*/ 2852045 h 3709979"/>
              <a:gd name="connsiteX1" fmla="*/ 2492642 w 2944795"/>
              <a:gd name="connsiteY1" fmla="*/ 3054935 h 3709979"/>
              <a:gd name="connsiteX2" fmla="*/ 2289753 w 2944795"/>
              <a:gd name="connsiteY2" fmla="*/ 3257824 h 3709979"/>
              <a:gd name="connsiteX3" fmla="*/ 2086863 w 2944795"/>
              <a:gd name="connsiteY3" fmla="*/ 3054935 h 3709979"/>
              <a:gd name="connsiteX4" fmla="*/ 2289753 w 2944795"/>
              <a:gd name="connsiteY4" fmla="*/ 2852045 h 3709979"/>
              <a:gd name="connsiteX5" fmla="*/ 655044 w 2944795"/>
              <a:gd name="connsiteY5" fmla="*/ 2852045 h 3709979"/>
              <a:gd name="connsiteX6" fmla="*/ 857933 w 2944795"/>
              <a:gd name="connsiteY6" fmla="*/ 3054935 h 3709979"/>
              <a:gd name="connsiteX7" fmla="*/ 655044 w 2944795"/>
              <a:gd name="connsiteY7" fmla="*/ 3257824 h 3709979"/>
              <a:gd name="connsiteX8" fmla="*/ 452154 w 2944795"/>
              <a:gd name="connsiteY8" fmla="*/ 3054935 h 3709979"/>
              <a:gd name="connsiteX9" fmla="*/ 655044 w 2944795"/>
              <a:gd name="connsiteY9" fmla="*/ 2852045 h 3709979"/>
              <a:gd name="connsiteX10" fmla="*/ 655043 w 2944795"/>
              <a:gd name="connsiteY10" fmla="*/ 2736110 h 3709979"/>
              <a:gd name="connsiteX11" fmla="*/ 336217 w 2944795"/>
              <a:gd name="connsiteY11" fmla="*/ 3054936 h 3709979"/>
              <a:gd name="connsiteX12" fmla="*/ 655043 w 2944795"/>
              <a:gd name="connsiteY12" fmla="*/ 3373762 h 3709979"/>
              <a:gd name="connsiteX13" fmla="*/ 968072 w 2944795"/>
              <a:gd name="connsiteY13" fmla="*/ 3112904 h 3709979"/>
              <a:gd name="connsiteX14" fmla="*/ 1605725 w 2944795"/>
              <a:gd name="connsiteY14" fmla="*/ 3112904 h 3709979"/>
              <a:gd name="connsiteX15" fmla="*/ 1536163 w 2944795"/>
              <a:gd name="connsiteY15" fmla="*/ 3182466 h 3709979"/>
              <a:gd name="connsiteX16" fmla="*/ 1536163 w 2944795"/>
              <a:gd name="connsiteY16" fmla="*/ 3263622 h 3709979"/>
              <a:gd name="connsiteX17" fmla="*/ 1617319 w 2944795"/>
              <a:gd name="connsiteY17" fmla="*/ 3263622 h 3709979"/>
              <a:gd name="connsiteX18" fmla="*/ 1785427 w 2944795"/>
              <a:gd name="connsiteY18" fmla="*/ 3095514 h 3709979"/>
              <a:gd name="connsiteX19" fmla="*/ 1802817 w 2944795"/>
              <a:gd name="connsiteY19" fmla="*/ 3054936 h 3709979"/>
              <a:gd name="connsiteX20" fmla="*/ 1791224 w 2944795"/>
              <a:gd name="connsiteY20" fmla="*/ 3014358 h 3709979"/>
              <a:gd name="connsiteX21" fmla="*/ 1617319 w 2944795"/>
              <a:gd name="connsiteY21" fmla="*/ 2846249 h 3709979"/>
              <a:gd name="connsiteX22" fmla="*/ 1536163 w 2944795"/>
              <a:gd name="connsiteY22" fmla="*/ 2846249 h 3709979"/>
              <a:gd name="connsiteX23" fmla="*/ 1536163 w 2944795"/>
              <a:gd name="connsiteY23" fmla="*/ 2927405 h 3709979"/>
              <a:gd name="connsiteX24" fmla="*/ 1605725 w 2944795"/>
              <a:gd name="connsiteY24" fmla="*/ 2996967 h 3709979"/>
              <a:gd name="connsiteX25" fmla="*/ 968072 w 2944795"/>
              <a:gd name="connsiteY25" fmla="*/ 2996967 h 3709979"/>
              <a:gd name="connsiteX26" fmla="*/ 655043 w 2944795"/>
              <a:gd name="connsiteY26" fmla="*/ 2736110 h 3709979"/>
              <a:gd name="connsiteX27" fmla="*/ 2291926 w 2944795"/>
              <a:gd name="connsiteY27" fmla="*/ 1837599 h 3709979"/>
              <a:gd name="connsiteX28" fmla="*/ 2249174 w 2944795"/>
              <a:gd name="connsiteY28" fmla="*/ 1854990 h 3709979"/>
              <a:gd name="connsiteX29" fmla="*/ 2081066 w 2944795"/>
              <a:gd name="connsiteY29" fmla="*/ 2028895 h 3709979"/>
              <a:gd name="connsiteX30" fmla="*/ 2081066 w 2944795"/>
              <a:gd name="connsiteY30" fmla="*/ 2110051 h 3709979"/>
              <a:gd name="connsiteX31" fmla="*/ 2162222 w 2944795"/>
              <a:gd name="connsiteY31" fmla="*/ 2110051 h 3709979"/>
              <a:gd name="connsiteX32" fmla="*/ 2231784 w 2944795"/>
              <a:gd name="connsiteY32" fmla="*/ 2040489 h 3709979"/>
              <a:gd name="connsiteX33" fmla="*/ 2231784 w 2944795"/>
              <a:gd name="connsiteY33" fmla="*/ 2741906 h 3709979"/>
              <a:gd name="connsiteX34" fmla="*/ 1970926 w 2944795"/>
              <a:gd name="connsiteY34" fmla="*/ 3054936 h 3709979"/>
              <a:gd name="connsiteX35" fmla="*/ 2289752 w 2944795"/>
              <a:gd name="connsiteY35" fmla="*/ 3373762 h 3709979"/>
              <a:gd name="connsiteX36" fmla="*/ 2608578 w 2944795"/>
              <a:gd name="connsiteY36" fmla="*/ 3049139 h 3709979"/>
              <a:gd name="connsiteX37" fmla="*/ 2347720 w 2944795"/>
              <a:gd name="connsiteY37" fmla="*/ 2736110 h 3709979"/>
              <a:gd name="connsiteX38" fmla="*/ 2347720 w 2944795"/>
              <a:gd name="connsiteY38" fmla="*/ 2034692 h 3709979"/>
              <a:gd name="connsiteX39" fmla="*/ 2417282 w 2944795"/>
              <a:gd name="connsiteY39" fmla="*/ 2104254 h 3709979"/>
              <a:gd name="connsiteX40" fmla="*/ 2498438 w 2944795"/>
              <a:gd name="connsiteY40" fmla="*/ 2104254 h 3709979"/>
              <a:gd name="connsiteX41" fmla="*/ 2498438 w 2944795"/>
              <a:gd name="connsiteY41" fmla="*/ 2023098 h 3709979"/>
              <a:gd name="connsiteX42" fmla="*/ 2330330 w 2944795"/>
              <a:gd name="connsiteY42" fmla="*/ 1854990 h 3709979"/>
              <a:gd name="connsiteX43" fmla="*/ 2291926 w 2944795"/>
              <a:gd name="connsiteY43" fmla="*/ 1837599 h 3709979"/>
              <a:gd name="connsiteX44" fmla="*/ 1530366 w 2944795"/>
              <a:gd name="connsiteY44" fmla="*/ 1199946 h 3709979"/>
              <a:gd name="connsiteX45" fmla="*/ 2365112 w 2944795"/>
              <a:gd name="connsiteY45" fmla="*/ 1199946 h 3709979"/>
              <a:gd name="connsiteX46" fmla="*/ 2365112 w 2944795"/>
              <a:gd name="connsiteY46" fmla="*/ 1628912 h 3709979"/>
              <a:gd name="connsiteX47" fmla="*/ 1530366 w 2944795"/>
              <a:gd name="connsiteY47" fmla="*/ 1628912 h 3709979"/>
              <a:gd name="connsiteX48" fmla="*/ 1530366 w 2944795"/>
              <a:gd name="connsiteY48" fmla="*/ 1414429 h 3709979"/>
              <a:gd name="connsiteX49" fmla="*/ 1472398 w 2944795"/>
              <a:gd name="connsiteY49" fmla="*/ 1084009 h 3709979"/>
              <a:gd name="connsiteX50" fmla="*/ 1414429 w 2944795"/>
              <a:gd name="connsiteY50" fmla="*/ 1141978 h 3709979"/>
              <a:gd name="connsiteX51" fmla="*/ 1414429 w 2944795"/>
              <a:gd name="connsiteY51" fmla="*/ 1362259 h 3709979"/>
              <a:gd name="connsiteX52" fmla="*/ 655043 w 2944795"/>
              <a:gd name="connsiteY52" fmla="*/ 2179613 h 3709979"/>
              <a:gd name="connsiteX53" fmla="*/ 655043 w 2944795"/>
              <a:gd name="connsiteY53" fmla="*/ 2225988 h 3709979"/>
              <a:gd name="connsiteX54" fmla="*/ 568091 w 2944795"/>
              <a:gd name="connsiteY54" fmla="*/ 2139035 h 3709979"/>
              <a:gd name="connsiteX55" fmla="*/ 486935 w 2944795"/>
              <a:gd name="connsiteY55" fmla="*/ 2139035 h 3709979"/>
              <a:gd name="connsiteX56" fmla="*/ 486935 w 2944795"/>
              <a:gd name="connsiteY56" fmla="*/ 2220191 h 3709979"/>
              <a:gd name="connsiteX57" fmla="*/ 672434 w 2944795"/>
              <a:gd name="connsiteY57" fmla="*/ 2405690 h 3709979"/>
              <a:gd name="connsiteX58" fmla="*/ 753589 w 2944795"/>
              <a:gd name="connsiteY58" fmla="*/ 2405690 h 3709979"/>
              <a:gd name="connsiteX59" fmla="*/ 939088 w 2944795"/>
              <a:gd name="connsiteY59" fmla="*/ 2220191 h 3709979"/>
              <a:gd name="connsiteX60" fmla="*/ 939088 w 2944795"/>
              <a:gd name="connsiteY60" fmla="*/ 2139035 h 3709979"/>
              <a:gd name="connsiteX61" fmla="*/ 857933 w 2944795"/>
              <a:gd name="connsiteY61" fmla="*/ 2139035 h 3709979"/>
              <a:gd name="connsiteX62" fmla="*/ 770980 w 2944795"/>
              <a:gd name="connsiteY62" fmla="*/ 2225988 h 3709979"/>
              <a:gd name="connsiteX63" fmla="*/ 770980 w 2944795"/>
              <a:gd name="connsiteY63" fmla="*/ 2179613 h 3709979"/>
              <a:gd name="connsiteX64" fmla="*/ 1414429 w 2944795"/>
              <a:gd name="connsiteY64" fmla="*/ 1478195 h 3709979"/>
              <a:gd name="connsiteX65" fmla="*/ 1414429 w 2944795"/>
              <a:gd name="connsiteY65" fmla="*/ 1692679 h 3709979"/>
              <a:gd name="connsiteX66" fmla="*/ 1472398 w 2944795"/>
              <a:gd name="connsiteY66" fmla="*/ 1750647 h 3709979"/>
              <a:gd name="connsiteX67" fmla="*/ 2423079 w 2944795"/>
              <a:gd name="connsiteY67" fmla="*/ 1750647 h 3709979"/>
              <a:gd name="connsiteX68" fmla="*/ 2481048 w 2944795"/>
              <a:gd name="connsiteY68" fmla="*/ 1692679 h 3709979"/>
              <a:gd name="connsiteX69" fmla="*/ 2481048 w 2944795"/>
              <a:gd name="connsiteY69" fmla="*/ 1141978 h 3709979"/>
              <a:gd name="connsiteX70" fmla="*/ 2423079 w 2944795"/>
              <a:gd name="connsiteY70" fmla="*/ 1084009 h 3709979"/>
              <a:gd name="connsiteX71" fmla="*/ 394185 w 2944795"/>
              <a:gd name="connsiteY71" fmla="*/ 765183 h 3709979"/>
              <a:gd name="connsiteX72" fmla="*/ 336217 w 2944795"/>
              <a:gd name="connsiteY72" fmla="*/ 823152 h 3709979"/>
              <a:gd name="connsiteX73" fmla="*/ 394185 w 2944795"/>
              <a:gd name="connsiteY73" fmla="*/ 881120 h 3709979"/>
              <a:gd name="connsiteX74" fmla="*/ 1739052 w 2944795"/>
              <a:gd name="connsiteY74" fmla="*/ 881120 h 3709979"/>
              <a:gd name="connsiteX75" fmla="*/ 1797020 w 2944795"/>
              <a:gd name="connsiteY75" fmla="*/ 823152 h 3709979"/>
              <a:gd name="connsiteX76" fmla="*/ 1739052 w 2944795"/>
              <a:gd name="connsiteY76" fmla="*/ 765183 h 3709979"/>
              <a:gd name="connsiteX77" fmla="*/ 394185 w 2944795"/>
              <a:gd name="connsiteY77" fmla="*/ 399982 h 3709979"/>
              <a:gd name="connsiteX78" fmla="*/ 336217 w 2944795"/>
              <a:gd name="connsiteY78" fmla="*/ 457951 h 3709979"/>
              <a:gd name="connsiteX79" fmla="*/ 394185 w 2944795"/>
              <a:gd name="connsiteY79" fmla="*/ 515919 h 3709979"/>
              <a:gd name="connsiteX80" fmla="*/ 1199946 w 2944795"/>
              <a:gd name="connsiteY80" fmla="*/ 515919 h 3709979"/>
              <a:gd name="connsiteX81" fmla="*/ 1257914 w 2944795"/>
              <a:gd name="connsiteY81" fmla="*/ 457951 h 3709979"/>
              <a:gd name="connsiteX82" fmla="*/ 1199946 w 2944795"/>
              <a:gd name="connsiteY82" fmla="*/ 399982 h 3709979"/>
              <a:gd name="connsiteX83" fmla="*/ 2150628 w 2944795"/>
              <a:gd name="connsiteY83" fmla="*/ 34781 h 3709979"/>
              <a:gd name="connsiteX84" fmla="*/ 2910015 w 2944795"/>
              <a:gd name="connsiteY84" fmla="*/ 794168 h 3709979"/>
              <a:gd name="connsiteX85" fmla="*/ 2910015 w 2944795"/>
              <a:gd name="connsiteY85" fmla="*/ 799965 h 3709979"/>
              <a:gd name="connsiteX86" fmla="*/ 2382503 w 2944795"/>
              <a:gd name="connsiteY86" fmla="*/ 799965 h 3709979"/>
              <a:gd name="connsiteX87" fmla="*/ 2150628 w 2944795"/>
              <a:gd name="connsiteY87" fmla="*/ 579685 h 3709979"/>
              <a:gd name="connsiteX88" fmla="*/ 226077 w 2944795"/>
              <a:gd name="connsiteY88" fmla="*/ 0 h 3709979"/>
              <a:gd name="connsiteX89" fmla="*/ 2034691 w 2944795"/>
              <a:gd name="connsiteY89" fmla="*/ 0 h 3709979"/>
              <a:gd name="connsiteX90" fmla="*/ 2034691 w 2944795"/>
              <a:gd name="connsiteY90" fmla="*/ 573887 h 3709979"/>
              <a:gd name="connsiteX91" fmla="*/ 2382501 w 2944795"/>
              <a:gd name="connsiteY91" fmla="*/ 910104 h 3709979"/>
              <a:gd name="connsiteX92" fmla="*/ 2944795 w 2944795"/>
              <a:gd name="connsiteY92" fmla="*/ 910104 h 3709979"/>
              <a:gd name="connsiteX93" fmla="*/ 2944795 w 2944795"/>
              <a:gd name="connsiteY93" fmla="*/ 3483902 h 3709979"/>
              <a:gd name="connsiteX94" fmla="*/ 2718718 w 2944795"/>
              <a:gd name="connsiteY94" fmla="*/ 3709979 h 3709979"/>
              <a:gd name="connsiteX95" fmla="*/ 226077 w 2944795"/>
              <a:gd name="connsiteY95" fmla="*/ 3709979 h 3709979"/>
              <a:gd name="connsiteX96" fmla="*/ 0 w 2944795"/>
              <a:gd name="connsiteY96" fmla="*/ 3483902 h 3709979"/>
              <a:gd name="connsiteX97" fmla="*/ 0 w 2944795"/>
              <a:gd name="connsiteY97" fmla="*/ 226077 h 3709979"/>
              <a:gd name="connsiteX98" fmla="*/ 226077 w 2944795"/>
              <a:gd name="connsiteY98" fmla="*/ 0 h 370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944795" h="3709979">
                <a:moveTo>
                  <a:pt x="2289753" y="2852045"/>
                </a:moveTo>
                <a:cubicBezTo>
                  <a:pt x="2401805" y="2852045"/>
                  <a:pt x="2492642" y="2942882"/>
                  <a:pt x="2492642" y="3054935"/>
                </a:cubicBezTo>
                <a:cubicBezTo>
                  <a:pt x="2492642" y="3166987"/>
                  <a:pt x="2401805" y="3257824"/>
                  <a:pt x="2289753" y="3257824"/>
                </a:cubicBezTo>
                <a:cubicBezTo>
                  <a:pt x="2177700" y="3257824"/>
                  <a:pt x="2086863" y="3166987"/>
                  <a:pt x="2086863" y="3054935"/>
                </a:cubicBezTo>
                <a:cubicBezTo>
                  <a:pt x="2086863" y="2942882"/>
                  <a:pt x="2177700" y="2852045"/>
                  <a:pt x="2289753" y="2852045"/>
                </a:cubicBezTo>
                <a:close/>
                <a:moveTo>
                  <a:pt x="655044" y="2852045"/>
                </a:moveTo>
                <a:cubicBezTo>
                  <a:pt x="765184" y="2852045"/>
                  <a:pt x="857933" y="2944795"/>
                  <a:pt x="857933" y="3054935"/>
                </a:cubicBezTo>
                <a:cubicBezTo>
                  <a:pt x="857933" y="3165075"/>
                  <a:pt x="765184" y="3257824"/>
                  <a:pt x="655044" y="3257824"/>
                </a:cubicBezTo>
                <a:cubicBezTo>
                  <a:pt x="544904" y="3257824"/>
                  <a:pt x="452154" y="3165075"/>
                  <a:pt x="452154" y="3054935"/>
                </a:cubicBezTo>
                <a:cubicBezTo>
                  <a:pt x="452154" y="2944795"/>
                  <a:pt x="544904" y="2852045"/>
                  <a:pt x="655044" y="2852045"/>
                </a:cubicBezTo>
                <a:close/>
                <a:moveTo>
                  <a:pt x="655043" y="2736110"/>
                </a:moveTo>
                <a:cubicBezTo>
                  <a:pt x="481138" y="2736110"/>
                  <a:pt x="336217" y="2881031"/>
                  <a:pt x="336217" y="3054936"/>
                </a:cubicBezTo>
                <a:cubicBezTo>
                  <a:pt x="336217" y="3228841"/>
                  <a:pt x="481138" y="3373762"/>
                  <a:pt x="655043" y="3373762"/>
                </a:cubicBezTo>
                <a:cubicBezTo>
                  <a:pt x="811558" y="3373762"/>
                  <a:pt x="939088" y="3257825"/>
                  <a:pt x="968072" y="3112904"/>
                </a:cubicBezTo>
                <a:lnTo>
                  <a:pt x="1605725" y="3112904"/>
                </a:lnTo>
                <a:lnTo>
                  <a:pt x="1536163" y="3182466"/>
                </a:lnTo>
                <a:cubicBezTo>
                  <a:pt x="1512975" y="3205654"/>
                  <a:pt x="1512975" y="3240435"/>
                  <a:pt x="1536163" y="3263622"/>
                </a:cubicBezTo>
                <a:cubicBezTo>
                  <a:pt x="1559350" y="3286809"/>
                  <a:pt x="1594131" y="3286809"/>
                  <a:pt x="1617319" y="3263622"/>
                </a:cubicBezTo>
                <a:lnTo>
                  <a:pt x="1785427" y="3095514"/>
                </a:lnTo>
                <a:cubicBezTo>
                  <a:pt x="1797020" y="3083920"/>
                  <a:pt x="1802817" y="3072326"/>
                  <a:pt x="1802817" y="3054936"/>
                </a:cubicBezTo>
                <a:cubicBezTo>
                  <a:pt x="1802817" y="3037545"/>
                  <a:pt x="1797020" y="3025952"/>
                  <a:pt x="1791224" y="3014358"/>
                </a:cubicBezTo>
                <a:lnTo>
                  <a:pt x="1617319" y="2846249"/>
                </a:lnTo>
                <a:cubicBezTo>
                  <a:pt x="1594131" y="2823062"/>
                  <a:pt x="1559350" y="2823062"/>
                  <a:pt x="1536163" y="2846249"/>
                </a:cubicBezTo>
                <a:cubicBezTo>
                  <a:pt x="1512975" y="2869437"/>
                  <a:pt x="1512975" y="2904218"/>
                  <a:pt x="1536163" y="2927405"/>
                </a:cubicBezTo>
                <a:lnTo>
                  <a:pt x="1605725" y="2996967"/>
                </a:lnTo>
                <a:lnTo>
                  <a:pt x="968072" y="2996967"/>
                </a:lnTo>
                <a:cubicBezTo>
                  <a:pt x="939088" y="2846249"/>
                  <a:pt x="811558" y="2736110"/>
                  <a:pt x="655043" y="2736110"/>
                </a:cubicBezTo>
                <a:close/>
                <a:moveTo>
                  <a:pt x="2291926" y="1837599"/>
                </a:moveTo>
                <a:cubicBezTo>
                  <a:pt x="2276709" y="1837599"/>
                  <a:pt x="2260768" y="1843396"/>
                  <a:pt x="2249174" y="1854990"/>
                </a:cubicBezTo>
                <a:lnTo>
                  <a:pt x="2081066" y="2028895"/>
                </a:lnTo>
                <a:cubicBezTo>
                  <a:pt x="2057878" y="2052083"/>
                  <a:pt x="2057878" y="2086864"/>
                  <a:pt x="2081066" y="2110051"/>
                </a:cubicBezTo>
                <a:cubicBezTo>
                  <a:pt x="2104253" y="2133238"/>
                  <a:pt x="2139034" y="2133238"/>
                  <a:pt x="2162222" y="2110051"/>
                </a:cubicBezTo>
                <a:lnTo>
                  <a:pt x="2231784" y="2040489"/>
                </a:lnTo>
                <a:lnTo>
                  <a:pt x="2231784" y="2741906"/>
                </a:lnTo>
                <a:cubicBezTo>
                  <a:pt x="2081066" y="2770891"/>
                  <a:pt x="1970926" y="2898421"/>
                  <a:pt x="1970926" y="3054936"/>
                </a:cubicBezTo>
                <a:cubicBezTo>
                  <a:pt x="1970926" y="3228841"/>
                  <a:pt x="2115847" y="3373762"/>
                  <a:pt x="2289752" y="3373762"/>
                </a:cubicBezTo>
                <a:cubicBezTo>
                  <a:pt x="2463657" y="3373762"/>
                  <a:pt x="2608578" y="3228841"/>
                  <a:pt x="2608578" y="3049139"/>
                </a:cubicBezTo>
                <a:cubicBezTo>
                  <a:pt x="2608578" y="2892624"/>
                  <a:pt x="2492641" y="2765094"/>
                  <a:pt x="2347720" y="2736110"/>
                </a:cubicBezTo>
                <a:lnTo>
                  <a:pt x="2347720" y="2034692"/>
                </a:lnTo>
                <a:lnTo>
                  <a:pt x="2417282" y="2104254"/>
                </a:lnTo>
                <a:cubicBezTo>
                  <a:pt x="2440470" y="2127442"/>
                  <a:pt x="2475251" y="2127442"/>
                  <a:pt x="2498438" y="2104254"/>
                </a:cubicBezTo>
                <a:cubicBezTo>
                  <a:pt x="2521625" y="2081067"/>
                  <a:pt x="2521625" y="2046286"/>
                  <a:pt x="2498438" y="2023098"/>
                </a:cubicBezTo>
                <a:lnTo>
                  <a:pt x="2330330" y="1854990"/>
                </a:lnTo>
                <a:cubicBezTo>
                  <a:pt x="2321635" y="1843396"/>
                  <a:pt x="2307143" y="1837599"/>
                  <a:pt x="2291926" y="1837599"/>
                </a:cubicBezTo>
                <a:close/>
                <a:moveTo>
                  <a:pt x="1530366" y="1199946"/>
                </a:moveTo>
                <a:lnTo>
                  <a:pt x="2365112" y="1199946"/>
                </a:lnTo>
                <a:lnTo>
                  <a:pt x="2365112" y="1628912"/>
                </a:lnTo>
                <a:lnTo>
                  <a:pt x="1530366" y="1628912"/>
                </a:lnTo>
                <a:lnTo>
                  <a:pt x="1530366" y="1414429"/>
                </a:lnTo>
                <a:close/>
                <a:moveTo>
                  <a:pt x="1472398" y="1084009"/>
                </a:moveTo>
                <a:cubicBezTo>
                  <a:pt x="1437617" y="1084009"/>
                  <a:pt x="1414429" y="1107197"/>
                  <a:pt x="1414429" y="1141978"/>
                </a:cubicBezTo>
                <a:lnTo>
                  <a:pt x="1414429" y="1362259"/>
                </a:lnTo>
                <a:cubicBezTo>
                  <a:pt x="991260" y="1391243"/>
                  <a:pt x="655043" y="1744850"/>
                  <a:pt x="655043" y="2179613"/>
                </a:cubicBezTo>
                <a:lnTo>
                  <a:pt x="655043" y="2225988"/>
                </a:lnTo>
                <a:lnTo>
                  <a:pt x="568091" y="2139035"/>
                </a:lnTo>
                <a:cubicBezTo>
                  <a:pt x="544903" y="2115848"/>
                  <a:pt x="510122" y="2115848"/>
                  <a:pt x="486935" y="2139035"/>
                </a:cubicBezTo>
                <a:cubicBezTo>
                  <a:pt x="463747" y="2162222"/>
                  <a:pt x="463747" y="2197004"/>
                  <a:pt x="486935" y="2220191"/>
                </a:cubicBezTo>
                <a:lnTo>
                  <a:pt x="672434" y="2405690"/>
                </a:lnTo>
                <a:cubicBezTo>
                  <a:pt x="695621" y="2428877"/>
                  <a:pt x="730402" y="2428877"/>
                  <a:pt x="753589" y="2405690"/>
                </a:cubicBezTo>
                <a:lnTo>
                  <a:pt x="939088" y="2220191"/>
                </a:lnTo>
                <a:cubicBezTo>
                  <a:pt x="962276" y="2197004"/>
                  <a:pt x="962276" y="2162222"/>
                  <a:pt x="939088" y="2139035"/>
                </a:cubicBezTo>
                <a:cubicBezTo>
                  <a:pt x="915901" y="2115848"/>
                  <a:pt x="881120" y="2115848"/>
                  <a:pt x="857933" y="2139035"/>
                </a:cubicBezTo>
                <a:lnTo>
                  <a:pt x="770980" y="2225988"/>
                </a:lnTo>
                <a:lnTo>
                  <a:pt x="770980" y="2179613"/>
                </a:lnTo>
                <a:cubicBezTo>
                  <a:pt x="770980" y="1808615"/>
                  <a:pt x="1055025" y="1507180"/>
                  <a:pt x="1414429" y="1478195"/>
                </a:cubicBezTo>
                <a:lnTo>
                  <a:pt x="1414429" y="1692679"/>
                </a:lnTo>
                <a:cubicBezTo>
                  <a:pt x="1414429" y="1727459"/>
                  <a:pt x="1437617" y="1750647"/>
                  <a:pt x="1472398" y="1750647"/>
                </a:cubicBezTo>
                <a:lnTo>
                  <a:pt x="2423079" y="1750647"/>
                </a:lnTo>
                <a:cubicBezTo>
                  <a:pt x="2457860" y="1750647"/>
                  <a:pt x="2481048" y="1727459"/>
                  <a:pt x="2481048" y="1692679"/>
                </a:cubicBezTo>
                <a:lnTo>
                  <a:pt x="2481048" y="1141978"/>
                </a:lnTo>
                <a:cubicBezTo>
                  <a:pt x="2481048" y="1107197"/>
                  <a:pt x="2457860" y="1084009"/>
                  <a:pt x="2423079" y="1084009"/>
                </a:cubicBezTo>
                <a:close/>
                <a:moveTo>
                  <a:pt x="394185" y="765183"/>
                </a:moveTo>
                <a:cubicBezTo>
                  <a:pt x="365201" y="765183"/>
                  <a:pt x="336217" y="788371"/>
                  <a:pt x="336217" y="823152"/>
                </a:cubicBezTo>
                <a:cubicBezTo>
                  <a:pt x="336217" y="857933"/>
                  <a:pt x="359404" y="881120"/>
                  <a:pt x="394185" y="881120"/>
                </a:cubicBezTo>
                <a:lnTo>
                  <a:pt x="1739052" y="881120"/>
                </a:lnTo>
                <a:cubicBezTo>
                  <a:pt x="1773833" y="881120"/>
                  <a:pt x="1797020" y="857933"/>
                  <a:pt x="1797020" y="823152"/>
                </a:cubicBezTo>
                <a:cubicBezTo>
                  <a:pt x="1797020" y="788371"/>
                  <a:pt x="1773833" y="765183"/>
                  <a:pt x="1739052" y="765183"/>
                </a:cubicBezTo>
                <a:close/>
                <a:moveTo>
                  <a:pt x="394185" y="399982"/>
                </a:moveTo>
                <a:cubicBezTo>
                  <a:pt x="365201" y="399982"/>
                  <a:pt x="336217" y="423170"/>
                  <a:pt x="336217" y="457951"/>
                </a:cubicBezTo>
                <a:cubicBezTo>
                  <a:pt x="336217" y="492732"/>
                  <a:pt x="359404" y="515919"/>
                  <a:pt x="394185" y="515919"/>
                </a:cubicBezTo>
                <a:lnTo>
                  <a:pt x="1199946" y="515919"/>
                </a:lnTo>
                <a:cubicBezTo>
                  <a:pt x="1234727" y="515919"/>
                  <a:pt x="1257914" y="492732"/>
                  <a:pt x="1257914" y="457951"/>
                </a:cubicBezTo>
                <a:cubicBezTo>
                  <a:pt x="1257914" y="423170"/>
                  <a:pt x="1234727" y="399982"/>
                  <a:pt x="1199946" y="399982"/>
                </a:cubicBezTo>
                <a:close/>
                <a:moveTo>
                  <a:pt x="2150628" y="34781"/>
                </a:moveTo>
                <a:lnTo>
                  <a:pt x="2910015" y="794168"/>
                </a:lnTo>
                <a:lnTo>
                  <a:pt x="2910015" y="799965"/>
                </a:lnTo>
                <a:lnTo>
                  <a:pt x="2382503" y="799965"/>
                </a:lnTo>
                <a:cubicBezTo>
                  <a:pt x="2254971" y="799965"/>
                  <a:pt x="2150628" y="701419"/>
                  <a:pt x="2150628" y="579685"/>
                </a:cubicBezTo>
                <a:close/>
                <a:moveTo>
                  <a:pt x="226077" y="0"/>
                </a:moveTo>
                <a:lnTo>
                  <a:pt x="2034691" y="0"/>
                </a:lnTo>
                <a:lnTo>
                  <a:pt x="2034691" y="573887"/>
                </a:lnTo>
                <a:cubicBezTo>
                  <a:pt x="2034691" y="759386"/>
                  <a:pt x="2191206" y="910104"/>
                  <a:pt x="2382501" y="910104"/>
                </a:cubicBezTo>
                <a:lnTo>
                  <a:pt x="2944795" y="910104"/>
                </a:lnTo>
                <a:lnTo>
                  <a:pt x="2944795" y="3483902"/>
                </a:lnTo>
                <a:cubicBezTo>
                  <a:pt x="2944795" y="3611432"/>
                  <a:pt x="2840452" y="3709979"/>
                  <a:pt x="2718718" y="3709979"/>
                </a:cubicBezTo>
                <a:lnTo>
                  <a:pt x="226077" y="3709979"/>
                </a:lnTo>
                <a:cubicBezTo>
                  <a:pt x="104343" y="3709979"/>
                  <a:pt x="0" y="3611432"/>
                  <a:pt x="0" y="3483902"/>
                </a:cubicBezTo>
                <a:lnTo>
                  <a:pt x="0" y="226077"/>
                </a:lnTo>
                <a:cubicBezTo>
                  <a:pt x="0" y="104343"/>
                  <a:pt x="104343" y="0"/>
                  <a:pt x="226077" y="0"/>
                </a:cubicBezTo>
                <a:close/>
              </a:path>
            </a:pathLst>
          </a:custGeom>
          <a:solidFill>
            <a:schemeClr val="accent5"/>
          </a:solidFill>
          <a:ln w="9525" cap="flat">
            <a:noFill/>
            <a:prstDash val="solid"/>
            <a:miter/>
          </a:ln>
        </p:spPr>
        <p:txBody>
          <a:bodyPr rtlCol="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94" name="Rechteck 160">
            <a:extLst>
              <a:ext uri="{FF2B5EF4-FFF2-40B4-BE49-F238E27FC236}">
                <a16:creationId xmlns:a16="http://schemas.microsoft.com/office/drawing/2014/main" id="{86481F7F-36F4-E54E-F7E6-C8C6FB44E628}"/>
              </a:ext>
            </a:extLst>
          </p:cNvPr>
          <p:cNvSpPr/>
          <p:nvPr/>
        </p:nvSpPr>
        <p:spPr>
          <a:xfrm>
            <a:off x="3605931" y="4108984"/>
            <a:ext cx="150445" cy="143006"/>
          </a:xfrm>
          <a:prstGeom prst="rect">
            <a:avLst/>
          </a:prstGeom>
        </p:spPr>
        <p:txBody>
          <a:bodyPr wrap="square" lIns="0" tIns="0" rIns="0" bIns="0">
            <a:spAutoFit/>
          </a:bodyPr>
          <a:lstStyle/>
          <a:p>
            <a:pPr algn="ctr" defTabSz="685800" fontAlgn="base">
              <a:spcBef>
                <a:spcPct val="0"/>
              </a:spcBef>
              <a:spcAft>
                <a:spcPct val="0"/>
              </a:spcAft>
              <a:defRPr/>
            </a:pPr>
            <a:r>
              <a:rPr lang="en-US" altLang="de-DE" sz="1125" b="1">
                <a:solidFill>
                  <a:srgbClr val="787878">
                    <a:lumMod val="100000"/>
                  </a:srgbClr>
                </a:solidFill>
                <a:latin typeface="+mj-lt"/>
                <a:ea typeface="Microsoft YaHei"/>
                <a:cs typeface="Calibri"/>
                <a:sym typeface="Arial Narrow"/>
              </a:rPr>
              <a:t>Ø</a:t>
            </a:r>
            <a:endParaRPr lang="en-US" altLang="de-DE" sz="1125" b="1" i="1" baseline="30000">
              <a:solidFill>
                <a:srgbClr val="787878">
                  <a:lumMod val="100000"/>
                </a:srgbClr>
              </a:solidFill>
              <a:latin typeface="+mj-lt"/>
              <a:ea typeface="Microsoft YaHei"/>
              <a:cs typeface="Calibri"/>
              <a:sym typeface="Arial Narrow"/>
            </a:endParaRPr>
          </a:p>
        </p:txBody>
      </p:sp>
      <p:sp>
        <p:nvSpPr>
          <p:cNvPr id="95" name="Freeform: Shape 9">
            <a:extLst>
              <a:ext uri="{FF2B5EF4-FFF2-40B4-BE49-F238E27FC236}">
                <a16:creationId xmlns:a16="http://schemas.microsoft.com/office/drawing/2014/main" id="{65CFE334-9AD9-1316-0A6F-4CE3A2B03888}"/>
              </a:ext>
            </a:extLst>
          </p:cNvPr>
          <p:cNvSpPr>
            <a:spLocks noChangeAspect="1"/>
          </p:cNvSpPr>
          <p:nvPr/>
        </p:nvSpPr>
        <p:spPr>
          <a:xfrm>
            <a:off x="4209762" y="2333097"/>
            <a:ext cx="74549" cy="94333"/>
          </a:xfrm>
          <a:custGeom>
            <a:avLst/>
            <a:gdLst>
              <a:gd name="connsiteX0" fmla="*/ 2289753 w 2944795"/>
              <a:gd name="connsiteY0" fmla="*/ 2852045 h 3709979"/>
              <a:gd name="connsiteX1" fmla="*/ 2492642 w 2944795"/>
              <a:gd name="connsiteY1" fmla="*/ 3054935 h 3709979"/>
              <a:gd name="connsiteX2" fmla="*/ 2289753 w 2944795"/>
              <a:gd name="connsiteY2" fmla="*/ 3257824 h 3709979"/>
              <a:gd name="connsiteX3" fmla="*/ 2086863 w 2944795"/>
              <a:gd name="connsiteY3" fmla="*/ 3054935 h 3709979"/>
              <a:gd name="connsiteX4" fmla="*/ 2289753 w 2944795"/>
              <a:gd name="connsiteY4" fmla="*/ 2852045 h 3709979"/>
              <a:gd name="connsiteX5" fmla="*/ 655044 w 2944795"/>
              <a:gd name="connsiteY5" fmla="*/ 2852045 h 3709979"/>
              <a:gd name="connsiteX6" fmla="*/ 857933 w 2944795"/>
              <a:gd name="connsiteY6" fmla="*/ 3054935 h 3709979"/>
              <a:gd name="connsiteX7" fmla="*/ 655044 w 2944795"/>
              <a:gd name="connsiteY7" fmla="*/ 3257824 h 3709979"/>
              <a:gd name="connsiteX8" fmla="*/ 452154 w 2944795"/>
              <a:gd name="connsiteY8" fmla="*/ 3054935 h 3709979"/>
              <a:gd name="connsiteX9" fmla="*/ 655044 w 2944795"/>
              <a:gd name="connsiteY9" fmla="*/ 2852045 h 3709979"/>
              <a:gd name="connsiteX10" fmla="*/ 655043 w 2944795"/>
              <a:gd name="connsiteY10" fmla="*/ 2736110 h 3709979"/>
              <a:gd name="connsiteX11" fmla="*/ 336217 w 2944795"/>
              <a:gd name="connsiteY11" fmla="*/ 3054936 h 3709979"/>
              <a:gd name="connsiteX12" fmla="*/ 655043 w 2944795"/>
              <a:gd name="connsiteY12" fmla="*/ 3373762 h 3709979"/>
              <a:gd name="connsiteX13" fmla="*/ 968072 w 2944795"/>
              <a:gd name="connsiteY13" fmla="*/ 3112904 h 3709979"/>
              <a:gd name="connsiteX14" fmla="*/ 1605725 w 2944795"/>
              <a:gd name="connsiteY14" fmla="*/ 3112904 h 3709979"/>
              <a:gd name="connsiteX15" fmla="*/ 1536163 w 2944795"/>
              <a:gd name="connsiteY15" fmla="*/ 3182466 h 3709979"/>
              <a:gd name="connsiteX16" fmla="*/ 1536163 w 2944795"/>
              <a:gd name="connsiteY16" fmla="*/ 3263622 h 3709979"/>
              <a:gd name="connsiteX17" fmla="*/ 1617319 w 2944795"/>
              <a:gd name="connsiteY17" fmla="*/ 3263622 h 3709979"/>
              <a:gd name="connsiteX18" fmla="*/ 1785427 w 2944795"/>
              <a:gd name="connsiteY18" fmla="*/ 3095514 h 3709979"/>
              <a:gd name="connsiteX19" fmla="*/ 1802817 w 2944795"/>
              <a:gd name="connsiteY19" fmla="*/ 3054936 h 3709979"/>
              <a:gd name="connsiteX20" fmla="*/ 1791224 w 2944795"/>
              <a:gd name="connsiteY20" fmla="*/ 3014358 h 3709979"/>
              <a:gd name="connsiteX21" fmla="*/ 1617319 w 2944795"/>
              <a:gd name="connsiteY21" fmla="*/ 2846249 h 3709979"/>
              <a:gd name="connsiteX22" fmla="*/ 1536163 w 2944795"/>
              <a:gd name="connsiteY22" fmla="*/ 2846249 h 3709979"/>
              <a:gd name="connsiteX23" fmla="*/ 1536163 w 2944795"/>
              <a:gd name="connsiteY23" fmla="*/ 2927405 h 3709979"/>
              <a:gd name="connsiteX24" fmla="*/ 1605725 w 2944795"/>
              <a:gd name="connsiteY24" fmla="*/ 2996967 h 3709979"/>
              <a:gd name="connsiteX25" fmla="*/ 968072 w 2944795"/>
              <a:gd name="connsiteY25" fmla="*/ 2996967 h 3709979"/>
              <a:gd name="connsiteX26" fmla="*/ 655043 w 2944795"/>
              <a:gd name="connsiteY26" fmla="*/ 2736110 h 3709979"/>
              <a:gd name="connsiteX27" fmla="*/ 2291926 w 2944795"/>
              <a:gd name="connsiteY27" fmla="*/ 1837599 h 3709979"/>
              <a:gd name="connsiteX28" fmla="*/ 2249174 w 2944795"/>
              <a:gd name="connsiteY28" fmla="*/ 1854990 h 3709979"/>
              <a:gd name="connsiteX29" fmla="*/ 2081066 w 2944795"/>
              <a:gd name="connsiteY29" fmla="*/ 2028895 h 3709979"/>
              <a:gd name="connsiteX30" fmla="*/ 2081066 w 2944795"/>
              <a:gd name="connsiteY30" fmla="*/ 2110051 h 3709979"/>
              <a:gd name="connsiteX31" fmla="*/ 2162222 w 2944795"/>
              <a:gd name="connsiteY31" fmla="*/ 2110051 h 3709979"/>
              <a:gd name="connsiteX32" fmla="*/ 2231784 w 2944795"/>
              <a:gd name="connsiteY32" fmla="*/ 2040489 h 3709979"/>
              <a:gd name="connsiteX33" fmla="*/ 2231784 w 2944795"/>
              <a:gd name="connsiteY33" fmla="*/ 2741906 h 3709979"/>
              <a:gd name="connsiteX34" fmla="*/ 1970926 w 2944795"/>
              <a:gd name="connsiteY34" fmla="*/ 3054936 h 3709979"/>
              <a:gd name="connsiteX35" fmla="*/ 2289752 w 2944795"/>
              <a:gd name="connsiteY35" fmla="*/ 3373762 h 3709979"/>
              <a:gd name="connsiteX36" fmla="*/ 2608578 w 2944795"/>
              <a:gd name="connsiteY36" fmla="*/ 3049139 h 3709979"/>
              <a:gd name="connsiteX37" fmla="*/ 2347720 w 2944795"/>
              <a:gd name="connsiteY37" fmla="*/ 2736110 h 3709979"/>
              <a:gd name="connsiteX38" fmla="*/ 2347720 w 2944795"/>
              <a:gd name="connsiteY38" fmla="*/ 2034692 h 3709979"/>
              <a:gd name="connsiteX39" fmla="*/ 2417282 w 2944795"/>
              <a:gd name="connsiteY39" fmla="*/ 2104254 h 3709979"/>
              <a:gd name="connsiteX40" fmla="*/ 2498438 w 2944795"/>
              <a:gd name="connsiteY40" fmla="*/ 2104254 h 3709979"/>
              <a:gd name="connsiteX41" fmla="*/ 2498438 w 2944795"/>
              <a:gd name="connsiteY41" fmla="*/ 2023098 h 3709979"/>
              <a:gd name="connsiteX42" fmla="*/ 2330330 w 2944795"/>
              <a:gd name="connsiteY42" fmla="*/ 1854990 h 3709979"/>
              <a:gd name="connsiteX43" fmla="*/ 2291926 w 2944795"/>
              <a:gd name="connsiteY43" fmla="*/ 1837599 h 3709979"/>
              <a:gd name="connsiteX44" fmla="*/ 1530366 w 2944795"/>
              <a:gd name="connsiteY44" fmla="*/ 1199946 h 3709979"/>
              <a:gd name="connsiteX45" fmla="*/ 2365112 w 2944795"/>
              <a:gd name="connsiteY45" fmla="*/ 1199946 h 3709979"/>
              <a:gd name="connsiteX46" fmla="*/ 2365112 w 2944795"/>
              <a:gd name="connsiteY46" fmla="*/ 1628912 h 3709979"/>
              <a:gd name="connsiteX47" fmla="*/ 1530366 w 2944795"/>
              <a:gd name="connsiteY47" fmla="*/ 1628912 h 3709979"/>
              <a:gd name="connsiteX48" fmla="*/ 1530366 w 2944795"/>
              <a:gd name="connsiteY48" fmla="*/ 1414429 h 3709979"/>
              <a:gd name="connsiteX49" fmla="*/ 1472398 w 2944795"/>
              <a:gd name="connsiteY49" fmla="*/ 1084009 h 3709979"/>
              <a:gd name="connsiteX50" fmla="*/ 1414429 w 2944795"/>
              <a:gd name="connsiteY50" fmla="*/ 1141978 h 3709979"/>
              <a:gd name="connsiteX51" fmla="*/ 1414429 w 2944795"/>
              <a:gd name="connsiteY51" fmla="*/ 1362259 h 3709979"/>
              <a:gd name="connsiteX52" fmla="*/ 655043 w 2944795"/>
              <a:gd name="connsiteY52" fmla="*/ 2179613 h 3709979"/>
              <a:gd name="connsiteX53" fmla="*/ 655043 w 2944795"/>
              <a:gd name="connsiteY53" fmla="*/ 2225988 h 3709979"/>
              <a:gd name="connsiteX54" fmla="*/ 568091 w 2944795"/>
              <a:gd name="connsiteY54" fmla="*/ 2139035 h 3709979"/>
              <a:gd name="connsiteX55" fmla="*/ 486935 w 2944795"/>
              <a:gd name="connsiteY55" fmla="*/ 2139035 h 3709979"/>
              <a:gd name="connsiteX56" fmla="*/ 486935 w 2944795"/>
              <a:gd name="connsiteY56" fmla="*/ 2220191 h 3709979"/>
              <a:gd name="connsiteX57" fmla="*/ 672434 w 2944795"/>
              <a:gd name="connsiteY57" fmla="*/ 2405690 h 3709979"/>
              <a:gd name="connsiteX58" fmla="*/ 753589 w 2944795"/>
              <a:gd name="connsiteY58" fmla="*/ 2405690 h 3709979"/>
              <a:gd name="connsiteX59" fmla="*/ 939088 w 2944795"/>
              <a:gd name="connsiteY59" fmla="*/ 2220191 h 3709979"/>
              <a:gd name="connsiteX60" fmla="*/ 939088 w 2944795"/>
              <a:gd name="connsiteY60" fmla="*/ 2139035 h 3709979"/>
              <a:gd name="connsiteX61" fmla="*/ 857933 w 2944795"/>
              <a:gd name="connsiteY61" fmla="*/ 2139035 h 3709979"/>
              <a:gd name="connsiteX62" fmla="*/ 770980 w 2944795"/>
              <a:gd name="connsiteY62" fmla="*/ 2225988 h 3709979"/>
              <a:gd name="connsiteX63" fmla="*/ 770980 w 2944795"/>
              <a:gd name="connsiteY63" fmla="*/ 2179613 h 3709979"/>
              <a:gd name="connsiteX64" fmla="*/ 1414429 w 2944795"/>
              <a:gd name="connsiteY64" fmla="*/ 1478195 h 3709979"/>
              <a:gd name="connsiteX65" fmla="*/ 1414429 w 2944795"/>
              <a:gd name="connsiteY65" fmla="*/ 1692679 h 3709979"/>
              <a:gd name="connsiteX66" fmla="*/ 1472398 w 2944795"/>
              <a:gd name="connsiteY66" fmla="*/ 1750647 h 3709979"/>
              <a:gd name="connsiteX67" fmla="*/ 2423079 w 2944795"/>
              <a:gd name="connsiteY67" fmla="*/ 1750647 h 3709979"/>
              <a:gd name="connsiteX68" fmla="*/ 2481048 w 2944795"/>
              <a:gd name="connsiteY68" fmla="*/ 1692679 h 3709979"/>
              <a:gd name="connsiteX69" fmla="*/ 2481048 w 2944795"/>
              <a:gd name="connsiteY69" fmla="*/ 1141978 h 3709979"/>
              <a:gd name="connsiteX70" fmla="*/ 2423079 w 2944795"/>
              <a:gd name="connsiteY70" fmla="*/ 1084009 h 3709979"/>
              <a:gd name="connsiteX71" fmla="*/ 394185 w 2944795"/>
              <a:gd name="connsiteY71" fmla="*/ 765183 h 3709979"/>
              <a:gd name="connsiteX72" fmla="*/ 336217 w 2944795"/>
              <a:gd name="connsiteY72" fmla="*/ 823152 h 3709979"/>
              <a:gd name="connsiteX73" fmla="*/ 394185 w 2944795"/>
              <a:gd name="connsiteY73" fmla="*/ 881120 h 3709979"/>
              <a:gd name="connsiteX74" fmla="*/ 1739052 w 2944795"/>
              <a:gd name="connsiteY74" fmla="*/ 881120 h 3709979"/>
              <a:gd name="connsiteX75" fmla="*/ 1797020 w 2944795"/>
              <a:gd name="connsiteY75" fmla="*/ 823152 h 3709979"/>
              <a:gd name="connsiteX76" fmla="*/ 1739052 w 2944795"/>
              <a:gd name="connsiteY76" fmla="*/ 765183 h 3709979"/>
              <a:gd name="connsiteX77" fmla="*/ 394185 w 2944795"/>
              <a:gd name="connsiteY77" fmla="*/ 399982 h 3709979"/>
              <a:gd name="connsiteX78" fmla="*/ 336217 w 2944795"/>
              <a:gd name="connsiteY78" fmla="*/ 457951 h 3709979"/>
              <a:gd name="connsiteX79" fmla="*/ 394185 w 2944795"/>
              <a:gd name="connsiteY79" fmla="*/ 515919 h 3709979"/>
              <a:gd name="connsiteX80" fmla="*/ 1199946 w 2944795"/>
              <a:gd name="connsiteY80" fmla="*/ 515919 h 3709979"/>
              <a:gd name="connsiteX81" fmla="*/ 1257914 w 2944795"/>
              <a:gd name="connsiteY81" fmla="*/ 457951 h 3709979"/>
              <a:gd name="connsiteX82" fmla="*/ 1199946 w 2944795"/>
              <a:gd name="connsiteY82" fmla="*/ 399982 h 3709979"/>
              <a:gd name="connsiteX83" fmla="*/ 2150628 w 2944795"/>
              <a:gd name="connsiteY83" fmla="*/ 34781 h 3709979"/>
              <a:gd name="connsiteX84" fmla="*/ 2910015 w 2944795"/>
              <a:gd name="connsiteY84" fmla="*/ 794168 h 3709979"/>
              <a:gd name="connsiteX85" fmla="*/ 2910015 w 2944795"/>
              <a:gd name="connsiteY85" fmla="*/ 799965 h 3709979"/>
              <a:gd name="connsiteX86" fmla="*/ 2382503 w 2944795"/>
              <a:gd name="connsiteY86" fmla="*/ 799965 h 3709979"/>
              <a:gd name="connsiteX87" fmla="*/ 2150628 w 2944795"/>
              <a:gd name="connsiteY87" fmla="*/ 579685 h 3709979"/>
              <a:gd name="connsiteX88" fmla="*/ 226077 w 2944795"/>
              <a:gd name="connsiteY88" fmla="*/ 0 h 3709979"/>
              <a:gd name="connsiteX89" fmla="*/ 2034691 w 2944795"/>
              <a:gd name="connsiteY89" fmla="*/ 0 h 3709979"/>
              <a:gd name="connsiteX90" fmla="*/ 2034691 w 2944795"/>
              <a:gd name="connsiteY90" fmla="*/ 573887 h 3709979"/>
              <a:gd name="connsiteX91" fmla="*/ 2382501 w 2944795"/>
              <a:gd name="connsiteY91" fmla="*/ 910104 h 3709979"/>
              <a:gd name="connsiteX92" fmla="*/ 2944795 w 2944795"/>
              <a:gd name="connsiteY92" fmla="*/ 910104 h 3709979"/>
              <a:gd name="connsiteX93" fmla="*/ 2944795 w 2944795"/>
              <a:gd name="connsiteY93" fmla="*/ 3483902 h 3709979"/>
              <a:gd name="connsiteX94" fmla="*/ 2718718 w 2944795"/>
              <a:gd name="connsiteY94" fmla="*/ 3709979 h 3709979"/>
              <a:gd name="connsiteX95" fmla="*/ 226077 w 2944795"/>
              <a:gd name="connsiteY95" fmla="*/ 3709979 h 3709979"/>
              <a:gd name="connsiteX96" fmla="*/ 0 w 2944795"/>
              <a:gd name="connsiteY96" fmla="*/ 3483902 h 3709979"/>
              <a:gd name="connsiteX97" fmla="*/ 0 w 2944795"/>
              <a:gd name="connsiteY97" fmla="*/ 226077 h 3709979"/>
              <a:gd name="connsiteX98" fmla="*/ 226077 w 2944795"/>
              <a:gd name="connsiteY98" fmla="*/ 0 h 370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944795" h="3709979">
                <a:moveTo>
                  <a:pt x="2289753" y="2852045"/>
                </a:moveTo>
                <a:cubicBezTo>
                  <a:pt x="2401805" y="2852045"/>
                  <a:pt x="2492642" y="2942882"/>
                  <a:pt x="2492642" y="3054935"/>
                </a:cubicBezTo>
                <a:cubicBezTo>
                  <a:pt x="2492642" y="3166987"/>
                  <a:pt x="2401805" y="3257824"/>
                  <a:pt x="2289753" y="3257824"/>
                </a:cubicBezTo>
                <a:cubicBezTo>
                  <a:pt x="2177700" y="3257824"/>
                  <a:pt x="2086863" y="3166987"/>
                  <a:pt x="2086863" y="3054935"/>
                </a:cubicBezTo>
                <a:cubicBezTo>
                  <a:pt x="2086863" y="2942882"/>
                  <a:pt x="2177700" y="2852045"/>
                  <a:pt x="2289753" y="2852045"/>
                </a:cubicBezTo>
                <a:close/>
                <a:moveTo>
                  <a:pt x="655044" y="2852045"/>
                </a:moveTo>
                <a:cubicBezTo>
                  <a:pt x="765184" y="2852045"/>
                  <a:pt x="857933" y="2944795"/>
                  <a:pt x="857933" y="3054935"/>
                </a:cubicBezTo>
                <a:cubicBezTo>
                  <a:pt x="857933" y="3165075"/>
                  <a:pt x="765184" y="3257824"/>
                  <a:pt x="655044" y="3257824"/>
                </a:cubicBezTo>
                <a:cubicBezTo>
                  <a:pt x="544904" y="3257824"/>
                  <a:pt x="452154" y="3165075"/>
                  <a:pt x="452154" y="3054935"/>
                </a:cubicBezTo>
                <a:cubicBezTo>
                  <a:pt x="452154" y="2944795"/>
                  <a:pt x="544904" y="2852045"/>
                  <a:pt x="655044" y="2852045"/>
                </a:cubicBezTo>
                <a:close/>
                <a:moveTo>
                  <a:pt x="655043" y="2736110"/>
                </a:moveTo>
                <a:cubicBezTo>
                  <a:pt x="481138" y="2736110"/>
                  <a:pt x="336217" y="2881031"/>
                  <a:pt x="336217" y="3054936"/>
                </a:cubicBezTo>
                <a:cubicBezTo>
                  <a:pt x="336217" y="3228841"/>
                  <a:pt x="481138" y="3373762"/>
                  <a:pt x="655043" y="3373762"/>
                </a:cubicBezTo>
                <a:cubicBezTo>
                  <a:pt x="811558" y="3373762"/>
                  <a:pt x="939088" y="3257825"/>
                  <a:pt x="968072" y="3112904"/>
                </a:cubicBezTo>
                <a:lnTo>
                  <a:pt x="1605725" y="3112904"/>
                </a:lnTo>
                <a:lnTo>
                  <a:pt x="1536163" y="3182466"/>
                </a:lnTo>
                <a:cubicBezTo>
                  <a:pt x="1512975" y="3205654"/>
                  <a:pt x="1512975" y="3240435"/>
                  <a:pt x="1536163" y="3263622"/>
                </a:cubicBezTo>
                <a:cubicBezTo>
                  <a:pt x="1559350" y="3286809"/>
                  <a:pt x="1594131" y="3286809"/>
                  <a:pt x="1617319" y="3263622"/>
                </a:cubicBezTo>
                <a:lnTo>
                  <a:pt x="1785427" y="3095514"/>
                </a:lnTo>
                <a:cubicBezTo>
                  <a:pt x="1797020" y="3083920"/>
                  <a:pt x="1802817" y="3072326"/>
                  <a:pt x="1802817" y="3054936"/>
                </a:cubicBezTo>
                <a:cubicBezTo>
                  <a:pt x="1802817" y="3037545"/>
                  <a:pt x="1797020" y="3025952"/>
                  <a:pt x="1791224" y="3014358"/>
                </a:cubicBezTo>
                <a:lnTo>
                  <a:pt x="1617319" y="2846249"/>
                </a:lnTo>
                <a:cubicBezTo>
                  <a:pt x="1594131" y="2823062"/>
                  <a:pt x="1559350" y="2823062"/>
                  <a:pt x="1536163" y="2846249"/>
                </a:cubicBezTo>
                <a:cubicBezTo>
                  <a:pt x="1512975" y="2869437"/>
                  <a:pt x="1512975" y="2904218"/>
                  <a:pt x="1536163" y="2927405"/>
                </a:cubicBezTo>
                <a:lnTo>
                  <a:pt x="1605725" y="2996967"/>
                </a:lnTo>
                <a:lnTo>
                  <a:pt x="968072" y="2996967"/>
                </a:lnTo>
                <a:cubicBezTo>
                  <a:pt x="939088" y="2846249"/>
                  <a:pt x="811558" y="2736110"/>
                  <a:pt x="655043" y="2736110"/>
                </a:cubicBezTo>
                <a:close/>
                <a:moveTo>
                  <a:pt x="2291926" y="1837599"/>
                </a:moveTo>
                <a:cubicBezTo>
                  <a:pt x="2276709" y="1837599"/>
                  <a:pt x="2260768" y="1843396"/>
                  <a:pt x="2249174" y="1854990"/>
                </a:cubicBezTo>
                <a:lnTo>
                  <a:pt x="2081066" y="2028895"/>
                </a:lnTo>
                <a:cubicBezTo>
                  <a:pt x="2057878" y="2052083"/>
                  <a:pt x="2057878" y="2086864"/>
                  <a:pt x="2081066" y="2110051"/>
                </a:cubicBezTo>
                <a:cubicBezTo>
                  <a:pt x="2104253" y="2133238"/>
                  <a:pt x="2139034" y="2133238"/>
                  <a:pt x="2162222" y="2110051"/>
                </a:cubicBezTo>
                <a:lnTo>
                  <a:pt x="2231784" y="2040489"/>
                </a:lnTo>
                <a:lnTo>
                  <a:pt x="2231784" y="2741906"/>
                </a:lnTo>
                <a:cubicBezTo>
                  <a:pt x="2081066" y="2770891"/>
                  <a:pt x="1970926" y="2898421"/>
                  <a:pt x="1970926" y="3054936"/>
                </a:cubicBezTo>
                <a:cubicBezTo>
                  <a:pt x="1970926" y="3228841"/>
                  <a:pt x="2115847" y="3373762"/>
                  <a:pt x="2289752" y="3373762"/>
                </a:cubicBezTo>
                <a:cubicBezTo>
                  <a:pt x="2463657" y="3373762"/>
                  <a:pt x="2608578" y="3228841"/>
                  <a:pt x="2608578" y="3049139"/>
                </a:cubicBezTo>
                <a:cubicBezTo>
                  <a:pt x="2608578" y="2892624"/>
                  <a:pt x="2492641" y="2765094"/>
                  <a:pt x="2347720" y="2736110"/>
                </a:cubicBezTo>
                <a:lnTo>
                  <a:pt x="2347720" y="2034692"/>
                </a:lnTo>
                <a:lnTo>
                  <a:pt x="2417282" y="2104254"/>
                </a:lnTo>
                <a:cubicBezTo>
                  <a:pt x="2440470" y="2127442"/>
                  <a:pt x="2475251" y="2127442"/>
                  <a:pt x="2498438" y="2104254"/>
                </a:cubicBezTo>
                <a:cubicBezTo>
                  <a:pt x="2521625" y="2081067"/>
                  <a:pt x="2521625" y="2046286"/>
                  <a:pt x="2498438" y="2023098"/>
                </a:cubicBezTo>
                <a:lnTo>
                  <a:pt x="2330330" y="1854990"/>
                </a:lnTo>
                <a:cubicBezTo>
                  <a:pt x="2321635" y="1843396"/>
                  <a:pt x="2307143" y="1837599"/>
                  <a:pt x="2291926" y="1837599"/>
                </a:cubicBezTo>
                <a:close/>
                <a:moveTo>
                  <a:pt x="1530366" y="1199946"/>
                </a:moveTo>
                <a:lnTo>
                  <a:pt x="2365112" y="1199946"/>
                </a:lnTo>
                <a:lnTo>
                  <a:pt x="2365112" y="1628912"/>
                </a:lnTo>
                <a:lnTo>
                  <a:pt x="1530366" y="1628912"/>
                </a:lnTo>
                <a:lnTo>
                  <a:pt x="1530366" y="1414429"/>
                </a:lnTo>
                <a:close/>
                <a:moveTo>
                  <a:pt x="1472398" y="1084009"/>
                </a:moveTo>
                <a:cubicBezTo>
                  <a:pt x="1437617" y="1084009"/>
                  <a:pt x="1414429" y="1107197"/>
                  <a:pt x="1414429" y="1141978"/>
                </a:cubicBezTo>
                <a:lnTo>
                  <a:pt x="1414429" y="1362259"/>
                </a:lnTo>
                <a:cubicBezTo>
                  <a:pt x="991260" y="1391243"/>
                  <a:pt x="655043" y="1744850"/>
                  <a:pt x="655043" y="2179613"/>
                </a:cubicBezTo>
                <a:lnTo>
                  <a:pt x="655043" y="2225988"/>
                </a:lnTo>
                <a:lnTo>
                  <a:pt x="568091" y="2139035"/>
                </a:lnTo>
                <a:cubicBezTo>
                  <a:pt x="544903" y="2115848"/>
                  <a:pt x="510122" y="2115848"/>
                  <a:pt x="486935" y="2139035"/>
                </a:cubicBezTo>
                <a:cubicBezTo>
                  <a:pt x="463747" y="2162222"/>
                  <a:pt x="463747" y="2197004"/>
                  <a:pt x="486935" y="2220191"/>
                </a:cubicBezTo>
                <a:lnTo>
                  <a:pt x="672434" y="2405690"/>
                </a:lnTo>
                <a:cubicBezTo>
                  <a:pt x="695621" y="2428877"/>
                  <a:pt x="730402" y="2428877"/>
                  <a:pt x="753589" y="2405690"/>
                </a:cubicBezTo>
                <a:lnTo>
                  <a:pt x="939088" y="2220191"/>
                </a:lnTo>
                <a:cubicBezTo>
                  <a:pt x="962276" y="2197004"/>
                  <a:pt x="962276" y="2162222"/>
                  <a:pt x="939088" y="2139035"/>
                </a:cubicBezTo>
                <a:cubicBezTo>
                  <a:pt x="915901" y="2115848"/>
                  <a:pt x="881120" y="2115848"/>
                  <a:pt x="857933" y="2139035"/>
                </a:cubicBezTo>
                <a:lnTo>
                  <a:pt x="770980" y="2225988"/>
                </a:lnTo>
                <a:lnTo>
                  <a:pt x="770980" y="2179613"/>
                </a:lnTo>
                <a:cubicBezTo>
                  <a:pt x="770980" y="1808615"/>
                  <a:pt x="1055025" y="1507180"/>
                  <a:pt x="1414429" y="1478195"/>
                </a:cubicBezTo>
                <a:lnTo>
                  <a:pt x="1414429" y="1692679"/>
                </a:lnTo>
                <a:cubicBezTo>
                  <a:pt x="1414429" y="1727459"/>
                  <a:pt x="1437617" y="1750647"/>
                  <a:pt x="1472398" y="1750647"/>
                </a:cubicBezTo>
                <a:lnTo>
                  <a:pt x="2423079" y="1750647"/>
                </a:lnTo>
                <a:cubicBezTo>
                  <a:pt x="2457860" y="1750647"/>
                  <a:pt x="2481048" y="1727459"/>
                  <a:pt x="2481048" y="1692679"/>
                </a:cubicBezTo>
                <a:lnTo>
                  <a:pt x="2481048" y="1141978"/>
                </a:lnTo>
                <a:cubicBezTo>
                  <a:pt x="2481048" y="1107197"/>
                  <a:pt x="2457860" y="1084009"/>
                  <a:pt x="2423079" y="1084009"/>
                </a:cubicBezTo>
                <a:close/>
                <a:moveTo>
                  <a:pt x="394185" y="765183"/>
                </a:moveTo>
                <a:cubicBezTo>
                  <a:pt x="365201" y="765183"/>
                  <a:pt x="336217" y="788371"/>
                  <a:pt x="336217" y="823152"/>
                </a:cubicBezTo>
                <a:cubicBezTo>
                  <a:pt x="336217" y="857933"/>
                  <a:pt x="359404" y="881120"/>
                  <a:pt x="394185" y="881120"/>
                </a:cubicBezTo>
                <a:lnTo>
                  <a:pt x="1739052" y="881120"/>
                </a:lnTo>
                <a:cubicBezTo>
                  <a:pt x="1773833" y="881120"/>
                  <a:pt x="1797020" y="857933"/>
                  <a:pt x="1797020" y="823152"/>
                </a:cubicBezTo>
                <a:cubicBezTo>
                  <a:pt x="1797020" y="788371"/>
                  <a:pt x="1773833" y="765183"/>
                  <a:pt x="1739052" y="765183"/>
                </a:cubicBezTo>
                <a:close/>
                <a:moveTo>
                  <a:pt x="394185" y="399982"/>
                </a:moveTo>
                <a:cubicBezTo>
                  <a:pt x="365201" y="399982"/>
                  <a:pt x="336217" y="423170"/>
                  <a:pt x="336217" y="457951"/>
                </a:cubicBezTo>
                <a:cubicBezTo>
                  <a:pt x="336217" y="492732"/>
                  <a:pt x="359404" y="515919"/>
                  <a:pt x="394185" y="515919"/>
                </a:cubicBezTo>
                <a:lnTo>
                  <a:pt x="1199946" y="515919"/>
                </a:lnTo>
                <a:cubicBezTo>
                  <a:pt x="1234727" y="515919"/>
                  <a:pt x="1257914" y="492732"/>
                  <a:pt x="1257914" y="457951"/>
                </a:cubicBezTo>
                <a:cubicBezTo>
                  <a:pt x="1257914" y="423170"/>
                  <a:pt x="1234727" y="399982"/>
                  <a:pt x="1199946" y="399982"/>
                </a:cubicBezTo>
                <a:close/>
                <a:moveTo>
                  <a:pt x="2150628" y="34781"/>
                </a:moveTo>
                <a:lnTo>
                  <a:pt x="2910015" y="794168"/>
                </a:lnTo>
                <a:lnTo>
                  <a:pt x="2910015" y="799965"/>
                </a:lnTo>
                <a:lnTo>
                  <a:pt x="2382503" y="799965"/>
                </a:lnTo>
                <a:cubicBezTo>
                  <a:pt x="2254971" y="799965"/>
                  <a:pt x="2150628" y="701419"/>
                  <a:pt x="2150628" y="579685"/>
                </a:cubicBezTo>
                <a:close/>
                <a:moveTo>
                  <a:pt x="226077" y="0"/>
                </a:moveTo>
                <a:lnTo>
                  <a:pt x="2034691" y="0"/>
                </a:lnTo>
                <a:lnTo>
                  <a:pt x="2034691" y="573887"/>
                </a:lnTo>
                <a:cubicBezTo>
                  <a:pt x="2034691" y="759386"/>
                  <a:pt x="2191206" y="910104"/>
                  <a:pt x="2382501" y="910104"/>
                </a:cubicBezTo>
                <a:lnTo>
                  <a:pt x="2944795" y="910104"/>
                </a:lnTo>
                <a:lnTo>
                  <a:pt x="2944795" y="3483902"/>
                </a:lnTo>
                <a:cubicBezTo>
                  <a:pt x="2944795" y="3611432"/>
                  <a:pt x="2840452" y="3709979"/>
                  <a:pt x="2718718" y="3709979"/>
                </a:cubicBezTo>
                <a:lnTo>
                  <a:pt x="226077" y="3709979"/>
                </a:lnTo>
                <a:cubicBezTo>
                  <a:pt x="104343" y="3709979"/>
                  <a:pt x="0" y="3611432"/>
                  <a:pt x="0" y="3483902"/>
                </a:cubicBezTo>
                <a:lnTo>
                  <a:pt x="0" y="226077"/>
                </a:lnTo>
                <a:cubicBezTo>
                  <a:pt x="0" y="104343"/>
                  <a:pt x="104343" y="0"/>
                  <a:pt x="226077" y="0"/>
                </a:cubicBezTo>
                <a:close/>
              </a:path>
            </a:pathLst>
          </a:custGeom>
          <a:solidFill>
            <a:schemeClr val="accent5"/>
          </a:solidFill>
          <a:ln w="9525" cap="flat">
            <a:noFill/>
            <a:prstDash val="solid"/>
            <a:miter/>
          </a:ln>
        </p:spPr>
        <p:txBody>
          <a:bodyPr rtlCol="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96" name="Rechteck 164">
            <a:extLst>
              <a:ext uri="{FF2B5EF4-FFF2-40B4-BE49-F238E27FC236}">
                <a16:creationId xmlns:a16="http://schemas.microsoft.com/office/drawing/2014/main" id="{37C833EB-C6C7-B58C-4351-6BE17883AD6E}"/>
              </a:ext>
            </a:extLst>
          </p:cNvPr>
          <p:cNvSpPr/>
          <p:nvPr/>
        </p:nvSpPr>
        <p:spPr>
          <a:xfrm>
            <a:off x="4891806" y="2308759"/>
            <a:ext cx="150445" cy="143006"/>
          </a:xfrm>
          <a:prstGeom prst="rect">
            <a:avLst/>
          </a:prstGeom>
        </p:spPr>
        <p:txBody>
          <a:bodyPr wrap="square" lIns="0" tIns="0" rIns="0" bIns="0">
            <a:spAutoFit/>
          </a:bodyPr>
          <a:lstStyle/>
          <a:p>
            <a:pPr algn="ctr" defTabSz="685800" fontAlgn="base">
              <a:spcBef>
                <a:spcPct val="0"/>
              </a:spcBef>
              <a:spcAft>
                <a:spcPct val="0"/>
              </a:spcAft>
              <a:defRPr/>
            </a:pPr>
            <a:r>
              <a:rPr lang="en-US" altLang="de-DE" sz="1125" b="1">
                <a:solidFill>
                  <a:srgbClr val="787878">
                    <a:lumMod val="100000"/>
                  </a:srgbClr>
                </a:solidFill>
                <a:latin typeface="+mj-lt"/>
                <a:ea typeface="Microsoft YaHei"/>
                <a:cs typeface="Calibri"/>
                <a:sym typeface="Arial Narrow"/>
              </a:rPr>
              <a:t>Ø</a:t>
            </a:r>
            <a:endParaRPr lang="en-US" altLang="de-DE" sz="1125" b="1" i="1" baseline="30000">
              <a:solidFill>
                <a:srgbClr val="787878">
                  <a:lumMod val="100000"/>
                </a:srgbClr>
              </a:solidFill>
              <a:latin typeface="+mj-lt"/>
              <a:ea typeface="Microsoft YaHei"/>
              <a:cs typeface="Calibri"/>
              <a:sym typeface="Arial Narrow"/>
            </a:endParaRPr>
          </a:p>
        </p:txBody>
      </p:sp>
      <p:sp>
        <p:nvSpPr>
          <p:cNvPr id="97" name="Freeform: Shape 9">
            <a:extLst>
              <a:ext uri="{FF2B5EF4-FFF2-40B4-BE49-F238E27FC236}">
                <a16:creationId xmlns:a16="http://schemas.microsoft.com/office/drawing/2014/main" id="{6B68A86C-E67B-C442-2276-5F56DB4918C6}"/>
              </a:ext>
            </a:extLst>
          </p:cNvPr>
          <p:cNvSpPr>
            <a:spLocks noChangeAspect="1"/>
          </p:cNvSpPr>
          <p:nvPr/>
        </p:nvSpPr>
        <p:spPr>
          <a:xfrm>
            <a:off x="5394995" y="2939785"/>
            <a:ext cx="75062" cy="94333"/>
          </a:xfrm>
          <a:custGeom>
            <a:avLst/>
            <a:gdLst>
              <a:gd name="connsiteX0" fmla="*/ 2289753 w 2944795"/>
              <a:gd name="connsiteY0" fmla="*/ 2852045 h 3709979"/>
              <a:gd name="connsiteX1" fmla="*/ 2492642 w 2944795"/>
              <a:gd name="connsiteY1" fmla="*/ 3054935 h 3709979"/>
              <a:gd name="connsiteX2" fmla="*/ 2289753 w 2944795"/>
              <a:gd name="connsiteY2" fmla="*/ 3257824 h 3709979"/>
              <a:gd name="connsiteX3" fmla="*/ 2086863 w 2944795"/>
              <a:gd name="connsiteY3" fmla="*/ 3054935 h 3709979"/>
              <a:gd name="connsiteX4" fmla="*/ 2289753 w 2944795"/>
              <a:gd name="connsiteY4" fmla="*/ 2852045 h 3709979"/>
              <a:gd name="connsiteX5" fmla="*/ 655044 w 2944795"/>
              <a:gd name="connsiteY5" fmla="*/ 2852045 h 3709979"/>
              <a:gd name="connsiteX6" fmla="*/ 857933 w 2944795"/>
              <a:gd name="connsiteY6" fmla="*/ 3054935 h 3709979"/>
              <a:gd name="connsiteX7" fmla="*/ 655044 w 2944795"/>
              <a:gd name="connsiteY7" fmla="*/ 3257824 h 3709979"/>
              <a:gd name="connsiteX8" fmla="*/ 452154 w 2944795"/>
              <a:gd name="connsiteY8" fmla="*/ 3054935 h 3709979"/>
              <a:gd name="connsiteX9" fmla="*/ 655044 w 2944795"/>
              <a:gd name="connsiteY9" fmla="*/ 2852045 h 3709979"/>
              <a:gd name="connsiteX10" fmla="*/ 655043 w 2944795"/>
              <a:gd name="connsiteY10" fmla="*/ 2736110 h 3709979"/>
              <a:gd name="connsiteX11" fmla="*/ 336217 w 2944795"/>
              <a:gd name="connsiteY11" fmla="*/ 3054936 h 3709979"/>
              <a:gd name="connsiteX12" fmla="*/ 655043 w 2944795"/>
              <a:gd name="connsiteY12" fmla="*/ 3373762 h 3709979"/>
              <a:gd name="connsiteX13" fmla="*/ 968072 w 2944795"/>
              <a:gd name="connsiteY13" fmla="*/ 3112904 h 3709979"/>
              <a:gd name="connsiteX14" fmla="*/ 1605725 w 2944795"/>
              <a:gd name="connsiteY14" fmla="*/ 3112904 h 3709979"/>
              <a:gd name="connsiteX15" fmla="*/ 1536163 w 2944795"/>
              <a:gd name="connsiteY15" fmla="*/ 3182466 h 3709979"/>
              <a:gd name="connsiteX16" fmla="*/ 1536163 w 2944795"/>
              <a:gd name="connsiteY16" fmla="*/ 3263622 h 3709979"/>
              <a:gd name="connsiteX17" fmla="*/ 1617319 w 2944795"/>
              <a:gd name="connsiteY17" fmla="*/ 3263622 h 3709979"/>
              <a:gd name="connsiteX18" fmla="*/ 1785427 w 2944795"/>
              <a:gd name="connsiteY18" fmla="*/ 3095514 h 3709979"/>
              <a:gd name="connsiteX19" fmla="*/ 1802817 w 2944795"/>
              <a:gd name="connsiteY19" fmla="*/ 3054936 h 3709979"/>
              <a:gd name="connsiteX20" fmla="*/ 1791224 w 2944795"/>
              <a:gd name="connsiteY20" fmla="*/ 3014358 h 3709979"/>
              <a:gd name="connsiteX21" fmla="*/ 1617319 w 2944795"/>
              <a:gd name="connsiteY21" fmla="*/ 2846249 h 3709979"/>
              <a:gd name="connsiteX22" fmla="*/ 1536163 w 2944795"/>
              <a:gd name="connsiteY22" fmla="*/ 2846249 h 3709979"/>
              <a:gd name="connsiteX23" fmla="*/ 1536163 w 2944795"/>
              <a:gd name="connsiteY23" fmla="*/ 2927405 h 3709979"/>
              <a:gd name="connsiteX24" fmla="*/ 1605725 w 2944795"/>
              <a:gd name="connsiteY24" fmla="*/ 2996967 h 3709979"/>
              <a:gd name="connsiteX25" fmla="*/ 968072 w 2944795"/>
              <a:gd name="connsiteY25" fmla="*/ 2996967 h 3709979"/>
              <a:gd name="connsiteX26" fmla="*/ 655043 w 2944795"/>
              <a:gd name="connsiteY26" fmla="*/ 2736110 h 3709979"/>
              <a:gd name="connsiteX27" fmla="*/ 2291926 w 2944795"/>
              <a:gd name="connsiteY27" fmla="*/ 1837599 h 3709979"/>
              <a:gd name="connsiteX28" fmla="*/ 2249174 w 2944795"/>
              <a:gd name="connsiteY28" fmla="*/ 1854990 h 3709979"/>
              <a:gd name="connsiteX29" fmla="*/ 2081066 w 2944795"/>
              <a:gd name="connsiteY29" fmla="*/ 2028895 h 3709979"/>
              <a:gd name="connsiteX30" fmla="*/ 2081066 w 2944795"/>
              <a:gd name="connsiteY30" fmla="*/ 2110051 h 3709979"/>
              <a:gd name="connsiteX31" fmla="*/ 2162222 w 2944795"/>
              <a:gd name="connsiteY31" fmla="*/ 2110051 h 3709979"/>
              <a:gd name="connsiteX32" fmla="*/ 2231784 w 2944795"/>
              <a:gd name="connsiteY32" fmla="*/ 2040489 h 3709979"/>
              <a:gd name="connsiteX33" fmla="*/ 2231784 w 2944795"/>
              <a:gd name="connsiteY33" fmla="*/ 2741906 h 3709979"/>
              <a:gd name="connsiteX34" fmla="*/ 1970926 w 2944795"/>
              <a:gd name="connsiteY34" fmla="*/ 3054936 h 3709979"/>
              <a:gd name="connsiteX35" fmla="*/ 2289752 w 2944795"/>
              <a:gd name="connsiteY35" fmla="*/ 3373762 h 3709979"/>
              <a:gd name="connsiteX36" fmla="*/ 2608578 w 2944795"/>
              <a:gd name="connsiteY36" fmla="*/ 3049139 h 3709979"/>
              <a:gd name="connsiteX37" fmla="*/ 2347720 w 2944795"/>
              <a:gd name="connsiteY37" fmla="*/ 2736110 h 3709979"/>
              <a:gd name="connsiteX38" fmla="*/ 2347720 w 2944795"/>
              <a:gd name="connsiteY38" fmla="*/ 2034692 h 3709979"/>
              <a:gd name="connsiteX39" fmla="*/ 2417282 w 2944795"/>
              <a:gd name="connsiteY39" fmla="*/ 2104254 h 3709979"/>
              <a:gd name="connsiteX40" fmla="*/ 2498438 w 2944795"/>
              <a:gd name="connsiteY40" fmla="*/ 2104254 h 3709979"/>
              <a:gd name="connsiteX41" fmla="*/ 2498438 w 2944795"/>
              <a:gd name="connsiteY41" fmla="*/ 2023098 h 3709979"/>
              <a:gd name="connsiteX42" fmla="*/ 2330330 w 2944795"/>
              <a:gd name="connsiteY42" fmla="*/ 1854990 h 3709979"/>
              <a:gd name="connsiteX43" fmla="*/ 2291926 w 2944795"/>
              <a:gd name="connsiteY43" fmla="*/ 1837599 h 3709979"/>
              <a:gd name="connsiteX44" fmla="*/ 1530366 w 2944795"/>
              <a:gd name="connsiteY44" fmla="*/ 1199946 h 3709979"/>
              <a:gd name="connsiteX45" fmla="*/ 2365112 w 2944795"/>
              <a:gd name="connsiteY45" fmla="*/ 1199946 h 3709979"/>
              <a:gd name="connsiteX46" fmla="*/ 2365112 w 2944795"/>
              <a:gd name="connsiteY46" fmla="*/ 1628912 h 3709979"/>
              <a:gd name="connsiteX47" fmla="*/ 1530366 w 2944795"/>
              <a:gd name="connsiteY47" fmla="*/ 1628912 h 3709979"/>
              <a:gd name="connsiteX48" fmla="*/ 1530366 w 2944795"/>
              <a:gd name="connsiteY48" fmla="*/ 1414429 h 3709979"/>
              <a:gd name="connsiteX49" fmla="*/ 1472398 w 2944795"/>
              <a:gd name="connsiteY49" fmla="*/ 1084009 h 3709979"/>
              <a:gd name="connsiteX50" fmla="*/ 1414429 w 2944795"/>
              <a:gd name="connsiteY50" fmla="*/ 1141978 h 3709979"/>
              <a:gd name="connsiteX51" fmla="*/ 1414429 w 2944795"/>
              <a:gd name="connsiteY51" fmla="*/ 1362259 h 3709979"/>
              <a:gd name="connsiteX52" fmla="*/ 655043 w 2944795"/>
              <a:gd name="connsiteY52" fmla="*/ 2179613 h 3709979"/>
              <a:gd name="connsiteX53" fmla="*/ 655043 w 2944795"/>
              <a:gd name="connsiteY53" fmla="*/ 2225988 h 3709979"/>
              <a:gd name="connsiteX54" fmla="*/ 568091 w 2944795"/>
              <a:gd name="connsiteY54" fmla="*/ 2139035 h 3709979"/>
              <a:gd name="connsiteX55" fmla="*/ 486935 w 2944795"/>
              <a:gd name="connsiteY55" fmla="*/ 2139035 h 3709979"/>
              <a:gd name="connsiteX56" fmla="*/ 486935 w 2944795"/>
              <a:gd name="connsiteY56" fmla="*/ 2220191 h 3709979"/>
              <a:gd name="connsiteX57" fmla="*/ 672434 w 2944795"/>
              <a:gd name="connsiteY57" fmla="*/ 2405690 h 3709979"/>
              <a:gd name="connsiteX58" fmla="*/ 753589 w 2944795"/>
              <a:gd name="connsiteY58" fmla="*/ 2405690 h 3709979"/>
              <a:gd name="connsiteX59" fmla="*/ 939088 w 2944795"/>
              <a:gd name="connsiteY59" fmla="*/ 2220191 h 3709979"/>
              <a:gd name="connsiteX60" fmla="*/ 939088 w 2944795"/>
              <a:gd name="connsiteY60" fmla="*/ 2139035 h 3709979"/>
              <a:gd name="connsiteX61" fmla="*/ 857933 w 2944795"/>
              <a:gd name="connsiteY61" fmla="*/ 2139035 h 3709979"/>
              <a:gd name="connsiteX62" fmla="*/ 770980 w 2944795"/>
              <a:gd name="connsiteY62" fmla="*/ 2225988 h 3709979"/>
              <a:gd name="connsiteX63" fmla="*/ 770980 w 2944795"/>
              <a:gd name="connsiteY63" fmla="*/ 2179613 h 3709979"/>
              <a:gd name="connsiteX64" fmla="*/ 1414429 w 2944795"/>
              <a:gd name="connsiteY64" fmla="*/ 1478195 h 3709979"/>
              <a:gd name="connsiteX65" fmla="*/ 1414429 w 2944795"/>
              <a:gd name="connsiteY65" fmla="*/ 1692679 h 3709979"/>
              <a:gd name="connsiteX66" fmla="*/ 1472398 w 2944795"/>
              <a:gd name="connsiteY66" fmla="*/ 1750647 h 3709979"/>
              <a:gd name="connsiteX67" fmla="*/ 2423079 w 2944795"/>
              <a:gd name="connsiteY67" fmla="*/ 1750647 h 3709979"/>
              <a:gd name="connsiteX68" fmla="*/ 2481048 w 2944795"/>
              <a:gd name="connsiteY68" fmla="*/ 1692679 h 3709979"/>
              <a:gd name="connsiteX69" fmla="*/ 2481048 w 2944795"/>
              <a:gd name="connsiteY69" fmla="*/ 1141978 h 3709979"/>
              <a:gd name="connsiteX70" fmla="*/ 2423079 w 2944795"/>
              <a:gd name="connsiteY70" fmla="*/ 1084009 h 3709979"/>
              <a:gd name="connsiteX71" fmla="*/ 394185 w 2944795"/>
              <a:gd name="connsiteY71" fmla="*/ 765183 h 3709979"/>
              <a:gd name="connsiteX72" fmla="*/ 336217 w 2944795"/>
              <a:gd name="connsiteY72" fmla="*/ 823152 h 3709979"/>
              <a:gd name="connsiteX73" fmla="*/ 394185 w 2944795"/>
              <a:gd name="connsiteY73" fmla="*/ 881120 h 3709979"/>
              <a:gd name="connsiteX74" fmla="*/ 1739052 w 2944795"/>
              <a:gd name="connsiteY74" fmla="*/ 881120 h 3709979"/>
              <a:gd name="connsiteX75" fmla="*/ 1797020 w 2944795"/>
              <a:gd name="connsiteY75" fmla="*/ 823152 h 3709979"/>
              <a:gd name="connsiteX76" fmla="*/ 1739052 w 2944795"/>
              <a:gd name="connsiteY76" fmla="*/ 765183 h 3709979"/>
              <a:gd name="connsiteX77" fmla="*/ 394185 w 2944795"/>
              <a:gd name="connsiteY77" fmla="*/ 399982 h 3709979"/>
              <a:gd name="connsiteX78" fmla="*/ 336217 w 2944795"/>
              <a:gd name="connsiteY78" fmla="*/ 457951 h 3709979"/>
              <a:gd name="connsiteX79" fmla="*/ 394185 w 2944795"/>
              <a:gd name="connsiteY79" fmla="*/ 515919 h 3709979"/>
              <a:gd name="connsiteX80" fmla="*/ 1199946 w 2944795"/>
              <a:gd name="connsiteY80" fmla="*/ 515919 h 3709979"/>
              <a:gd name="connsiteX81" fmla="*/ 1257914 w 2944795"/>
              <a:gd name="connsiteY81" fmla="*/ 457951 h 3709979"/>
              <a:gd name="connsiteX82" fmla="*/ 1199946 w 2944795"/>
              <a:gd name="connsiteY82" fmla="*/ 399982 h 3709979"/>
              <a:gd name="connsiteX83" fmla="*/ 2150628 w 2944795"/>
              <a:gd name="connsiteY83" fmla="*/ 34781 h 3709979"/>
              <a:gd name="connsiteX84" fmla="*/ 2910015 w 2944795"/>
              <a:gd name="connsiteY84" fmla="*/ 794168 h 3709979"/>
              <a:gd name="connsiteX85" fmla="*/ 2910015 w 2944795"/>
              <a:gd name="connsiteY85" fmla="*/ 799965 h 3709979"/>
              <a:gd name="connsiteX86" fmla="*/ 2382503 w 2944795"/>
              <a:gd name="connsiteY86" fmla="*/ 799965 h 3709979"/>
              <a:gd name="connsiteX87" fmla="*/ 2150628 w 2944795"/>
              <a:gd name="connsiteY87" fmla="*/ 579685 h 3709979"/>
              <a:gd name="connsiteX88" fmla="*/ 226077 w 2944795"/>
              <a:gd name="connsiteY88" fmla="*/ 0 h 3709979"/>
              <a:gd name="connsiteX89" fmla="*/ 2034691 w 2944795"/>
              <a:gd name="connsiteY89" fmla="*/ 0 h 3709979"/>
              <a:gd name="connsiteX90" fmla="*/ 2034691 w 2944795"/>
              <a:gd name="connsiteY90" fmla="*/ 573887 h 3709979"/>
              <a:gd name="connsiteX91" fmla="*/ 2382501 w 2944795"/>
              <a:gd name="connsiteY91" fmla="*/ 910104 h 3709979"/>
              <a:gd name="connsiteX92" fmla="*/ 2944795 w 2944795"/>
              <a:gd name="connsiteY92" fmla="*/ 910104 h 3709979"/>
              <a:gd name="connsiteX93" fmla="*/ 2944795 w 2944795"/>
              <a:gd name="connsiteY93" fmla="*/ 3483902 h 3709979"/>
              <a:gd name="connsiteX94" fmla="*/ 2718718 w 2944795"/>
              <a:gd name="connsiteY94" fmla="*/ 3709979 h 3709979"/>
              <a:gd name="connsiteX95" fmla="*/ 226077 w 2944795"/>
              <a:gd name="connsiteY95" fmla="*/ 3709979 h 3709979"/>
              <a:gd name="connsiteX96" fmla="*/ 0 w 2944795"/>
              <a:gd name="connsiteY96" fmla="*/ 3483902 h 3709979"/>
              <a:gd name="connsiteX97" fmla="*/ 0 w 2944795"/>
              <a:gd name="connsiteY97" fmla="*/ 226077 h 3709979"/>
              <a:gd name="connsiteX98" fmla="*/ 226077 w 2944795"/>
              <a:gd name="connsiteY98" fmla="*/ 0 h 370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944795" h="3709979">
                <a:moveTo>
                  <a:pt x="2289753" y="2852045"/>
                </a:moveTo>
                <a:cubicBezTo>
                  <a:pt x="2401805" y="2852045"/>
                  <a:pt x="2492642" y="2942882"/>
                  <a:pt x="2492642" y="3054935"/>
                </a:cubicBezTo>
                <a:cubicBezTo>
                  <a:pt x="2492642" y="3166987"/>
                  <a:pt x="2401805" y="3257824"/>
                  <a:pt x="2289753" y="3257824"/>
                </a:cubicBezTo>
                <a:cubicBezTo>
                  <a:pt x="2177700" y="3257824"/>
                  <a:pt x="2086863" y="3166987"/>
                  <a:pt x="2086863" y="3054935"/>
                </a:cubicBezTo>
                <a:cubicBezTo>
                  <a:pt x="2086863" y="2942882"/>
                  <a:pt x="2177700" y="2852045"/>
                  <a:pt x="2289753" y="2852045"/>
                </a:cubicBezTo>
                <a:close/>
                <a:moveTo>
                  <a:pt x="655044" y="2852045"/>
                </a:moveTo>
                <a:cubicBezTo>
                  <a:pt x="765184" y="2852045"/>
                  <a:pt x="857933" y="2944795"/>
                  <a:pt x="857933" y="3054935"/>
                </a:cubicBezTo>
                <a:cubicBezTo>
                  <a:pt x="857933" y="3165075"/>
                  <a:pt x="765184" y="3257824"/>
                  <a:pt x="655044" y="3257824"/>
                </a:cubicBezTo>
                <a:cubicBezTo>
                  <a:pt x="544904" y="3257824"/>
                  <a:pt x="452154" y="3165075"/>
                  <a:pt x="452154" y="3054935"/>
                </a:cubicBezTo>
                <a:cubicBezTo>
                  <a:pt x="452154" y="2944795"/>
                  <a:pt x="544904" y="2852045"/>
                  <a:pt x="655044" y="2852045"/>
                </a:cubicBezTo>
                <a:close/>
                <a:moveTo>
                  <a:pt x="655043" y="2736110"/>
                </a:moveTo>
                <a:cubicBezTo>
                  <a:pt x="481138" y="2736110"/>
                  <a:pt x="336217" y="2881031"/>
                  <a:pt x="336217" y="3054936"/>
                </a:cubicBezTo>
                <a:cubicBezTo>
                  <a:pt x="336217" y="3228841"/>
                  <a:pt x="481138" y="3373762"/>
                  <a:pt x="655043" y="3373762"/>
                </a:cubicBezTo>
                <a:cubicBezTo>
                  <a:pt x="811558" y="3373762"/>
                  <a:pt x="939088" y="3257825"/>
                  <a:pt x="968072" y="3112904"/>
                </a:cubicBezTo>
                <a:lnTo>
                  <a:pt x="1605725" y="3112904"/>
                </a:lnTo>
                <a:lnTo>
                  <a:pt x="1536163" y="3182466"/>
                </a:lnTo>
                <a:cubicBezTo>
                  <a:pt x="1512975" y="3205654"/>
                  <a:pt x="1512975" y="3240435"/>
                  <a:pt x="1536163" y="3263622"/>
                </a:cubicBezTo>
                <a:cubicBezTo>
                  <a:pt x="1559350" y="3286809"/>
                  <a:pt x="1594131" y="3286809"/>
                  <a:pt x="1617319" y="3263622"/>
                </a:cubicBezTo>
                <a:lnTo>
                  <a:pt x="1785427" y="3095514"/>
                </a:lnTo>
                <a:cubicBezTo>
                  <a:pt x="1797020" y="3083920"/>
                  <a:pt x="1802817" y="3072326"/>
                  <a:pt x="1802817" y="3054936"/>
                </a:cubicBezTo>
                <a:cubicBezTo>
                  <a:pt x="1802817" y="3037545"/>
                  <a:pt x="1797020" y="3025952"/>
                  <a:pt x="1791224" y="3014358"/>
                </a:cubicBezTo>
                <a:lnTo>
                  <a:pt x="1617319" y="2846249"/>
                </a:lnTo>
                <a:cubicBezTo>
                  <a:pt x="1594131" y="2823062"/>
                  <a:pt x="1559350" y="2823062"/>
                  <a:pt x="1536163" y="2846249"/>
                </a:cubicBezTo>
                <a:cubicBezTo>
                  <a:pt x="1512975" y="2869437"/>
                  <a:pt x="1512975" y="2904218"/>
                  <a:pt x="1536163" y="2927405"/>
                </a:cubicBezTo>
                <a:lnTo>
                  <a:pt x="1605725" y="2996967"/>
                </a:lnTo>
                <a:lnTo>
                  <a:pt x="968072" y="2996967"/>
                </a:lnTo>
                <a:cubicBezTo>
                  <a:pt x="939088" y="2846249"/>
                  <a:pt x="811558" y="2736110"/>
                  <a:pt x="655043" y="2736110"/>
                </a:cubicBezTo>
                <a:close/>
                <a:moveTo>
                  <a:pt x="2291926" y="1837599"/>
                </a:moveTo>
                <a:cubicBezTo>
                  <a:pt x="2276709" y="1837599"/>
                  <a:pt x="2260768" y="1843396"/>
                  <a:pt x="2249174" y="1854990"/>
                </a:cubicBezTo>
                <a:lnTo>
                  <a:pt x="2081066" y="2028895"/>
                </a:lnTo>
                <a:cubicBezTo>
                  <a:pt x="2057878" y="2052083"/>
                  <a:pt x="2057878" y="2086864"/>
                  <a:pt x="2081066" y="2110051"/>
                </a:cubicBezTo>
                <a:cubicBezTo>
                  <a:pt x="2104253" y="2133238"/>
                  <a:pt x="2139034" y="2133238"/>
                  <a:pt x="2162222" y="2110051"/>
                </a:cubicBezTo>
                <a:lnTo>
                  <a:pt x="2231784" y="2040489"/>
                </a:lnTo>
                <a:lnTo>
                  <a:pt x="2231784" y="2741906"/>
                </a:lnTo>
                <a:cubicBezTo>
                  <a:pt x="2081066" y="2770891"/>
                  <a:pt x="1970926" y="2898421"/>
                  <a:pt x="1970926" y="3054936"/>
                </a:cubicBezTo>
                <a:cubicBezTo>
                  <a:pt x="1970926" y="3228841"/>
                  <a:pt x="2115847" y="3373762"/>
                  <a:pt x="2289752" y="3373762"/>
                </a:cubicBezTo>
                <a:cubicBezTo>
                  <a:pt x="2463657" y="3373762"/>
                  <a:pt x="2608578" y="3228841"/>
                  <a:pt x="2608578" y="3049139"/>
                </a:cubicBezTo>
                <a:cubicBezTo>
                  <a:pt x="2608578" y="2892624"/>
                  <a:pt x="2492641" y="2765094"/>
                  <a:pt x="2347720" y="2736110"/>
                </a:cubicBezTo>
                <a:lnTo>
                  <a:pt x="2347720" y="2034692"/>
                </a:lnTo>
                <a:lnTo>
                  <a:pt x="2417282" y="2104254"/>
                </a:lnTo>
                <a:cubicBezTo>
                  <a:pt x="2440470" y="2127442"/>
                  <a:pt x="2475251" y="2127442"/>
                  <a:pt x="2498438" y="2104254"/>
                </a:cubicBezTo>
                <a:cubicBezTo>
                  <a:pt x="2521625" y="2081067"/>
                  <a:pt x="2521625" y="2046286"/>
                  <a:pt x="2498438" y="2023098"/>
                </a:cubicBezTo>
                <a:lnTo>
                  <a:pt x="2330330" y="1854990"/>
                </a:lnTo>
                <a:cubicBezTo>
                  <a:pt x="2321635" y="1843396"/>
                  <a:pt x="2307143" y="1837599"/>
                  <a:pt x="2291926" y="1837599"/>
                </a:cubicBezTo>
                <a:close/>
                <a:moveTo>
                  <a:pt x="1530366" y="1199946"/>
                </a:moveTo>
                <a:lnTo>
                  <a:pt x="2365112" y="1199946"/>
                </a:lnTo>
                <a:lnTo>
                  <a:pt x="2365112" y="1628912"/>
                </a:lnTo>
                <a:lnTo>
                  <a:pt x="1530366" y="1628912"/>
                </a:lnTo>
                <a:lnTo>
                  <a:pt x="1530366" y="1414429"/>
                </a:lnTo>
                <a:close/>
                <a:moveTo>
                  <a:pt x="1472398" y="1084009"/>
                </a:moveTo>
                <a:cubicBezTo>
                  <a:pt x="1437617" y="1084009"/>
                  <a:pt x="1414429" y="1107197"/>
                  <a:pt x="1414429" y="1141978"/>
                </a:cubicBezTo>
                <a:lnTo>
                  <a:pt x="1414429" y="1362259"/>
                </a:lnTo>
                <a:cubicBezTo>
                  <a:pt x="991260" y="1391243"/>
                  <a:pt x="655043" y="1744850"/>
                  <a:pt x="655043" y="2179613"/>
                </a:cubicBezTo>
                <a:lnTo>
                  <a:pt x="655043" y="2225988"/>
                </a:lnTo>
                <a:lnTo>
                  <a:pt x="568091" y="2139035"/>
                </a:lnTo>
                <a:cubicBezTo>
                  <a:pt x="544903" y="2115848"/>
                  <a:pt x="510122" y="2115848"/>
                  <a:pt x="486935" y="2139035"/>
                </a:cubicBezTo>
                <a:cubicBezTo>
                  <a:pt x="463747" y="2162222"/>
                  <a:pt x="463747" y="2197004"/>
                  <a:pt x="486935" y="2220191"/>
                </a:cubicBezTo>
                <a:lnTo>
                  <a:pt x="672434" y="2405690"/>
                </a:lnTo>
                <a:cubicBezTo>
                  <a:pt x="695621" y="2428877"/>
                  <a:pt x="730402" y="2428877"/>
                  <a:pt x="753589" y="2405690"/>
                </a:cubicBezTo>
                <a:lnTo>
                  <a:pt x="939088" y="2220191"/>
                </a:lnTo>
                <a:cubicBezTo>
                  <a:pt x="962276" y="2197004"/>
                  <a:pt x="962276" y="2162222"/>
                  <a:pt x="939088" y="2139035"/>
                </a:cubicBezTo>
                <a:cubicBezTo>
                  <a:pt x="915901" y="2115848"/>
                  <a:pt x="881120" y="2115848"/>
                  <a:pt x="857933" y="2139035"/>
                </a:cubicBezTo>
                <a:lnTo>
                  <a:pt x="770980" y="2225988"/>
                </a:lnTo>
                <a:lnTo>
                  <a:pt x="770980" y="2179613"/>
                </a:lnTo>
                <a:cubicBezTo>
                  <a:pt x="770980" y="1808615"/>
                  <a:pt x="1055025" y="1507180"/>
                  <a:pt x="1414429" y="1478195"/>
                </a:cubicBezTo>
                <a:lnTo>
                  <a:pt x="1414429" y="1692679"/>
                </a:lnTo>
                <a:cubicBezTo>
                  <a:pt x="1414429" y="1727459"/>
                  <a:pt x="1437617" y="1750647"/>
                  <a:pt x="1472398" y="1750647"/>
                </a:cubicBezTo>
                <a:lnTo>
                  <a:pt x="2423079" y="1750647"/>
                </a:lnTo>
                <a:cubicBezTo>
                  <a:pt x="2457860" y="1750647"/>
                  <a:pt x="2481048" y="1727459"/>
                  <a:pt x="2481048" y="1692679"/>
                </a:cubicBezTo>
                <a:lnTo>
                  <a:pt x="2481048" y="1141978"/>
                </a:lnTo>
                <a:cubicBezTo>
                  <a:pt x="2481048" y="1107197"/>
                  <a:pt x="2457860" y="1084009"/>
                  <a:pt x="2423079" y="1084009"/>
                </a:cubicBezTo>
                <a:close/>
                <a:moveTo>
                  <a:pt x="394185" y="765183"/>
                </a:moveTo>
                <a:cubicBezTo>
                  <a:pt x="365201" y="765183"/>
                  <a:pt x="336217" y="788371"/>
                  <a:pt x="336217" y="823152"/>
                </a:cubicBezTo>
                <a:cubicBezTo>
                  <a:pt x="336217" y="857933"/>
                  <a:pt x="359404" y="881120"/>
                  <a:pt x="394185" y="881120"/>
                </a:cubicBezTo>
                <a:lnTo>
                  <a:pt x="1739052" y="881120"/>
                </a:lnTo>
                <a:cubicBezTo>
                  <a:pt x="1773833" y="881120"/>
                  <a:pt x="1797020" y="857933"/>
                  <a:pt x="1797020" y="823152"/>
                </a:cubicBezTo>
                <a:cubicBezTo>
                  <a:pt x="1797020" y="788371"/>
                  <a:pt x="1773833" y="765183"/>
                  <a:pt x="1739052" y="765183"/>
                </a:cubicBezTo>
                <a:close/>
                <a:moveTo>
                  <a:pt x="394185" y="399982"/>
                </a:moveTo>
                <a:cubicBezTo>
                  <a:pt x="365201" y="399982"/>
                  <a:pt x="336217" y="423170"/>
                  <a:pt x="336217" y="457951"/>
                </a:cubicBezTo>
                <a:cubicBezTo>
                  <a:pt x="336217" y="492732"/>
                  <a:pt x="359404" y="515919"/>
                  <a:pt x="394185" y="515919"/>
                </a:cubicBezTo>
                <a:lnTo>
                  <a:pt x="1199946" y="515919"/>
                </a:lnTo>
                <a:cubicBezTo>
                  <a:pt x="1234727" y="515919"/>
                  <a:pt x="1257914" y="492732"/>
                  <a:pt x="1257914" y="457951"/>
                </a:cubicBezTo>
                <a:cubicBezTo>
                  <a:pt x="1257914" y="423170"/>
                  <a:pt x="1234727" y="399982"/>
                  <a:pt x="1199946" y="399982"/>
                </a:cubicBezTo>
                <a:close/>
                <a:moveTo>
                  <a:pt x="2150628" y="34781"/>
                </a:moveTo>
                <a:lnTo>
                  <a:pt x="2910015" y="794168"/>
                </a:lnTo>
                <a:lnTo>
                  <a:pt x="2910015" y="799965"/>
                </a:lnTo>
                <a:lnTo>
                  <a:pt x="2382503" y="799965"/>
                </a:lnTo>
                <a:cubicBezTo>
                  <a:pt x="2254971" y="799965"/>
                  <a:pt x="2150628" y="701419"/>
                  <a:pt x="2150628" y="579685"/>
                </a:cubicBezTo>
                <a:close/>
                <a:moveTo>
                  <a:pt x="226077" y="0"/>
                </a:moveTo>
                <a:lnTo>
                  <a:pt x="2034691" y="0"/>
                </a:lnTo>
                <a:lnTo>
                  <a:pt x="2034691" y="573887"/>
                </a:lnTo>
                <a:cubicBezTo>
                  <a:pt x="2034691" y="759386"/>
                  <a:pt x="2191206" y="910104"/>
                  <a:pt x="2382501" y="910104"/>
                </a:cubicBezTo>
                <a:lnTo>
                  <a:pt x="2944795" y="910104"/>
                </a:lnTo>
                <a:lnTo>
                  <a:pt x="2944795" y="3483902"/>
                </a:lnTo>
                <a:cubicBezTo>
                  <a:pt x="2944795" y="3611432"/>
                  <a:pt x="2840452" y="3709979"/>
                  <a:pt x="2718718" y="3709979"/>
                </a:cubicBezTo>
                <a:lnTo>
                  <a:pt x="226077" y="3709979"/>
                </a:lnTo>
                <a:cubicBezTo>
                  <a:pt x="104343" y="3709979"/>
                  <a:pt x="0" y="3611432"/>
                  <a:pt x="0" y="3483902"/>
                </a:cubicBezTo>
                <a:lnTo>
                  <a:pt x="0" y="226077"/>
                </a:lnTo>
                <a:cubicBezTo>
                  <a:pt x="0" y="104343"/>
                  <a:pt x="104343" y="0"/>
                  <a:pt x="226077" y="0"/>
                </a:cubicBezTo>
                <a:close/>
              </a:path>
            </a:pathLst>
          </a:custGeom>
          <a:solidFill>
            <a:schemeClr val="accent5"/>
          </a:solidFill>
          <a:ln w="9525" cap="flat">
            <a:noFill/>
            <a:prstDash val="solid"/>
            <a:miter/>
          </a:ln>
        </p:spPr>
        <p:txBody>
          <a:bodyPr rtlCol="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98" name="Rechteck 168">
            <a:extLst>
              <a:ext uri="{FF2B5EF4-FFF2-40B4-BE49-F238E27FC236}">
                <a16:creationId xmlns:a16="http://schemas.microsoft.com/office/drawing/2014/main" id="{696084DC-2D49-2D65-9830-15D2CAC499B0}"/>
              </a:ext>
            </a:extLst>
          </p:cNvPr>
          <p:cNvSpPr/>
          <p:nvPr/>
        </p:nvSpPr>
        <p:spPr>
          <a:xfrm>
            <a:off x="6076919" y="2915448"/>
            <a:ext cx="150445" cy="143006"/>
          </a:xfrm>
          <a:prstGeom prst="rect">
            <a:avLst/>
          </a:prstGeom>
        </p:spPr>
        <p:txBody>
          <a:bodyPr wrap="square" lIns="0" tIns="0" rIns="0" bIns="0">
            <a:spAutoFit/>
          </a:bodyPr>
          <a:lstStyle/>
          <a:p>
            <a:pPr algn="ctr" defTabSz="685800" fontAlgn="base">
              <a:spcBef>
                <a:spcPct val="0"/>
              </a:spcBef>
              <a:spcAft>
                <a:spcPct val="0"/>
              </a:spcAft>
              <a:defRPr/>
            </a:pPr>
            <a:r>
              <a:rPr lang="en-US" altLang="de-DE" sz="1125" b="1">
                <a:solidFill>
                  <a:srgbClr val="787878">
                    <a:lumMod val="100000"/>
                  </a:srgbClr>
                </a:solidFill>
                <a:latin typeface="+mj-lt"/>
                <a:ea typeface="Microsoft YaHei"/>
                <a:cs typeface="Calibri"/>
                <a:sym typeface="Arial Narrow"/>
              </a:rPr>
              <a:t>Ø</a:t>
            </a:r>
            <a:endParaRPr lang="en-US" altLang="de-DE" sz="1125" b="1" i="1" baseline="30000">
              <a:solidFill>
                <a:srgbClr val="787878">
                  <a:lumMod val="100000"/>
                </a:srgbClr>
              </a:solidFill>
              <a:latin typeface="+mj-lt"/>
              <a:ea typeface="Microsoft YaHei"/>
              <a:cs typeface="Calibri"/>
              <a:sym typeface="Arial Narrow"/>
            </a:endParaRPr>
          </a:p>
        </p:txBody>
      </p:sp>
      <p:sp>
        <p:nvSpPr>
          <p:cNvPr id="99" name="Freeform: Shape 9">
            <a:extLst>
              <a:ext uri="{FF2B5EF4-FFF2-40B4-BE49-F238E27FC236}">
                <a16:creationId xmlns:a16="http://schemas.microsoft.com/office/drawing/2014/main" id="{C8D87F91-47F4-6F76-FC9D-184EE95AB7AE}"/>
              </a:ext>
            </a:extLst>
          </p:cNvPr>
          <p:cNvSpPr>
            <a:spLocks noChangeAspect="1"/>
          </p:cNvSpPr>
          <p:nvPr/>
        </p:nvSpPr>
        <p:spPr>
          <a:xfrm>
            <a:off x="4581240" y="4051106"/>
            <a:ext cx="74019" cy="93663"/>
          </a:xfrm>
          <a:custGeom>
            <a:avLst/>
            <a:gdLst>
              <a:gd name="connsiteX0" fmla="*/ 2289753 w 2944795"/>
              <a:gd name="connsiteY0" fmla="*/ 2852045 h 3709979"/>
              <a:gd name="connsiteX1" fmla="*/ 2492642 w 2944795"/>
              <a:gd name="connsiteY1" fmla="*/ 3054935 h 3709979"/>
              <a:gd name="connsiteX2" fmla="*/ 2289753 w 2944795"/>
              <a:gd name="connsiteY2" fmla="*/ 3257824 h 3709979"/>
              <a:gd name="connsiteX3" fmla="*/ 2086863 w 2944795"/>
              <a:gd name="connsiteY3" fmla="*/ 3054935 h 3709979"/>
              <a:gd name="connsiteX4" fmla="*/ 2289753 w 2944795"/>
              <a:gd name="connsiteY4" fmla="*/ 2852045 h 3709979"/>
              <a:gd name="connsiteX5" fmla="*/ 655044 w 2944795"/>
              <a:gd name="connsiteY5" fmla="*/ 2852045 h 3709979"/>
              <a:gd name="connsiteX6" fmla="*/ 857933 w 2944795"/>
              <a:gd name="connsiteY6" fmla="*/ 3054935 h 3709979"/>
              <a:gd name="connsiteX7" fmla="*/ 655044 w 2944795"/>
              <a:gd name="connsiteY7" fmla="*/ 3257824 h 3709979"/>
              <a:gd name="connsiteX8" fmla="*/ 452154 w 2944795"/>
              <a:gd name="connsiteY8" fmla="*/ 3054935 h 3709979"/>
              <a:gd name="connsiteX9" fmla="*/ 655044 w 2944795"/>
              <a:gd name="connsiteY9" fmla="*/ 2852045 h 3709979"/>
              <a:gd name="connsiteX10" fmla="*/ 655043 w 2944795"/>
              <a:gd name="connsiteY10" fmla="*/ 2736110 h 3709979"/>
              <a:gd name="connsiteX11" fmla="*/ 336217 w 2944795"/>
              <a:gd name="connsiteY11" fmla="*/ 3054936 h 3709979"/>
              <a:gd name="connsiteX12" fmla="*/ 655043 w 2944795"/>
              <a:gd name="connsiteY12" fmla="*/ 3373762 h 3709979"/>
              <a:gd name="connsiteX13" fmla="*/ 968072 w 2944795"/>
              <a:gd name="connsiteY13" fmla="*/ 3112904 h 3709979"/>
              <a:gd name="connsiteX14" fmla="*/ 1605725 w 2944795"/>
              <a:gd name="connsiteY14" fmla="*/ 3112904 h 3709979"/>
              <a:gd name="connsiteX15" fmla="*/ 1536163 w 2944795"/>
              <a:gd name="connsiteY15" fmla="*/ 3182466 h 3709979"/>
              <a:gd name="connsiteX16" fmla="*/ 1536163 w 2944795"/>
              <a:gd name="connsiteY16" fmla="*/ 3263622 h 3709979"/>
              <a:gd name="connsiteX17" fmla="*/ 1617319 w 2944795"/>
              <a:gd name="connsiteY17" fmla="*/ 3263622 h 3709979"/>
              <a:gd name="connsiteX18" fmla="*/ 1785427 w 2944795"/>
              <a:gd name="connsiteY18" fmla="*/ 3095514 h 3709979"/>
              <a:gd name="connsiteX19" fmla="*/ 1802817 w 2944795"/>
              <a:gd name="connsiteY19" fmla="*/ 3054936 h 3709979"/>
              <a:gd name="connsiteX20" fmla="*/ 1791224 w 2944795"/>
              <a:gd name="connsiteY20" fmla="*/ 3014358 h 3709979"/>
              <a:gd name="connsiteX21" fmla="*/ 1617319 w 2944795"/>
              <a:gd name="connsiteY21" fmla="*/ 2846249 h 3709979"/>
              <a:gd name="connsiteX22" fmla="*/ 1536163 w 2944795"/>
              <a:gd name="connsiteY22" fmla="*/ 2846249 h 3709979"/>
              <a:gd name="connsiteX23" fmla="*/ 1536163 w 2944795"/>
              <a:gd name="connsiteY23" fmla="*/ 2927405 h 3709979"/>
              <a:gd name="connsiteX24" fmla="*/ 1605725 w 2944795"/>
              <a:gd name="connsiteY24" fmla="*/ 2996967 h 3709979"/>
              <a:gd name="connsiteX25" fmla="*/ 968072 w 2944795"/>
              <a:gd name="connsiteY25" fmla="*/ 2996967 h 3709979"/>
              <a:gd name="connsiteX26" fmla="*/ 655043 w 2944795"/>
              <a:gd name="connsiteY26" fmla="*/ 2736110 h 3709979"/>
              <a:gd name="connsiteX27" fmla="*/ 2291926 w 2944795"/>
              <a:gd name="connsiteY27" fmla="*/ 1837599 h 3709979"/>
              <a:gd name="connsiteX28" fmla="*/ 2249174 w 2944795"/>
              <a:gd name="connsiteY28" fmla="*/ 1854990 h 3709979"/>
              <a:gd name="connsiteX29" fmla="*/ 2081066 w 2944795"/>
              <a:gd name="connsiteY29" fmla="*/ 2028895 h 3709979"/>
              <a:gd name="connsiteX30" fmla="*/ 2081066 w 2944795"/>
              <a:gd name="connsiteY30" fmla="*/ 2110051 h 3709979"/>
              <a:gd name="connsiteX31" fmla="*/ 2162222 w 2944795"/>
              <a:gd name="connsiteY31" fmla="*/ 2110051 h 3709979"/>
              <a:gd name="connsiteX32" fmla="*/ 2231784 w 2944795"/>
              <a:gd name="connsiteY32" fmla="*/ 2040489 h 3709979"/>
              <a:gd name="connsiteX33" fmla="*/ 2231784 w 2944795"/>
              <a:gd name="connsiteY33" fmla="*/ 2741906 h 3709979"/>
              <a:gd name="connsiteX34" fmla="*/ 1970926 w 2944795"/>
              <a:gd name="connsiteY34" fmla="*/ 3054936 h 3709979"/>
              <a:gd name="connsiteX35" fmla="*/ 2289752 w 2944795"/>
              <a:gd name="connsiteY35" fmla="*/ 3373762 h 3709979"/>
              <a:gd name="connsiteX36" fmla="*/ 2608578 w 2944795"/>
              <a:gd name="connsiteY36" fmla="*/ 3049139 h 3709979"/>
              <a:gd name="connsiteX37" fmla="*/ 2347720 w 2944795"/>
              <a:gd name="connsiteY37" fmla="*/ 2736110 h 3709979"/>
              <a:gd name="connsiteX38" fmla="*/ 2347720 w 2944795"/>
              <a:gd name="connsiteY38" fmla="*/ 2034692 h 3709979"/>
              <a:gd name="connsiteX39" fmla="*/ 2417282 w 2944795"/>
              <a:gd name="connsiteY39" fmla="*/ 2104254 h 3709979"/>
              <a:gd name="connsiteX40" fmla="*/ 2498438 w 2944795"/>
              <a:gd name="connsiteY40" fmla="*/ 2104254 h 3709979"/>
              <a:gd name="connsiteX41" fmla="*/ 2498438 w 2944795"/>
              <a:gd name="connsiteY41" fmla="*/ 2023098 h 3709979"/>
              <a:gd name="connsiteX42" fmla="*/ 2330330 w 2944795"/>
              <a:gd name="connsiteY42" fmla="*/ 1854990 h 3709979"/>
              <a:gd name="connsiteX43" fmla="*/ 2291926 w 2944795"/>
              <a:gd name="connsiteY43" fmla="*/ 1837599 h 3709979"/>
              <a:gd name="connsiteX44" fmla="*/ 1530366 w 2944795"/>
              <a:gd name="connsiteY44" fmla="*/ 1199946 h 3709979"/>
              <a:gd name="connsiteX45" fmla="*/ 2365112 w 2944795"/>
              <a:gd name="connsiteY45" fmla="*/ 1199946 h 3709979"/>
              <a:gd name="connsiteX46" fmla="*/ 2365112 w 2944795"/>
              <a:gd name="connsiteY46" fmla="*/ 1628912 h 3709979"/>
              <a:gd name="connsiteX47" fmla="*/ 1530366 w 2944795"/>
              <a:gd name="connsiteY47" fmla="*/ 1628912 h 3709979"/>
              <a:gd name="connsiteX48" fmla="*/ 1530366 w 2944795"/>
              <a:gd name="connsiteY48" fmla="*/ 1414429 h 3709979"/>
              <a:gd name="connsiteX49" fmla="*/ 1472398 w 2944795"/>
              <a:gd name="connsiteY49" fmla="*/ 1084009 h 3709979"/>
              <a:gd name="connsiteX50" fmla="*/ 1414429 w 2944795"/>
              <a:gd name="connsiteY50" fmla="*/ 1141978 h 3709979"/>
              <a:gd name="connsiteX51" fmla="*/ 1414429 w 2944795"/>
              <a:gd name="connsiteY51" fmla="*/ 1362259 h 3709979"/>
              <a:gd name="connsiteX52" fmla="*/ 655043 w 2944795"/>
              <a:gd name="connsiteY52" fmla="*/ 2179613 h 3709979"/>
              <a:gd name="connsiteX53" fmla="*/ 655043 w 2944795"/>
              <a:gd name="connsiteY53" fmla="*/ 2225988 h 3709979"/>
              <a:gd name="connsiteX54" fmla="*/ 568091 w 2944795"/>
              <a:gd name="connsiteY54" fmla="*/ 2139035 h 3709979"/>
              <a:gd name="connsiteX55" fmla="*/ 486935 w 2944795"/>
              <a:gd name="connsiteY55" fmla="*/ 2139035 h 3709979"/>
              <a:gd name="connsiteX56" fmla="*/ 486935 w 2944795"/>
              <a:gd name="connsiteY56" fmla="*/ 2220191 h 3709979"/>
              <a:gd name="connsiteX57" fmla="*/ 672434 w 2944795"/>
              <a:gd name="connsiteY57" fmla="*/ 2405690 h 3709979"/>
              <a:gd name="connsiteX58" fmla="*/ 753589 w 2944795"/>
              <a:gd name="connsiteY58" fmla="*/ 2405690 h 3709979"/>
              <a:gd name="connsiteX59" fmla="*/ 939088 w 2944795"/>
              <a:gd name="connsiteY59" fmla="*/ 2220191 h 3709979"/>
              <a:gd name="connsiteX60" fmla="*/ 939088 w 2944795"/>
              <a:gd name="connsiteY60" fmla="*/ 2139035 h 3709979"/>
              <a:gd name="connsiteX61" fmla="*/ 857933 w 2944795"/>
              <a:gd name="connsiteY61" fmla="*/ 2139035 h 3709979"/>
              <a:gd name="connsiteX62" fmla="*/ 770980 w 2944795"/>
              <a:gd name="connsiteY62" fmla="*/ 2225988 h 3709979"/>
              <a:gd name="connsiteX63" fmla="*/ 770980 w 2944795"/>
              <a:gd name="connsiteY63" fmla="*/ 2179613 h 3709979"/>
              <a:gd name="connsiteX64" fmla="*/ 1414429 w 2944795"/>
              <a:gd name="connsiteY64" fmla="*/ 1478195 h 3709979"/>
              <a:gd name="connsiteX65" fmla="*/ 1414429 w 2944795"/>
              <a:gd name="connsiteY65" fmla="*/ 1692679 h 3709979"/>
              <a:gd name="connsiteX66" fmla="*/ 1472398 w 2944795"/>
              <a:gd name="connsiteY66" fmla="*/ 1750647 h 3709979"/>
              <a:gd name="connsiteX67" fmla="*/ 2423079 w 2944795"/>
              <a:gd name="connsiteY67" fmla="*/ 1750647 h 3709979"/>
              <a:gd name="connsiteX68" fmla="*/ 2481048 w 2944795"/>
              <a:gd name="connsiteY68" fmla="*/ 1692679 h 3709979"/>
              <a:gd name="connsiteX69" fmla="*/ 2481048 w 2944795"/>
              <a:gd name="connsiteY69" fmla="*/ 1141978 h 3709979"/>
              <a:gd name="connsiteX70" fmla="*/ 2423079 w 2944795"/>
              <a:gd name="connsiteY70" fmla="*/ 1084009 h 3709979"/>
              <a:gd name="connsiteX71" fmla="*/ 394185 w 2944795"/>
              <a:gd name="connsiteY71" fmla="*/ 765183 h 3709979"/>
              <a:gd name="connsiteX72" fmla="*/ 336217 w 2944795"/>
              <a:gd name="connsiteY72" fmla="*/ 823152 h 3709979"/>
              <a:gd name="connsiteX73" fmla="*/ 394185 w 2944795"/>
              <a:gd name="connsiteY73" fmla="*/ 881120 h 3709979"/>
              <a:gd name="connsiteX74" fmla="*/ 1739052 w 2944795"/>
              <a:gd name="connsiteY74" fmla="*/ 881120 h 3709979"/>
              <a:gd name="connsiteX75" fmla="*/ 1797020 w 2944795"/>
              <a:gd name="connsiteY75" fmla="*/ 823152 h 3709979"/>
              <a:gd name="connsiteX76" fmla="*/ 1739052 w 2944795"/>
              <a:gd name="connsiteY76" fmla="*/ 765183 h 3709979"/>
              <a:gd name="connsiteX77" fmla="*/ 394185 w 2944795"/>
              <a:gd name="connsiteY77" fmla="*/ 399982 h 3709979"/>
              <a:gd name="connsiteX78" fmla="*/ 336217 w 2944795"/>
              <a:gd name="connsiteY78" fmla="*/ 457951 h 3709979"/>
              <a:gd name="connsiteX79" fmla="*/ 394185 w 2944795"/>
              <a:gd name="connsiteY79" fmla="*/ 515919 h 3709979"/>
              <a:gd name="connsiteX80" fmla="*/ 1199946 w 2944795"/>
              <a:gd name="connsiteY80" fmla="*/ 515919 h 3709979"/>
              <a:gd name="connsiteX81" fmla="*/ 1257914 w 2944795"/>
              <a:gd name="connsiteY81" fmla="*/ 457951 h 3709979"/>
              <a:gd name="connsiteX82" fmla="*/ 1199946 w 2944795"/>
              <a:gd name="connsiteY82" fmla="*/ 399982 h 3709979"/>
              <a:gd name="connsiteX83" fmla="*/ 2150628 w 2944795"/>
              <a:gd name="connsiteY83" fmla="*/ 34781 h 3709979"/>
              <a:gd name="connsiteX84" fmla="*/ 2910015 w 2944795"/>
              <a:gd name="connsiteY84" fmla="*/ 794168 h 3709979"/>
              <a:gd name="connsiteX85" fmla="*/ 2910015 w 2944795"/>
              <a:gd name="connsiteY85" fmla="*/ 799965 h 3709979"/>
              <a:gd name="connsiteX86" fmla="*/ 2382503 w 2944795"/>
              <a:gd name="connsiteY86" fmla="*/ 799965 h 3709979"/>
              <a:gd name="connsiteX87" fmla="*/ 2150628 w 2944795"/>
              <a:gd name="connsiteY87" fmla="*/ 579685 h 3709979"/>
              <a:gd name="connsiteX88" fmla="*/ 226077 w 2944795"/>
              <a:gd name="connsiteY88" fmla="*/ 0 h 3709979"/>
              <a:gd name="connsiteX89" fmla="*/ 2034691 w 2944795"/>
              <a:gd name="connsiteY89" fmla="*/ 0 h 3709979"/>
              <a:gd name="connsiteX90" fmla="*/ 2034691 w 2944795"/>
              <a:gd name="connsiteY90" fmla="*/ 573887 h 3709979"/>
              <a:gd name="connsiteX91" fmla="*/ 2382501 w 2944795"/>
              <a:gd name="connsiteY91" fmla="*/ 910104 h 3709979"/>
              <a:gd name="connsiteX92" fmla="*/ 2944795 w 2944795"/>
              <a:gd name="connsiteY92" fmla="*/ 910104 h 3709979"/>
              <a:gd name="connsiteX93" fmla="*/ 2944795 w 2944795"/>
              <a:gd name="connsiteY93" fmla="*/ 3483902 h 3709979"/>
              <a:gd name="connsiteX94" fmla="*/ 2718718 w 2944795"/>
              <a:gd name="connsiteY94" fmla="*/ 3709979 h 3709979"/>
              <a:gd name="connsiteX95" fmla="*/ 226077 w 2944795"/>
              <a:gd name="connsiteY95" fmla="*/ 3709979 h 3709979"/>
              <a:gd name="connsiteX96" fmla="*/ 0 w 2944795"/>
              <a:gd name="connsiteY96" fmla="*/ 3483902 h 3709979"/>
              <a:gd name="connsiteX97" fmla="*/ 0 w 2944795"/>
              <a:gd name="connsiteY97" fmla="*/ 226077 h 3709979"/>
              <a:gd name="connsiteX98" fmla="*/ 226077 w 2944795"/>
              <a:gd name="connsiteY98" fmla="*/ 0 h 370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944795" h="3709979">
                <a:moveTo>
                  <a:pt x="2289753" y="2852045"/>
                </a:moveTo>
                <a:cubicBezTo>
                  <a:pt x="2401805" y="2852045"/>
                  <a:pt x="2492642" y="2942882"/>
                  <a:pt x="2492642" y="3054935"/>
                </a:cubicBezTo>
                <a:cubicBezTo>
                  <a:pt x="2492642" y="3166987"/>
                  <a:pt x="2401805" y="3257824"/>
                  <a:pt x="2289753" y="3257824"/>
                </a:cubicBezTo>
                <a:cubicBezTo>
                  <a:pt x="2177700" y="3257824"/>
                  <a:pt x="2086863" y="3166987"/>
                  <a:pt x="2086863" y="3054935"/>
                </a:cubicBezTo>
                <a:cubicBezTo>
                  <a:pt x="2086863" y="2942882"/>
                  <a:pt x="2177700" y="2852045"/>
                  <a:pt x="2289753" y="2852045"/>
                </a:cubicBezTo>
                <a:close/>
                <a:moveTo>
                  <a:pt x="655044" y="2852045"/>
                </a:moveTo>
                <a:cubicBezTo>
                  <a:pt x="765184" y="2852045"/>
                  <a:pt x="857933" y="2944795"/>
                  <a:pt x="857933" y="3054935"/>
                </a:cubicBezTo>
                <a:cubicBezTo>
                  <a:pt x="857933" y="3165075"/>
                  <a:pt x="765184" y="3257824"/>
                  <a:pt x="655044" y="3257824"/>
                </a:cubicBezTo>
                <a:cubicBezTo>
                  <a:pt x="544904" y="3257824"/>
                  <a:pt x="452154" y="3165075"/>
                  <a:pt x="452154" y="3054935"/>
                </a:cubicBezTo>
                <a:cubicBezTo>
                  <a:pt x="452154" y="2944795"/>
                  <a:pt x="544904" y="2852045"/>
                  <a:pt x="655044" y="2852045"/>
                </a:cubicBezTo>
                <a:close/>
                <a:moveTo>
                  <a:pt x="655043" y="2736110"/>
                </a:moveTo>
                <a:cubicBezTo>
                  <a:pt x="481138" y="2736110"/>
                  <a:pt x="336217" y="2881031"/>
                  <a:pt x="336217" y="3054936"/>
                </a:cubicBezTo>
                <a:cubicBezTo>
                  <a:pt x="336217" y="3228841"/>
                  <a:pt x="481138" y="3373762"/>
                  <a:pt x="655043" y="3373762"/>
                </a:cubicBezTo>
                <a:cubicBezTo>
                  <a:pt x="811558" y="3373762"/>
                  <a:pt x="939088" y="3257825"/>
                  <a:pt x="968072" y="3112904"/>
                </a:cubicBezTo>
                <a:lnTo>
                  <a:pt x="1605725" y="3112904"/>
                </a:lnTo>
                <a:lnTo>
                  <a:pt x="1536163" y="3182466"/>
                </a:lnTo>
                <a:cubicBezTo>
                  <a:pt x="1512975" y="3205654"/>
                  <a:pt x="1512975" y="3240435"/>
                  <a:pt x="1536163" y="3263622"/>
                </a:cubicBezTo>
                <a:cubicBezTo>
                  <a:pt x="1559350" y="3286809"/>
                  <a:pt x="1594131" y="3286809"/>
                  <a:pt x="1617319" y="3263622"/>
                </a:cubicBezTo>
                <a:lnTo>
                  <a:pt x="1785427" y="3095514"/>
                </a:lnTo>
                <a:cubicBezTo>
                  <a:pt x="1797020" y="3083920"/>
                  <a:pt x="1802817" y="3072326"/>
                  <a:pt x="1802817" y="3054936"/>
                </a:cubicBezTo>
                <a:cubicBezTo>
                  <a:pt x="1802817" y="3037545"/>
                  <a:pt x="1797020" y="3025952"/>
                  <a:pt x="1791224" y="3014358"/>
                </a:cubicBezTo>
                <a:lnTo>
                  <a:pt x="1617319" y="2846249"/>
                </a:lnTo>
                <a:cubicBezTo>
                  <a:pt x="1594131" y="2823062"/>
                  <a:pt x="1559350" y="2823062"/>
                  <a:pt x="1536163" y="2846249"/>
                </a:cubicBezTo>
                <a:cubicBezTo>
                  <a:pt x="1512975" y="2869437"/>
                  <a:pt x="1512975" y="2904218"/>
                  <a:pt x="1536163" y="2927405"/>
                </a:cubicBezTo>
                <a:lnTo>
                  <a:pt x="1605725" y="2996967"/>
                </a:lnTo>
                <a:lnTo>
                  <a:pt x="968072" y="2996967"/>
                </a:lnTo>
                <a:cubicBezTo>
                  <a:pt x="939088" y="2846249"/>
                  <a:pt x="811558" y="2736110"/>
                  <a:pt x="655043" y="2736110"/>
                </a:cubicBezTo>
                <a:close/>
                <a:moveTo>
                  <a:pt x="2291926" y="1837599"/>
                </a:moveTo>
                <a:cubicBezTo>
                  <a:pt x="2276709" y="1837599"/>
                  <a:pt x="2260768" y="1843396"/>
                  <a:pt x="2249174" y="1854990"/>
                </a:cubicBezTo>
                <a:lnTo>
                  <a:pt x="2081066" y="2028895"/>
                </a:lnTo>
                <a:cubicBezTo>
                  <a:pt x="2057878" y="2052083"/>
                  <a:pt x="2057878" y="2086864"/>
                  <a:pt x="2081066" y="2110051"/>
                </a:cubicBezTo>
                <a:cubicBezTo>
                  <a:pt x="2104253" y="2133238"/>
                  <a:pt x="2139034" y="2133238"/>
                  <a:pt x="2162222" y="2110051"/>
                </a:cubicBezTo>
                <a:lnTo>
                  <a:pt x="2231784" y="2040489"/>
                </a:lnTo>
                <a:lnTo>
                  <a:pt x="2231784" y="2741906"/>
                </a:lnTo>
                <a:cubicBezTo>
                  <a:pt x="2081066" y="2770891"/>
                  <a:pt x="1970926" y="2898421"/>
                  <a:pt x="1970926" y="3054936"/>
                </a:cubicBezTo>
                <a:cubicBezTo>
                  <a:pt x="1970926" y="3228841"/>
                  <a:pt x="2115847" y="3373762"/>
                  <a:pt x="2289752" y="3373762"/>
                </a:cubicBezTo>
                <a:cubicBezTo>
                  <a:pt x="2463657" y="3373762"/>
                  <a:pt x="2608578" y="3228841"/>
                  <a:pt x="2608578" y="3049139"/>
                </a:cubicBezTo>
                <a:cubicBezTo>
                  <a:pt x="2608578" y="2892624"/>
                  <a:pt x="2492641" y="2765094"/>
                  <a:pt x="2347720" y="2736110"/>
                </a:cubicBezTo>
                <a:lnTo>
                  <a:pt x="2347720" y="2034692"/>
                </a:lnTo>
                <a:lnTo>
                  <a:pt x="2417282" y="2104254"/>
                </a:lnTo>
                <a:cubicBezTo>
                  <a:pt x="2440470" y="2127442"/>
                  <a:pt x="2475251" y="2127442"/>
                  <a:pt x="2498438" y="2104254"/>
                </a:cubicBezTo>
                <a:cubicBezTo>
                  <a:pt x="2521625" y="2081067"/>
                  <a:pt x="2521625" y="2046286"/>
                  <a:pt x="2498438" y="2023098"/>
                </a:cubicBezTo>
                <a:lnTo>
                  <a:pt x="2330330" y="1854990"/>
                </a:lnTo>
                <a:cubicBezTo>
                  <a:pt x="2321635" y="1843396"/>
                  <a:pt x="2307143" y="1837599"/>
                  <a:pt x="2291926" y="1837599"/>
                </a:cubicBezTo>
                <a:close/>
                <a:moveTo>
                  <a:pt x="1530366" y="1199946"/>
                </a:moveTo>
                <a:lnTo>
                  <a:pt x="2365112" y="1199946"/>
                </a:lnTo>
                <a:lnTo>
                  <a:pt x="2365112" y="1628912"/>
                </a:lnTo>
                <a:lnTo>
                  <a:pt x="1530366" y="1628912"/>
                </a:lnTo>
                <a:lnTo>
                  <a:pt x="1530366" y="1414429"/>
                </a:lnTo>
                <a:close/>
                <a:moveTo>
                  <a:pt x="1472398" y="1084009"/>
                </a:moveTo>
                <a:cubicBezTo>
                  <a:pt x="1437617" y="1084009"/>
                  <a:pt x="1414429" y="1107197"/>
                  <a:pt x="1414429" y="1141978"/>
                </a:cubicBezTo>
                <a:lnTo>
                  <a:pt x="1414429" y="1362259"/>
                </a:lnTo>
                <a:cubicBezTo>
                  <a:pt x="991260" y="1391243"/>
                  <a:pt x="655043" y="1744850"/>
                  <a:pt x="655043" y="2179613"/>
                </a:cubicBezTo>
                <a:lnTo>
                  <a:pt x="655043" y="2225988"/>
                </a:lnTo>
                <a:lnTo>
                  <a:pt x="568091" y="2139035"/>
                </a:lnTo>
                <a:cubicBezTo>
                  <a:pt x="544903" y="2115848"/>
                  <a:pt x="510122" y="2115848"/>
                  <a:pt x="486935" y="2139035"/>
                </a:cubicBezTo>
                <a:cubicBezTo>
                  <a:pt x="463747" y="2162222"/>
                  <a:pt x="463747" y="2197004"/>
                  <a:pt x="486935" y="2220191"/>
                </a:cubicBezTo>
                <a:lnTo>
                  <a:pt x="672434" y="2405690"/>
                </a:lnTo>
                <a:cubicBezTo>
                  <a:pt x="695621" y="2428877"/>
                  <a:pt x="730402" y="2428877"/>
                  <a:pt x="753589" y="2405690"/>
                </a:cubicBezTo>
                <a:lnTo>
                  <a:pt x="939088" y="2220191"/>
                </a:lnTo>
                <a:cubicBezTo>
                  <a:pt x="962276" y="2197004"/>
                  <a:pt x="962276" y="2162222"/>
                  <a:pt x="939088" y="2139035"/>
                </a:cubicBezTo>
                <a:cubicBezTo>
                  <a:pt x="915901" y="2115848"/>
                  <a:pt x="881120" y="2115848"/>
                  <a:pt x="857933" y="2139035"/>
                </a:cubicBezTo>
                <a:lnTo>
                  <a:pt x="770980" y="2225988"/>
                </a:lnTo>
                <a:lnTo>
                  <a:pt x="770980" y="2179613"/>
                </a:lnTo>
                <a:cubicBezTo>
                  <a:pt x="770980" y="1808615"/>
                  <a:pt x="1055025" y="1507180"/>
                  <a:pt x="1414429" y="1478195"/>
                </a:cubicBezTo>
                <a:lnTo>
                  <a:pt x="1414429" y="1692679"/>
                </a:lnTo>
                <a:cubicBezTo>
                  <a:pt x="1414429" y="1727459"/>
                  <a:pt x="1437617" y="1750647"/>
                  <a:pt x="1472398" y="1750647"/>
                </a:cubicBezTo>
                <a:lnTo>
                  <a:pt x="2423079" y="1750647"/>
                </a:lnTo>
                <a:cubicBezTo>
                  <a:pt x="2457860" y="1750647"/>
                  <a:pt x="2481048" y="1727459"/>
                  <a:pt x="2481048" y="1692679"/>
                </a:cubicBezTo>
                <a:lnTo>
                  <a:pt x="2481048" y="1141978"/>
                </a:lnTo>
                <a:cubicBezTo>
                  <a:pt x="2481048" y="1107197"/>
                  <a:pt x="2457860" y="1084009"/>
                  <a:pt x="2423079" y="1084009"/>
                </a:cubicBezTo>
                <a:close/>
                <a:moveTo>
                  <a:pt x="394185" y="765183"/>
                </a:moveTo>
                <a:cubicBezTo>
                  <a:pt x="365201" y="765183"/>
                  <a:pt x="336217" y="788371"/>
                  <a:pt x="336217" y="823152"/>
                </a:cubicBezTo>
                <a:cubicBezTo>
                  <a:pt x="336217" y="857933"/>
                  <a:pt x="359404" y="881120"/>
                  <a:pt x="394185" y="881120"/>
                </a:cubicBezTo>
                <a:lnTo>
                  <a:pt x="1739052" y="881120"/>
                </a:lnTo>
                <a:cubicBezTo>
                  <a:pt x="1773833" y="881120"/>
                  <a:pt x="1797020" y="857933"/>
                  <a:pt x="1797020" y="823152"/>
                </a:cubicBezTo>
                <a:cubicBezTo>
                  <a:pt x="1797020" y="788371"/>
                  <a:pt x="1773833" y="765183"/>
                  <a:pt x="1739052" y="765183"/>
                </a:cubicBezTo>
                <a:close/>
                <a:moveTo>
                  <a:pt x="394185" y="399982"/>
                </a:moveTo>
                <a:cubicBezTo>
                  <a:pt x="365201" y="399982"/>
                  <a:pt x="336217" y="423170"/>
                  <a:pt x="336217" y="457951"/>
                </a:cubicBezTo>
                <a:cubicBezTo>
                  <a:pt x="336217" y="492732"/>
                  <a:pt x="359404" y="515919"/>
                  <a:pt x="394185" y="515919"/>
                </a:cubicBezTo>
                <a:lnTo>
                  <a:pt x="1199946" y="515919"/>
                </a:lnTo>
                <a:cubicBezTo>
                  <a:pt x="1234727" y="515919"/>
                  <a:pt x="1257914" y="492732"/>
                  <a:pt x="1257914" y="457951"/>
                </a:cubicBezTo>
                <a:cubicBezTo>
                  <a:pt x="1257914" y="423170"/>
                  <a:pt x="1234727" y="399982"/>
                  <a:pt x="1199946" y="399982"/>
                </a:cubicBezTo>
                <a:close/>
                <a:moveTo>
                  <a:pt x="2150628" y="34781"/>
                </a:moveTo>
                <a:lnTo>
                  <a:pt x="2910015" y="794168"/>
                </a:lnTo>
                <a:lnTo>
                  <a:pt x="2910015" y="799965"/>
                </a:lnTo>
                <a:lnTo>
                  <a:pt x="2382503" y="799965"/>
                </a:lnTo>
                <a:cubicBezTo>
                  <a:pt x="2254971" y="799965"/>
                  <a:pt x="2150628" y="701419"/>
                  <a:pt x="2150628" y="579685"/>
                </a:cubicBezTo>
                <a:close/>
                <a:moveTo>
                  <a:pt x="226077" y="0"/>
                </a:moveTo>
                <a:lnTo>
                  <a:pt x="2034691" y="0"/>
                </a:lnTo>
                <a:lnTo>
                  <a:pt x="2034691" y="573887"/>
                </a:lnTo>
                <a:cubicBezTo>
                  <a:pt x="2034691" y="759386"/>
                  <a:pt x="2191206" y="910104"/>
                  <a:pt x="2382501" y="910104"/>
                </a:cubicBezTo>
                <a:lnTo>
                  <a:pt x="2944795" y="910104"/>
                </a:lnTo>
                <a:lnTo>
                  <a:pt x="2944795" y="3483902"/>
                </a:lnTo>
                <a:cubicBezTo>
                  <a:pt x="2944795" y="3611432"/>
                  <a:pt x="2840452" y="3709979"/>
                  <a:pt x="2718718" y="3709979"/>
                </a:cubicBezTo>
                <a:lnTo>
                  <a:pt x="226077" y="3709979"/>
                </a:lnTo>
                <a:cubicBezTo>
                  <a:pt x="104343" y="3709979"/>
                  <a:pt x="0" y="3611432"/>
                  <a:pt x="0" y="3483902"/>
                </a:cubicBezTo>
                <a:lnTo>
                  <a:pt x="0" y="226077"/>
                </a:lnTo>
                <a:cubicBezTo>
                  <a:pt x="0" y="104343"/>
                  <a:pt x="104343" y="0"/>
                  <a:pt x="226077" y="0"/>
                </a:cubicBezTo>
                <a:close/>
              </a:path>
            </a:pathLst>
          </a:custGeom>
          <a:solidFill>
            <a:schemeClr val="accent5"/>
          </a:solidFill>
          <a:ln w="9525" cap="flat">
            <a:noFill/>
            <a:prstDash val="solid"/>
            <a:miter/>
          </a:ln>
        </p:spPr>
        <p:txBody>
          <a:bodyPr rtlCol="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100" name="Rechteck 172">
            <a:extLst>
              <a:ext uri="{FF2B5EF4-FFF2-40B4-BE49-F238E27FC236}">
                <a16:creationId xmlns:a16="http://schemas.microsoft.com/office/drawing/2014/main" id="{9CE1A98D-8F38-5AF1-0EF4-63D826D03479}"/>
              </a:ext>
            </a:extLst>
          </p:cNvPr>
          <p:cNvSpPr/>
          <p:nvPr/>
        </p:nvSpPr>
        <p:spPr>
          <a:xfrm>
            <a:off x="5263285" y="4025706"/>
            <a:ext cx="150445" cy="173038"/>
          </a:xfrm>
          <a:prstGeom prst="rect">
            <a:avLst/>
          </a:prstGeom>
        </p:spPr>
        <p:txBody>
          <a:bodyPr wrap="square" lIns="0" tIns="0" rIns="0" bIns="0">
            <a:spAutoFit/>
          </a:bodyPr>
          <a:lstStyle/>
          <a:p>
            <a:pPr algn="ctr" defTabSz="685800" fontAlgn="base">
              <a:spcBef>
                <a:spcPct val="0"/>
              </a:spcBef>
              <a:spcAft>
                <a:spcPct val="0"/>
              </a:spcAft>
              <a:defRPr/>
            </a:pPr>
            <a:r>
              <a:rPr lang="en-US" altLang="de-DE" sz="1125" b="1">
                <a:solidFill>
                  <a:srgbClr val="787878">
                    <a:lumMod val="100000"/>
                  </a:srgbClr>
                </a:solidFill>
                <a:latin typeface="+mj-lt"/>
                <a:ea typeface="Microsoft YaHei"/>
                <a:cs typeface="Calibri"/>
                <a:sym typeface="Arial Narrow"/>
              </a:rPr>
              <a:t>Ø</a:t>
            </a:r>
            <a:endParaRPr lang="en-US" altLang="de-DE" sz="1125" b="1" i="1" baseline="30000">
              <a:solidFill>
                <a:srgbClr val="787878">
                  <a:lumMod val="100000"/>
                </a:srgbClr>
              </a:solidFill>
              <a:latin typeface="+mj-lt"/>
              <a:ea typeface="Microsoft YaHei"/>
              <a:cs typeface="Calibri"/>
              <a:sym typeface="Arial Narrow"/>
            </a:endParaRPr>
          </a:p>
        </p:txBody>
      </p:sp>
      <p:sp>
        <p:nvSpPr>
          <p:cNvPr id="101" name="Freeform: Shape 9">
            <a:extLst>
              <a:ext uri="{FF2B5EF4-FFF2-40B4-BE49-F238E27FC236}">
                <a16:creationId xmlns:a16="http://schemas.microsoft.com/office/drawing/2014/main" id="{EA1DAC6C-DD98-E779-C8A6-01301F8F4420}"/>
              </a:ext>
            </a:extLst>
          </p:cNvPr>
          <p:cNvSpPr>
            <a:spLocks noChangeAspect="1"/>
          </p:cNvSpPr>
          <p:nvPr/>
        </p:nvSpPr>
        <p:spPr>
          <a:xfrm>
            <a:off x="7308878" y="4185456"/>
            <a:ext cx="74199" cy="93249"/>
          </a:xfrm>
          <a:custGeom>
            <a:avLst/>
            <a:gdLst>
              <a:gd name="connsiteX0" fmla="*/ 2289753 w 2944795"/>
              <a:gd name="connsiteY0" fmla="*/ 2852045 h 3709979"/>
              <a:gd name="connsiteX1" fmla="*/ 2492642 w 2944795"/>
              <a:gd name="connsiteY1" fmla="*/ 3054935 h 3709979"/>
              <a:gd name="connsiteX2" fmla="*/ 2289753 w 2944795"/>
              <a:gd name="connsiteY2" fmla="*/ 3257824 h 3709979"/>
              <a:gd name="connsiteX3" fmla="*/ 2086863 w 2944795"/>
              <a:gd name="connsiteY3" fmla="*/ 3054935 h 3709979"/>
              <a:gd name="connsiteX4" fmla="*/ 2289753 w 2944795"/>
              <a:gd name="connsiteY4" fmla="*/ 2852045 h 3709979"/>
              <a:gd name="connsiteX5" fmla="*/ 655044 w 2944795"/>
              <a:gd name="connsiteY5" fmla="*/ 2852045 h 3709979"/>
              <a:gd name="connsiteX6" fmla="*/ 857933 w 2944795"/>
              <a:gd name="connsiteY6" fmla="*/ 3054935 h 3709979"/>
              <a:gd name="connsiteX7" fmla="*/ 655044 w 2944795"/>
              <a:gd name="connsiteY7" fmla="*/ 3257824 h 3709979"/>
              <a:gd name="connsiteX8" fmla="*/ 452154 w 2944795"/>
              <a:gd name="connsiteY8" fmla="*/ 3054935 h 3709979"/>
              <a:gd name="connsiteX9" fmla="*/ 655044 w 2944795"/>
              <a:gd name="connsiteY9" fmla="*/ 2852045 h 3709979"/>
              <a:gd name="connsiteX10" fmla="*/ 655043 w 2944795"/>
              <a:gd name="connsiteY10" fmla="*/ 2736110 h 3709979"/>
              <a:gd name="connsiteX11" fmla="*/ 336217 w 2944795"/>
              <a:gd name="connsiteY11" fmla="*/ 3054936 h 3709979"/>
              <a:gd name="connsiteX12" fmla="*/ 655043 w 2944795"/>
              <a:gd name="connsiteY12" fmla="*/ 3373762 h 3709979"/>
              <a:gd name="connsiteX13" fmla="*/ 968072 w 2944795"/>
              <a:gd name="connsiteY13" fmla="*/ 3112904 h 3709979"/>
              <a:gd name="connsiteX14" fmla="*/ 1605725 w 2944795"/>
              <a:gd name="connsiteY14" fmla="*/ 3112904 h 3709979"/>
              <a:gd name="connsiteX15" fmla="*/ 1536163 w 2944795"/>
              <a:gd name="connsiteY15" fmla="*/ 3182466 h 3709979"/>
              <a:gd name="connsiteX16" fmla="*/ 1536163 w 2944795"/>
              <a:gd name="connsiteY16" fmla="*/ 3263622 h 3709979"/>
              <a:gd name="connsiteX17" fmla="*/ 1617319 w 2944795"/>
              <a:gd name="connsiteY17" fmla="*/ 3263622 h 3709979"/>
              <a:gd name="connsiteX18" fmla="*/ 1785427 w 2944795"/>
              <a:gd name="connsiteY18" fmla="*/ 3095514 h 3709979"/>
              <a:gd name="connsiteX19" fmla="*/ 1802817 w 2944795"/>
              <a:gd name="connsiteY19" fmla="*/ 3054936 h 3709979"/>
              <a:gd name="connsiteX20" fmla="*/ 1791224 w 2944795"/>
              <a:gd name="connsiteY20" fmla="*/ 3014358 h 3709979"/>
              <a:gd name="connsiteX21" fmla="*/ 1617319 w 2944795"/>
              <a:gd name="connsiteY21" fmla="*/ 2846249 h 3709979"/>
              <a:gd name="connsiteX22" fmla="*/ 1536163 w 2944795"/>
              <a:gd name="connsiteY22" fmla="*/ 2846249 h 3709979"/>
              <a:gd name="connsiteX23" fmla="*/ 1536163 w 2944795"/>
              <a:gd name="connsiteY23" fmla="*/ 2927405 h 3709979"/>
              <a:gd name="connsiteX24" fmla="*/ 1605725 w 2944795"/>
              <a:gd name="connsiteY24" fmla="*/ 2996967 h 3709979"/>
              <a:gd name="connsiteX25" fmla="*/ 968072 w 2944795"/>
              <a:gd name="connsiteY25" fmla="*/ 2996967 h 3709979"/>
              <a:gd name="connsiteX26" fmla="*/ 655043 w 2944795"/>
              <a:gd name="connsiteY26" fmla="*/ 2736110 h 3709979"/>
              <a:gd name="connsiteX27" fmla="*/ 2291926 w 2944795"/>
              <a:gd name="connsiteY27" fmla="*/ 1837599 h 3709979"/>
              <a:gd name="connsiteX28" fmla="*/ 2249174 w 2944795"/>
              <a:gd name="connsiteY28" fmla="*/ 1854990 h 3709979"/>
              <a:gd name="connsiteX29" fmla="*/ 2081066 w 2944795"/>
              <a:gd name="connsiteY29" fmla="*/ 2028895 h 3709979"/>
              <a:gd name="connsiteX30" fmla="*/ 2081066 w 2944795"/>
              <a:gd name="connsiteY30" fmla="*/ 2110051 h 3709979"/>
              <a:gd name="connsiteX31" fmla="*/ 2162222 w 2944795"/>
              <a:gd name="connsiteY31" fmla="*/ 2110051 h 3709979"/>
              <a:gd name="connsiteX32" fmla="*/ 2231784 w 2944795"/>
              <a:gd name="connsiteY32" fmla="*/ 2040489 h 3709979"/>
              <a:gd name="connsiteX33" fmla="*/ 2231784 w 2944795"/>
              <a:gd name="connsiteY33" fmla="*/ 2741906 h 3709979"/>
              <a:gd name="connsiteX34" fmla="*/ 1970926 w 2944795"/>
              <a:gd name="connsiteY34" fmla="*/ 3054936 h 3709979"/>
              <a:gd name="connsiteX35" fmla="*/ 2289752 w 2944795"/>
              <a:gd name="connsiteY35" fmla="*/ 3373762 h 3709979"/>
              <a:gd name="connsiteX36" fmla="*/ 2608578 w 2944795"/>
              <a:gd name="connsiteY36" fmla="*/ 3049139 h 3709979"/>
              <a:gd name="connsiteX37" fmla="*/ 2347720 w 2944795"/>
              <a:gd name="connsiteY37" fmla="*/ 2736110 h 3709979"/>
              <a:gd name="connsiteX38" fmla="*/ 2347720 w 2944795"/>
              <a:gd name="connsiteY38" fmla="*/ 2034692 h 3709979"/>
              <a:gd name="connsiteX39" fmla="*/ 2417282 w 2944795"/>
              <a:gd name="connsiteY39" fmla="*/ 2104254 h 3709979"/>
              <a:gd name="connsiteX40" fmla="*/ 2498438 w 2944795"/>
              <a:gd name="connsiteY40" fmla="*/ 2104254 h 3709979"/>
              <a:gd name="connsiteX41" fmla="*/ 2498438 w 2944795"/>
              <a:gd name="connsiteY41" fmla="*/ 2023098 h 3709979"/>
              <a:gd name="connsiteX42" fmla="*/ 2330330 w 2944795"/>
              <a:gd name="connsiteY42" fmla="*/ 1854990 h 3709979"/>
              <a:gd name="connsiteX43" fmla="*/ 2291926 w 2944795"/>
              <a:gd name="connsiteY43" fmla="*/ 1837599 h 3709979"/>
              <a:gd name="connsiteX44" fmla="*/ 1530366 w 2944795"/>
              <a:gd name="connsiteY44" fmla="*/ 1199946 h 3709979"/>
              <a:gd name="connsiteX45" fmla="*/ 2365112 w 2944795"/>
              <a:gd name="connsiteY45" fmla="*/ 1199946 h 3709979"/>
              <a:gd name="connsiteX46" fmla="*/ 2365112 w 2944795"/>
              <a:gd name="connsiteY46" fmla="*/ 1628912 h 3709979"/>
              <a:gd name="connsiteX47" fmla="*/ 1530366 w 2944795"/>
              <a:gd name="connsiteY47" fmla="*/ 1628912 h 3709979"/>
              <a:gd name="connsiteX48" fmla="*/ 1530366 w 2944795"/>
              <a:gd name="connsiteY48" fmla="*/ 1414429 h 3709979"/>
              <a:gd name="connsiteX49" fmla="*/ 1472398 w 2944795"/>
              <a:gd name="connsiteY49" fmla="*/ 1084009 h 3709979"/>
              <a:gd name="connsiteX50" fmla="*/ 1414429 w 2944795"/>
              <a:gd name="connsiteY50" fmla="*/ 1141978 h 3709979"/>
              <a:gd name="connsiteX51" fmla="*/ 1414429 w 2944795"/>
              <a:gd name="connsiteY51" fmla="*/ 1362259 h 3709979"/>
              <a:gd name="connsiteX52" fmla="*/ 655043 w 2944795"/>
              <a:gd name="connsiteY52" fmla="*/ 2179613 h 3709979"/>
              <a:gd name="connsiteX53" fmla="*/ 655043 w 2944795"/>
              <a:gd name="connsiteY53" fmla="*/ 2225988 h 3709979"/>
              <a:gd name="connsiteX54" fmla="*/ 568091 w 2944795"/>
              <a:gd name="connsiteY54" fmla="*/ 2139035 h 3709979"/>
              <a:gd name="connsiteX55" fmla="*/ 486935 w 2944795"/>
              <a:gd name="connsiteY55" fmla="*/ 2139035 h 3709979"/>
              <a:gd name="connsiteX56" fmla="*/ 486935 w 2944795"/>
              <a:gd name="connsiteY56" fmla="*/ 2220191 h 3709979"/>
              <a:gd name="connsiteX57" fmla="*/ 672434 w 2944795"/>
              <a:gd name="connsiteY57" fmla="*/ 2405690 h 3709979"/>
              <a:gd name="connsiteX58" fmla="*/ 753589 w 2944795"/>
              <a:gd name="connsiteY58" fmla="*/ 2405690 h 3709979"/>
              <a:gd name="connsiteX59" fmla="*/ 939088 w 2944795"/>
              <a:gd name="connsiteY59" fmla="*/ 2220191 h 3709979"/>
              <a:gd name="connsiteX60" fmla="*/ 939088 w 2944795"/>
              <a:gd name="connsiteY60" fmla="*/ 2139035 h 3709979"/>
              <a:gd name="connsiteX61" fmla="*/ 857933 w 2944795"/>
              <a:gd name="connsiteY61" fmla="*/ 2139035 h 3709979"/>
              <a:gd name="connsiteX62" fmla="*/ 770980 w 2944795"/>
              <a:gd name="connsiteY62" fmla="*/ 2225988 h 3709979"/>
              <a:gd name="connsiteX63" fmla="*/ 770980 w 2944795"/>
              <a:gd name="connsiteY63" fmla="*/ 2179613 h 3709979"/>
              <a:gd name="connsiteX64" fmla="*/ 1414429 w 2944795"/>
              <a:gd name="connsiteY64" fmla="*/ 1478195 h 3709979"/>
              <a:gd name="connsiteX65" fmla="*/ 1414429 w 2944795"/>
              <a:gd name="connsiteY65" fmla="*/ 1692679 h 3709979"/>
              <a:gd name="connsiteX66" fmla="*/ 1472398 w 2944795"/>
              <a:gd name="connsiteY66" fmla="*/ 1750647 h 3709979"/>
              <a:gd name="connsiteX67" fmla="*/ 2423079 w 2944795"/>
              <a:gd name="connsiteY67" fmla="*/ 1750647 h 3709979"/>
              <a:gd name="connsiteX68" fmla="*/ 2481048 w 2944795"/>
              <a:gd name="connsiteY68" fmla="*/ 1692679 h 3709979"/>
              <a:gd name="connsiteX69" fmla="*/ 2481048 w 2944795"/>
              <a:gd name="connsiteY69" fmla="*/ 1141978 h 3709979"/>
              <a:gd name="connsiteX70" fmla="*/ 2423079 w 2944795"/>
              <a:gd name="connsiteY70" fmla="*/ 1084009 h 3709979"/>
              <a:gd name="connsiteX71" fmla="*/ 394185 w 2944795"/>
              <a:gd name="connsiteY71" fmla="*/ 765183 h 3709979"/>
              <a:gd name="connsiteX72" fmla="*/ 336217 w 2944795"/>
              <a:gd name="connsiteY72" fmla="*/ 823152 h 3709979"/>
              <a:gd name="connsiteX73" fmla="*/ 394185 w 2944795"/>
              <a:gd name="connsiteY73" fmla="*/ 881120 h 3709979"/>
              <a:gd name="connsiteX74" fmla="*/ 1739052 w 2944795"/>
              <a:gd name="connsiteY74" fmla="*/ 881120 h 3709979"/>
              <a:gd name="connsiteX75" fmla="*/ 1797020 w 2944795"/>
              <a:gd name="connsiteY75" fmla="*/ 823152 h 3709979"/>
              <a:gd name="connsiteX76" fmla="*/ 1739052 w 2944795"/>
              <a:gd name="connsiteY76" fmla="*/ 765183 h 3709979"/>
              <a:gd name="connsiteX77" fmla="*/ 394185 w 2944795"/>
              <a:gd name="connsiteY77" fmla="*/ 399982 h 3709979"/>
              <a:gd name="connsiteX78" fmla="*/ 336217 w 2944795"/>
              <a:gd name="connsiteY78" fmla="*/ 457951 h 3709979"/>
              <a:gd name="connsiteX79" fmla="*/ 394185 w 2944795"/>
              <a:gd name="connsiteY79" fmla="*/ 515919 h 3709979"/>
              <a:gd name="connsiteX80" fmla="*/ 1199946 w 2944795"/>
              <a:gd name="connsiteY80" fmla="*/ 515919 h 3709979"/>
              <a:gd name="connsiteX81" fmla="*/ 1257914 w 2944795"/>
              <a:gd name="connsiteY81" fmla="*/ 457951 h 3709979"/>
              <a:gd name="connsiteX82" fmla="*/ 1199946 w 2944795"/>
              <a:gd name="connsiteY82" fmla="*/ 399982 h 3709979"/>
              <a:gd name="connsiteX83" fmla="*/ 2150628 w 2944795"/>
              <a:gd name="connsiteY83" fmla="*/ 34781 h 3709979"/>
              <a:gd name="connsiteX84" fmla="*/ 2910015 w 2944795"/>
              <a:gd name="connsiteY84" fmla="*/ 794168 h 3709979"/>
              <a:gd name="connsiteX85" fmla="*/ 2910015 w 2944795"/>
              <a:gd name="connsiteY85" fmla="*/ 799965 h 3709979"/>
              <a:gd name="connsiteX86" fmla="*/ 2382503 w 2944795"/>
              <a:gd name="connsiteY86" fmla="*/ 799965 h 3709979"/>
              <a:gd name="connsiteX87" fmla="*/ 2150628 w 2944795"/>
              <a:gd name="connsiteY87" fmla="*/ 579685 h 3709979"/>
              <a:gd name="connsiteX88" fmla="*/ 226077 w 2944795"/>
              <a:gd name="connsiteY88" fmla="*/ 0 h 3709979"/>
              <a:gd name="connsiteX89" fmla="*/ 2034691 w 2944795"/>
              <a:gd name="connsiteY89" fmla="*/ 0 h 3709979"/>
              <a:gd name="connsiteX90" fmla="*/ 2034691 w 2944795"/>
              <a:gd name="connsiteY90" fmla="*/ 573887 h 3709979"/>
              <a:gd name="connsiteX91" fmla="*/ 2382501 w 2944795"/>
              <a:gd name="connsiteY91" fmla="*/ 910104 h 3709979"/>
              <a:gd name="connsiteX92" fmla="*/ 2944795 w 2944795"/>
              <a:gd name="connsiteY92" fmla="*/ 910104 h 3709979"/>
              <a:gd name="connsiteX93" fmla="*/ 2944795 w 2944795"/>
              <a:gd name="connsiteY93" fmla="*/ 3483902 h 3709979"/>
              <a:gd name="connsiteX94" fmla="*/ 2718718 w 2944795"/>
              <a:gd name="connsiteY94" fmla="*/ 3709979 h 3709979"/>
              <a:gd name="connsiteX95" fmla="*/ 226077 w 2944795"/>
              <a:gd name="connsiteY95" fmla="*/ 3709979 h 3709979"/>
              <a:gd name="connsiteX96" fmla="*/ 0 w 2944795"/>
              <a:gd name="connsiteY96" fmla="*/ 3483902 h 3709979"/>
              <a:gd name="connsiteX97" fmla="*/ 0 w 2944795"/>
              <a:gd name="connsiteY97" fmla="*/ 226077 h 3709979"/>
              <a:gd name="connsiteX98" fmla="*/ 226077 w 2944795"/>
              <a:gd name="connsiteY98" fmla="*/ 0 h 370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944795" h="3709979">
                <a:moveTo>
                  <a:pt x="2289753" y="2852045"/>
                </a:moveTo>
                <a:cubicBezTo>
                  <a:pt x="2401805" y="2852045"/>
                  <a:pt x="2492642" y="2942882"/>
                  <a:pt x="2492642" y="3054935"/>
                </a:cubicBezTo>
                <a:cubicBezTo>
                  <a:pt x="2492642" y="3166987"/>
                  <a:pt x="2401805" y="3257824"/>
                  <a:pt x="2289753" y="3257824"/>
                </a:cubicBezTo>
                <a:cubicBezTo>
                  <a:pt x="2177700" y="3257824"/>
                  <a:pt x="2086863" y="3166987"/>
                  <a:pt x="2086863" y="3054935"/>
                </a:cubicBezTo>
                <a:cubicBezTo>
                  <a:pt x="2086863" y="2942882"/>
                  <a:pt x="2177700" y="2852045"/>
                  <a:pt x="2289753" y="2852045"/>
                </a:cubicBezTo>
                <a:close/>
                <a:moveTo>
                  <a:pt x="655044" y="2852045"/>
                </a:moveTo>
                <a:cubicBezTo>
                  <a:pt x="765184" y="2852045"/>
                  <a:pt x="857933" y="2944795"/>
                  <a:pt x="857933" y="3054935"/>
                </a:cubicBezTo>
                <a:cubicBezTo>
                  <a:pt x="857933" y="3165075"/>
                  <a:pt x="765184" y="3257824"/>
                  <a:pt x="655044" y="3257824"/>
                </a:cubicBezTo>
                <a:cubicBezTo>
                  <a:pt x="544904" y="3257824"/>
                  <a:pt x="452154" y="3165075"/>
                  <a:pt x="452154" y="3054935"/>
                </a:cubicBezTo>
                <a:cubicBezTo>
                  <a:pt x="452154" y="2944795"/>
                  <a:pt x="544904" y="2852045"/>
                  <a:pt x="655044" y="2852045"/>
                </a:cubicBezTo>
                <a:close/>
                <a:moveTo>
                  <a:pt x="655043" y="2736110"/>
                </a:moveTo>
                <a:cubicBezTo>
                  <a:pt x="481138" y="2736110"/>
                  <a:pt x="336217" y="2881031"/>
                  <a:pt x="336217" y="3054936"/>
                </a:cubicBezTo>
                <a:cubicBezTo>
                  <a:pt x="336217" y="3228841"/>
                  <a:pt x="481138" y="3373762"/>
                  <a:pt x="655043" y="3373762"/>
                </a:cubicBezTo>
                <a:cubicBezTo>
                  <a:pt x="811558" y="3373762"/>
                  <a:pt x="939088" y="3257825"/>
                  <a:pt x="968072" y="3112904"/>
                </a:cubicBezTo>
                <a:lnTo>
                  <a:pt x="1605725" y="3112904"/>
                </a:lnTo>
                <a:lnTo>
                  <a:pt x="1536163" y="3182466"/>
                </a:lnTo>
                <a:cubicBezTo>
                  <a:pt x="1512975" y="3205654"/>
                  <a:pt x="1512975" y="3240435"/>
                  <a:pt x="1536163" y="3263622"/>
                </a:cubicBezTo>
                <a:cubicBezTo>
                  <a:pt x="1559350" y="3286809"/>
                  <a:pt x="1594131" y="3286809"/>
                  <a:pt x="1617319" y="3263622"/>
                </a:cubicBezTo>
                <a:lnTo>
                  <a:pt x="1785427" y="3095514"/>
                </a:lnTo>
                <a:cubicBezTo>
                  <a:pt x="1797020" y="3083920"/>
                  <a:pt x="1802817" y="3072326"/>
                  <a:pt x="1802817" y="3054936"/>
                </a:cubicBezTo>
                <a:cubicBezTo>
                  <a:pt x="1802817" y="3037545"/>
                  <a:pt x="1797020" y="3025952"/>
                  <a:pt x="1791224" y="3014358"/>
                </a:cubicBezTo>
                <a:lnTo>
                  <a:pt x="1617319" y="2846249"/>
                </a:lnTo>
                <a:cubicBezTo>
                  <a:pt x="1594131" y="2823062"/>
                  <a:pt x="1559350" y="2823062"/>
                  <a:pt x="1536163" y="2846249"/>
                </a:cubicBezTo>
                <a:cubicBezTo>
                  <a:pt x="1512975" y="2869437"/>
                  <a:pt x="1512975" y="2904218"/>
                  <a:pt x="1536163" y="2927405"/>
                </a:cubicBezTo>
                <a:lnTo>
                  <a:pt x="1605725" y="2996967"/>
                </a:lnTo>
                <a:lnTo>
                  <a:pt x="968072" y="2996967"/>
                </a:lnTo>
                <a:cubicBezTo>
                  <a:pt x="939088" y="2846249"/>
                  <a:pt x="811558" y="2736110"/>
                  <a:pt x="655043" y="2736110"/>
                </a:cubicBezTo>
                <a:close/>
                <a:moveTo>
                  <a:pt x="2291926" y="1837599"/>
                </a:moveTo>
                <a:cubicBezTo>
                  <a:pt x="2276709" y="1837599"/>
                  <a:pt x="2260768" y="1843396"/>
                  <a:pt x="2249174" y="1854990"/>
                </a:cubicBezTo>
                <a:lnTo>
                  <a:pt x="2081066" y="2028895"/>
                </a:lnTo>
                <a:cubicBezTo>
                  <a:pt x="2057878" y="2052083"/>
                  <a:pt x="2057878" y="2086864"/>
                  <a:pt x="2081066" y="2110051"/>
                </a:cubicBezTo>
                <a:cubicBezTo>
                  <a:pt x="2104253" y="2133238"/>
                  <a:pt x="2139034" y="2133238"/>
                  <a:pt x="2162222" y="2110051"/>
                </a:cubicBezTo>
                <a:lnTo>
                  <a:pt x="2231784" y="2040489"/>
                </a:lnTo>
                <a:lnTo>
                  <a:pt x="2231784" y="2741906"/>
                </a:lnTo>
                <a:cubicBezTo>
                  <a:pt x="2081066" y="2770891"/>
                  <a:pt x="1970926" y="2898421"/>
                  <a:pt x="1970926" y="3054936"/>
                </a:cubicBezTo>
                <a:cubicBezTo>
                  <a:pt x="1970926" y="3228841"/>
                  <a:pt x="2115847" y="3373762"/>
                  <a:pt x="2289752" y="3373762"/>
                </a:cubicBezTo>
                <a:cubicBezTo>
                  <a:pt x="2463657" y="3373762"/>
                  <a:pt x="2608578" y="3228841"/>
                  <a:pt x="2608578" y="3049139"/>
                </a:cubicBezTo>
                <a:cubicBezTo>
                  <a:pt x="2608578" y="2892624"/>
                  <a:pt x="2492641" y="2765094"/>
                  <a:pt x="2347720" y="2736110"/>
                </a:cubicBezTo>
                <a:lnTo>
                  <a:pt x="2347720" y="2034692"/>
                </a:lnTo>
                <a:lnTo>
                  <a:pt x="2417282" y="2104254"/>
                </a:lnTo>
                <a:cubicBezTo>
                  <a:pt x="2440470" y="2127442"/>
                  <a:pt x="2475251" y="2127442"/>
                  <a:pt x="2498438" y="2104254"/>
                </a:cubicBezTo>
                <a:cubicBezTo>
                  <a:pt x="2521625" y="2081067"/>
                  <a:pt x="2521625" y="2046286"/>
                  <a:pt x="2498438" y="2023098"/>
                </a:cubicBezTo>
                <a:lnTo>
                  <a:pt x="2330330" y="1854990"/>
                </a:lnTo>
                <a:cubicBezTo>
                  <a:pt x="2321635" y="1843396"/>
                  <a:pt x="2307143" y="1837599"/>
                  <a:pt x="2291926" y="1837599"/>
                </a:cubicBezTo>
                <a:close/>
                <a:moveTo>
                  <a:pt x="1530366" y="1199946"/>
                </a:moveTo>
                <a:lnTo>
                  <a:pt x="2365112" y="1199946"/>
                </a:lnTo>
                <a:lnTo>
                  <a:pt x="2365112" y="1628912"/>
                </a:lnTo>
                <a:lnTo>
                  <a:pt x="1530366" y="1628912"/>
                </a:lnTo>
                <a:lnTo>
                  <a:pt x="1530366" y="1414429"/>
                </a:lnTo>
                <a:close/>
                <a:moveTo>
                  <a:pt x="1472398" y="1084009"/>
                </a:moveTo>
                <a:cubicBezTo>
                  <a:pt x="1437617" y="1084009"/>
                  <a:pt x="1414429" y="1107197"/>
                  <a:pt x="1414429" y="1141978"/>
                </a:cubicBezTo>
                <a:lnTo>
                  <a:pt x="1414429" y="1362259"/>
                </a:lnTo>
                <a:cubicBezTo>
                  <a:pt x="991260" y="1391243"/>
                  <a:pt x="655043" y="1744850"/>
                  <a:pt x="655043" y="2179613"/>
                </a:cubicBezTo>
                <a:lnTo>
                  <a:pt x="655043" y="2225988"/>
                </a:lnTo>
                <a:lnTo>
                  <a:pt x="568091" y="2139035"/>
                </a:lnTo>
                <a:cubicBezTo>
                  <a:pt x="544903" y="2115848"/>
                  <a:pt x="510122" y="2115848"/>
                  <a:pt x="486935" y="2139035"/>
                </a:cubicBezTo>
                <a:cubicBezTo>
                  <a:pt x="463747" y="2162222"/>
                  <a:pt x="463747" y="2197004"/>
                  <a:pt x="486935" y="2220191"/>
                </a:cubicBezTo>
                <a:lnTo>
                  <a:pt x="672434" y="2405690"/>
                </a:lnTo>
                <a:cubicBezTo>
                  <a:pt x="695621" y="2428877"/>
                  <a:pt x="730402" y="2428877"/>
                  <a:pt x="753589" y="2405690"/>
                </a:cubicBezTo>
                <a:lnTo>
                  <a:pt x="939088" y="2220191"/>
                </a:lnTo>
                <a:cubicBezTo>
                  <a:pt x="962276" y="2197004"/>
                  <a:pt x="962276" y="2162222"/>
                  <a:pt x="939088" y="2139035"/>
                </a:cubicBezTo>
                <a:cubicBezTo>
                  <a:pt x="915901" y="2115848"/>
                  <a:pt x="881120" y="2115848"/>
                  <a:pt x="857933" y="2139035"/>
                </a:cubicBezTo>
                <a:lnTo>
                  <a:pt x="770980" y="2225988"/>
                </a:lnTo>
                <a:lnTo>
                  <a:pt x="770980" y="2179613"/>
                </a:lnTo>
                <a:cubicBezTo>
                  <a:pt x="770980" y="1808615"/>
                  <a:pt x="1055025" y="1507180"/>
                  <a:pt x="1414429" y="1478195"/>
                </a:cubicBezTo>
                <a:lnTo>
                  <a:pt x="1414429" y="1692679"/>
                </a:lnTo>
                <a:cubicBezTo>
                  <a:pt x="1414429" y="1727459"/>
                  <a:pt x="1437617" y="1750647"/>
                  <a:pt x="1472398" y="1750647"/>
                </a:cubicBezTo>
                <a:lnTo>
                  <a:pt x="2423079" y="1750647"/>
                </a:lnTo>
                <a:cubicBezTo>
                  <a:pt x="2457860" y="1750647"/>
                  <a:pt x="2481048" y="1727459"/>
                  <a:pt x="2481048" y="1692679"/>
                </a:cubicBezTo>
                <a:lnTo>
                  <a:pt x="2481048" y="1141978"/>
                </a:lnTo>
                <a:cubicBezTo>
                  <a:pt x="2481048" y="1107197"/>
                  <a:pt x="2457860" y="1084009"/>
                  <a:pt x="2423079" y="1084009"/>
                </a:cubicBezTo>
                <a:close/>
                <a:moveTo>
                  <a:pt x="394185" y="765183"/>
                </a:moveTo>
                <a:cubicBezTo>
                  <a:pt x="365201" y="765183"/>
                  <a:pt x="336217" y="788371"/>
                  <a:pt x="336217" y="823152"/>
                </a:cubicBezTo>
                <a:cubicBezTo>
                  <a:pt x="336217" y="857933"/>
                  <a:pt x="359404" y="881120"/>
                  <a:pt x="394185" y="881120"/>
                </a:cubicBezTo>
                <a:lnTo>
                  <a:pt x="1739052" y="881120"/>
                </a:lnTo>
                <a:cubicBezTo>
                  <a:pt x="1773833" y="881120"/>
                  <a:pt x="1797020" y="857933"/>
                  <a:pt x="1797020" y="823152"/>
                </a:cubicBezTo>
                <a:cubicBezTo>
                  <a:pt x="1797020" y="788371"/>
                  <a:pt x="1773833" y="765183"/>
                  <a:pt x="1739052" y="765183"/>
                </a:cubicBezTo>
                <a:close/>
                <a:moveTo>
                  <a:pt x="394185" y="399982"/>
                </a:moveTo>
                <a:cubicBezTo>
                  <a:pt x="365201" y="399982"/>
                  <a:pt x="336217" y="423170"/>
                  <a:pt x="336217" y="457951"/>
                </a:cubicBezTo>
                <a:cubicBezTo>
                  <a:pt x="336217" y="492732"/>
                  <a:pt x="359404" y="515919"/>
                  <a:pt x="394185" y="515919"/>
                </a:cubicBezTo>
                <a:lnTo>
                  <a:pt x="1199946" y="515919"/>
                </a:lnTo>
                <a:cubicBezTo>
                  <a:pt x="1234727" y="515919"/>
                  <a:pt x="1257914" y="492732"/>
                  <a:pt x="1257914" y="457951"/>
                </a:cubicBezTo>
                <a:cubicBezTo>
                  <a:pt x="1257914" y="423170"/>
                  <a:pt x="1234727" y="399982"/>
                  <a:pt x="1199946" y="399982"/>
                </a:cubicBezTo>
                <a:close/>
                <a:moveTo>
                  <a:pt x="2150628" y="34781"/>
                </a:moveTo>
                <a:lnTo>
                  <a:pt x="2910015" y="794168"/>
                </a:lnTo>
                <a:lnTo>
                  <a:pt x="2910015" y="799965"/>
                </a:lnTo>
                <a:lnTo>
                  <a:pt x="2382503" y="799965"/>
                </a:lnTo>
                <a:cubicBezTo>
                  <a:pt x="2254971" y="799965"/>
                  <a:pt x="2150628" y="701419"/>
                  <a:pt x="2150628" y="579685"/>
                </a:cubicBezTo>
                <a:close/>
                <a:moveTo>
                  <a:pt x="226077" y="0"/>
                </a:moveTo>
                <a:lnTo>
                  <a:pt x="2034691" y="0"/>
                </a:lnTo>
                <a:lnTo>
                  <a:pt x="2034691" y="573887"/>
                </a:lnTo>
                <a:cubicBezTo>
                  <a:pt x="2034691" y="759386"/>
                  <a:pt x="2191206" y="910104"/>
                  <a:pt x="2382501" y="910104"/>
                </a:cubicBezTo>
                <a:lnTo>
                  <a:pt x="2944795" y="910104"/>
                </a:lnTo>
                <a:lnTo>
                  <a:pt x="2944795" y="3483902"/>
                </a:lnTo>
                <a:cubicBezTo>
                  <a:pt x="2944795" y="3611432"/>
                  <a:pt x="2840452" y="3709979"/>
                  <a:pt x="2718718" y="3709979"/>
                </a:cubicBezTo>
                <a:lnTo>
                  <a:pt x="226077" y="3709979"/>
                </a:lnTo>
                <a:cubicBezTo>
                  <a:pt x="104343" y="3709979"/>
                  <a:pt x="0" y="3611432"/>
                  <a:pt x="0" y="3483902"/>
                </a:cubicBezTo>
                <a:lnTo>
                  <a:pt x="0" y="226077"/>
                </a:lnTo>
                <a:cubicBezTo>
                  <a:pt x="0" y="104343"/>
                  <a:pt x="104343" y="0"/>
                  <a:pt x="226077" y="0"/>
                </a:cubicBezTo>
                <a:close/>
              </a:path>
            </a:pathLst>
          </a:custGeom>
          <a:solidFill>
            <a:schemeClr val="accent5"/>
          </a:solidFill>
          <a:ln w="9525" cap="flat">
            <a:noFill/>
            <a:prstDash val="solid"/>
            <a:miter/>
          </a:ln>
        </p:spPr>
        <p:txBody>
          <a:bodyPr rtlCol="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102" name="Rechteck 176">
            <a:extLst>
              <a:ext uri="{FF2B5EF4-FFF2-40B4-BE49-F238E27FC236}">
                <a16:creationId xmlns:a16="http://schemas.microsoft.com/office/drawing/2014/main" id="{A098D013-7F2E-FA51-8534-AE0F77ED06B0}"/>
              </a:ext>
            </a:extLst>
          </p:cNvPr>
          <p:cNvSpPr/>
          <p:nvPr/>
        </p:nvSpPr>
        <p:spPr>
          <a:xfrm>
            <a:off x="7991003" y="4159921"/>
            <a:ext cx="150445" cy="144318"/>
          </a:xfrm>
          <a:prstGeom prst="rect">
            <a:avLst/>
          </a:prstGeom>
        </p:spPr>
        <p:txBody>
          <a:bodyPr wrap="square" lIns="0" tIns="0" rIns="0" bIns="0">
            <a:spAutoFit/>
          </a:bodyPr>
          <a:lstStyle/>
          <a:p>
            <a:pPr algn="ctr" defTabSz="685800" fontAlgn="base">
              <a:spcBef>
                <a:spcPct val="0"/>
              </a:spcBef>
              <a:spcAft>
                <a:spcPct val="0"/>
              </a:spcAft>
              <a:defRPr/>
            </a:pPr>
            <a:r>
              <a:rPr lang="en-US" altLang="de-DE" sz="1125" b="1">
                <a:solidFill>
                  <a:srgbClr val="787878">
                    <a:lumMod val="100000"/>
                  </a:srgbClr>
                </a:solidFill>
                <a:latin typeface="+mj-lt"/>
                <a:ea typeface="Microsoft YaHei"/>
                <a:cs typeface="Calibri"/>
                <a:sym typeface="Arial Narrow"/>
              </a:rPr>
              <a:t>Ø</a:t>
            </a:r>
            <a:endParaRPr lang="en-US" altLang="de-DE" sz="1125" b="1" i="1" baseline="30000">
              <a:solidFill>
                <a:srgbClr val="787878">
                  <a:lumMod val="100000"/>
                </a:srgbClr>
              </a:solidFill>
              <a:latin typeface="+mj-lt"/>
              <a:ea typeface="Microsoft YaHei"/>
              <a:cs typeface="Calibri"/>
              <a:sym typeface="Arial Narrow"/>
            </a:endParaRPr>
          </a:p>
        </p:txBody>
      </p:sp>
      <p:sp>
        <p:nvSpPr>
          <p:cNvPr id="103" name="Freeform: Shape 9">
            <a:extLst>
              <a:ext uri="{FF2B5EF4-FFF2-40B4-BE49-F238E27FC236}">
                <a16:creationId xmlns:a16="http://schemas.microsoft.com/office/drawing/2014/main" id="{4AF26957-0BCF-8C19-5F17-851E5D3E8FF1}"/>
              </a:ext>
            </a:extLst>
          </p:cNvPr>
          <p:cNvSpPr>
            <a:spLocks noChangeAspect="1"/>
          </p:cNvSpPr>
          <p:nvPr/>
        </p:nvSpPr>
        <p:spPr>
          <a:xfrm>
            <a:off x="6630421" y="2575983"/>
            <a:ext cx="75062" cy="94333"/>
          </a:xfrm>
          <a:custGeom>
            <a:avLst/>
            <a:gdLst>
              <a:gd name="connsiteX0" fmla="*/ 2289753 w 2944795"/>
              <a:gd name="connsiteY0" fmla="*/ 2852045 h 3709979"/>
              <a:gd name="connsiteX1" fmla="*/ 2492642 w 2944795"/>
              <a:gd name="connsiteY1" fmla="*/ 3054935 h 3709979"/>
              <a:gd name="connsiteX2" fmla="*/ 2289753 w 2944795"/>
              <a:gd name="connsiteY2" fmla="*/ 3257824 h 3709979"/>
              <a:gd name="connsiteX3" fmla="*/ 2086863 w 2944795"/>
              <a:gd name="connsiteY3" fmla="*/ 3054935 h 3709979"/>
              <a:gd name="connsiteX4" fmla="*/ 2289753 w 2944795"/>
              <a:gd name="connsiteY4" fmla="*/ 2852045 h 3709979"/>
              <a:gd name="connsiteX5" fmla="*/ 655044 w 2944795"/>
              <a:gd name="connsiteY5" fmla="*/ 2852045 h 3709979"/>
              <a:gd name="connsiteX6" fmla="*/ 857933 w 2944795"/>
              <a:gd name="connsiteY6" fmla="*/ 3054935 h 3709979"/>
              <a:gd name="connsiteX7" fmla="*/ 655044 w 2944795"/>
              <a:gd name="connsiteY7" fmla="*/ 3257824 h 3709979"/>
              <a:gd name="connsiteX8" fmla="*/ 452154 w 2944795"/>
              <a:gd name="connsiteY8" fmla="*/ 3054935 h 3709979"/>
              <a:gd name="connsiteX9" fmla="*/ 655044 w 2944795"/>
              <a:gd name="connsiteY9" fmla="*/ 2852045 h 3709979"/>
              <a:gd name="connsiteX10" fmla="*/ 655043 w 2944795"/>
              <a:gd name="connsiteY10" fmla="*/ 2736110 h 3709979"/>
              <a:gd name="connsiteX11" fmla="*/ 336217 w 2944795"/>
              <a:gd name="connsiteY11" fmla="*/ 3054936 h 3709979"/>
              <a:gd name="connsiteX12" fmla="*/ 655043 w 2944795"/>
              <a:gd name="connsiteY12" fmla="*/ 3373762 h 3709979"/>
              <a:gd name="connsiteX13" fmla="*/ 968072 w 2944795"/>
              <a:gd name="connsiteY13" fmla="*/ 3112904 h 3709979"/>
              <a:gd name="connsiteX14" fmla="*/ 1605725 w 2944795"/>
              <a:gd name="connsiteY14" fmla="*/ 3112904 h 3709979"/>
              <a:gd name="connsiteX15" fmla="*/ 1536163 w 2944795"/>
              <a:gd name="connsiteY15" fmla="*/ 3182466 h 3709979"/>
              <a:gd name="connsiteX16" fmla="*/ 1536163 w 2944795"/>
              <a:gd name="connsiteY16" fmla="*/ 3263622 h 3709979"/>
              <a:gd name="connsiteX17" fmla="*/ 1617319 w 2944795"/>
              <a:gd name="connsiteY17" fmla="*/ 3263622 h 3709979"/>
              <a:gd name="connsiteX18" fmla="*/ 1785427 w 2944795"/>
              <a:gd name="connsiteY18" fmla="*/ 3095514 h 3709979"/>
              <a:gd name="connsiteX19" fmla="*/ 1802817 w 2944795"/>
              <a:gd name="connsiteY19" fmla="*/ 3054936 h 3709979"/>
              <a:gd name="connsiteX20" fmla="*/ 1791224 w 2944795"/>
              <a:gd name="connsiteY20" fmla="*/ 3014358 h 3709979"/>
              <a:gd name="connsiteX21" fmla="*/ 1617319 w 2944795"/>
              <a:gd name="connsiteY21" fmla="*/ 2846249 h 3709979"/>
              <a:gd name="connsiteX22" fmla="*/ 1536163 w 2944795"/>
              <a:gd name="connsiteY22" fmla="*/ 2846249 h 3709979"/>
              <a:gd name="connsiteX23" fmla="*/ 1536163 w 2944795"/>
              <a:gd name="connsiteY23" fmla="*/ 2927405 h 3709979"/>
              <a:gd name="connsiteX24" fmla="*/ 1605725 w 2944795"/>
              <a:gd name="connsiteY24" fmla="*/ 2996967 h 3709979"/>
              <a:gd name="connsiteX25" fmla="*/ 968072 w 2944795"/>
              <a:gd name="connsiteY25" fmla="*/ 2996967 h 3709979"/>
              <a:gd name="connsiteX26" fmla="*/ 655043 w 2944795"/>
              <a:gd name="connsiteY26" fmla="*/ 2736110 h 3709979"/>
              <a:gd name="connsiteX27" fmla="*/ 2291926 w 2944795"/>
              <a:gd name="connsiteY27" fmla="*/ 1837599 h 3709979"/>
              <a:gd name="connsiteX28" fmla="*/ 2249174 w 2944795"/>
              <a:gd name="connsiteY28" fmla="*/ 1854990 h 3709979"/>
              <a:gd name="connsiteX29" fmla="*/ 2081066 w 2944795"/>
              <a:gd name="connsiteY29" fmla="*/ 2028895 h 3709979"/>
              <a:gd name="connsiteX30" fmla="*/ 2081066 w 2944795"/>
              <a:gd name="connsiteY30" fmla="*/ 2110051 h 3709979"/>
              <a:gd name="connsiteX31" fmla="*/ 2162222 w 2944795"/>
              <a:gd name="connsiteY31" fmla="*/ 2110051 h 3709979"/>
              <a:gd name="connsiteX32" fmla="*/ 2231784 w 2944795"/>
              <a:gd name="connsiteY32" fmla="*/ 2040489 h 3709979"/>
              <a:gd name="connsiteX33" fmla="*/ 2231784 w 2944795"/>
              <a:gd name="connsiteY33" fmla="*/ 2741906 h 3709979"/>
              <a:gd name="connsiteX34" fmla="*/ 1970926 w 2944795"/>
              <a:gd name="connsiteY34" fmla="*/ 3054936 h 3709979"/>
              <a:gd name="connsiteX35" fmla="*/ 2289752 w 2944795"/>
              <a:gd name="connsiteY35" fmla="*/ 3373762 h 3709979"/>
              <a:gd name="connsiteX36" fmla="*/ 2608578 w 2944795"/>
              <a:gd name="connsiteY36" fmla="*/ 3049139 h 3709979"/>
              <a:gd name="connsiteX37" fmla="*/ 2347720 w 2944795"/>
              <a:gd name="connsiteY37" fmla="*/ 2736110 h 3709979"/>
              <a:gd name="connsiteX38" fmla="*/ 2347720 w 2944795"/>
              <a:gd name="connsiteY38" fmla="*/ 2034692 h 3709979"/>
              <a:gd name="connsiteX39" fmla="*/ 2417282 w 2944795"/>
              <a:gd name="connsiteY39" fmla="*/ 2104254 h 3709979"/>
              <a:gd name="connsiteX40" fmla="*/ 2498438 w 2944795"/>
              <a:gd name="connsiteY40" fmla="*/ 2104254 h 3709979"/>
              <a:gd name="connsiteX41" fmla="*/ 2498438 w 2944795"/>
              <a:gd name="connsiteY41" fmla="*/ 2023098 h 3709979"/>
              <a:gd name="connsiteX42" fmla="*/ 2330330 w 2944795"/>
              <a:gd name="connsiteY42" fmla="*/ 1854990 h 3709979"/>
              <a:gd name="connsiteX43" fmla="*/ 2291926 w 2944795"/>
              <a:gd name="connsiteY43" fmla="*/ 1837599 h 3709979"/>
              <a:gd name="connsiteX44" fmla="*/ 1530366 w 2944795"/>
              <a:gd name="connsiteY44" fmla="*/ 1199946 h 3709979"/>
              <a:gd name="connsiteX45" fmla="*/ 2365112 w 2944795"/>
              <a:gd name="connsiteY45" fmla="*/ 1199946 h 3709979"/>
              <a:gd name="connsiteX46" fmla="*/ 2365112 w 2944795"/>
              <a:gd name="connsiteY46" fmla="*/ 1628912 h 3709979"/>
              <a:gd name="connsiteX47" fmla="*/ 1530366 w 2944795"/>
              <a:gd name="connsiteY47" fmla="*/ 1628912 h 3709979"/>
              <a:gd name="connsiteX48" fmla="*/ 1530366 w 2944795"/>
              <a:gd name="connsiteY48" fmla="*/ 1414429 h 3709979"/>
              <a:gd name="connsiteX49" fmla="*/ 1472398 w 2944795"/>
              <a:gd name="connsiteY49" fmla="*/ 1084009 h 3709979"/>
              <a:gd name="connsiteX50" fmla="*/ 1414429 w 2944795"/>
              <a:gd name="connsiteY50" fmla="*/ 1141978 h 3709979"/>
              <a:gd name="connsiteX51" fmla="*/ 1414429 w 2944795"/>
              <a:gd name="connsiteY51" fmla="*/ 1362259 h 3709979"/>
              <a:gd name="connsiteX52" fmla="*/ 655043 w 2944795"/>
              <a:gd name="connsiteY52" fmla="*/ 2179613 h 3709979"/>
              <a:gd name="connsiteX53" fmla="*/ 655043 w 2944795"/>
              <a:gd name="connsiteY53" fmla="*/ 2225988 h 3709979"/>
              <a:gd name="connsiteX54" fmla="*/ 568091 w 2944795"/>
              <a:gd name="connsiteY54" fmla="*/ 2139035 h 3709979"/>
              <a:gd name="connsiteX55" fmla="*/ 486935 w 2944795"/>
              <a:gd name="connsiteY55" fmla="*/ 2139035 h 3709979"/>
              <a:gd name="connsiteX56" fmla="*/ 486935 w 2944795"/>
              <a:gd name="connsiteY56" fmla="*/ 2220191 h 3709979"/>
              <a:gd name="connsiteX57" fmla="*/ 672434 w 2944795"/>
              <a:gd name="connsiteY57" fmla="*/ 2405690 h 3709979"/>
              <a:gd name="connsiteX58" fmla="*/ 753589 w 2944795"/>
              <a:gd name="connsiteY58" fmla="*/ 2405690 h 3709979"/>
              <a:gd name="connsiteX59" fmla="*/ 939088 w 2944795"/>
              <a:gd name="connsiteY59" fmla="*/ 2220191 h 3709979"/>
              <a:gd name="connsiteX60" fmla="*/ 939088 w 2944795"/>
              <a:gd name="connsiteY60" fmla="*/ 2139035 h 3709979"/>
              <a:gd name="connsiteX61" fmla="*/ 857933 w 2944795"/>
              <a:gd name="connsiteY61" fmla="*/ 2139035 h 3709979"/>
              <a:gd name="connsiteX62" fmla="*/ 770980 w 2944795"/>
              <a:gd name="connsiteY62" fmla="*/ 2225988 h 3709979"/>
              <a:gd name="connsiteX63" fmla="*/ 770980 w 2944795"/>
              <a:gd name="connsiteY63" fmla="*/ 2179613 h 3709979"/>
              <a:gd name="connsiteX64" fmla="*/ 1414429 w 2944795"/>
              <a:gd name="connsiteY64" fmla="*/ 1478195 h 3709979"/>
              <a:gd name="connsiteX65" fmla="*/ 1414429 w 2944795"/>
              <a:gd name="connsiteY65" fmla="*/ 1692679 h 3709979"/>
              <a:gd name="connsiteX66" fmla="*/ 1472398 w 2944795"/>
              <a:gd name="connsiteY66" fmla="*/ 1750647 h 3709979"/>
              <a:gd name="connsiteX67" fmla="*/ 2423079 w 2944795"/>
              <a:gd name="connsiteY67" fmla="*/ 1750647 h 3709979"/>
              <a:gd name="connsiteX68" fmla="*/ 2481048 w 2944795"/>
              <a:gd name="connsiteY68" fmla="*/ 1692679 h 3709979"/>
              <a:gd name="connsiteX69" fmla="*/ 2481048 w 2944795"/>
              <a:gd name="connsiteY69" fmla="*/ 1141978 h 3709979"/>
              <a:gd name="connsiteX70" fmla="*/ 2423079 w 2944795"/>
              <a:gd name="connsiteY70" fmla="*/ 1084009 h 3709979"/>
              <a:gd name="connsiteX71" fmla="*/ 394185 w 2944795"/>
              <a:gd name="connsiteY71" fmla="*/ 765183 h 3709979"/>
              <a:gd name="connsiteX72" fmla="*/ 336217 w 2944795"/>
              <a:gd name="connsiteY72" fmla="*/ 823152 h 3709979"/>
              <a:gd name="connsiteX73" fmla="*/ 394185 w 2944795"/>
              <a:gd name="connsiteY73" fmla="*/ 881120 h 3709979"/>
              <a:gd name="connsiteX74" fmla="*/ 1739052 w 2944795"/>
              <a:gd name="connsiteY74" fmla="*/ 881120 h 3709979"/>
              <a:gd name="connsiteX75" fmla="*/ 1797020 w 2944795"/>
              <a:gd name="connsiteY75" fmla="*/ 823152 h 3709979"/>
              <a:gd name="connsiteX76" fmla="*/ 1739052 w 2944795"/>
              <a:gd name="connsiteY76" fmla="*/ 765183 h 3709979"/>
              <a:gd name="connsiteX77" fmla="*/ 394185 w 2944795"/>
              <a:gd name="connsiteY77" fmla="*/ 399982 h 3709979"/>
              <a:gd name="connsiteX78" fmla="*/ 336217 w 2944795"/>
              <a:gd name="connsiteY78" fmla="*/ 457951 h 3709979"/>
              <a:gd name="connsiteX79" fmla="*/ 394185 w 2944795"/>
              <a:gd name="connsiteY79" fmla="*/ 515919 h 3709979"/>
              <a:gd name="connsiteX80" fmla="*/ 1199946 w 2944795"/>
              <a:gd name="connsiteY80" fmla="*/ 515919 h 3709979"/>
              <a:gd name="connsiteX81" fmla="*/ 1257914 w 2944795"/>
              <a:gd name="connsiteY81" fmla="*/ 457951 h 3709979"/>
              <a:gd name="connsiteX82" fmla="*/ 1199946 w 2944795"/>
              <a:gd name="connsiteY82" fmla="*/ 399982 h 3709979"/>
              <a:gd name="connsiteX83" fmla="*/ 2150628 w 2944795"/>
              <a:gd name="connsiteY83" fmla="*/ 34781 h 3709979"/>
              <a:gd name="connsiteX84" fmla="*/ 2910015 w 2944795"/>
              <a:gd name="connsiteY84" fmla="*/ 794168 h 3709979"/>
              <a:gd name="connsiteX85" fmla="*/ 2910015 w 2944795"/>
              <a:gd name="connsiteY85" fmla="*/ 799965 h 3709979"/>
              <a:gd name="connsiteX86" fmla="*/ 2382503 w 2944795"/>
              <a:gd name="connsiteY86" fmla="*/ 799965 h 3709979"/>
              <a:gd name="connsiteX87" fmla="*/ 2150628 w 2944795"/>
              <a:gd name="connsiteY87" fmla="*/ 579685 h 3709979"/>
              <a:gd name="connsiteX88" fmla="*/ 226077 w 2944795"/>
              <a:gd name="connsiteY88" fmla="*/ 0 h 3709979"/>
              <a:gd name="connsiteX89" fmla="*/ 2034691 w 2944795"/>
              <a:gd name="connsiteY89" fmla="*/ 0 h 3709979"/>
              <a:gd name="connsiteX90" fmla="*/ 2034691 w 2944795"/>
              <a:gd name="connsiteY90" fmla="*/ 573887 h 3709979"/>
              <a:gd name="connsiteX91" fmla="*/ 2382501 w 2944795"/>
              <a:gd name="connsiteY91" fmla="*/ 910104 h 3709979"/>
              <a:gd name="connsiteX92" fmla="*/ 2944795 w 2944795"/>
              <a:gd name="connsiteY92" fmla="*/ 910104 h 3709979"/>
              <a:gd name="connsiteX93" fmla="*/ 2944795 w 2944795"/>
              <a:gd name="connsiteY93" fmla="*/ 3483902 h 3709979"/>
              <a:gd name="connsiteX94" fmla="*/ 2718718 w 2944795"/>
              <a:gd name="connsiteY94" fmla="*/ 3709979 h 3709979"/>
              <a:gd name="connsiteX95" fmla="*/ 226077 w 2944795"/>
              <a:gd name="connsiteY95" fmla="*/ 3709979 h 3709979"/>
              <a:gd name="connsiteX96" fmla="*/ 0 w 2944795"/>
              <a:gd name="connsiteY96" fmla="*/ 3483902 h 3709979"/>
              <a:gd name="connsiteX97" fmla="*/ 0 w 2944795"/>
              <a:gd name="connsiteY97" fmla="*/ 226077 h 3709979"/>
              <a:gd name="connsiteX98" fmla="*/ 226077 w 2944795"/>
              <a:gd name="connsiteY98" fmla="*/ 0 h 370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944795" h="3709979">
                <a:moveTo>
                  <a:pt x="2289753" y="2852045"/>
                </a:moveTo>
                <a:cubicBezTo>
                  <a:pt x="2401805" y="2852045"/>
                  <a:pt x="2492642" y="2942882"/>
                  <a:pt x="2492642" y="3054935"/>
                </a:cubicBezTo>
                <a:cubicBezTo>
                  <a:pt x="2492642" y="3166987"/>
                  <a:pt x="2401805" y="3257824"/>
                  <a:pt x="2289753" y="3257824"/>
                </a:cubicBezTo>
                <a:cubicBezTo>
                  <a:pt x="2177700" y="3257824"/>
                  <a:pt x="2086863" y="3166987"/>
                  <a:pt x="2086863" y="3054935"/>
                </a:cubicBezTo>
                <a:cubicBezTo>
                  <a:pt x="2086863" y="2942882"/>
                  <a:pt x="2177700" y="2852045"/>
                  <a:pt x="2289753" y="2852045"/>
                </a:cubicBezTo>
                <a:close/>
                <a:moveTo>
                  <a:pt x="655044" y="2852045"/>
                </a:moveTo>
                <a:cubicBezTo>
                  <a:pt x="765184" y="2852045"/>
                  <a:pt x="857933" y="2944795"/>
                  <a:pt x="857933" y="3054935"/>
                </a:cubicBezTo>
                <a:cubicBezTo>
                  <a:pt x="857933" y="3165075"/>
                  <a:pt x="765184" y="3257824"/>
                  <a:pt x="655044" y="3257824"/>
                </a:cubicBezTo>
                <a:cubicBezTo>
                  <a:pt x="544904" y="3257824"/>
                  <a:pt x="452154" y="3165075"/>
                  <a:pt x="452154" y="3054935"/>
                </a:cubicBezTo>
                <a:cubicBezTo>
                  <a:pt x="452154" y="2944795"/>
                  <a:pt x="544904" y="2852045"/>
                  <a:pt x="655044" y="2852045"/>
                </a:cubicBezTo>
                <a:close/>
                <a:moveTo>
                  <a:pt x="655043" y="2736110"/>
                </a:moveTo>
                <a:cubicBezTo>
                  <a:pt x="481138" y="2736110"/>
                  <a:pt x="336217" y="2881031"/>
                  <a:pt x="336217" y="3054936"/>
                </a:cubicBezTo>
                <a:cubicBezTo>
                  <a:pt x="336217" y="3228841"/>
                  <a:pt x="481138" y="3373762"/>
                  <a:pt x="655043" y="3373762"/>
                </a:cubicBezTo>
                <a:cubicBezTo>
                  <a:pt x="811558" y="3373762"/>
                  <a:pt x="939088" y="3257825"/>
                  <a:pt x="968072" y="3112904"/>
                </a:cubicBezTo>
                <a:lnTo>
                  <a:pt x="1605725" y="3112904"/>
                </a:lnTo>
                <a:lnTo>
                  <a:pt x="1536163" y="3182466"/>
                </a:lnTo>
                <a:cubicBezTo>
                  <a:pt x="1512975" y="3205654"/>
                  <a:pt x="1512975" y="3240435"/>
                  <a:pt x="1536163" y="3263622"/>
                </a:cubicBezTo>
                <a:cubicBezTo>
                  <a:pt x="1559350" y="3286809"/>
                  <a:pt x="1594131" y="3286809"/>
                  <a:pt x="1617319" y="3263622"/>
                </a:cubicBezTo>
                <a:lnTo>
                  <a:pt x="1785427" y="3095514"/>
                </a:lnTo>
                <a:cubicBezTo>
                  <a:pt x="1797020" y="3083920"/>
                  <a:pt x="1802817" y="3072326"/>
                  <a:pt x="1802817" y="3054936"/>
                </a:cubicBezTo>
                <a:cubicBezTo>
                  <a:pt x="1802817" y="3037545"/>
                  <a:pt x="1797020" y="3025952"/>
                  <a:pt x="1791224" y="3014358"/>
                </a:cubicBezTo>
                <a:lnTo>
                  <a:pt x="1617319" y="2846249"/>
                </a:lnTo>
                <a:cubicBezTo>
                  <a:pt x="1594131" y="2823062"/>
                  <a:pt x="1559350" y="2823062"/>
                  <a:pt x="1536163" y="2846249"/>
                </a:cubicBezTo>
                <a:cubicBezTo>
                  <a:pt x="1512975" y="2869437"/>
                  <a:pt x="1512975" y="2904218"/>
                  <a:pt x="1536163" y="2927405"/>
                </a:cubicBezTo>
                <a:lnTo>
                  <a:pt x="1605725" y="2996967"/>
                </a:lnTo>
                <a:lnTo>
                  <a:pt x="968072" y="2996967"/>
                </a:lnTo>
                <a:cubicBezTo>
                  <a:pt x="939088" y="2846249"/>
                  <a:pt x="811558" y="2736110"/>
                  <a:pt x="655043" y="2736110"/>
                </a:cubicBezTo>
                <a:close/>
                <a:moveTo>
                  <a:pt x="2291926" y="1837599"/>
                </a:moveTo>
                <a:cubicBezTo>
                  <a:pt x="2276709" y="1837599"/>
                  <a:pt x="2260768" y="1843396"/>
                  <a:pt x="2249174" y="1854990"/>
                </a:cubicBezTo>
                <a:lnTo>
                  <a:pt x="2081066" y="2028895"/>
                </a:lnTo>
                <a:cubicBezTo>
                  <a:pt x="2057878" y="2052083"/>
                  <a:pt x="2057878" y="2086864"/>
                  <a:pt x="2081066" y="2110051"/>
                </a:cubicBezTo>
                <a:cubicBezTo>
                  <a:pt x="2104253" y="2133238"/>
                  <a:pt x="2139034" y="2133238"/>
                  <a:pt x="2162222" y="2110051"/>
                </a:cubicBezTo>
                <a:lnTo>
                  <a:pt x="2231784" y="2040489"/>
                </a:lnTo>
                <a:lnTo>
                  <a:pt x="2231784" y="2741906"/>
                </a:lnTo>
                <a:cubicBezTo>
                  <a:pt x="2081066" y="2770891"/>
                  <a:pt x="1970926" y="2898421"/>
                  <a:pt x="1970926" y="3054936"/>
                </a:cubicBezTo>
                <a:cubicBezTo>
                  <a:pt x="1970926" y="3228841"/>
                  <a:pt x="2115847" y="3373762"/>
                  <a:pt x="2289752" y="3373762"/>
                </a:cubicBezTo>
                <a:cubicBezTo>
                  <a:pt x="2463657" y="3373762"/>
                  <a:pt x="2608578" y="3228841"/>
                  <a:pt x="2608578" y="3049139"/>
                </a:cubicBezTo>
                <a:cubicBezTo>
                  <a:pt x="2608578" y="2892624"/>
                  <a:pt x="2492641" y="2765094"/>
                  <a:pt x="2347720" y="2736110"/>
                </a:cubicBezTo>
                <a:lnTo>
                  <a:pt x="2347720" y="2034692"/>
                </a:lnTo>
                <a:lnTo>
                  <a:pt x="2417282" y="2104254"/>
                </a:lnTo>
                <a:cubicBezTo>
                  <a:pt x="2440470" y="2127442"/>
                  <a:pt x="2475251" y="2127442"/>
                  <a:pt x="2498438" y="2104254"/>
                </a:cubicBezTo>
                <a:cubicBezTo>
                  <a:pt x="2521625" y="2081067"/>
                  <a:pt x="2521625" y="2046286"/>
                  <a:pt x="2498438" y="2023098"/>
                </a:cubicBezTo>
                <a:lnTo>
                  <a:pt x="2330330" y="1854990"/>
                </a:lnTo>
                <a:cubicBezTo>
                  <a:pt x="2321635" y="1843396"/>
                  <a:pt x="2307143" y="1837599"/>
                  <a:pt x="2291926" y="1837599"/>
                </a:cubicBezTo>
                <a:close/>
                <a:moveTo>
                  <a:pt x="1530366" y="1199946"/>
                </a:moveTo>
                <a:lnTo>
                  <a:pt x="2365112" y="1199946"/>
                </a:lnTo>
                <a:lnTo>
                  <a:pt x="2365112" y="1628912"/>
                </a:lnTo>
                <a:lnTo>
                  <a:pt x="1530366" y="1628912"/>
                </a:lnTo>
                <a:lnTo>
                  <a:pt x="1530366" y="1414429"/>
                </a:lnTo>
                <a:close/>
                <a:moveTo>
                  <a:pt x="1472398" y="1084009"/>
                </a:moveTo>
                <a:cubicBezTo>
                  <a:pt x="1437617" y="1084009"/>
                  <a:pt x="1414429" y="1107197"/>
                  <a:pt x="1414429" y="1141978"/>
                </a:cubicBezTo>
                <a:lnTo>
                  <a:pt x="1414429" y="1362259"/>
                </a:lnTo>
                <a:cubicBezTo>
                  <a:pt x="991260" y="1391243"/>
                  <a:pt x="655043" y="1744850"/>
                  <a:pt x="655043" y="2179613"/>
                </a:cubicBezTo>
                <a:lnTo>
                  <a:pt x="655043" y="2225988"/>
                </a:lnTo>
                <a:lnTo>
                  <a:pt x="568091" y="2139035"/>
                </a:lnTo>
                <a:cubicBezTo>
                  <a:pt x="544903" y="2115848"/>
                  <a:pt x="510122" y="2115848"/>
                  <a:pt x="486935" y="2139035"/>
                </a:cubicBezTo>
                <a:cubicBezTo>
                  <a:pt x="463747" y="2162222"/>
                  <a:pt x="463747" y="2197004"/>
                  <a:pt x="486935" y="2220191"/>
                </a:cubicBezTo>
                <a:lnTo>
                  <a:pt x="672434" y="2405690"/>
                </a:lnTo>
                <a:cubicBezTo>
                  <a:pt x="695621" y="2428877"/>
                  <a:pt x="730402" y="2428877"/>
                  <a:pt x="753589" y="2405690"/>
                </a:cubicBezTo>
                <a:lnTo>
                  <a:pt x="939088" y="2220191"/>
                </a:lnTo>
                <a:cubicBezTo>
                  <a:pt x="962276" y="2197004"/>
                  <a:pt x="962276" y="2162222"/>
                  <a:pt x="939088" y="2139035"/>
                </a:cubicBezTo>
                <a:cubicBezTo>
                  <a:pt x="915901" y="2115848"/>
                  <a:pt x="881120" y="2115848"/>
                  <a:pt x="857933" y="2139035"/>
                </a:cubicBezTo>
                <a:lnTo>
                  <a:pt x="770980" y="2225988"/>
                </a:lnTo>
                <a:lnTo>
                  <a:pt x="770980" y="2179613"/>
                </a:lnTo>
                <a:cubicBezTo>
                  <a:pt x="770980" y="1808615"/>
                  <a:pt x="1055025" y="1507180"/>
                  <a:pt x="1414429" y="1478195"/>
                </a:cubicBezTo>
                <a:lnTo>
                  <a:pt x="1414429" y="1692679"/>
                </a:lnTo>
                <a:cubicBezTo>
                  <a:pt x="1414429" y="1727459"/>
                  <a:pt x="1437617" y="1750647"/>
                  <a:pt x="1472398" y="1750647"/>
                </a:cubicBezTo>
                <a:lnTo>
                  <a:pt x="2423079" y="1750647"/>
                </a:lnTo>
                <a:cubicBezTo>
                  <a:pt x="2457860" y="1750647"/>
                  <a:pt x="2481048" y="1727459"/>
                  <a:pt x="2481048" y="1692679"/>
                </a:cubicBezTo>
                <a:lnTo>
                  <a:pt x="2481048" y="1141978"/>
                </a:lnTo>
                <a:cubicBezTo>
                  <a:pt x="2481048" y="1107197"/>
                  <a:pt x="2457860" y="1084009"/>
                  <a:pt x="2423079" y="1084009"/>
                </a:cubicBezTo>
                <a:close/>
                <a:moveTo>
                  <a:pt x="394185" y="765183"/>
                </a:moveTo>
                <a:cubicBezTo>
                  <a:pt x="365201" y="765183"/>
                  <a:pt x="336217" y="788371"/>
                  <a:pt x="336217" y="823152"/>
                </a:cubicBezTo>
                <a:cubicBezTo>
                  <a:pt x="336217" y="857933"/>
                  <a:pt x="359404" y="881120"/>
                  <a:pt x="394185" y="881120"/>
                </a:cubicBezTo>
                <a:lnTo>
                  <a:pt x="1739052" y="881120"/>
                </a:lnTo>
                <a:cubicBezTo>
                  <a:pt x="1773833" y="881120"/>
                  <a:pt x="1797020" y="857933"/>
                  <a:pt x="1797020" y="823152"/>
                </a:cubicBezTo>
                <a:cubicBezTo>
                  <a:pt x="1797020" y="788371"/>
                  <a:pt x="1773833" y="765183"/>
                  <a:pt x="1739052" y="765183"/>
                </a:cubicBezTo>
                <a:close/>
                <a:moveTo>
                  <a:pt x="394185" y="399982"/>
                </a:moveTo>
                <a:cubicBezTo>
                  <a:pt x="365201" y="399982"/>
                  <a:pt x="336217" y="423170"/>
                  <a:pt x="336217" y="457951"/>
                </a:cubicBezTo>
                <a:cubicBezTo>
                  <a:pt x="336217" y="492732"/>
                  <a:pt x="359404" y="515919"/>
                  <a:pt x="394185" y="515919"/>
                </a:cubicBezTo>
                <a:lnTo>
                  <a:pt x="1199946" y="515919"/>
                </a:lnTo>
                <a:cubicBezTo>
                  <a:pt x="1234727" y="515919"/>
                  <a:pt x="1257914" y="492732"/>
                  <a:pt x="1257914" y="457951"/>
                </a:cubicBezTo>
                <a:cubicBezTo>
                  <a:pt x="1257914" y="423170"/>
                  <a:pt x="1234727" y="399982"/>
                  <a:pt x="1199946" y="399982"/>
                </a:cubicBezTo>
                <a:close/>
                <a:moveTo>
                  <a:pt x="2150628" y="34781"/>
                </a:moveTo>
                <a:lnTo>
                  <a:pt x="2910015" y="794168"/>
                </a:lnTo>
                <a:lnTo>
                  <a:pt x="2910015" y="799965"/>
                </a:lnTo>
                <a:lnTo>
                  <a:pt x="2382503" y="799965"/>
                </a:lnTo>
                <a:cubicBezTo>
                  <a:pt x="2254971" y="799965"/>
                  <a:pt x="2150628" y="701419"/>
                  <a:pt x="2150628" y="579685"/>
                </a:cubicBezTo>
                <a:close/>
                <a:moveTo>
                  <a:pt x="226077" y="0"/>
                </a:moveTo>
                <a:lnTo>
                  <a:pt x="2034691" y="0"/>
                </a:lnTo>
                <a:lnTo>
                  <a:pt x="2034691" y="573887"/>
                </a:lnTo>
                <a:cubicBezTo>
                  <a:pt x="2034691" y="759386"/>
                  <a:pt x="2191206" y="910104"/>
                  <a:pt x="2382501" y="910104"/>
                </a:cubicBezTo>
                <a:lnTo>
                  <a:pt x="2944795" y="910104"/>
                </a:lnTo>
                <a:lnTo>
                  <a:pt x="2944795" y="3483902"/>
                </a:lnTo>
                <a:cubicBezTo>
                  <a:pt x="2944795" y="3611432"/>
                  <a:pt x="2840452" y="3709979"/>
                  <a:pt x="2718718" y="3709979"/>
                </a:cubicBezTo>
                <a:lnTo>
                  <a:pt x="226077" y="3709979"/>
                </a:lnTo>
                <a:cubicBezTo>
                  <a:pt x="104343" y="3709979"/>
                  <a:pt x="0" y="3611432"/>
                  <a:pt x="0" y="3483902"/>
                </a:cubicBezTo>
                <a:lnTo>
                  <a:pt x="0" y="226077"/>
                </a:lnTo>
                <a:cubicBezTo>
                  <a:pt x="0" y="104343"/>
                  <a:pt x="104343" y="0"/>
                  <a:pt x="226077" y="0"/>
                </a:cubicBezTo>
                <a:close/>
              </a:path>
            </a:pathLst>
          </a:custGeom>
          <a:solidFill>
            <a:schemeClr val="accent5"/>
          </a:solidFill>
          <a:ln w="9525" cap="flat">
            <a:noFill/>
            <a:prstDash val="solid"/>
            <a:miter/>
          </a:ln>
        </p:spPr>
        <p:txBody>
          <a:bodyPr rtlCol="0" anchor="ctr"/>
          <a:lstStyle/>
          <a:p>
            <a:pPr defTabSz="685800" fontAlgn="base">
              <a:spcBef>
                <a:spcPct val="0"/>
              </a:spcBef>
              <a:spcAft>
                <a:spcPct val="0"/>
              </a:spcAft>
              <a:defRPr/>
            </a:pPr>
            <a:endParaRPr lang="en-US" sz="900" b="1">
              <a:solidFill>
                <a:srgbClr val="212121"/>
              </a:solidFill>
              <a:latin typeface="+mj-lt"/>
              <a:ea typeface="Microsoft YaHei"/>
              <a:cs typeface="Calibri"/>
            </a:endParaRPr>
          </a:p>
        </p:txBody>
      </p:sp>
      <p:sp>
        <p:nvSpPr>
          <p:cNvPr id="104" name="Rechteck 180">
            <a:extLst>
              <a:ext uri="{FF2B5EF4-FFF2-40B4-BE49-F238E27FC236}">
                <a16:creationId xmlns:a16="http://schemas.microsoft.com/office/drawing/2014/main" id="{4247786A-ED4B-44B3-D936-1834F82D5E41}"/>
              </a:ext>
            </a:extLst>
          </p:cNvPr>
          <p:cNvSpPr/>
          <p:nvPr/>
        </p:nvSpPr>
        <p:spPr>
          <a:xfrm>
            <a:off x="7312346" y="2551647"/>
            <a:ext cx="150445" cy="143006"/>
          </a:xfrm>
          <a:prstGeom prst="rect">
            <a:avLst/>
          </a:prstGeom>
        </p:spPr>
        <p:txBody>
          <a:bodyPr wrap="square" lIns="0" tIns="0" rIns="0" bIns="0">
            <a:spAutoFit/>
          </a:bodyPr>
          <a:lstStyle/>
          <a:p>
            <a:pPr algn="ctr" defTabSz="685800" fontAlgn="base">
              <a:spcBef>
                <a:spcPct val="0"/>
              </a:spcBef>
              <a:spcAft>
                <a:spcPct val="0"/>
              </a:spcAft>
              <a:defRPr/>
            </a:pPr>
            <a:r>
              <a:rPr lang="en-US" altLang="de-DE" sz="1125" b="1">
                <a:solidFill>
                  <a:srgbClr val="787878">
                    <a:lumMod val="100000"/>
                  </a:srgbClr>
                </a:solidFill>
                <a:latin typeface="+mj-lt"/>
                <a:ea typeface="Microsoft YaHei"/>
                <a:cs typeface="Calibri"/>
                <a:sym typeface="Arial Narrow"/>
              </a:rPr>
              <a:t>Ø</a:t>
            </a:r>
            <a:endParaRPr lang="en-US" altLang="de-DE" sz="1125" b="1" i="1" baseline="30000">
              <a:solidFill>
                <a:srgbClr val="787878">
                  <a:lumMod val="100000"/>
                </a:srgbClr>
              </a:solidFill>
              <a:latin typeface="+mj-lt"/>
              <a:ea typeface="Microsoft YaHei"/>
              <a:cs typeface="Calibri"/>
              <a:sym typeface="Arial Narrow"/>
            </a:endParaRPr>
          </a:p>
        </p:txBody>
      </p:sp>
      <p:grpSp>
        <p:nvGrpSpPr>
          <p:cNvPr id="105" name="Group 374">
            <a:extLst>
              <a:ext uri="{FF2B5EF4-FFF2-40B4-BE49-F238E27FC236}">
                <a16:creationId xmlns:a16="http://schemas.microsoft.com/office/drawing/2014/main" id="{034F424C-D881-0C0A-F6EB-FF0931851A0B}"/>
              </a:ext>
            </a:extLst>
          </p:cNvPr>
          <p:cNvGrpSpPr/>
          <p:nvPr/>
        </p:nvGrpSpPr>
        <p:grpSpPr>
          <a:xfrm>
            <a:off x="267604" y="2133830"/>
            <a:ext cx="1541977" cy="1542762"/>
            <a:chOff x="315045" y="2152000"/>
            <a:chExt cx="1541977" cy="1542762"/>
          </a:xfrm>
        </p:grpSpPr>
        <p:sp>
          <p:nvSpPr>
            <p:cNvPr id="106" name="Oval 161">
              <a:extLst>
                <a:ext uri="{FF2B5EF4-FFF2-40B4-BE49-F238E27FC236}">
                  <a16:creationId xmlns:a16="http://schemas.microsoft.com/office/drawing/2014/main" id="{C05C2D1A-BAB2-696F-1BEC-F34BD104AE9F}"/>
                </a:ext>
              </a:extLst>
            </p:cNvPr>
            <p:cNvSpPr/>
            <p:nvPr/>
          </p:nvSpPr>
          <p:spPr>
            <a:xfrm>
              <a:off x="315045" y="2152000"/>
              <a:ext cx="1541977" cy="1542762"/>
            </a:xfrm>
            <a:prstGeom prst="ellipse">
              <a:avLst/>
            </a:prstGeom>
            <a:solidFill>
              <a:schemeClr val="accent6"/>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defTabSz="685800" fontAlgn="base">
                <a:spcBef>
                  <a:spcPct val="0"/>
                </a:spcBef>
                <a:spcAft>
                  <a:spcPct val="0"/>
                </a:spcAft>
                <a:defRPr/>
              </a:pPr>
              <a:endParaRPr lang="en-US" altLang="de-DE" sz="1200" b="1" i="1" baseline="30000">
                <a:solidFill>
                  <a:srgbClr val="FFFFFF"/>
                </a:solidFill>
                <a:latin typeface="+mj-lt"/>
                <a:ea typeface="Microsoft YaHei"/>
                <a:cs typeface="Calibri"/>
                <a:sym typeface="Arial Narrow"/>
              </a:endParaRPr>
            </a:p>
          </p:txBody>
        </p:sp>
        <p:sp>
          <p:nvSpPr>
            <p:cNvPr id="107" name="Rechteck 9">
              <a:extLst>
                <a:ext uri="{FF2B5EF4-FFF2-40B4-BE49-F238E27FC236}">
                  <a16:creationId xmlns:a16="http://schemas.microsoft.com/office/drawing/2014/main" id="{27ACB0E0-DBC4-780F-AEB6-739A047C5DB2}"/>
                </a:ext>
              </a:extLst>
            </p:cNvPr>
            <p:cNvSpPr/>
            <p:nvPr/>
          </p:nvSpPr>
          <p:spPr>
            <a:xfrm>
              <a:off x="368602" y="2330450"/>
              <a:ext cx="1434863" cy="1184170"/>
            </a:xfrm>
            <a:prstGeom prst="rect">
              <a:avLst/>
            </a:prstGeom>
            <a:noFill/>
          </p:spPr>
          <p:txBody>
            <a:bodyPr wrap="square" lIns="0" tIns="0" rIns="0" bIns="0">
              <a:spAutoFit/>
            </a:bodyPr>
            <a:lstStyle/>
            <a:p>
              <a:pPr algn="ctr" defTabSz="685800" fontAlgn="base">
                <a:lnSpc>
                  <a:spcPct val="90000"/>
                </a:lnSpc>
                <a:spcBef>
                  <a:spcPct val="0"/>
                </a:spcBef>
                <a:spcAft>
                  <a:spcPct val="0"/>
                </a:spcAft>
                <a:defRPr/>
              </a:pPr>
              <a:r>
                <a:rPr lang="en-US" altLang="de-DE" sz="1275" b="1" dirty="0">
                  <a:solidFill>
                    <a:srgbClr val="FFFFFF"/>
                  </a:solidFill>
                  <a:latin typeface="Arial" panose="020B0604020202020204" pitchFamily="34" charset="0"/>
                  <a:ea typeface="Microsoft YaHei"/>
                  <a:cs typeface="Arial" panose="020B0604020202020204" pitchFamily="34" charset="0"/>
                  <a:sym typeface="Arial Narrow"/>
                </a:rPr>
                <a:t>&gt; 1,000 </a:t>
              </a:r>
              <a:r>
                <a:rPr lang="en-US" altLang="de-DE" sz="1275" b="1" dirty="0" err="1">
                  <a:solidFill>
                    <a:srgbClr val="FFFFFF"/>
                  </a:solidFill>
                  <a:latin typeface="Arial" panose="020B0604020202020204" pitchFamily="34" charset="0"/>
                  <a:ea typeface="Microsoft YaHei"/>
                  <a:cs typeface="Arial" panose="020B0604020202020204" pitchFamily="34" charset="0"/>
                  <a:sym typeface="Arial Narrow"/>
                </a:rPr>
                <a:t>announced</a:t>
              </a:r>
              <a:r>
                <a:rPr lang="en-US" altLang="de-DE" sz="1275" b="1" baseline="30000" dirty="0" err="1">
                  <a:solidFill>
                    <a:srgbClr val="FFFFFF"/>
                  </a:solidFill>
                  <a:latin typeface="Arial" panose="020B0604020202020204" pitchFamily="34" charset="0"/>
                  <a:ea typeface="Microsoft YaHei"/>
                  <a:cs typeface="Arial" panose="020B0604020202020204" pitchFamily="34" charset="0"/>
                  <a:sym typeface="Arial Narrow"/>
                </a:rPr>
                <a:t>1</a:t>
              </a:r>
              <a:r>
                <a:rPr lang="en-US" altLang="de-DE" sz="1275" b="1" baseline="30000" dirty="0">
                  <a:solidFill>
                    <a:srgbClr val="FFFFFF"/>
                  </a:solidFill>
                  <a:latin typeface="Arial" panose="020B0604020202020204" pitchFamily="34" charset="0"/>
                  <a:ea typeface="Microsoft YaHei"/>
                  <a:cs typeface="Arial" panose="020B0604020202020204" pitchFamily="34" charset="0"/>
                  <a:sym typeface="Arial Narrow"/>
                </a:rPr>
                <a:t>)</a:t>
              </a:r>
              <a:r>
                <a:rPr lang="en-US" altLang="de-DE" sz="1275" b="1" dirty="0">
                  <a:solidFill>
                    <a:srgbClr val="FFFFFF"/>
                  </a:solidFill>
                  <a:latin typeface="Arial" panose="020B0604020202020204" pitchFamily="34" charset="0"/>
                  <a:ea typeface="Microsoft YaHei"/>
                  <a:cs typeface="Arial" panose="020B0604020202020204" pitchFamily="34" charset="0"/>
                  <a:sym typeface="Arial Narrow"/>
                </a:rPr>
                <a:t> green </a:t>
              </a:r>
              <a:r>
                <a:rPr lang="en-US" altLang="de-DE" sz="1275" b="1" dirty="0" err="1">
                  <a:solidFill>
                    <a:srgbClr val="FFFFFF"/>
                  </a:solidFill>
                  <a:latin typeface="Arial" panose="020B0604020202020204" pitchFamily="34" charset="0"/>
                  <a:ea typeface="Microsoft YaHei"/>
                  <a:cs typeface="Arial" panose="020B0604020202020204" pitchFamily="34" charset="0"/>
                  <a:sym typeface="Arial Narrow"/>
                </a:rPr>
                <a:t>H</a:t>
              </a:r>
              <a:r>
                <a:rPr lang="en-US" altLang="de-DE" sz="1275" b="1" baseline="-25000" dirty="0" err="1">
                  <a:solidFill>
                    <a:srgbClr val="FFFFFF"/>
                  </a:solidFill>
                  <a:latin typeface="Arial" panose="020B0604020202020204" pitchFamily="34" charset="0"/>
                  <a:ea typeface="Microsoft YaHei"/>
                  <a:cs typeface="Arial" panose="020B0604020202020204" pitchFamily="34" charset="0"/>
                  <a:sym typeface="Arial Narrow"/>
                </a:rPr>
                <a:t>2</a:t>
              </a:r>
              <a:r>
                <a:rPr lang="en-US" altLang="de-DE" sz="1275" b="1" dirty="0">
                  <a:solidFill>
                    <a:srgbClr val="FFFFFF"/>
                  </a:solidFill>
                  <a:latin typeface="Arial" panose="020B0604020202020204" pitchFamily="34" charset="0"/>
                  <a:ea typeface="Microsoft YaHei"/>
                  <a:cs typeface="Arial" panose="020B0604020202020204" pitchFamily="34" charset="0"/>
                  <a:sym typeface="Arial Narrow"/>
                </a:rPr>
                <a:t> projects</a:t>
              </a:r>
              <a:br>
                <a:rPr lang="en-US" altLang="de-DE" sz="1275" b="1" dirty="0">
                  <a:solidFill>
                    <a:srgbClr val="FFFFFF"/>
                  </a:solidFill>
                  <a:latin typeface="Arial" panose="020B0604020202020204" pitchFamily="34" charset="0"/>
                  <a:ea typeface="Microsoft YaHei"/>
                  <a:cs typeface="Arial" panose="020B0604020202020204" pitchFamily="34" charset="0"/>
                  <a:sym typeface="Arial Narrow"/>
                </a:rPr>
              </a:br>
              <a:r>
                <a:rPr lang="en-US" altLang="de-DE" sz="900" dirty="0">
                  <a:solidFill>
                    <a:srgbClr val="FFFFFF"/>
                  </a:solidFill>
                  <a:latin typeface="Arial" panose="020B0604020202020204" pitchFamily="34" charset="0"/>
                  <a:ea typeface="Microsoft YaHei"/>
                  <a:cs typeface="Arial" panose="020B0604020202020204" pitchFamily="34" charset="0"/>
                  <a:sym typeface="Arial Narrow"/>
                </a:rPr>
                <a:t>with a total </a:t>
              </a:r>
            </a:p>
            <a:p>
              <a:pPr algn="ctr" defTabSz="685800" fontAlgn="base">
                <a:lnSpc>
                  <a:spcPct val="90000"/>
                </a:lnSpc>
                <a:spcBef>
                  <a:spcPct val="0"/>
                </a:spcBef>
                <a:spcAft>
                  <a:spcPct val="0"/>
                </a:spcAft>
                <a:defRPr/>
              </a:pPr>
              <a:r>
                <a:rPr lang="en-US" altLang="de-DE" sz="1275" b="1" dirty="0" err="1">
                  <a:solidFill>
                    <a:srgbClr val="FFFFFF"/>
                  </a:solidFill>
                  <a:latin typeface="Arial" panose="020B0604020202020204" pitchFamily="34" charset="0"/>
                  <a:ea typeface="Microsoft YaHei"/>
                  <a:cs typeface="Arial" panose="020B0604020202020204" pitchFamily="34" charset="0"/>
                  <a:sym typeface="Arial Narrow"/>
                </a:rPr>
                <a:t>electrolyzer</a:t>
              </a:r>
              <a:r>
                <a:rPr lang="en-US" altLang="de-DE" sz="1275" b="1" dirty="0">
                  <a:solidFill>
                    <a:srgbClr val="FFFFFF"/>
                  </a:solidFill>
                  <a:latin typeface="Arial" panose="020B0604020202020204" pitchFamily="34" charset="0"/>
                  <a:ea typeface="Microsoft YaHei"/>
                  <a:cs typeface="Arial" panose="020B0604020202020204" pitchFamily="34" charset="0"/>
                  <a:sym typeface="Arial Narrow"/>
                </a:rPr>
                <a:t> capacity</a:t>
              </a:r>
              <a:br>
                <a:rPr lang="en-US" altLang="de-DE" sz="1275" b="1" dirty="0">
                  <a:solidFill>
                    <a:srgbClr val="FFFFFF"/>
                  </a:solidFill>
                  <a:latin typeface="Arial" panose="020B0604020202020204" pitchFamily="34" charset="0"/>
                  <a:ea typeface="Microsoft YaHei"/>
                  <a:cs typeface="Arial" panose="020B0604020202020204" pitchFamily="34" charset="0"/>
                  <a:sym typeface="Arial Narrow"/>
                </a:rPr>
              </a:br>
              <a:r>
                <a:rPr lang="en-US" altLang="de-DE" sz="900" dirty="0">
                  <a:solidFill>
                    <a:srgbClr val="FFFFFF"/>
                  </a:solidFill>
                  <a:latin typeface="Arial" panose="020B0604020202020204" pitchFamily="34" charset="0"/>
                  <a:ea typeface="Microsoft YaHei"/>
                  <a:cs typeface="Arial" panose="020B0604020202020204" pitchFamily="34" charset="0"/>
                  <a:sym typeface="Arial Narrow"/>
                </a:rPr>
                <a:t>of c. </a:t>
              </a:r>
              <a:r>
                <a:rPr lang="en-US" altLang="de-DE" sz="1275" b="1" dirty="0">
                  <a:solidFill>
                    <a:srgbClr val="FFFFFF"/>
                  </a:solidFill>
                  <a:latin typeface="Arial" panose="020B0604020202020204" pitchFamily="34" charset="0"/>
                  <a:ea typeface="Microsoft YaHei"/>
                  <a:cs typeface="Arial" panose="020B0604020202020204" pitchFamily="34" charset="0"/>
                  <a:sym typeface="Arial Narrow"/>
                </a:rPr>
                <a:t>475 </a:t>
              </a:r>
              <a:r>
                <a:rPr lang="en-US" altLang="de-DE" sz="1275" b="1" dirty="0" err="1">
                  <a:solidFill>
                    <a:srgbClr val="FFFFFF"/>
                  </a:solidFill>
                  <a:latin typeface="Arial" panose="020B0604020202020204" pitchFamily="34" charset="0"/>
                  <a:ea typeface="Microsoft YaHei"/>
                  <a:cs typeface="Arial" panose="020B0604020202020204" pitchFamily="34" charset="0"/>
                  <a:sym typeface="Arial Narrow"/>
                </a:rPr>
                <a:t>GW</a:t>
              </a:r>
              <a:r>
                <a:rPr lang="en-US" altLang="de-DE" sz="1275" b="1" baseline="30000" dirty="0" err="1">
                  <a:solidFill>
                    <a:srgbClr val="FFFFFF"/>
                  </a:solidFill>
                  <a:latin typeface="Arial" panose="020B0604020202020204" pitchFamily="34" charset="0"/>
                  <a:ea typeface="Microsoft YaHei"/>
                  <a:cs typeface="Arial" panose="020B0604020202020204" pitchFamily="34" charset="0"/>
                  <a:sym typeface="Arial Narrow"/>
                </a:rPr>
                <a:t>2</a:t>
              </a:r>
              <a:r>
                <a:rPr lang="en-US" altLang="de-DE" sz="1275" b="1" baseline="30000" dirty="0">
                  <a:solidFill>
                    <a:srgbClr val="FFFFFF"/>
                  </a:solidFill>
                  <a:latin typeface="Arial" panose="020B0604020202020204" pitchFamily="34" charset="0"/>
                  <a:ea typeface="Microsoft YaHei"/>
                  <a:cs typeface="Arial" panose="020B0604020202020204" pitchFamily="34" charset="0"/>
                  <a:sym typeface="Arial Narrow"/>
                </a:rPr>
                <a:t>)</a:t>
              </a:r>
              <a:endParaRPr lang="en-US" altLang="de-DE" sz="1275" b="1" i="1" baseline="30000" dirty="0">
                <a:solidFill>
                  <a:srgbClr val="FFFFFF"/>
                </a:solidFill>
                <a:latin typeface="Arial" panose="020B0604020202020204" pitchFamily="34" charset="0"/>
                <a:ea typeface="Microsoft YaHei"/>
                <a:cs typeface="Arial" panose="020B0604020202020204" pitchFamily="34" charset="0"/>
                <a:sym typeface="Arial Narrow"/>
              </a:endParaRPr>
            </a:p>
          </p:txBody>
        </p:sp>
      </p:grpSp>
      <p:sp>
        <p:nvSpPr>
          <p:cNvPr id="108" name="Freihandform: Form 5">
            <a:extLst>
              <a:ext uri="{FF2B5EF4-FFF2-40B4-BE49-F238E27FC236}">
                <a16:creationId xmlns:a16="http://schemas.microsoft.com/office/drawing/2014/main" id="{CB98E033-0856-2FCB-674D-4C79DCDB0167}"/>
              </a:ext>
            </a:extLst>
          </p:cNvPr>
          <p:cNvSpPr/>
          <p:nvPr/>
        </p:nvSpPr>
        <p:spPr>
          <a:xfrm>
            <a:off x="445566" y="4188266"/>
            <a:ext cx="138113" cy="138113"/>
          </a:xfrm>
          <a:custGeom>
            <a:avLst/>
            <a:gdLst/>
            <a:ahLst/>
            <a:cxnLst/>
            <a:rect l="0" t="0" r="0" b="0"/>
            <a:pathLst>
              <a:path w="457200" h="457199">
                <a:moveTo>
                  <a:pt x="119958" y="2263"/>
                </a:moveTo>
                <a:lnTo>
                  <a:pt x="119958" y="45267"/>
                </a:lnTo>
                <a:lnTo>
                  <a:pt x="104114" y="45267"/>
                </a:lnTo>
                <a:lnTo>
                  <a:pt x="104114" y="334977"/>
                </a:lnTo>
                <a:lnTo>
                  <a:pt x="151645" y="334977"/>
                </a:lnTo>
                <a:lnTo>
                  <a:pt x="151645" y="45267"/>
                </a:lnTo>
                <a:lnTo>
                  <a:pt x="133538" y="45267"/>
                </a:lnTo>
                <a:lnTo>
                  <a:pt x="133538" y="13580"/>
                </a:lnTo>
                <a:lnTo>
                  <a:pt x="319134" y="13580"/>
                </a:lnTo>
                <a:lnTo>
                  <a:pt x="319134" y="45267"/>
                </a:lnTo>
                <a:lnTo>
                  <a:pt x="303291" y="45267"/>
                </a:lnTo>
                <a:lnTo>
                  <a:pt x="303291" y="334977"/>
                </a:lnTo>
                <a:lnTo>
                  <a:pt x="350821" y="334977"/>
                </a:lnTo>
                <a:lnTo>
                  <a:pt x="350821" y="45267"/>
                </a:lnTo>
                <a:lnTo>
                  <a:pt x="334978" y="45267"/>
                </a:lnTo>
                <a:lnTo>
                  <a:pt x="334978" y="2263"/>
                </a:lnTo>
                <a:lnTo>
                  <a:pt x="119958" y="2263"/>
                </a:lnTo>
                <a:moveTo>
                  <a:pt x="29423" y="138065"/>
                </a:moveTo>
                <a:lnTo>
                  <a:pt x="29423" y="454935"/>
                </a:lnTo>
                <a:lnTo>
                  <a:pt x="427776" y="454935"/>
                </a:lnTo>
                <a:lnTo>
                  <a:pt x="427776" y="138065"/>
                </a:lnTo>
                <a:lnTo>
                  <a:pt x="366665" y="138065"/>
                </a:lnTo>
                <a:lnTo>
                  <a:pt x="366665" y="344030"/>
                </a:lnTo>
                <a:lnTo>
                  <a:pt x="287447" y="344030"/>
                </a:lnTo>
                <a:lnTo>
                  <a:pt x="287447" y="138065"/>
                </a:lnTo>
                <a:lnTo>
                  <a:pt x="167489" y="138065"/>
                </a:lnTo>
                <a:lnTo>
                  <a:pt x="167489" y="344030"/>
                </a:lnTo>
                <a:lnTo>
                  <a:pt x="88271" y="344030"/>
                </a:lnTo>
                <a:lnTo>
                  <a:pt x="88271" y="138065"/>
                </a:lnTo>
                <a:lnTo>
                  <a:pt x="29423" y="138065"/>
                </a:lnTo>
                <a:close/>
              </a:path>
              <a:path w="457200" h="457199">
                <a:moveTo>
                  <a:pt x="126748" y="364401"/>
                </a:moveTo>
                <a:lnTo>
                  <a:pt x="126748" y="396088"/>
                </a:lnTo>
                <a:lnTo>
                  <a:pt x="129011" y="396088"/>
                </a:lnTo>
                <a:lnTo>
                  <a:pt x="129011" y="380244"/>
                </a:lnTo>
                <a:lnTo>
                  <a:pt x="142592" y="380244"/>
                </a:lnTo>
                <a:lnTo>
                  <a:pt x="142592" y="377981"/>
                </a:lnTo>
                <a:lnTo>
                  <a:pt x="129011" y="377981"/>
                </a:lnTo>
                <a:lnTo>
                  <a:pt x="126748" y="364401"/>
                </a:lnTo>
                <a:moveTo>
                  <a:pt x="110904" y="377981"/>
                </a:moveTo>
                <a:lnTo>
                  <a:pt x="110904" y="380244"/>
                </a:lnTo>
                <a:lnTo>
                  <a:pt x="124485" y="380244"/>
                </a:lnTo>
                <a:lnTo>
                  <a:pt x="110904" y="377981"/>
                </a:lnTo>
                <a:moveTo>
                  <a:pt x="312344" y="377981"/>
                </a:moveTo>
                <a:lnTo>
                  <a:pt x="312344" y="380244"/>
                </a:lnTo>
                <a:lnTo>
                  <a:pt x="339504" y="380244"/>
                </a:lnTo>
                <a:lnTo>
                  <a:pt x="312344" y="377981"/>
                </a:lnTo>
                <a:close/>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de-DE" sz="900" b="1">
              <a:solidFill>
                <a:srgbClr val="FFFFFF"/>
              </a:solidFill>
              <a:latin typeface="+mj-lt"/>
              <a:ea typeface="Microsoft YaHei"/>
              <a:cs typeface="Calibri"/>
            </a:endParaRPr>
          </a:p>
        </p:txBody>
      </p:sp>
      <p:sp>
        <p:nvSpPr>
          <p:cNvPr id="109" name="Freihandform: Form 5">
            <a:extLst>
              <a:ext uri="{FF2B5EF4-FFF2-40B4-BE49-F238E27FC236}">
                <a16:creationId xmlns:a16="http://schemas.microsoft.com/office/drawing/2014/main" id="{86AF1375-D7B7-8C70-90D1-A7CC9AF89156}"/>
              </a:ext>
            </a:extLst>
          </p:cNvPr>
          <p:cNvSpPr/>
          <p:nvPr/>
        </p:nvSpPr>
        <p:spPr>
          <a:xfrm>
            <a:off x="3271435" y="4115478"/>
            <a:ext cx="114143" cy="114143"/>
          </a:xfrm>
          <a:custGeom>
            <a:avLst/>
            <a:gdLst/>
            <a:ahLst/>
            <a:cxnLst/>
            <a:rect l="0" t="0" r="0" b="0"/>
            <a:pathLst>
              <a:path w="457200" h="457199">
                <a:moveTo>
                  <a:pt x="119958" y="2263"/>
                </a:moveTo>
                <a:lnTo>
                  <a:pt x="119958" y="45267"/>
                </a:lnTo>
                <a:lnTo>
                  <a:pt x="104114" y="45267"/>
                </a:lnTo>
                <a:lnTo>
                  <a:pt x="104114" y="334977"/>
                </a:lnTo>
                <a:lnTo>
                  <a:pt x="151645" y="334977"/>
                </a:lnTo>
                <a:lnTo>
                  <a:pt x="151645" y="45267"/>
                </a:lnTo>
                <a:lnTo>
                  <a:pt x="133538" y="45267"/>
                </a:lnTo>
                <a:lnTo>
                  <a:pt x="133538" y="13580"/>
                </a:lnTo>
                <a:lnTo>
                  <a:pt x="319134" y="13580"/>
                </a:lnTo>
                <a:lnTo>
                  <a:pt x="319134" y="45267"/>
                </a:lnTo>
                <a:lnTo>
                  <a:pt x="303291" y="45267"/>
                </a:lnTo>
                <a:lnTo>
                  <a:pt x="303291" y="334977"/>
                </a:lnTo>
                <a:lnTo>
                  <a:pt x="350821" y="334977"/>
                </a:lnTo>
                <a:lnTo>
                  <a:pt x="350821" y="45267"/>
                </a:lnTo>
                <a:lnTo>
                  <a:pt x="334978" y="45267"/>
                </a:lnTo>
                <a:lnTo>
                  <a:pt x="334978" y="2263"/>
                </a:lnTo>
                <a:lnTo>
                  <a:pt x="119958" y="2263"/>
                </a:lnTo>
                <a:moveTo>
                  <a:pt x="29423" y="138065"/>
                </a:moveTo>
                <a:lnTo>
                  <a:pt x="29423" y="454935"/>
                </a:lnTo>
                <a:lnTo>
                  <a:pt x="427776" y="454935"/>
                </a:lnTo>
                <a:lnTo>
                  <a:pt x="427776" y="138065"/>
                </a:lnTo>
                <a:lnTo>
                  <a:pt x="366665" y="138065"/>
                </a:lnTo>
                <a:lnTo>
                  <a:pt x="366665" y="344030"/>
                </a:lnTo>
                <a:lnTo>
                  <a:pt x="287447" y="344030"/>
                </a:lnTo>
                <a:lnTo>
                  <a:pt x="287447" y="138065"/>
                </a:lnTo>
                <a:lnTo>
                  <a:pt x="167489" y="138065"/>
                </a:lnTo>
                <a:lnTo>
                  <a:pt x="167489" y="344030"/>
                </a:lnTo>
                <a:lnTo>
                  <a:pt x="88271" y="344030"/>
                </a:lnTo>
                <a:lnTo>
                  <a:pt x="88271" y="138065"/>
                </a:lnTo>
                <a:lnTo>
                  <a:pt x="29423" y="138065"/>
                </a:lnTo>
                <a:close/>
              </a:path>
              <a:path w="457200" h="457199">
                <a:moveTo>
                  <a:pt x="126748" y="364401"/>
                </a:moveTo>
                <a:lnTo>
                  <a:pt x="126748" y="396088"/>
                </a:lnTo>
                <a:lnTo>
                  <a:pt x="129011" y="396088"/>
                </a:lnTo>
                <a:lnTo>
                  <a:pt x="129011" y="380244"/>
                </a:lnTo>
                <a:lnTo>
                  <a:pt x="142592" y="380244"/>
                </a:lnTo>
                <a:lnTo>
                  <a:pt x="142592" y="377981"/>
                </a:lnTo>
                <a:lnTo>
                  <a:pt x="129011" y="377981"/>
                </a:lnTo>
                <a:lnTo>
                  <a:pt x="126748" y="364401"/>
                </a:lnTo>
                <a:moveTo>
                  <a:pt x="110904" y="377981"/>
                </a:moveTo>
                <a:lnTo>
                  <a:pt x="110904" y="380244"/>
                </a:lnTo>
                <a:lnTo>
                  <a:pt x="124485" y="380244"/>
                </a:lnTo>
                <a:lnTo>
                  <a:pt x="110904" y="377981"/>
                </a:lnTo>
                <a:moveTo>
                  <a:pt x="312344" y="377981"/>
                </a:moveTo>
                <a:lnTo>
                  <a:pt x="312344" y="380244"/>
                </a:lnTo>
                <a:lnTo>
                  <a:pt x="339504" y="380244"/>
                </a:lnTo>
                <a:lnTo>
                  <a:pt x="312344" y="377981"/>
                </a:lnTo>
                <a:close/>
              </a:path>
            </a:pathLst>
          </a:cu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de-DE" sz="900" b="1">
              <a:solidFill>
                <a:srgbClr val="FFFFFF"/>
              </a:solidFill>
              <a:latin typeface="+mj-lt"/>
              <a:ea typeface="Microsoft YaHei"/>
              <a:cs typeface="Calibri"/>
            </a:endParaRPr>
          </a:p>
        </p:txBody>
      </p:sp>
      <p:sp>
        <p:nvSpPr>
          <p:cNvPr id="110" name="Freihandform: Form 5">
            <a:extLst>
              <a:ext uri="{FF2B5EF4-FFF2-40B4-BE49-F238E27FC236}">
                <a16:creationId xmlns:a16="http://schemas.microsoft.com/office/drawing/2014/main" id="{45CDEEC4-B739-7772-9F7A-480FBB8B87DF}"/>
              </a:ext>
            </a:extLst>
          </p:cNvPr>
          <p:cNvSpPr/>
          <p:nvPr/>
        </p:nvSpPr>
        <p:spPr>
          <a:xfrm>
            <a:off x="4928789" y="4035231"/>
            <a:ext cx="114143" cy="112713"/>
          </a:xfrm>
          <a:custGeom>
            <a:avLst/>
            <a:gdLst/>
            <a:ahLst/>
            <a:cxnLst/>
            <a:rect l="0" t="0" r="0" b="0"/>
            <a:pathLst>
              <a:path w="457200" h="457199">
                <a:moveTo>
                  <a:pt x="119958" y="2263"/>
                </a:moveTo>
                <a:lnTo>
                  <a:pt x="119958" y="45267"/>
                </a:lnTo>
                <a:lnTo>
                  <a:pt x="104114" y="45267"/>
                </a:lnTo>
                <a:lnTo>
                  <a:pt x="104114" y="334977"/>
                </a:lnTo>
                <a:lnTo>
                  <a:pt x="151645" y="334977"/>
                </a:lnTo>
                <a:lnTo>
                  <a:pt x="151645" y="45267"/>
                </a:lnTo>
                <a:lnTo>
                  <a:pt x="133538" y="45267"/>
                </a:lnTo>
                <a:lnTo>
                  <a:pt x="133538" y="13580"/>
                </a:lnTo>
                <a:lnTo>
                  <a:pt x="319134" y="13580"/>
                </a:lnTo>
                <a:lnTo>
                  <a:pt x="319134" y="45267"/>
                </a:lnTo>
                <a:lnTo>
                  <a:pt x="303291" y="45267"/>
                </a:lnTo>
                <a:lnTo>
                  <a:pt x="303291" y="334977"/>
                </a:lnTo>
                <a:lnTo>
                  <a:pt x="350821" y="334977"/>
                </a:lnTo>
                <a:lnTo>
                  <a:pt x="350821" y="45267"/>
                </a:lnTo>
                <a:lnTo>
                  <a:pt x="334978" y="45267"/>
                </a:lnTo>
                <a:lnTo>
                  <a:pt x="334978" y="2263"/>
                </a:lnTo>
                <a:lnTo>
                  <a:pt x="119958" y="2263"/>
                </a:lnTo>
                <a:moveTo>
                  <a:pt x="29423" y="138065"/>
                </a:moveTo>
                <a:lnTo>
                  <a:pt x="29423" y="454935"/>
                </a:lnTo>
                <a:lnTo>
                  <a:pt x="427776" y="454935"/>
                </a:lnTo>
                <a:lnTo>
                  <a:pt x="427776" y="138065"/>
                </a:lnTo>
                <a:lnTo>
                  <a:pt x="366665" y="138065"/>
                </a:lnTo>
                <a:lnTo>
                  <a:pt x="366665" y="344030"/>
                </a:lnTo>
                <a:lnTo>
                  <a:pt x="287447" y="344030"/>
                </a:lnTo>
                <a:lnTo>
                  <a:pt x="287447" y="138065"/>
                </a:lnTo>
                <a:lnTo>
                  <a:pt x="167489" y="138065"/>
                </a:lnTo>
                <a:lnTo>
                  <a:pt x="167489" y="344030"/>
                </a:lnTo>
                <a:lnTo>
                  <a:pt x="88271" y="344030"/>
                </a:lnTo>
                <a:lnTo>
                  <a:pt x="88271" y="138065"/>
                </a:lnTo>
                <a:lnTo>
                  <a:pt x="29423" y="138065"/>
                </a:lnTo>
                <a:close/>
              </a:path>
              <a:path w="457200" h="457199">
                <a:moveTo>
                  <a:pt x="126748" y="364401"/>
                </a:moveTo>
                <a:lnTo>
                  <a:pt x="126748" y="396088"/>
                </a:lnTo>
                <a:lnTo>
                  <a:pt x="129011" y="396088"/>
                </a:lnTo>
                <a:lnTo>
                  <a:pt x="129011" y="380244"/>
                </a:lnTo>
                <a:lnTo>
                  <a:pt x="142592" y="380244"/>
                </a:lnTo>
                <a:lnTo>
                  <a:pt x="142592" y="377981"/>
                </a:lnTo>
                <a:lnTo>
                  <a:pt x="129011" y="377981"/>
                </a:lnTo>
                <a:lnTo>
                  <a:pt x="126748" y="364401"/>
                </a:lnTo>
                <a:moveTo>
                  <a:pt x="110904" y="377981"/>
                </a:moveTo>
                <a:lnTo>
                  <a:pt x="110904" y="380244"/>
                </a:lnTo>
                <a:lnTo>
                  <a:pt x="124485" y="380244"/>
                </a:lnTo>
                <a:lnTo>
                  <a:pt x="110904" y="377981"/>
                </a:lnTo>
                <a:moveTo>
                  <a:pt x="312344" y="377981"/>
                </a:moveTo>
                <a:lnTo>
                  <a:pt x="312344" y="380244"/>
                </a:lnTo>
                <a:lnTo>
                  <a:pt x="339504" y="380244"/>
                </a:lnTo>
                <a:lnTo>
                  <a:pt x="312344" y="377981"/>
                </a:lnTo>
                <a:close/>
              </a:path>
            </a:pathLst>
          </a:cu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de-DE" sz="900" b="1">
              <a:solidFill>
                <a:srgbClr val="FFFFFF"/>
              </a:solidFill>
              <a:latin typeface="+mj-lt"/>
              <a:ea typeface="Microsoft YaHei"/>
              <a:cs typeface="Calibri"/>
            </a:endParaRPr>
          </a:p>
        </p:txBody>
      </p:sp>
      <p:sp>
        <p:nvSpPr>
          <p:cNvPr id="111" name="Freihandform: Form 5">
            <a:extLst>
              <a:ext uri="{FF2B5EF4-FFF2-40B4-BE49-F238E27FC236}">
                <a16:creationId xmlns:a16="http://schemas.microsoft.com/office/drawing/2014/main" id="{9EC4893F-B481-CEC5-E7BA-5AEB227F54FA}"/>
              </a:ext>
            </a:extLst>
          </p:cNvPr>
          <p:cNvSpPr/>
          <p:nvPr/>
        </p:nvSpPr>
        <p:spPr>
          <a:xfrm>
            <a:off x="4557310" y="2315253"/>
            <a:ext cx="114143" cy="114143"/>
          </a:xfrm>
          <a:custGeom>
            <a:avLst/>
            <a:gdLst/>
            <a:ahLst/>
            <a:cxnLst/>
            <a:rect l="0" t="0" r="0" b="0"/>
            <a:pathLst>
              <a:path w="457200" h="457199">
                <a:moveTo>
                  <a:pt x="119958" y="2263"/>
                </a:moveTo>
                <a:lnTo>
                  <a:pt x="119958" y="45267"/>
                </a:lnTo>
                <a:lnTo>
                  <a:pt x="104114" y="45267"/>
                </a:lnTo>
                <a:lnTo>
                  <a:pt x="104114" y="334977"/>
                </a:lnTo>
                <a:lnTo>
                  <a:pt x="151645" y="334977"/>
                </a:lnTo>
                <a:lnTo>
                  <a:pt x="151645" y="45267"/>
                </a:lnTo>
                <a:lnTo>
                  <a:pt x="133538" y="45267"/>
                </a:lnTo>
                <a:lnTo>
                  <a:pt x="133538" y="13580"/>
                </a:lnTo>
                <a:lnTo>
                  <a:pt x="319134" y="13580"/>
                </a:lnTo>
                <a:lnTo>
                  <a:pt x="319134" y="45267"/>
                </a:lnTo>
                <a:lnTo>
                  <a:pt x="303291" y="45267"/>
                </a:lnTo>
                <a:lnTo>
                  <a:pt x="303291" y="334977"/>
                </a:lnTo>
                <a:lnTo>
                  <a:pt x="350821" y="334977"/>
                </a:lnTo>
                <a:lnTo>
                  <a:pt x="350821" y="45267"/>
                </a:lnTo>
                <a:lnTo>
                  <a:pt x="334978" y="45267"/>
                </a:lnTo>
                <a:lnTo>
                  <a:pt x="334978" y="2263"/>
                </a:lnTo>
                <a:lnTo>
                  <a:pt x="119958" y="2263"/>
                </a:lnTo>
                <a:moveTo>
                  <a:pt x="29423" y="138065"/>
                </a:moveTo>
                <a:lnTo>
                  <a:pt x="29423" y="454935"/>
                </a:lnTo>
                <a:lnTo>
                  <a:pt x="427776" y="454935"/>
                </a:lnTo>
                <a:lnTo>
                  <a:pt x="427776" y="138065"/>
                </a:lnTo>
                <a:lnTo>
                  <a:pt x="366665" y="138065"/>
                </a:lnTo>
                <a:lnTo>
                  <a:pt x="366665" y="344030"/>
                </a:lnTo>
                <a:lnTo>
                  <a:pt x="287447" y="344030"/>
                </a:lnTo>
                <a:lnTo>
                  <a:pt x="287447" y="138065"/>
                </a:lnTo>
                <a:lnTo>
                  <a:pt x="167489" y="138065"/>
                </a:lnTo>
                <a:lnTo>
                  <a:pt x="167489" y="344030"/>
                </a:lnTo>
                <a:lnTo>
                  <a:pt x="88271" y="344030"/>
                </a:lnTo>
                <a:lnTo>
                  <a:pt x="88271" y="138065"/>
                </a:lnTo>
                <a:lnTo>
                  <a:pt x="29423" y="138065"/>
                </a:lnTo>
                <a:close/>
              </a:path>
              <a:path w="457200" h="457199">
                <a:moveTo>
                  <a:pt x="126748" y="364401"/>
                </a:moveTo>
                <a:lnTo>
                  <a:pt x="126748" y="396088"/>
                </a:lnTo>
                <a:lnTo>
                  <a:pt x="129011" y="396088"/>
                </a:lnTo>
                <a:lnTo>
                  <a:pt x="129011" y="380244"/>
                </a:lnTo>
                <a:lnTo>
                  <a:pt x="142592" y="380244"/>
                </a:lnTo>
                <a:lnTo>
                  <a:pt x="142592" y="377981"/>
                </a:lnTo>
                <a:lnTo>
                  <a:pt x="129011" y="377981"/>
                </a:lnTo>
                <a:lnTo>
                  <a:pt x="126748" y="364401"/>
                </a:lnTo>
                <a:moveTo>
                  <a:pt x="110904" y="377981"/>
                </a:moveTo>
                <a:lnTo>
                  <a:pt x="110904" y="380244"/>
                </a:lnTo>
                <a:lnTo>
                  <a:pt x="124485" y="380244"/>
                </a:lnTo>
                <a:lnTo>
                  <a:pt x="110904" y="377981"/>
                </a:lnTo>
                <a:moveTo>
                  <a:pt x="312344" y="377981"/>
                </a:moveTo>
                <a:lnTo>
                  <a:pt x="312344" y="380244"/>
                </a:lnTo>
                <a:lnTo>
                  <a:pt x="339504" y="380244"/>
                </a:lnTo>
                <a:lnTo>
                  <a:pt x="312344" y="377981"/>
                </a:lnTo>
                <a:close/>
              </a:path>
            </a:pathLst>
          </a:cu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de-DE" sz="900" b="1">
              <a:solidFill>
                <a:srgbClr val="FFFFFF"/>
              </a:solidFill>
              <a:latin typeface="+mj-lt"/>
              <a:ea typeface="Microsoft YaHei"/>
              <a:cs typeface="Calibri"/>
            </a:endParaRPr>
          </a:p>
        </p:txBody>
      </p:sp>
      <p:sp>
        <p:nvSpPr>
          <p:cNvPr id="112" name="Freihandform: Form 5">
            <a:extLst>
              <a:ext uri="{FF2B5EF4-FFF2-40B4-BE49-F238E27FC236}">
                <a16:creationId xmlns:a16="http://schemas.microsoft.com/office/drawing/2014/main" id="{65A74FCB-FB82-9589-1429-736F9D983C82}"/>
              </a:ext>
            </a:extLst>
          </p:cNvPr>
          <p:cNvSpPr/>
          <p:nvPr/>
        </p:nvSpPr>
        <p:spPr>
          <a:xfrm>
            <a:off x="5742380" y="2921942"/>
            <a:ext cx="114143" cy="114143"/>
          </a:xfrm>
          <a:custGeom>
            <a:avLst/>
            <a:gdLst/>
            <a:ahLst/>
            <a:cxnLst/>
            <a:rect l="0" t="0" r="0" b="0"/>
            <a:pathLst>
              <a:path w="457200" h="457199">
                <a:moveTo>
                  <a:pt x="119958" y="2263"/>
                </a:moveTo>
                <a:lnTo>
                  <a:pt x="119958" y="45267"/>
                </a:lnTo>
                <a:lnTo>
                  <a:pt x="104114" y="45267"/>
                </a:lnTo>
                <a:lnTo>
                  <a:pt x="104114" y="334977"/>
                </a:lnTo>
                <a:lnTo>
                  <a:pt x="151645" y="334977"/>
                </a:lnTo>
                <a:lnTo>
                  <a:pt x="151645" y="45267"/>
                </a:lnTo>
                <a:lnTo>
                  <a:pt x="133538" y="45267"/>
                </a:lnTo>
                <a:lnTo>
                  <a:pt x="133538" y="13580"/>
                </a:lnTo>
                <a:lnTo>
                  <a:pt x="319134" y="13580"/>
                </a:lnTo>
                <a:lnTo>
                  <a:pt x="319134" y="45267"/>
                </a:lnTo>
                <a:lnTo>
                  <a:pt x="303291" y="45267"/>
                </a:lnTo>
                <a:lnTo>
                  <a:pt x="303291" y="334977"/>
                </a:lnTo>
                <a:lnTo>
                  <a:pt x="350821" y="334977"/>
                </a:lnTo>
                <a:lnTo>
                  <a:pt x="350821" y="45267"/>
                </a:lnTo>
                <a:lnTo>
                  <a:pt x="334978" y="45267"/>
                </a:lnTo>
                <a:lnTo>
                  <a:pt x="334978" y="2263"/>
                </a:lnTo>
                <a:lnTo>
                  <a:pt x="119958" y="2263"/>
                </a:lnTo>
                <a:moveTo>
                  <a:pt x="29423" y="138065"/>
                </a:moveTo>
                <a:lnTo>
                  <a:pt x="29423" y="454935"/>
                </a:lnTo>
                <a:lnTo>
                  <a:pt x="427776" y="454935"/>
                </a:lnTo>
                <a:lnTo>
                  <a:pt x="427776" y="138065"/>
                </a:lnTo>
                <a:lnTo>
                  <a:pt x="366665" y="138065"/>
                </a:lnTo>
                <a:lnTo>
                  <a:pt x="366665" y="344030"/>
                </a:lnTo>
                <a:lnTo>
                  <a:pt x="287447" y="344030"/>
                </a:lnTo>
                <a:lnTo>
                  <a:pt x="287447" y="138065"/>
                </a:lnTo>
                <a:lnTo>
                  <a:pt x="167489" y="138065"/>
                </a:lnTo>
                <a:lnTo>
                  <a:pt x="167489" y="344030"/>
                </a:lnTo>
                <a:lnTo>
                  <a:pt x="88271" y="344030"/>
                </a:lnTo>
                <a:lnTo>
                  <a:pt x="88271" y="138065"/>
                </a:lnTo>
                <a:lnTo>
                  <a:pt x="29423" y="138065"/>
                </a:lnTo>
                <a:close/>
              </a:path>
              <a:path w="457200" h="457199">
                <a:moveTo>
                  <a:pt x="126748" y="364401"/>
                </a:moveTo>
                <a:lnTo>
                  <a:pt x="126748" y="396088"/>
                </a:lnTo>
                <a:lnTo>
                  <a:pt x="129011" y="396088"/>
                </a:lnTo>
                <a:lnTo>
                  <a:pt x="129011" y="380244"/>
                </a:lnTo>
                <a:lnTo>
                  <a:pt x="142592" y="380244"/>
                </a:lnTo>
                <a:lnTo>
                  <a:pt x="142592" y="377981"/>
                </a:lnTo>
                <a:lnTo>
                  <a:pt x="129011" y="377981"/>
                </a:lnTo>
                <a:lnTo>
                  <a:pt x="126748" y="364401"/>
                </a:lnTo>
                <a:moveTo>
                  <a:pt x="110904" y="377981"/>
                </a:moveTo>
                <a:lnTo>
                  <a:pt x="110904" y="380244"/>
                </a:lnTo>
                <a:lnTo>
                  <a:pt x="124485" y="380244"/>
                </a:lnTo>
                <a:lnTo>
                  <a:pt x="110904" y="377981"/>
                </a:lnTo>
                <a:moveTo>
                  <a:pt x="312344" y="377981"/>
                </a:moveTo>
                <a:lnTo>
                  <a:pt x="312344" y="380244"/>
                </a:lnTo>
                <a:lnTo>
                  <a:pt x="339504" y="380244"/>
                </a:lnTo>
                <a:lnTo>
                  <a:pt x="312344" y="377981"/>
                </a:lnTo>
                <a:close/>
              </a:path>
            </a:pathLst>
          </a:cu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de-DE" sz="900" b="1">
              <a:solidFill>
                <a:srgbClr val="FFFFFF"/>
              </a:solidFill>
              <a:latin typeface="+mj-lt"/>
              <a:ea typeface="Microsoft YaHei"/>
              <a:cs typeface="Calibri"/>
            </a:endParaRPr>
          </a:p>
        </p:txBody>
      </p:sp>
      <p:sp>
        <p:nvSpPr>
          <p:cNvPr id="113" name="Freihandform: Form 5">
            <a:extLst>
              <a:ext uri="{FF2B5EF4-FFF2-40B4-BE49-F238E27FC236}">
                <a16:creationId xmlns:a16="http://schemas.microsoft.com/office/drawing/2014/main" id="{F3165FEF-1636-F1CB-2A5A-D6F5AE821328}"/>
              </a:ext>
            </a:extLst>
          </p:cNvPr>
          <p:cNvSpPr/>
          <p:nvPr/>
        </p:nvSpPr>
        <p:spPr>
          <a:xfrm>
            <a:off x="6977850" y="2558141"/>
            <a:ext cx="114143" cy="114143"/>
          </a:xfrm>
          <a:custGeom>
            <a:avLst/>
            <a:gdLst/>
            <a:ahLst/>
            <a:cxnLst/>
            <a:rect l="0" t="0" r="0" b="0"/>
            <a:pathLst>
              <a:path w="457200" h="457199">
                <a:moveTo>
                  <a:pt x="119958" y="2263"/>
                </a:moveTo>
                <a:lnTo>
                  <a:pt x="119958" y="45267"/>
                </a:lnTo>
                <a:lnTo>
                  <a:pt x="104114" y="45267"/>
                </a:lnTo>
                <a:lnTo>
                  <a:pt x="104114" y="334977"/>
                </a:lnTo>
                <a:lnTo>
                  <a:pt x="151645" y="334977"/>
                </a:lnTo>
                <a:lnTo>
                  <a:pt x="151645" y="45267"/>
                </a:lnTo>
                <a:lnTo>
                  <a:pt x="133538" y="45267"/>
                </a:lnTo>
                <a:lnTo>
                  <a:pt x="133538" y="13580"/>
                </a:lnTo>
                <a:lnTo>
                  <a:pt x="319134" y="13580"/>
                </a:lnTo>
                <a:lnTo>
                  <a:pt x="319134" y="45267"/>
                </a:lnTo>
                <a:lnTo>
                  <a:pt x="303291" y="45267"/>
                </a:lnTo>
                <a:lnTo>
                  <a:pt x="303291" y="334977"/>
                </a:lnTo>
                <a:lnTo>
                  <a:pt x="350821" y="334977"/>
                </a:lnTo>
                <a:lnTo>
                  <a:pt x="350821" y="45267"/>
                </a:lnTo>
                <a:lnTo>
                  <a:pt x="334978" y="45267"/>
                </a:lnTo>
                <a:lnTo>
                  <a:pt x="334978" y="2263"/>
                </a:lnTo>
                <a:lnTo>
                  <a:pt x="119958" y="2263"/>
                </a:lnTo>
                <a:moveTo>
                  <a:pt x="29423" y="138065"/>
                </a:moveTo>
                <a:lnTo>
                  <a:pt x="29423" y="454935"/>
                </a:lnTo>
                <a:lnTo>
                  <a:pt x="427776" y="454935"/>
                </a:lnTo>
                <a:lnTo>
                  <a:pt x="427776" y="138065"/>
                </a:lnTo>
                <a:lnTo>
                  <a:pt x="366665" y="138065"/>
                </a:lnTo>
                <a:lnTo>
                  <a:pt x="366665" y="344030"/>
                </a:lnTo>
                <a:lnTo>
                  <a:pt x="287447" y="344030"/>
                </a:lnTo>
                <a:lnTo>
                  <a:pt x="287447" y="138065"/>
                </a:lnTo>
                <a:lnTo>
                  <a:pt x="167489" y="138065"/>
                </a:lnTo>
                <a:lnTo>
                  <a:pt x="167489" y="344030"/>
                </a:lnTo>
                <a:lnTo>
                  <a:pt x="88271" y="344030"/>
                </a:lnTo>
                <a:lnTo>
                  <a:pt x="88271" y="138065"/>
                </a:lnTo>
                <a:lnTo>
                  <a:pt x="29423" y="138065"/>
                </a:lnTo>
                <a:close/>
              </a:path>
              <a:path w="457200" h="457199">
                <a:moveTo>
                  <a:pt x="126748" y="364401"/>
                </a:moveTo>
                <a:lnTo>
                  <a:pt x="126748" y="396088"/>
                </a:lnTo>
                <a:lnTo>
                  <a:pt x="129011" y="396088"/>
                </a:lnTo>
                <a:lnTo>
                  <a:pt x="129011" y="380244"/>
                </a:lnTo>
                <a:lnTo>
                  <a:pt x="142592" y="380244"/>
                </a:lnTo>
                <a:lnTo>
                  <a:pt x="142592" y="377981"/>
                </a:lnTo>
                <a:lnTo>
                  <a:pt x="129011" y="377981"/>
                </a:lnTo>
                <a:lnTo>
                  <a:pt x="126748" y="364401"/>
                </a:lnTo>
                <a:moveTo>
                  <a:pt x="110904" y="377981"/>
                </a:moveTo>
                <a:lnTo>
                  <a:pt x="110904" y="380244"/>
                </a:lnTo>
                <a:lnTo>
                  <a:pt x="124485" y="380244"/>
                </a:lnTo>
                <a:lnTo>
                  <a:pt x="110904" y="377981"/>
                </a:lnTo>
                <a:moveTo>
                  <a:pt x="312344" y="377981"/>
                </a:moveTo>
                <a:lnTo>
                  <a:pt x="312344" y="380244"/>
                </a:lnTo>
                <a:lnTo>
                  <a:pt x="339504" y="380244"/>
                </a:lnTo>
                <a:lnTo>
                  <a:pt x="312344" y="377981"/>
                </a:lnTo>
                <a:close/>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de-DE" sz="900" b="1">
              <a:solidFill>
                <a:srgbClr val="FFFFFF"/>
              </a:solidFill>
              <a:latin typeface="+mj-lt"/>
              <a:ea typeface="Microsoft YaHei"/>
              <a:cs typeface="Calibri"/>
            </a:endParaRPr>
          </a:p>
        </p:txBody>
      </p:sp>
      <p:sp>
        <p:nvSpPr>
          <p:cNvPr id="114" name="Freihandform: Form 5">
            <a:extLst>
              <a:ext uri="{FF2B5EF4-FFF2-40B4-BE49-F238E27FC236}">
                <a16:creationId xmlns:a16="http://schemas.microsoft.com/office/drawing/2014/main" id="{6C4EE017-1BCA-6958-F08D-26AC13480B2A}"/>
              </a:ext>
            </a:extLst>
          </p:cNvPr>
          <p:cNvSpPr/>
          <p:nvPr/>
        </p:nvSpPr>
        <p:spPr>
          <a:xfrm>
            <a:off x="7656507" y="4167866"/>
            <a:ext cx="114143" cy="114143"/>
          </a:xfrm>
          <a:custGeom>
            <a:avLst/>
            <a:gdLst/>
            <a:ahLst/>
            <a:cxnLst/>
            <a:rect l="0" t="0" r="0" b="0"/>
            <a:pathLst>
              <a:path w="457200" h="457199">
                <a:moveTo>
                  <a:pt x="119958" y="2263"/>
                </a:moveTo>
                <a:lnTo>
                  <a:pt x="119958" y="45267"/>
                </a:lnTo>
                <a:lnTo>
                  <a:pt x="104114" y="45267"/>
                </a:lnTo>
                <a:lnTo>
                  <a:pt x="104114" y="334977"/>
                </a:lnTo>
                <a:lnTo>
                  <a:pt x="151645" y="334977"/>
                </a:lnTo>
                <a:lnTo>
                  <a:pt x="151645" y="45267"/>
                </a:lnTo>
                <a:lnTo>
                  <a:pt x="133538" y="45267"/>
                </a:lnTo>
                <a:lnTo>
                  <a:pt x="133538" y="13580"/>
                </a:lnTo>
                <a:lnTo>
                  <a:pt x="319134" y="13580"/>
                </a:lnTo>
                <a:lnTo>
                  <a:pt x="319134" y="45267"/>
                </a:lnTo>
                <a:lnTo>
                  <a:pt x="303291" y="45267"/>
                </a:lnTo>
                <a:lnTo>
                  <a:pt x="303291" y="334977"/>
                </a:lnTo>
                <a:lnTo>
                  <a:pt x="350821" y="334977"/>
                </a:lnTo>
                <a:lnTo>
                  <a:pt x="350821" y="45267"/>
                </a:lnTo>
                <a:lnTo>
                  <a:pt x="334978" y="45267"/>
                </a:lnTo>
                <a:lnTo>
                  <a:pt x="334978" y="2263"/>
                </a:lnTo>
                <a:lnTo>
                  <a:pt x="119958" y="2263"/>
                </a:lnTo>
                <a:moveTo>
                  <a:pt x="29423" y="138065"/>
                </a:moveTo>
                <a:lnTo>
                  <a:pt x="29423" y="454935"/>
                </a:lnTo>
                <a:lnTo>
                  <a:pt x="427776" y="454935"/>
                </a:lnTo>
                <a:lnTo>
                  <a:pt x="427776" y="138065"/>
                </a:lnTo>
                <a:lnTo>
                  <a:pt x="366665" y="138065"/>
                </a:lnTo>
                <a:lnTo>
                  <a:pt x="366665" y="344030"/>
                </a:lnTo>
                <a:lnTo>
                  <a:pt x="287447" y="344030"/>
                </a:lnTo>
                <a:lnTo>
                  <a:pt x="287447" y="138065"/>
                </a:lnTo>
                <a:lnTo>
                  <a:pt x="167489" y="138065"/>
                </a:lnTo>
                <a:lnTo>
                  <a:pt x="167489" y="344030"/>
                </a:lnTo>
                <a:lnTo>
                  <a:pt x="88271" y="344030"/>
                </a:lnTo>
                <a:lnTo>
                  <a:pt x="88271" y="138065"/>
                </a:lnTo>
                <a:lnTo>
                  <a:pt x="29423" y="138065"/>
                </a:lnTo>
                <a:close/>
              </a:path>
              <a:path w="457200" h="457199">
                <a:moveTo>
                  <a:pt x="126748" y="364401"/>
                </a:moveTo>
                <a:lnTo>
                  <a:pt x="126748" y="396088"/>
                </a:lnTo>
                <a:lnTo>
                  <a:pt x="129011" y="396088"/>
                </a:lnTo>
                <a:lnTo>
                  <a:pt x="129011" y="380244"/>
                </a:lnTo>
                <a:lnTo>
                  <a:pt x="142592" y="380244"/>
                </a:lnTo>
                <a:lnTo>
                  <a:pt x="142592" y="377981"/>
                </a:lnTo>
                <a:lnTo>
                  <a:pt x="129011" y="377981"/>
                </a:lnTo>
                <a:lnTo>
                  <a:pt x="126748" y="364401"/>
                </a:lnTo>
                <a:moveTo>
                  <a:pt x="110904" y="377981"/>
                </a:moveTo>
                <a:lnTo>
                  <a:pt x="110904" y="380244"/>
                </a:lnTo>
                <a:lnTo>
                  <a:pt x="124485" y="380244"/>
                </a:lnTo>
                <a:lnTo>
                  <a:pt x="110904" y="377981"/>
                </a:lnTo>
                <a:moveTo>
                  <a:pt x="312344" y="377981"/>
                </a:moveTo>
                <a:lnTo>
                  <a:pt x="312344" y="380244"/>
                </a:lnTo>
                <a:lnTo>
                  <a:pt x="339504" y="380244"/>
                </a:lnTo>
                <a:lnTo>
                  <a:pt x="312344" y="377981"/>
                </a:lnTo>
                <a:close/>
              </a:path>
            </a:pathLst>
          </a:cu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de-DE" sz="900" b="1">
              <a:solidFill>
                <a:srgbClr val="FFFFFF"/>
              </a:solidFill>
              <a:latin typeface="+mj-lt"/>
              <a:ea typeface="Microsoft YaHei"/>
              <a:cs typeface="Calibri"/>
            </a:endParaRPr>
          </a:p>
        </p:txBody>
      </p:sp>
      <p:graphicFrame>
        <p:nvGraphicFramePr>
          <p:cNvPr id="115" name="Chart 7">
            <a:extLst>
              <a:ext uri="{FF2B5EF4-FFF2-40B4-BE49-F238E27FC236}">
                <a16:creationId xmlns:a16="http://schemas.microsoft.com/office/drawing/2014/main" id="{A406CD33-298B-21B7-2018-431D03EFDA76}"/>
              </a:ext>
            </a:extLst>
          </p:cNvPr>
          <p:cNvGraphicFramePr/>
          <p:nvPr>
            <p:custDataLst>
              <p:tags r:id="rId9"/>
            </p:custDataLst>
            <p:extLst>
              <p:ext uri="{D42A27DB-BD31-4B8C-83A1-F6EECF244321}">
                <p14:modId xmlns:p14="http://schemas.microsoft.com/office/powerpoint/2010/main" val="903174157"/>
              </p:ext>
            </p:extLst>
          </p:nvPr>
        </p:nvGraphicFramePr>
        <p:xfrm>
          <a:off x="1116285" y="1385693"/>
          <a:ext cx="2119312" cy="1266825"/>
        </p:xfrm>
        <a:graphic>
          <a:graphicData uri="http://schemas.openxmlformats.org/drawingml/2006/chart">
            <c:chart xmlns:c="http://schemas.openxmlformats.org/drawingml/2006/chart" xmlns:r="http://schemas.openxmlformats.org/officeDocument/2006/relationships" r:id="rId68"/>
          </a:graphicData>
        </a:graphic>
      </p:graphicFrame>
      <p:graphicFrame>
        <p:nvGraphicFramePr>
          <p:cNvPr id="116" name="Chart 89">
            <a:extLst>
              <a:ext uri="{FF2B5EF4-FFF2-40B4-BE49-F238E27FC236}">
                <a16:creationId xmlns:a16="http://schemas.microsoft.com/office/drawing/2014/main" id="{1E5D7F6F-667B-262B-5518-7CC69F4D6529}"/>
              </a:ext>
            </a:extLst>
          </p:cNvPr>
          <p:cNvGraphicFramePr/>
          <p:nvPr>
            <p:custDataLst>
              <p:tags r:id="rId10"/>
            </p:custDataLst>
            <p:extLst>
              <p:ext uri="{D42A27DB-BD31-4B8C-83A1-F6EECF244321}">
                <p14:modId xmlns:p14="http://schemas.microsoft.com/office/powerpoint/2010/main" val="1137438221"/>
              </p:ext>
            </p:extLst>
          </p:nvPr>
        </p:nvGraphicFramePr>
        <p:xfrm>
          <a:off x="2637110" y="1590481"/>
          <a:ext cx="527050" cy="857250"/>
        </p:xfrm>
        <a:graphic>
          <a:graphicData uri="http://schemas.openxmlformats.org/drawingml/2006/chart">
            <c:chart xmlns:c="http://schemas.openxmlformats.org/drawingml/2006/chart" xmlns:r="http://schemas.openxmlformats.org/officeDocument/2006/relationships" r:id="rId69"/>
          </a:graphicData>
        </a:graphic>
      </p:graphicFrame>
      <p:sp useBgFill="1">
        <p:nvSpPr>
          <p:cNvPr id="117" name="Freeform: Shape 88">
            <a:extLst>
              <a:ext uri="{FF2B5EF4-FFF2-40B4-BE49-F238E27FC236}">
                <a16:creationId xmlns:a16="http://schemas.microsoft.com/office/drawing/2014/main" id="{78DCC09F-B731-9B10-9611-596F4E3DB268}"/>
              </a:ext>
            </a:extLst>
          </p:cNvPr>
          <p:cNvSpPr/>
          <p:nvPr>
            <p:custDataLst>
              <p:tags r:id="rId11"/>
            </p:custDataLst>
          </p:nvPr>
        </p:nvSpPr>
        <p:spPr bwMode="auto">
          <a:xfrm>
            <a:off x="2733947" y="2139756"/>
            <a:ext cx="330201" cy="79376"/>
          </a:xfrm>
          <a:custGeom>
            <a:avLst/>
            <a:gdLst/>
            <a:ahLst/>
            <a:cxnLst/>
            <a:rect l="0" t="0" r="0" b="0"/>
            <a:pathLst>
              <a:path w="330201" h="79376">
                <a:moveTo>
                  <a:pt x="0" y="22225"/>
                </a:moveTo>
                <a:lnTo>
                  <a:pt x="82550" y="0"/>
                </a:lnTo>
                <a:lnTo>
                  <a:pt x="165100" y="22225"/>
                </a:lnTo>
                <a:lnTo>
                  <a:pt x="247650" y="0"/>
                </a:lnTo>
                <a:lnTo>
                  <a:pt x="330200" y="22225"/>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8" name="Freeform: Shape 84">
            <a:extLst>
              <a:ext uri="{FF2B5EF4-FFF2-40B4-BE49-F238E27FC236}">
                <a16:creationId xmlns:a16="http://schemas.microsoft.com/office/drawing/2014/main" id="{7312CB73-CBBA-2F46-8DFB-D2315D62C952}"/>
              </a:ext>
            </a:extLst>
          </p:cNvPr>
          <p:cNvSpPr/>
          <p:nvPr>
            <p:custDataLst>
              <p:tags r:id="rId12"/>
            </p:custDataLst>
          </p:nvPr>
        </p:nvSpPr>
        <p:spPr bwMode="auto">
          <a:xfrm>
            <a:off x="2733947" y="2139756"/>
            <a:ext cx="330201" cy="22226"/>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9" name="Freeform: Shape 87">
            <a:extLst>
              <a:ext uri="{FF2B5EF4-FFF2-40B4-BE49-F238E27FC236}">
                <a16:creationId xmlns:a16="http://schemas.microsoft.com/office/drawing/2014/main" id="{CBFE2CAA-DC12-481E-1D64-E36B1B856442}"/>
              </a:ext>
            </a:extLst>
          </p:cNvPr>
          <p:cNvSpPr/>
          <p:nvPr>
            <p:custDataLst>
              <p:tags r:id="rId13"/>
            </p:custDataLst>
          </p:nvPr>
        </p:nvSpPr>
        <p:spPr bwMode="auto">
          <a:xfrm>
            <a:off x="2733947" y="2196906"/>
            <a:ext cx="330201" cy="22226"/>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0" name="Text Placeholder">
            <a:extLst>
              <a:ext uri="{FF2B5EF4-FFF2-40B4-BE49-F238E27FC236}">
                <a16:creationId xmlns:a16="http://schemas.microsoft.com/office/drawing/2014/main" id="{758721A3-2EAD-8754-3897-740D959F24C9}"/>
              </a:ext>
            </a:extLst>
          </p:cNvPr>
          <p:cNvSpPr>
            <a:spLocks noGrp="1"/>
          </p:cNvSpPr>
          <p:nvPr>
            <p:custDataLst>
              <p:tags r:id="rId14"/>
            </p:custDataLst>
          </p:nvPr>
        </p:nvSpPr>
        <p:spPr bwMode="gray">
          <a:xfrm>
            <a:off x="2760935" y="1955606"/>
            <a:ext cx="277813" cy="1333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defRPr/>
            </a:pPr>
            <a:fld id="{6A948210-DD8D-4C97-9E1C-33A2E566DF91}" type="datetime'''0''''''''''''''''''''.''''''''''''''76'''''''''">
              <a:rPr lang="en-GB" altLang="en-US" sz="975" b="1" smtClean="0">
                <a:solidFill>
                  <a:srgbClr val="212121"/>
                </a:solidFill>
                <a:ea typeface="+mj-ea"/>
                <a:cs typeface="+mj-cs"/>
              </a:rPr>
              <a:pPr/>
              <a:t>0.76</a:t>
            </a:fld>
            <a:endParaRPr lang="en-US" sz="975" b="1">
              <a:solidFill>
                <a:srgbClr val="212121"/>
              </a:solidFill>
              <a:ea typeface="+mj-ea"/>
              <a:cs typeface="+mj-cs"/>
            </a:endParaRPr>
          </a:p>
        </p:txBody>
      </p:sp>
      <p:sp>
        <p:nvSpPr>
          <p:cNvPr id="121" name="Rechteck 87">
            <a:extLst>
              <a:ext uri="{FF2B5EF4-FFF2-40B4-BE49-F238E27FC236}">
                <a16:creationId xmlns:a16="http://schemas.microsoft.com/office/drawing/2014/main" id="{2DDA0A92-7834-5BB0-08DE-BE2B8971E0E0}"/>
              </a:ext>
            </a:extLst>
          </p:cNvPr>
          <p:cNvSpPr/>
          <p:nvPr>
            <p:custDataLst>
              <p:tags r:id="rId15"/>
            </p:custDataLst>
          </p:nvPr>
        </p:nvSpPr>
        <p:spPr bwMode="auto">
          <a:xfrm>
            <a:off x="649560" y="3957443"/>
            <a:ext cx="114300" cy="114300"/>
          </a:xfrm>
          <a:prstGeom prst="rect">
            <a:avLst/>
          </a:prstGeom>
          <a:solidFill>
            <a:schemeClr val="accent5"/>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defTabSz="685800" fontAlgn="base">
              <a:lnSpc>
                <a:spcPct val="90000"/>
              </a:lnSpc>
              <a:spcBef>
                <a:spcPts val="300"/>
              </a:spcBef>
              <a:spcAft>
                <a:spcPct val="0"/>
              </a:spcAft>
              <a:defRPr/>
            </a:pPr>
            <a:endParaRPr lang="de-DE" sz="1125">
              <a:solidFill>
                <a:srgbClr val="212121"/>
              </a:solidFill>
              <a:latin typeface="Arial Nova Cond"/>
              <a:ea typeface="Microsoft YaHei"/>
              <a:cs typeface="Calibri"/>
            </a:endParaRPr>
          </a:p>
        </p:txBody>
      </p:sp>
      <p:sp>
        <p:nvSpPr>
          <p:cNvPr id="122" name="Text Placeholder">
            <a:extLst>
              <a:ext uri="{FF2B5EF4-FFF2-40B4-BE49-F238E27FC236}">
                <a16:creationId xmlns:a16="http://schemas.microsoft.com/office/drawing/2014/main" id="{DFA16CFD-F9C6-26E2-7F4B-FE80CEF34261}"/>
              </a:ext>
            </a:extLst>
          </p:cNvPr>
          <p:cNvSpPr>
            <a:spLocks noGrp="1"/>
          </p:cNvSpPr>
          <p:nvPr>
            <p:custDataLst>
              <p:tags r:id="rId16"/>
            </p:custDataLst>
          </p:nvPr>
        </p:nvSpPr>
        <p:spPr bwMode="auto">
          <a:xfrm>
            <a:off x="814660" y="3965381"/>
            <a:ext cx="1074738" cy="1127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defTabSz="685800" fontAlgn="base">
              <a:spcBef>
                <a:spcPct val="0"/>
              </a:spcBef>
              <a:spcAft>
                <a:spcPct val="0"/>
              </a:spcAft>
              <a:defRPr/>
            </a:pPr>
            <a:fld id="{17CA201D-AB26-4F73-A181-26E44CC8E707}" type="datetime'An''no''un''''c''ed pr''oj''''''e''''''''cts'' [#'''''']'">
              <a:rPr lang="de-DE" altLang="en-US" sz="825" smtClean="0">
                <a:solidFill>
                  <a:srgbClr val="212121"/>
                </a:solidFill>
                <a:ea typeface="+mj-ea"/>
                <a:cs typeface="+mj-cs"/>
              </a:rPr>
              <a:pPr/>
              <a:t>Announced projects [#]</a:t>
            </a:fld>
            <a:endParaRPr lang="de-DE" sz="825">
              <a:solidFill>
                <a:srgbClr val="212121"/>
              </a:solidFill>
              <a:ea typeface="+mj-ea"/>
              <a:cs typeface="+mj-cs"/>
            </a:endParaRPr>
          </a:p>
        </p:txBody>
      </p:sp>
      <p:sp>
        <p:nvSpPr>
          <p:cNvPr id="123" name="Rechteck 89">
            <a:extLst>
              <a:ext uri="{FF2B5EF4-FFF2-40B4-BE49-F238E27FC236}">
                <a16:creationId xmlns:a16="http://schemas.microsoft.com/office/drawing/2014/main" id="{77601EBD-9729-3B6D-260A-5101D3188AD7}"/>
              </a:ext>
            </a:extLst>
          </p:cNvPr>
          <p:cNvSpPr/>
          <p:nvPr>
            <p:custDataLst>
              <p:tags r:id="rId17"/>
            </p:custDataLst>
          </p:nvPr>
        </p:nvSpPr>
        <p:spPr bwMode="auto">
          <a:xfrm>
            <a:off x="649560" y="4179693"/>
            <a:ext cx="114300" cy="114300"/>
          </a:xfrm>
          <a:prstGeom prst="rect">
            <a:avLst/>
          </a:prstGeom>
          <a:solidFill>
            <a:schemeClr val="accent3"/>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defTabSz="685800" fontAlgn="base">
              <a:lnSpc>
                <a:spcPct val="90000"/>
              </a:lnSpc>
              <a:spcBef>
                <a:spcPts val="300"/>
              </a:spcBef>
              <a:spcAft>
                <a:spcPct val="0"/>
              </a:spcAft>
              <a:defRPr/>
            </a:pPr>
            <a:endParaRPr lang="de-DE" sz="1125">
              <a:solidFill>
                <a:srgbClr val="212121"/>
              </a:solidFill>
              <a:latin typeface="Arial Nova Cond"/>
              <a:ea typeface="Microsoft YaHei"/>
              <a:cs typeface="Calibri"/>
            </a:endParaRPr>
          </a:p>
        </p:txBody>
      </p:sp>
      <p:sp>
        <p:nvSpPr>
          <p:cNvPr id="124" name="Text Placeholder">
            <a:extLst>
              <a:ext uri="{FF2B5EF4-FFF2-40B4-BE49-F238E27FC236}">
                <a16:creationId xmlns:a16="http://schemas.microsoft.com/office/drawing/2014/main" id="{991EACE5-CABA-A65C-BBF3-9FA19F0B3E0A}"/>
              </a:ext>
            </a:extLst>
          </p:cNvPr>
          <p:cNvSpPr>
            <a:spLocks noGrp="1"/>
          </p:cNvSpPr>
          <p:nvPr>
            <p:custDataLst>
              <p:tags r:id="rId18"/>
            </p:custDataLst>
          </p:nvPr>
        </p:nvSpPr>
        <p:spPr bwMode="auto">
          <a:xfrm>
            <a:off x="814660" y="4187631"/>
            <a:ext cx="1555750" cy="1127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defTabSz="685800" fontAlgn="base">
              <a:spcBef>
                <a:spcPct val="0"/>
              </a:spcBef>
              <a:spcAft>
                <a:spcPct val="0"/>
              </a:spcAft>
              <a:defRPr/>
            </a:pPr>
            <a:fld id="{01084AE1-B6FC-47E7-B029-ACE968F36C0F}" type="datetime'Pr''''''oject ''c''''''ap''acity ''[GW el''ec''''trolysis'']'">
              <a:rPr lang="de-DE" altLang="en-US" sz="825" smtClean="0">
                <a:solidFill>
                  <a:srgbClr val="212121"/>
                </a:solidFill>
                <a:ea typeface="+mj-ea"/>
                <a:cs typeface="+mj-cs"/>
              </a:rPr>
              <a:pPr/>
              <a:t>Project capacity [GW electrolysis]</a:t>
            </a:fld>
            <a:endParaRPr lang="de-DE" sz="825">
              <a:solidFill>
                <a:srgbClr val="212121"/>
              </a:solidFill>
              <a:ea typeface="+mj-ea"/>
              <a:cs typeface="+mj-cs"/>
            </a:endParaRPr>
          </a:p>
        </p:txBody>
      </p:sp>
      <p:sp>
        <p:nvSpPr>
          <p:cNvPr id="125" name="Rechteck 91">
            <a:extLst>
              <a:ext uri="{FF2B5EF4-FFF2-40B4-BE49-F238E27FC236}">
                <a16:creationId xmlns:a16="http://schemas.microsoft.com/office/drawing/2014/main" id="{B85B1F2B-E28D-B2CA-B848-82D01B770246}"/>
              </a:ext>
            </a:extLst>
          </p:cNvPr>
          <p:cNvSpPr/>
          <p:nvPr>
            <p:custDataLst>
              <p:tags r:id="rId19"/>
            </p:custDataLst>
          </p:nvPr>
        </p:nvSpPr>
        <p:spPr bwMode="auto">
          <a:xfrm>
            <a:off x="649560" y="4400356"/>
            <a:ext cx="114300" cy="114300"/>
          </a:xfrm>
          <a:prstGeom prst="rect">
            <a:avLst/>
          </a:prstGeom>
          <a:solidFill>
            <a:schemeClr val="tx2"/>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defTabSz="685800" fontAlgn="base">
              <a:lnSpc>
                <a:spcPct val="90000"/>
              </a:lnSpc>
              <a:spcBef>
                <a:spcPts val="300"/>
              </a:spcBef>
              <a:spcAft>
                <a:spcPct val="0"/>
              </a:spcAft>
              <a:defRPr/>
            </a:pPr>
            <a:endParaRPr lang="de-DE" sz="1125">
              <a:solidFill>
                <a:srgbClr val="212121"/>
              </a:solidFill>
              <a:latin typeface="Arial Nova Cond"/>
              <a:ea typeface="Microsoft YaHei"/>
              <a:cs typeface="Calibri"/>
            </a:endParaRPr>
          </a:p>
        </p:txBody>
      </p:sp>
      <p:sp>
        <p:nvSpPr>
          <p:cNvPr id="126" name="Text Placeholder">
            <a:extLst>
              <a:ext uri="{FF2B5EF4-FFF2-40B4-BE49-F238E27FC236}">
                <a16:creationId xmlns:a16="http://schemas.microsoft.com/office/drawing/2014/main" id="{E64845B6-04D4-381B-CA46-634359C55281}"/>
              </a:ext>
            </a:extLst>
          </p:cNvPr>
          <p:cNvSpPr>
            <a:spLocks noGrp="1"/>
          </p:cNvSpPr>
          <p:nvPr>
            <p:custDataLst>
              <p:tags r:id="rId20"/>
            </p:custDataLst>
          </p:nvPr>
        </p:nvSpPr>
        <p:spPr bwMode="auto">
          <a:xfrm>
            <a:off x="814660" y="4408293"/>
            <a:ext cx="1233488" cy="1127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defTabSz="685800" fontAlgn="base">
              <a:spcBef>
                <a:spcPct val="0"/>
              </a:spcBef>
              <a:spcAft>
                <a:spcPct val="0"/>
              </a:spcAft>
              <a:defRPr/>
            </a:pPr>
            <a:fld id="{5FA74B62-4A36-4960-B0CE-B6761C198B9E}" type="datetime'Avg. pr''''o''je''''c''''''''t'' ''''capac''i''ty [''GW]'''">
              <a:rPr lang="de-DE" altLang="en-US" sz="825" smtClean="0">
                <a:solidFill>
                  <a:srgbClr val="212121"/>
                </a:solidFill>
                <a:ea typeface="+mj-ea"/>
                <a:cs typeface="+mj-cs"/>
              </a:rPr>
              <a:pPr/>
              <a:t>Avg. project capacity [GW]</a:t>
            </a:fld>
            <a:endParaRPr lang="de-DE" sz="825">
              <a:solidFill>
                <a:srgbClr val="212121"/>
              </a:solidFill>
              <a:ea typeface="+mj-ea"/>
              <a:cs typeface="+mj-cs"/>
            </a:endParaRPr>
          </a:p>
        </p:txBody>
      </p:sp>
      <p:graphicFrame>
        <p:nvGraphicFramePr>
          <p:cNvPr id="127" name="Chart 90">
            <a:extLst>
              <a:ext uri="{FF2B5EF4-FFF2-40B4-BE49-F238E27FC236}">
                <a16:creationId xmlns:a16="http://schemas.microsoft.com/office/drawing/2014/main" id="{A1EF45D1-00CD-2D7C-C643-DFF94DE871E9}"/>
              </a:ext>
            </a:extLst>
          </p:cNvPr>
          <p:cNvGraphicFramePr/>
          <p:nvPr>
            <p:custDataLst>
              <p:tags r:id="rId21"/>
            </p:custDataLst>
            <p:extLst>
              <p:ext uri="{D42A27DB-BD31-4B8C-83A1-F6EECF244321}">
                <p14:modId xmlns:p14="http://schemas.microsoft.com/office/powerpoint/2010/main" val="293871638"/>
              </p:ext>
            </p:extLst>
          </p:nvPr>
        </p:nvGraphicFramePr>
        <p:xfrm>
          <a:off x="2135460" y="3117656"/>
          <a:ext cx="1658937" cy="1266825"/>
        </p:xfrm>
        <a:graphic>
          <a:graphicData uri="http://schemas.openxmlformats.org/drawingml/2006/chart">
            <c:chart xmlns:c="http://schemas.openxmlformats.org/drawingml/2006/chart" xmlns:r="http://schemas.openxmlformats.org/officeDocument/2006/relationships" r:id="rId70"/>
          </a:graphicData>
        </a:graphic>
      </p:graphicFrame>
      <p:graphicFrame>
        <p:nvGraphicFramePr>
          <p:cNvPr id="128" name="Chart 91">
            <a:extLst>
              <a:ext uri="{FF2B5EF4-FFF2-40B4-BE49-F238E27FC236}">
                <a16:creationId xmlns:a16="http://schemas.microsoft.com/office/drawing/2014/main" id="{8AA1D9A5-7E3F-8764-312A-AEA0D85BCF6F}"/>
              </a:ext>
            </a:extLst>
          </p:cNvPr>
          <p:cNvGraphicFramePr/>
          <p:nvPr>
            <p:custDataLst>
              <p:tags r:id="rId22"/>
            </p:custDataLst>
            <p:extLst>
              <p:ext uri="{D42A27DB-BD31-4B8C-83A1-F6EECF244321}">
                <p14:modId xmlns:p14="http://schemas.microsoft.com/office/powerpoint/2010/main" val="1223735254"/>
              </p:ext>
            </p:extLst>
          </p:nvPr>
        </p:nvGraphicFramePr>
        <p:xfrm>
          <a:off x="2498997" y="3117656"/>
          <a:ext cx="1658938" cy="1266825"/>
        </p:xfrm>
        <a:graphic>
          <a:graphicData uri="http://schemas.openxmlformats.org/drawingml/2006/chart">
            <c:chart xmlns:c="http://schemas.openxmlformats.org/drawingml/2006/chart" xmlns:r="http://schemas.openxmlformats.org/officeDocument/2006/relationships" r:id="rId71"/>
          </a:graphicData>
        </a:graphic>
      </p:graphicFrame>
      <p:graphicFrame>
        <p:nvGraphicFramePr>
          <p:cNvPr id="129" name="Chart 95">
            <a:extLst>
              <a:ext uri="{FF2B5EF4-FFF2-40B4-BE49-F238E27FC236}">
                <a16:creationId xmlns:a16="http://schemas.microsoft.com/office/drawing/2014/main" id="{F5F0E94D-4011-2AAC-F30A-4DA1A8D5A983}"/>
              </a:ext>
            </a:extLst>
          </p:cNvPr>
          <p:cNvGraphicFramePr/>
          <p:nvPr>
            <p:custDataLst>
              <p:tags r:id="rId23"/>
            </p:custDataLst>
            <p:extLst>
              <p:ext uri="{D42A27DB-BD31-4B8C-83A1-F6EECF244321}">
                <p14:modId xmlns:p14="http://schemas.microsoft.com/office/powerpoint/2010/main" val="2509120278"/>
              </p:ext>
            </p:extLst>
          </p:nvPr>
        </p:nvGraphicFramePr>
        <p:xfrm>
          <a:off x="3426097" y="3322443"/>
          <a:ext cx="527050" cy="857250"/>
        </p:xfrm>
        <a:graphic>
          <a:graphicData uri="http://schemas.openxmlformats.org/drawingml/2006/chart">
            <c:chart xmlns:c="http://schemas.openxmlformats.org/drawingml/2006/chart" xmlns:r="http://schemas.openxmlformats.org/officeDocument/2006/relationships" r:id="rId72"/>
          </a:graphicData>
        </a:graphic>
      </p:graphicFrame>
      <p:sp useBgFill="1">
        <p:nvSpPr>
          <p:cNvPr id="130" name="Freeform: Shape 94">
            <a:extLst>
              <a:ext uri="{FF2B5EF4-FFF2-40B4-BE49-F238E27FC236}">
                <a16:creationId xmlns:a16="http://schemas.microsoft.com/office/drawing/2014/main" id="{D28A16D7-16B1-378C-C76D-CEC42AC132FF}"/>
              </a:ext>
            </a:extLst>
          </p:cNvPr>
          <p:cNvSpPr/>
          <p:nvPr>
            <p:custDataLst>
              <p:tags r:id="rId24"/>
            </p:custDataLst>
          </p:nvPr>
        </p:nvSpPr>
        <p:spPr bwMode="auto">
          <a:xfrm>
            <a:off x="3522935" y="3871718"/>
            <a:ext cx="330201" cy="79376"/>
          </a:xfrm>
          <a:custGeom>
            <a:avLst/>
            <a:gdLst/>
            <a:ahLst/>
            <a:cxnLst/>
            <a:rect l="0" t="0" r="0" b="0"/>
            <a:pathLst>
              <a:path w="330201" h="79376">
                <a:moveTo>
                  <a:pt x="0" y="22225"/>
                </a:moveTo>
                <a:lnTo>
                  <a:pt x="82550" y="0"/>
                </a:lnTo>
                <a:lnTo>
                  <a:pt x="165100" y="22225"/>
                </a:lnTo>
                <a:lnTo>
                  <a:pt x="247650" y="0"/>
                </a:lnTo>
                <a:lnTo>
                  <a:pt x="330200" y="22225"/>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1" name="Freeform: Shape 92">
            <a:extLst>
              <a:ext uri="{FF2B5EF4-FFF2-40B4-BE49-F238E27FC236}">
                <a16:creationId xmlns:a16="http://schemas.microsoft.com/office/drawing/2014/main" id="{C09CD1D0-B106-8AA6-BBEC-1ACA863BD01C}"/>
              </a:ext>
            </a:extLst>
          </p:cNvPr>
          <p:cNvSpPr/>
          <p:nvPr>
            <p:custDataLst>
              <p:tags r:id="rId25"/>
            </p:custDataLst>
          </p:nvPr>
        </p:nvSpPr>
        <p:spPr bwMode="auto">
          <a:xfrm>
            <a:off x="3522935" y="3871718"/>
            <a:ext cx="330201" cy="22226"/>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2" name="Freeform: Shape 93">
            <a:extLst>
              <a:ext uri="{FF2B5EF4-FFF2-40B4-BE49-F238E27FC236}">
                <a16:creationId xmlns:a16="http://schemas.microsoft.com/office/drawing/2014/main" id="{221C0925-0889-69D5-D1EA-3D3CE5C3377E}"/>
              </a:ext>
            </a:extLst>
          </p:cNvPr>
          <p:cNvSpPr/>
          <p:nvPr>
            <p:custDataLst>
              <p:tags r:id="rId26"/>
            </p:custDataLst>
          </p:nvPr>
        </p:nvSpPr>
        <p:spPr bwMode="auto">
          <a:xfrm>
            <a:off x="3522935" y="3928868"/>
            <a:ext cx="330201" cy="22226"/>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3" name="Text Placeholder">
            <a:extLst>
              <a:ext uri="{FF2B5EF4-FFF2-40B4-BE49-F238E27FC236}">
                <a16:creationId xmlns:a16="http://schemas.microsoft.com/office/drawing/2014/main" id="{136E3615-3513-530C-1765-8D735F2A91E0}"/>
              </a:ext>
            </a:extLst>
          </p:cNvPr>
          <p:cNvSpPr>
            <a:spLocks noGrp="1"/>
          </p:cNvSpPr>
          <p:nvPr>
            <p:custDataLst>
              <p:tags r:id="rId27"/>
            </p:custDataLst>
          </p:nvPr>
        </p:nvSpPr>
        <p:spPr bwMode="gray">
          <a:xfrm>
            <a:off x="3549922" y="3647881"/>
            <a:ext cx="277813" cy="1333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algn="ctr">
              <a:spcBef>
                <a:spcPct val="0"/>
              </a:spcBef>
              <a:defRPr/>
            </a:pPr>
            <a:fld id="{6F3CB2AF-3DAA-4AAC-AC96-91FBAB8411AA}" type="datetime'''''''0''''''''''''''''''.''''''''''''''''''''84'''''''''''">
              <a:rPr lang="en-GB" altLang="en-US" sz="975" b="1" smtClean="0">
                <a:solidFill>
                  <a:srgbClr val="212121"/>
                </a:solidFill>
                <a:ea typeface="+mj-ea"/>
                <a:cs typeface="+mj-cs"/>
              </a:rPr>
              <a:pPr/>
              <a:t>0.84</a:t>
            </a:fld>
            <a:endParaRPr lang="de-DE" sz="975" b="1">
              <a:solidFill>
                <a:srgbClr val="212121"/>
              </a:solidFill>
              <a:ea typeface="+mj-ea"/>
              <a:cs typeface="+mj-cs"/>
            </a:endParaRPr>
          </a:p>
        </p:txBody>
      </p:sp>
      <p:graphicFrame>
        <p:nvGraphicFramePr>
          <p:cNvPr id="134" name="Chart 96">
            <a:extLst>
              <a:ext uri="{FF2B5EF4-FFF2-40B4-BE49-F238E27FC236}">
                <a16:creationId xmlns:a16="http://schemas.microsoft.com/office/drawing/2014/main" id="{997E9D21-9ABA-2915-431A-6EA3F473E5DE}"/>
              </a:ext>
            </a:extLst>
          </p:cNvPr>
          <p:cNvGraphicFramePr/>
          <p:nvPr>
            <p:custDataLst>
              <p:tags r:id="rId28"/>
            </p:custDataLst>
            <p:extLst>
              <p:ext uri="{D42A27DB-BD31-4B8C-83A1-F6EECF244321}">
                <p14:modId xmlns:p14="http://schemas.microsoft.com/office/powerpoint/2010/main" val="3872400339"/>
              </p:ext>
            </p:extLst>
          </p:nvPr>
        </p:nvGraphicFramePr>
        <p:xfrm>
          <a:off x="3792810" y="3017643"/>
          <a:ext cx="1658937" cy="1266825"/>
        </p:xfrm>
        <a:graphic>
          <a:graphicData uri="http://schemas.openxmlformats.org/drawingml/2006/chart">
            <c:chart xmlns:c="http://schemas.openxmlformats.org/drawingml/2006/chart" xmlns:r="http://schemas.openxmlformats.org/officeDocument/2006/relationships" r:id="rId73"/>
          </a:graphicData>
        </a:graphic>
      </p:graphicFrame>
      <p:graphicFrame>
        <p:nvGraphicFramePr>
          <p:cNvPr id="135" name="Chart 97">
            <a:extLst>
              <a:ext uri="{FF2B5EF4-FFF2-40B4-BE49-F238E27FC236}">
                <a16:creationId xmlns:a16="http://schemas.microsoft.com/office/drawing/2014/main" id="{673B211F-5EA3-2191-B285-D16E2CCA0600}"/>
              </a:ext>
            </a:extLst>
          </p:cNvPr>
          <p:cNvGraphicFramePr/>
          <p:nvPr>
            <p:custDataLst>
              <p:tags r:id="rId29"/>
            </p:custDataLst>
            <p:extLst>
              <p:ext uri="{D42A27DB-BD31-4B8C-83A1-F6EECF244321}">
                <p14:modId xmlns:p14="http://schemas.microsoft.com/office/powerpoint/2010/main" val="3996992685"/>
              </p:ext>
            </p:extLst>
          </p:nvPr>
        </p:nvGraphicFramePr>
        <p:xfrm>
          <a:off x="4154760" y="3017643"/>
          <a:ext cx="1658937" cy="1266825"/>
        </p:xfrm>
        <a:graphic>
          <a:graphicData uri="http://schemas.openxmlformats.org/drawingml/2006/chart">
            <c:chart xmlns:c="http://schemas.openxmlformats.org/drawingml/2006/chart" xmlns:r="http://schemas.openxmlformats.org/officeDocument/2006/relationships" r:id="rId74"/>
          </a:graphicData>
        </a:graphic>
      </p:graphicFrame>
      <p:graphicFrame>
        <p:nvGraphicFramePr>
          <p:cNvPr id="136" name="Chart 102">
            <a:extLst>
              <a:ext uri="{FF2B5EF4-FFF2-40B4-BE49-F238E27FC236}">
                <a16:creationId xmlns:a16="http://schemas.microsoft.com/office/drawing/2014/main" id="{8FA67A59-76AA-48DA-2393-FC9FE3CEC0E7}"/>
              </a:ext>
            </a:extLst>
          </p:cNvPr>
          <p:cNvGraphicFramePr/>
          <p:nvPr>
            <p:custDataLst>
              <p:tags r:id="rId30"/>
            </p:custDataLst>
            <p:extLst>
              <p:ext uri="{D42A27DB-BD31-4B8C-83A1-F6EECF244321}">
                <p14:modId xmlns:p14="http://schemas.microsoft.com/office/powerpoint/2010/main" val="3916752881"/>
              </p:ext>
            </p:extLst>
          </p:nvPr>
        </p:nvGraphicFramePr>
        <p:xfrm>
          <a:off x="5083447" y="3304981"/>
          <a:ext cx="527050" cy="774700"/>
        </p:xfrm>
        <a:graphic>
          <a:graphicData uri="http://schemas.openxmlformats.org/drawingml/2006/chart">
            <c:chart xmlns:c="http://schemas.openxmlformats.org/drawingml/2006/chart" xmlns:r="http://schemas.openxmlformats.org/officeDocument/2006/relationships" r:id="rId75"/>
          </a:graphicData>
        </a:graphic>
      </p:graphicFrame>
      <p:sp useBgFill="1">
        <p:nvSpPr>
          <p:cNvPr id="137" name="Freeform: Shape 101">
            <a:extLst>
              <a:ext uri="{FF2B5EF4-FFF2-40B4-BE49-F238E27FC236}">
                <a16:creationId xmlns:a16="http://schemas.microsoft.com/office/drawing/2014/main" id="{B96270BA-336B-A8D3-1003-8A49FF40C13E}"/>
              </a:ext>
            </a:extLst>
          </p:cNvPr>
          <p:cNvSpPr/>
          <p:nvPr>
            <p:custDataLst>
              <p:tags r:id="rId31"/>
            </p:custDataLst>
          </p:nvPr>
        </p:nvSpPr>
        <p:spPr bwMode="auto">
          <a:xfrm>
            <a:off x="5180285" y="3789168"/>
            <a:ext cx="330201" cy="79376"/>
          </a:xfrm>
          <a:custGeom>
            <a:avLst/>
            <a:gdLst/>
            <a:ahLst/>
            <a:cxnLst/>
            <a:rect l="0" t="0" r="0" b="0"/>
            <a:pathLst>
              <a:path w="330201" h="79376">
                <a:moveTo>
                  <a:pt x="0" y="22225"/>
                </a:moveTo>
                <a:lnTo>
                  <a:pt x="82550" y="0"/>
                </a:lnTo>
                <a:lnTo>
                  <a:pt x="165100" y="22225"/>
                </a:lnTo>
                <a:lnTo>
                  <a:pt x="247650" y="0"/>
                </a:lnTo>
                <a:lnTo>
                  <a:pt x="330200" y="22225"/>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8" name="Freeform: Shape 98">
            <a:extLst>
              <a:ext uri="{FF2B5EF4-FFF2-40B4-BE49-F238E27FC236}">
                <a16:creationId xmlns:a16="http://schemas.microsoft.com/office/drawing/2014/main" id="{1012CDAC-B7C8-79ED-358A-2622C7088F69}"/>
              </a:ext>
            </a:extLst>
          </p:cNvPr>
          <p:cNvSpPr/>
          <p:nvPr>
            <p:custDataLst>
              <p:tags r:id="rId32"/>
            </p:custDataLst>
          </p:nvPr>
        </p:nvSpPr>
        <p:spPr bwMode="auto">
          <a:xfrm>
            <a:off x="5180285" y="3789168"/>
            <a:ext cx="330201" cy="22226"/>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9" name="Freeform: Shape 100">
            <a:extLst>
              <a:ext uri="{FF2B5EF4-FFF2-40B4-BE49-F238E27FC236}">
                <a16:creationId xmlns:a16="http://schemas.microsoft.com/office/drawing/2014/main" id="{C598C88B-B26F-C412-2AC1-1AA9129C451E}"/>
              </a:ext>
            </a:extLst>
          </p:cNvPr>
          <p:cNvSpPr/>
          <p:nvPr>
            <p:custDataLst>
              <p:tags r:id="rId33"/>
            </p:custDataLst>
          </p:nvPr>
        </p:nvSpPr>
        <p:spPr bwMode="auto">
          <a:xfrm>
            <a:off x="5180285" y="3846318"/>
            <a:ext cx="330201" cy="22226"/>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0" name="Text Placeholder">
            <a:extLst>
              <a:ext uri="{FF2B5EF4-FFF2-40B4-BE49-F238E27FC236}">
                <a16:creationId xmlns:a16="http://schemas.microsoft.com/office/drawing/2014/main" id="{3F605E17-7FC3-DBE1-7412-2ED3936760F8}"/>
              </a:ext>
            </a:extLst>
          </p:cNvPr>
          <p:cNvSpPr>
            <a:spLocks noGrp="1"/>
          </p:cNvSpPr>
          <p:nvPr>
            <p:custDataLst>
              <p:tags r:id="rId34"/>
            </p:custDataLst>
          </p:nvPr>
        </p:nvSpPr>
        <p:spPr bwMode="gray">
          <a:xfrm>
            <a:off x="5207272" y="3228781"/>
            <a:ext cx="277813" cy="1333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algn="ctr">
              <a:spcBef>
                <a:spcPct val="0"/>
              </a:spcBef>
              <a:defRPr/>
            </a:pPr>
            <a:fld id="{66963AA4-4665-473E-8F5D-6FB72DFE315A}" type="datetime'''''''''''1''''''''''''''''''.''''''''''''6''''''4'">
              <a:rPr lang="en-GB" altLang="en-US" sz="975" b="1" smtClean="0">
                <a:solidFill>
                  <a:srgbClr val="212121"/>
                </a:solidFill>
                <a:ea typeface="+mj-ea"/>
                <a:cs typeface="+mj-cs"/>
              </a:rPr>
              <a:pPr/>
              <a:t>1.64</a:t>
            </a:fld>
            <a:endParaRPr lang="de-DE" sz="975" b="1">
              <a:solidFill>
                <a:srgbClr val="212121"/>
              </a:solidFill>
              <a:ea typeface="+mj-ea"/>
              <a:cs typeface="+mj-cs"/>
            </a:endParaRPr>
          </a:p>
        </p:txBody>
      </p:sp>
      <p:graphicFrame>
        <p:nvGraphicFramePr>
          <p:cNvPr id="141" name="Chart 103">
            <a:extLst>
              <a:ext uri="{FF2B5EF4-FFF2-40B4-BE49-F238E27FC236}">
                <a16:creationId xmlns:a16="http://schemas.microsoft.com/office/drawing/2014/main" id="{3020C3DA-EF3D-3BC4-63BE-67A3738FF255}"/>
              </a:ext>
            </a:extLst>
          </p:cNvPr>
          <p:cNvGraphicFramePr/>
          <p:nvPr>
            <p:custDataLst>
              <p:tags r:id="rId35"/>
            </p:custDataLst>
            <p:extLst>
              <p:ext uri="{D42A27DB-BD31-4B8C-83A1-F6EECF244321}">
                <p14:modId xmlns:p14="http://schemas.microsoft.com/office/powerpoint/2010/main" val="3777120210"/>
              </p:ext>
            </p:extLst>
          </p:nvPr>
        </p:nvGraphicFramePr>
        <p:xfrm>
          <a:off x="6543947" y="3154168"/>
          <a:ext cx="1658938" cy="1266825"/>
        </p:xfrm>
        <a:graphic>
          <a:graphicData uri="http://schemas.openxmlformats.org/drawingml/2006/chart">
            <c:chart xmlns:c="http://schemas.openxmlformats.org/drawingml/2006/chart" xmlns:r="http://schemas.openxmlformats.org/officeDocument/2006/relationships" r:id="rId76"/>
          </a:graphicData>
        </a:graphic>
      </p:graphicFrame>
      <p:graphicFrame>
        <p:nvGraphicFramePr>
          <p:cNvPr id="142" name="Chart 104">
            <a:extLst>
              <a:ext uri="{FF2B5EF4-FFF2-40B4-BE49-F238E27FC236}">
                <a16:creationId xmlns:a16="http://schemas.microsoft.com/office/drawing/2014/main" id="{90658F14-50F1-9217-F1C1-A802955761F4}"/>
              </a:ext>
            </a:extLst>
          </p:cNvPr>
          <p:cNvGraphicFramePr/>
          <p:nvPr>
            <p:custDataLst>
              <p:tags r:id="rId36"/>
            </p:custDataLst>
            <p:extLst>
              <p:ext uri="{D42A27DB-BD31-4B8C-83A1-F6EECF244321}">
                <p14:modId xmlns:p14="http://schemas.microsoft.com/office/powerpoint/2010/main" val="1074771376"/>
              </p:ext>
            </p:extLst>
          </p:nvPr>
        </p:nvGraphicFramePr>
        <p:xfrm>
          <a:off x="6905897" y="3154168"/>
          <a:ext cx="1658938" cy="1266825"/>
        </p:xfrm>
        <a:graphic>
          <a:graphicData uri="http://schemas.openxmlformats.org/drawingml/2006/chart">
            <c:chart xmlns:c="http://schemas.openxmlformats.org/drawingml/2006/chart" xmlns:r="http://schemas.openxmlformats.org/officeDocument/2006/relationships" r:id="rId77"/>
          </a:graphicData>
        </a:graphic>
      </p:graphicFrame>
      <p:graphicFrame>
        <p:nvGraphicFramePr>
          <p:cNvPr id="143" name="Chart 109">
            <a:extLst>
              <a:ext uri="{FF2B5EF4-FFF2-40B4-BE49-F238E27FC236}">
                <a16:creationId xmlns:a16="http://schemas.microsoft.com/office/drawing/2014/main" id="{9FB79859-AE2C-CA30-B7A7-1B64435EA538}"/>
              </a:ext>
            </a:extLst>
          </p:cNvPr>
          <p:cNvGraphicFramePr/>
          <p:nvPr>
            <p:custDataLst>
              <p:tags r:id="rId37"/>
            </p:custDataLst>
            <p:extLst>
              <p:ext uri="{D42A27DB-BD31-4B8C-83A1-F6EECF244321}">
                <p14:modId xmlns:p14="http://schemas.microsoft.com/office/powerpoint/2010/main" val="3399403145"/>
              </p:ext>
            </p:extLst>
          </p:nvPr>
        </p:nvGraphicFramePr>
        <p:xfrm>
          <a:off x="7832997" y="3358956"/>
          <a:ext cx="527050" cy="857250"/>
        </p:xfrm>
        <a:graphic>
          <a:graphicData uri="http://schemas.openxmlformats.org/drawingml/2006/chart">
            <c:chart xmlns:c="http://schemas.openxmlformats.org/drawingml/2006/chart" xmlns:r="http://schemas.openxmlformats.org/officeDocument/2006/relationships" r:id="rId78"/>
          </a:graphicData>
        </a:graphic>
      </p:graphicFrame>
      <p:sp useBgFill="1">
        <p:nvSpPr>
          <p:cNvPr id="144" name="Freeform: Shape 108">
            <a:extLst>
              <a:ext uri="{FF2B5EF4-FFF2-40B4-BE49-F238E27FC236}">
                <a16:creationId xmlns:a16="http://schemas.microsoft.com/office/drawing/2014/main" id="{BCC77539-AA65-AE22-A375-F8DBBF5CBE3D}"/>
              </a:ext>
            </a:extLst>
          </p:cNvPr>
          <p:cNvSpPr/>
          <p:nvPr>
            <p:custDataLst>
              <p:tags r:id="rId38"/>
            </p:custDataLst>
          </p:nvPr>
        </p:nvSpPr>
        <p:spPr bwMode="auto">
          <a:xfrm>
            <a:off x="7929835" y="3908231"/>
            <a:ext cx="330201" cy="79376"/>
          </a:xfrm>
          <a:custGeom>
            <a:avLst/>
            <a:gdLst/>
            <a:ahLst/>
            <a:cxnLst/>
            <a:rect l="0" t="0" r="0" b="0"/>
            <a:pathLst>
              <a:path w="330201" h="79376">
                <a:moveTo>
                  <a:pt x="0" y="22225"/>
                </a:moveTo>
                <a:lnTo>
                  <a:pt x="82550" y="0"/>
                </a:lnTo>
                <a:lnTo>
                  <a:pt x="165100" y="22225"/>
                </a:lnTo>
                <a:lnTo>
                  <a:pt x="247650" y="0"/>
                </a:lnTo>
                <a:lnTo>
                  <a:pt x="330200" y="22225"/>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5" name="Freeform: Shape 105">
            <a:extLst>
              <a:ext uri="{FF2B5EF4-FFF2-40B4-BE49-F238E27FC236}">
                <a16:creationId xmlns:a16="http://schemas.microsoft.com/office/drawing/2014/main" id="{37A2A7AA-8EF5-8F86-5BE1-BBB79459393A}"/>
              </a:ext>
            </a:extLst>
          </p:cNvPr>
          <p:cNvSpPr/>
          <p:nvPr>
            <p:custDataLst>
              <p:tags r:id="rId39"/>
            </p:custDataLst>
          </p:nvPr>
        </p:nvSpPr>
        <p:spPr bwMode="auto">
          <a:xfrm>
            <a:off x="7929835" y="3908231"/>
            <a:ext cx="330201" cy="22226"/>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6" name="Freeform: Shape 106">
            <a:extLst>
              <a:ext uri="{FF2B5EF4-FFF2-40B4-BE49-F238E27FC236}">
                <a16:creationId xmlns:a16="http://schemas.microsoft.com/office/drawing/2014/main" id="{91FC90D6-8183-20BC-C719-8D143141A333}"/>
              </a:ext>
            </a:extLst>
          </p:cNvPr>
          <p:cNvSpPr/>
          <p:nvPr>
            <p:custDataLst>
              <p:tags r:id="rId40"/>
            </p:custDataLst>
          </p:nvPr>
        </p:nvSpPr>
        <p:spPr bwMode="auto">
          <a:xfrm>
            <a:off x="7929835" y="3965381"/>
            <a:ext cx="330201" cy="22226"/>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7" name="Text Placeholder">
            <a:extLst>
              <a:ext uri="{FF2B5EF4-FFF2-40B4-BE49-F238E27FC236}">
                <a16:creationId xmlns:a16="http://schemas.microsoft.com/office/drawing/2014/main" id="{2C79391B-4633-A02A-7E66-116754DF5A00}"/>
              </a:ext>
            </a:extLst>
          </p:cNvPr>
          <p:cNvSpPr>
            <a:spLocks noGrp="1"/>
          </p:cNvSpPr>
          <p:nvPr>
            <p:custDataLst>
              <p:tags r:id="rId41"/>
            </p:custDataLst>
          </p:nvPr>
        </p:nvSpPr>
        <p:spPr bwMode="gray">
          <a:xfrm>
            <a:off x="7956822" y="3693918"/>
            <a:ext cx="277813" cy="1333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algn="ctr">
              <a:spcBef>
                <a:spcPct val="0"/>
              </a:spcBef>
              <a:defRPr/>
            </a:pPr>
            <a:fld id="{33794D35-35F3-4C2B-BD52-957FEF44F3B9}" type="datetime'''''0''''.''''''''''''''''8''''2'''''''''''''''''''''''">
              <a:rPr lang="en-GB" altLang="en-US" sz="975" b="1" smtClean="0">
                <a:solidFill>
                  <a:srgbClr val="212121"/>
                </a:solidFill>
                <a:ea typeface="+mj-ea"/>
                <a:cs typeface="+mj-cs"/>
              </a:rPr>
              <a:pPr/>
              <a:t>0.82</a:t>
            </a:fld>
            <a:endParaRPr lang="de-DE" sz="975" b="1">
              <a:solidFill>
                <a:srgbClr val="212121"/>
              </a:solidFill>
              <a:ea typeface="+mj-ea"/>
              <a:cs typeface="+mj-cs"/>
            </a:endParaRPr>
          </a:p>
        </p:txBody>
      </p:sp>
      <p:graphicFrame>
        <p:nvGraphicFramePr>
          <p:cNvPr id="148" name="Chart 110">
            <a:extLst>
              <a:ext uri="{FF2B5EF4-FFF2-40B4-BE49-F238E27FC236}">
                <a16:creationId xmlns:a16="http://schemas.microsoft.com/office/drawing/2014/main" id="{8BC744F1-CA8C-AE0E-9EE3-83FD38E65C5C}"/>
              </a:ext>
            </a:extLst>
          </p:cNvPr>
          <p:cNvGraphicFramePr/>
          <p:nvPr>
            <p:custDataLst>
              <p:tags r:id="rId42"/>
            </p:custDataLst>
            <p:extLst>
              <p:ext uri="{D42A27DB-BD31-4B8C-83A1-F6EECF244321}">
                <p14:modId xmlns:p14="http://schemas.microsoft.com/office/powerpoint/2010/main" val="2708546007"/>
              </p:ext>
            </p:extLst>
          </p:nvPr>
        </p:nvGraphicFramePr>
        <p:xfrm>
          <a:off x="5610497" y="1553968"/>
          <a:ext cx="2119313" cy="1266825"/>
        </p:xfrm>
        <a:graphic>
          <a:graphicData uri="http://schemas.openxmlformats.org/drawingml/2006/chart">
            <c:chart xmlns:c="http://schemas.openxmlformats.org/drawingml/2006/chart" xmlns:r="http://schemas.openxmlformats.org/officeDocument/2006/relationships" r:id="rId79"/>
          </a:graphicData>
        </a:graphic>
      </p:graphicFrame>
      <p:graphicFrame>
        <p:nvGraphicFramePr>
          <p:cNvPr id="149" name="Chart 111">
            <a:extLst>
              <a:ext uri="{FF2B5EF4-FFF2-40B4-BE49-F238E27FC236}">
                <a16:creationId xmlns:a16="http://schemas.microsoft.com/office/drawing/2014/main" id="{EE1449FB-6B4F-3212-6374-4DC4E8E56BB8}"/>
              </a:ext>
            </a:extLst>
          </p:cNvPr>
          <p:cNvGraphicFramePr/>
          <p:nvPr>
            <p:custDataLst>
              <p:tags r:id="rId43"/>
            </p:custDataLst>
            <p:extLst>
              <p:ext uri="{D42A27DB-BD31-4B8C-83A1-F6EECF244321}">
                <p14:modId xmlns:p14="http://schemas.microsoft.com/office/powerpoint/2010/main" val="4162729241"/>
              </p:ext>
            </p:extLst>
          </p:nvPr>
        </p:nvGraphicFramePr>
        <p:xfrm>
          <a:off x="6204222" y="1553968"/>
          <a:ext cx="1658938" cy="1266825"/>
        </p:xfrm>
        <a:graphic>
          <a:graphicData uri="http://schemas.openxmlformats.org/drawingml/2006/chart">
            <c:chart xmlns:c="http://schemas.openxmlformats.org/drawingml/2006/chart" xmlns:r="http://schemas.openxmlformats.org/officeDocument/2006/relationships" r:id="rId80"/>
          </a:graphicData>
        </a:graphic>
      </p:graphicFrame>
      <p:graphicFrame>
        <p:nvGraphicFramePr>
          <p:cNvPr id="150" name="Chart 113">
            <a:extLst>
              <a:ext uri="{FF2B5EF4-FFF2-40B4-BE49-F238E27FC236}">
                <a16:creationId xmlns:a16="http://schemas.microsoft.com/office/drawing/2014/main" id="{D2F5BA54-36C2-D955-CB3F-B5236ED76242}"/>
              </a:ext>
            </a:extLst>
          </p:cNvPr>
          <p:cNvGraphicFramePr/>
          <p:nvPr>
            <p:custDataLst>
              <p:tags r:id="rId44"/>
            </p:custDataLst>
            <p:extLst>
              <p:ext uri="{D42A27DB-BD31-4B8C-83A1-F6EECF244321}">
                <p14:modId xmlns:p14="http://schemas.microsoft.com/office/powerpoint/2010/main" val="2684160054"/>
              </p:ext>
            </p:extLst>
          </p:nvPr>
        </p:nvGraphicFramePr>
        <p:xfrm>
          <a:off x="7131322" y="1758756"/>
          <a:ext cx="527050" cy="857250"/>
        </p:xfrm>
        <a:graphic>
          <a:graphicData uri="http://schemas.openxmlformats.org/drawingml/2006/chart">
            <c:chart xmlns:c="http://schemas.openxmlformats.org/drawingml/2006/chart" xmlns:r="http://schemas.openxmlformats.org/officeDocument/2006/relationships" r:id="rId81"/>
          </a:graphicData>
        </a:graphic>
      </p:graphicFrame>
      <p:sp>
        <p:nvSpPr>
          <p:cNvPr id="151" name="Text Placeholder 2">
            <a:extLst>
              <a:ext uri="{FF2B5EF4-FFF2-40B4-BE49-F238E27FC236}">
                <a16:creationId xmlns:a16="http://schemas.microsoft.com/office/drawing/2014/main" id="{7C6D121F-8717-3AF4-0507-73A60604CAF7}"/>
              </a:ext>
            </a:extLst>
          </p:cNvPr>
          <p:cNvSpPr>
            <a:spLocks noGrp="1"/>
          </p:cNvSpPr>
          <p:nvPr>
            <p:custDataLst>
              <p:tags r:id="rId45"/>
            </p:custDataLst>
          </p:nvPr>
        </p:nvSpPr>
        <p:spPr bwMode="gray">
          <a:xfrm>
            <a:off x="7207522" y="2214368"/>
            <a:ext cx="373063"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798D7B8A-B3A1-46AC-B30B-996BA973DBB3}" type="datetime'''''''''''0''''''''.''''2''''''''''''''''''3'''''">
              <a:rPr lang="en-GB" altLang="en-US" sz="1300" b="1" smtClean="0">
                <a:solidFill>
                  <a:srgbClr val="212121"/>
                </a:solidFill>
                <a:effectLst/>
                <a:latin typeface="+mj-lt"/>
                <a:ea typeface="+mj-ea"/>
                <a:cs typeface="+mj-cs"/>
              </a:rPr>
              <a:pPr marL="0" lvl="0" indent="0" algn="ctr">
                <a:spcBef>
                  <a:spcPct val="0"/>
                </a:spcBef>
                <a:spcAft>
                  <a:spcPct val="0"/>
                </a:spcAft>
                <a:buNone/>
              </a:pPr>
              <a:t>0.23</a:t>
            </a:fld>
            <a:endParaRPr lang="en-GB" sz="1300" b="1" dirty="0">
              <a:solidFill>
                <a:srgbClr val="212121"/>
              </a:solidFill>
              <a:latin typeface="+mj-lt"/>
              <a:ea typeface="+mj-ea"/>
              <a:cs typeface="+mj-cs"/>
            </a:endParaRPr>
          </a:p>
        </p:txBody>
      </p:sp>
      <p:graphicFrame>
        <p:nvGraphicFramePr>
          <p:cNvPr id="152" name="Chart 118">
            <a:extLst>
              <a:ext uri="{FF2B5EF4-FFF2-40B4-BE49-F238E27FC236}">
                <a16:creationId xmlns:a16="http://schemas.microsoft.com/office/drawing/2014/main" id="{81818BE2-CE73-454F-C300-041784DD979D}"/>
              </a:ext>
            </a:extLst>
          </p:cNvPr>
          <p:cNvGraphicFramePr/>
          <p:nvPr>
            <p:custDataLst>
              <p:tags r:id="rId46"/>
            </p:custDataLst>
            <p:extLst>
              <p:ext uri="{D42A27DB-BD31-4B8C-83A1-F6EECF244321}">
                <p14:modId xmlns:p14="http://schemas.microsoft.com/office/powerpoint/2010/main" val="2870661667"/>
              </p:ext>
            </p:extLst>
          </p:nvPr>
        </p:nvGraphicFramePr>
        <p:xfrm>
          <a:off x="3996010" y="1501581"/>
          <a:ext cx="528637" cy="857250"/>
        </p:xfrm>
        <a:graphic>
          <a:graphicData uri="http://schemas.openxmlformats.org/drawingml/2006/chart">
            <c:chart xmlns:c="http://schemas.openxmlformats.org/drawingml/2006/chart" xmlns:r="http://schemas.openxmlformats.org/officeDocument/2006/relationships" r:id="rId82"/>
          </a:graphicData>
        </a:graphic>
      </p:graphicFrame>
      <p:sp useBgFill="1">
        <p:nvSpPr>
          <p:cNvPr id="153" name="Freeform: Shape 117">
            <a:extLst>
              <a:ext uri="{FF2B5EF4-FFF2-40B4-BE49-F238E27FC236}">
                <a16:creationId xmlns:a16="http://schemas.microsoft.com/office/drawing/2014/main" id="{FEF6D8FD-BCF8-19DE-B26A-B6C08D7FDC17}"/>
              </a:ext>
            </a:extLst>
          </p:cNvPr>
          <p:cNvSpPr/>
          <p:nvPr>
            <p:custDataLst>
              <p:tags r:id="rId47"/>
            </p:custDataLst>
          </p:nvPr>
        </p:nvSpPr>
        <p:spPr bwMode="auto">
          <a:xfrm>
            <a:off x="4099197" y="1609531"/>
            <a:ext cx="322264" cy="144463"/>
          </a:xfrm>
          <a:custGeom>
            <a:avLst/>
            <a:gdLst/>
            <a:ahLst/>
            <a:cxnLst/>
            <a:rect l="0" t="0" r="0" b="0"/>
            <a:pathLst>
              <a:path w="322264" h="144463">
                <a:moveTo>
                  <a:pt x="0" y="87312"/>
                </a:moveTo>
                <a:lnTo>
                  <a:pt x="322263" y="0"/>
                </a:lnTo>
                <a:lnTo>
                  <a:pt x="322263" y="57150"/>
                </a:lnTo>
                <a:lnTo>
                  <a:pt x="0" y="144462"/>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4" name="Freeform: Shape 114">
            <a:extLst>
              <a:ext uri="{FF2B5EF4-FFF2-40B4-BE49-F238E27FC236}">
                <a16:creationId xmlns:a16="http://schemas.microsoft.com/office/drawing/2014/main" id="{F63A9860-EBBD-03A6-91A2-7B83EDB28B7C}"/>
              </a:ext>
            </a:extLst>
          </p:cNvPr>
          <p:cNvSpPr/>
          <p:nvPr>
            <p:custDataLst>
              <p:tags r:id="rId48"/>
            </p:custDataLst>
          </p:nvPr>
        </p:nvSpPr>
        <p:spPr bwMode="auto">
          <a:xfrm>
            <a:off x="4099197" y="1609531"/>
            <a:ext cx="322264" cy="87313"/>
          </a:xfrm>
          <a:custGeom>
            <a:avLst/>
            <a:gdLst/>
            <a:ahLst/>
            <a:cxnLst/>
            <a:rect l="0" t="0" r="0" b="0"/>
            <a:pathLst>
              <a:path w="322264" h="87313">
                <a:moveTo>
                  <a:pt x="0" y="87312"/>
                </a:moveTo>
                <a:lnTo>
                  <a:pt x="322263"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5" name="Freeform: Shape 116">
            <a:extLst>
              <a:ext uri="{FF2B5EF4-FFF2-40B4-BE49-F238E27FC236}">
                <a16:creationId xmlns:a16="http://schemas.microsoft.com/office/drawing/2014/main" id="{ABF70C9C-A73A-02F3-5F28-C535D3111A31}"/>
              </a:ext>
            </a:extLst>
          </p:cNvPr>
          <p:cNvSpPr/>
          <p:nvPr>
            <p:custDataLst>
              <p:tags r:id="rId49"/>
            </p:custDataLst>
          </p:nvPr>
        </p:nvSpPr>
        <p:spPr bwMode="auto">
          <a:xfrm>
            <a:off x="4099197" y="1666681"/>
            <a:ext cx="322264" cy="87313"/>
          </a:xfrm>
          <a:custGeom>
            <a:avLst/>
            <a:gdLst/>
            <a:ahLst/>
            <a:cxnLst/>
            <a:rect l="0" t="0" r="0" b="0"/>
            <a:pathLst>
              <a:path w="322264" h="87313">
                <a:moveTo>
                  <a:pt x="0" y="87312"/>
                </a:moveTo>
                <a:lnTo>
                  <a:pt x="322263"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6" name="Text Placeholder">
            <a:extLst>
              <a:ext uri="{FF2B5EF4-FFF2-40B4-BE49-F238E27FC236}">
                <a16:creationId xmlns:a16="http://schemas.microsoft.com/office/drawing/2014/main" id="{2DAEBF17-1677-6EF0-8AE7-5767398D00FD}"/>
              </a:ext>
            </a:extLst>
          </p:cNvPr>
          <p:cNvSpPr>
            <a:spLocks noGrp="1"/>
          </p:cNvSpPr>
          <p:nvPr>
            <p:custDataLst>
              <p:tags r:id="rId50"/>
            </p:custDataLst>
          </p:nvPr>
        </p:nvSpPr>
        <p:spPr bwMode="gray">
          <a:xfrm>
            <a:off x="4138885" y="1425381"/>
            <a:ext cx="242888" cy="1333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algn="ctr">
              <a:spcBef>
                <a:spcPct val="0"/>
              </a:spcBef>
              <a:defRPr/>
            </a:pPr>
            <a:fld id="{7CA09C1A-C0DD-4753-BC7B-42A4FAAD5E05}" type="datetime'''''''6''''''''''''''''''4''''''''''''''1'">
              <a:rPr lang="en-GB" altLang="en-US" sz="975" b="1" smtClean="0">
                <a:solidFill>
                  <a:srgbClr val="212121"/>
                </a:solidFill>
                <a:ea typeface="+mj-ea"/>
                <a:cs typeface="+mj-cs"/>
              </a:rPr>
              <a:pPr/>
              <a:t>641</a:t>
            </a:fld>
            <a:endParaRPr lang="de-DE" sz="975" b="1">
              <a:solidFill>
                <a:srgbClr val="212121"/>
              </a:solidFill>
              <a:ea typeface="+mj-ea"/>
              <a:cs typeface="+mj-cs"/>
            </a:endParaRPr>
          </a:p>
        </p:txBody>
      </p:sp>
      <p:graphicFrame>
        <p:nvGraphicFramePr>
          <p:cNvPr id="157" name="Chart 122">
            <a:extLst>
              <a:ext uri="{FF2B5EF4-FFF2-40B4-BE49-F238E27FC236}">
                <a16:creationId xmlns:a16="http://schemas.microsoft.com/office/drawing/2014/main" id="{0AAE207B-8358-746B-2CB3-FDAD80800CBB}"/>
              </a:ext>
            </a:extLst>
          </p:cNvPr>
          <p:cNvGraphicFramePr/>
          <p:nvPr>
            <p:custDataLst>
              <p:tags r:id="rId51"/>
            </p:custDataLst>
            <p:extLst>
              <p:ext uri="{D42A27DB-BD31-4B8C-83A1-F6EECF244321}">
                <p14:modId xmlns:p14="http://schemas.microsoft.com/office/powerpoint/2010/main" val="3114570144"/>
              </p:ext>
            </p:extLst>
          </p:nvPr>
        </p:nvGraphicFramePr>
        <p:xfrm>
          <a:off x="4359547" y="1501581"/>
          <a:ext cx="527050" cy="857250"/>
        </p:xfrm>
        <a:graphic>
          <a:graphicData uri="http://schemas.openxmlformats.org/drawingml/2006/chart">
            <c:chart xmlns:c="http://schemas.openxmlformats.org/drawingml/2006/chart" xmlns:r="http://schemas.openxmlformats.org/officeDocument/2006/relationships" r:id="rId83"/>
          </a:graphicData>
        </a:graphic>
      </p:graphicFrame>
      <p:sp useBgFill="1">
        <p:nvSpPr>
          <p:cNvPr id="158" name="Freeform: Shape 121">
            <a:extLst>
              <a:ext uri="{FF2B5EF4-FFF2-40B4-BE49-F238E27FC236}">
                <a16:creationId xmlns:a16="http://schemas.microsoft.com/office/drawing/2014/main" id="{0CAD8FDB-EC10-2F03-6A0B-136159A2AA74}"/>
              </a:ext>
            </a:extLst>
          </p:cNvPr>
          <p:cNvSpPr/>
          <p:nvPr>
            <p:custDataLst>
              <p:tags r:id="rId52"/>
            </p:custDataLst>
          </p:nvPr>
        </p:nvSpPr>
        <p:spPr bwMode="auto">
          <a:xfrm>
            <a:off x="4461147" y="1609531"/>
            <a:ext cx="322264" cy="144463"/>
          </a:xfrm>
          <a:custGeom>
            <a:avLst/>
            <a:gdLst/>
            <a:ahLst/>
            <a:cxnLst/>
            <a:rect l="0" t="0" r="0" b="0"/>
            <a:pathLst>
              <a:path w="322264" h="144463">
                <a:moveTo>
                  <a:pt x="0" y="87312"/>
                </a:moveTo>
                <a:lnTo>
                  <a:pt x="322263" y="0"/>
                </a:lnTo>
                <a:lnTo>
                  <a:pt x="322263" y="57150"/>
                </a:lnTo>
                <a:lnTo>
                  <a:pt x="0" y="144462"/>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9" name="Freeform: Shape 119">
            <a:extLst>
              <a:ext uri="{FF2B5EF4-FFF2-40B4-BE49-F238E27FC236}">
                <a16:creationId xmlns:a16="http://schemas.microsoft.com/office/drawing/2014/main" id="{42273472-A351-D869-E796-E72AE638DC44}"/>
              </a:ext>
            </a:extLst>
          </p:cNvPr>
          <p:cNvSpPr/>
          <p:nvPr>
            <p:custDataLst>
              <p:tags r:id="rId53"/>
            </p:custDataLst>
          </p:nvPr>
        </p:nvSpPr>
        <p:spPr bwMode="auto">
          <a:xfrm>
            <a:off x="4461147" y="1609531"/>
            <a:ext cx="322264" cy="87313"/>
          </a:xfrm>
          <a:custGeom>
            <a:avLst/>
            <a:gdLst/>
            <a:ahLst/>
            <a:cxnLst/>
            <a:rect l="0" t="0" r="0" b="0"/>
            <a:pathLst>
              <a:path w="322264" h="87313">
                <a:moveTo>
                  <a:pt x="0" y="87312"/>
                </a:moveTo>
                <a:lnTo>
                  <a:pt x="322263"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0" name="Freeform: Shape 120">
            <a:extLst>
              <a:ext uri="{FF2B5EF4-FFF2-40B4-BE49-F238E27FC236}">
                <a16:creationId xmlns:a16="http://schemas.microsoft.com/office/drawing/2014/main" id="{19F8017A-6FCC-BCFD-2CAD-C9CA99777924}"/>
              </a:ext>
            </a:extLst>
          </p:cNvPr>
          <p:cNvSpPr/>
          <p:nvPr>
            <p:custDataLst>
              <p:tags r:id="rId54"/>
            </p:custDataLst>
          </p:nvPr>
        </p:nvSpPr>
        <p:spPr bwMode="auto">
          <a:xfrm>
            <a:off x="4461147" y="1666681"/>
            <a:ext cx="322264" cy="87313"/>
          </a:xfrm>
          <a:custGeom>
            <a:avLst/>
            <a:gdLst/>
            <a:ahLst/>
            <a:cxnLst/>
            <a:rect l="0" t="0" r="0" b="0"/>
            <a:pathLst>
              <a:path w="322264" h="87313">
                <a:moveTo>
                  <a:pt x="0" y="87312"/>
                </a:moveTo>
                <a:lnTo>
                  <a:pt x="322263"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1" name="Text Placeholder">
            <a:extLst>
              <a:ext uri="{FF2B5EF4-FFF2-40B4-BE49-F238E27FC236}">
                <a16:creationId xmlns:a16="http://schemas.microsoft.com/office/drawing/2014/main" id="{FD0B2DDC-FDD0-B636-064A-2D06098B413C}"/>
              </a:ext>
            </a:extLst>
          </p:cNvPr>
          <p:cNvSpPr>
            <a:spLocks noGrp="1"/>
          </p:cNvSpPr>
          <p:nvPr>
            <p:custDataLst>
              <p:tags r:id="rId55"/>
            </p:custDataLst>
          </p:nvPr>
        </p:nvSpPr>
        <p:spPr bwMode="gray">
          <a:xfrm>
            <a:off x="4500835" y="1425381"/>
            <a:ext cx="24288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defRPr/>
            </a:pPr>
            <a:fld id="{8342F758-9515-42D6-80FA-C920A45B81E9}" type="datetime'''''''''1''''''''5''''6'''''''''''''''''">
              <a:rPr lang="en-GB" altLang="en-US" sz="975" b="1" smtClean="0">
                <a:solidFill>
                  <a:srgbClr val="212121"/>
                </a:solidFill>
                <a:ea typeface="+mj-ea"/>
                <a:cs typeface="+mj-cs"/>
              </a:rPr>
              <a:pPr/>
              <a:t>156</a:t>
            </a:fld>
            <a:endParaRPr lang="en-US" sz="975" b="1">
              <a:solidFill>
                <a:srgbClr val="212121"/>
              </a:solidFill>
              <a:ea typeface="+mj-ea"/>
              <a:cs typeface="+mj-cs"/>
            </a:endParaRPr>
          </a:p>
        </p:txBody>
      </p:sp>
      <p:graphicFrame>
        <p:nvGraphicFramePr>
          <p:cNvPr id="162" name="Chart 125">
            <a:extLst>
              <a:ext uri="{FF2B5EF4-FFF2-40B4-BE49-F238E27FC236}">
                <a16:creationId xmlns:a16="http://schemas.microsoft.com/office/drawing/2014/main" id="{44D165BE-A248-86DA-313F-05D5D0B8F1FF}"/>
              </a:ext>
            </a:extLst>
          </p:cNvPr>
          <p:cNvGraphicFramePr/>
          <p:nvPr>
            <p:custDataLst>
              <p:tags r:id="rId56"/>
            </p:custDataLst>
            <p:extLst>
              <p:ext uri="{D42A27DB-BD31-4B8C-83A1-F6EECF244321}">
                <p14:modId xmlns:p14="http://schemas.microsoft.com/office/powerpoint/2010/main" val="3067217431"/>
              </p:ext>
            </p:extLst>
          </p:nvPr>
        </p:nvGraphicFramePr>
        <p:xfrm>
          <a:off x="4721497" y="1501581"/>
          <a:ext cx="527050" cy="857250"/>
        </p:xfrm>
        <a:graphic>
          <a:graphicData uri="http://schemas.openxmlformats.org/drawingml/2006/chart">
            <c:chart xmlns:c="http://schemas.openxmlformats.org/drawingml/2006/chart" xmlns:r="http://schemas.openxmlformats.org/officeDocument/2006/relationships" r:id="rId84"/>
          </a:graphicData>
        </a:graphic>
      </p:graphicFrame>
      <p:sp>
        <p:nvSpPr>
          <p:cNvPr id="163" name="Text Placeholder 2">
            <a:extLst>
              <a:ext uri="{FF2B5EF4-FFF2-40B4-BE49-F238E27FC236}">
                <a16:creationId xmlns:a16="http://schemas.microsoft.com/office/drawing/2014/main" id="{53783CAF-EE65-F34F-6281-6DE4CC832413}"/>
              </a:ext>
            </a:extLst>
          </p:cNvPr>
          <p:cNvSpPr>
            <a:spLocks noGrp="1"/>
          </p:cNvSpPr>
          <p:nvPr>
            <p:custDataLst>
              <p:tags r:id="rId57"/>
            </p:custDataLst>
          </p:nvPr>
        </p:nvSpPr>
        <p:spPr bwMode="gray">
          <a:xfrm>
            <a:off x="4797697" y="1952431"/>
            <a:ext cx="373063"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0E9BC00E-8123-4D46-B307-9F7F787B309A}" type="datetime'''''''0''''''''''''''''.''''''''''''2''''''''4'''''''">
              <a:rPr lang="en-GB" altLang="en-US" sz="1300" b="1" smtClean="0">
                <a:solidFill>
                  <a:srgbClr val="212121"/>
                </a:solidFill>
                <a:effectLst/>
                <a:latin typeface="+mj-lt"/>
                <a:ea typeface="+mj-ea"/>
                <a:cs typeface="+mj-cs"/>
              </a:rPr>
              <a:pPr marL="0" lvl="0" indent="0" algn="ctr">
                <a:spcBef>
                  <a:spcPct val="0"/>
                </a:spcBef>
                <a:spcAft>
                  <a:spcPct val="0"/>
                </a:spcAft>
                <a:buNone/>
              </a:pPr>
              <a:t>0.24</a:t>
            </a:fld>
            <a:endParaRPr lang="en-GB" sz="1300" b="1" dirty="0">
              <a:solidFill>
                <a:srgbClr val="212121"/>
              </a:solidFill>
              <a:latin typeface="+mj-lt"/>
              <a:ea typeface="+mj-ea"/>
              <a:cs typeface="+mj-cs"/>
            </a:endParaRPr>
          </a:p>
        </p:txBody>
      </p:sp>
      <p:graphicFrame>
        <p:nvGraphicFramePr>
          <p:cNvPr id="164" name="Chart 126">
            <a:extLst>
              <a:ext uri="{FF2B5EF4-FFF2-40B4-BE49-F238E27FC236}">
                <a16:creationId xmlns:a16="http://schemas.microsoft.com/office/drawing/2014/main" id="{CDF8AEAD-0916-5F39-F6E9-DA8A947F239B}"/>
              </a:ext>
            </a:extLst>
          </p:cNvPr>
          <p:cNvGraphicFramePr/>
          <p:nvPr>
            <p:custDataLst>
              <p:tags r:id="rId58"/>
            </p:custDataLst>
            <p:extLst>
              <p:ext uri="{D42A27DB-BD31-4B8C-83A1-F6EECF244321}">
                <p14:modId xmlns:p14="http://schemas.microsoft.com/office/powerpoint/2010/main" val="167182418"/>
              </p:ext>
            </p:extLst>
          </p:nvPr>
        </p:nvGraphicFramePr>
        <p:xfrm>
          <a:off x="4604022" y="1906393"/>
          <a:ext cx="1658938" cy="1266825"/>
        </p:xfrm>
        <a:graphic>
          <a:graphicData uri="http://schemas.openxmlformats.org/drawingml/2006/chart">
            <c:chart xmlns:c="http://schemas.openxmlformats.org/drawingml/2006/chart" xmlns:r="http://schemas.openxmlformats.org/officeDocument/2006/relationships" r:id="rId85"/>
          </a:graphicData>
        </a:graphic>
      </p:graphicFrame>
      <p:graphicFrame>
        <p:nvGraphicFramePr>
          <p:cNvPr id="165" name="Chart 128">
            <a:extLst>
              <a:ext uri="{FF2B5EF4-FFF2-40B4-BE49-F238E27FC236}">
                <a16:creationId xmlns:a16="http://schemas.microsoft.com/office/drawing/2014/main" id="{59228510-CF05-491C-320B-AF4DA1EEC502}"/>
              </a:ext>
            </a:extLst>
          </p:cNvPr>
          <p:cNvGraphicFramePr/>
          <p:nvPr>
            <p:custDataLst>
              <p:tags r:id="rId59"/>
            </p:custDataLst>
            <p:extLst>
              <p:ext uri="{D42A27DB-BD31-4B8C-83A1-F6EECF244321}">
                <p14:modId xmlns:p14="http://schemas.microsoft.com/office/powerpoint/2010/main" val="157556176"/>
              </p:ext>
            </p:extLst>
          </p:nvPr>
        </p:nvGraphicFramePr>
        <p:xfrm>
          <a:off x="4965972" y="1904806"/>
          <a:ext cx="1658938" cy="1266825"/>
        </p:xfrm>
        <a:graphic>
          <a:graphicData uri="http://schemas.openxmlformats.org/drawingml/2006/chart">
            <c:chart xmlns:c="http://schemas.openxmlformats.org/drawingml/2006/chart" xmlns:r="http://schemas.openxmlformats.org/officeDocument/2006/relationships" r:id="rId86"/>
          </a:graphicData>
        </a:graphic>
      </p:graphicFrame>
      <p:graphicFrame>
        <p:nvGraphicFramePr>
          <p:cNvPr id="166" name="Chart 132">
            <a:extLst>
              <a:ext uri="{FF2B5EF4-FFF2-40B4-BE49-F238E27FC236}">
                <a16:creationId xmlns:a16="http://schemas.microsoft.com/office/drawing/2014/main" id="{9374F7C4-CEE4-5C9D-5ED5-3D66DA3EB6C0}"/>
              </a:ext>
            </a:extLst>
          </p:cNvPr>
          <p:cNvGraphicFramePr/>
          <p:nvPr>
            <p:custDataLst>
              <p:tags r:id="rId60"/>
            </p:custDataLst>
            <p:extLst>
              <p:ext uri="{D42A27DB-BD31-4B8C-83A1-F6EECF244321}">
                <p14:modId xmlns:p14="http://schemas.microsoft.com/office/powerpoint/2010/main" val="3914785809"/>
              </p:ext>
            </p:extLst>
          </p:nvPr>
        </p:nvGraphicFramePr>
        <p:xfrm>
          <a:off x="5893072" y="2109593"/>
          <a:ext cx="527050" cy="857250"/>
        </p:xfrm>
        <a:graphic>
          <a:graphicData uri="http://schemas.openxmlformats.org/drawingml/2006/chart">
            <c:chart xmlns:c="http://schemas.openxmlformats.org/drawingml/2006/chart" xmlns:r="http://schemas.openxmlformats.org/officeDocument/2006/relationships" r:id="rId87"/>
          </a:graphicData>
        </a:graphic>
      </p:graphicFrame>
      <p:sp useBgFill="1">
        <p:nvSpPr>
          <p:cNvPr id="167" name="Freeform: Shape 131">
            <a:extLst>
              <a:ext uri="{FF2B5EF4-FFF2-40B4-BE49-F238E27FC236}">
                <a16:creationId xmlns:a16="http://schemas.microsoft.com/office/drawing/2014/main" id="{094CEA71-6A67-F64E-D166-793070050C0C}"/>
              </a:ext>
            </a:extLst>
          </p:cNvPr>
          <p:cNvSpPr/>
          <p:nvPr>
            <p:custDataLst>
              <p:tags r:id="rId61"/>
            </p:custDataLst>
          </p:nvPr>
        </p:nvSpPr>
        <p:spPr bwMode="auto">
          <a:xfrm>
            <a:off x="5989910" y="2660456"/>
            <a:ext cx="330201" cy="79376"/>
          </a:xfrm>
          <a:custGeom>
            <a:avLst/>
            <a:gdLst/>
            <a:ahLst/>
            <a:cxnLst/>
            <a:rect l="0" t="0" r="0" b="0"/>
            <a:pathLst>
              <a:path w="330201" h="79376">
                <a:moveTo>
                  <a:pt x="0" y="22225"/>
                </a:moveTo>
                <a:lnTo>
                  <a:pt x="82550" y="0"/>
                </a:lnTo>
                <a:lnTo>
                  <a:pt x="165100" y="22225"/>
                </a:lnTo>
                <a:lnTo>
                  <a:pt x="247650" y="0"/>
                </a:lnTo>
                <a:lnTo>
                  <a:pt x="330200" y="22225"/>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8" name="Freeform: Shape 129">
            <a:extLst>
              <a:ext uri="{FF2B5EF4-FFF2-40B4-BE49-F238E27FC236}">
                <a16:creationId xmlns:a16="http://schemas.microsoft.com/office/drawing/2014/main" id="{09D7AFED-52FC-31F5-0BE6-2F97018278A9}"/>
              </a:ext>
            </a:extLst>
          </p:cNvPr>
          <p:cNvSpPr/>
          <p:nvPr>
            <p:custDataLst>
              <p:tags r:id="rId62"/>
            </p:custDataLst>
          </p:nvPr>
        </p:nvSpPr>
        <p:spPr bwMode="auto">
          <a:xfrm>
            <a:off x="5989910" y="2660456"/>
            <a:ext cx="330201" cy="22226"/>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9" name="Freeform: Shape 130">
            <a:extLst>
              <a:ext uri="{FF2B5EF4-FFF2-40B4-BE49-F238E27FC236}">
                <a16:creationId xmlns:a16="http://schemas.microsoft.com/office/drawing/2014/main" id="{C6AA312B-E1E2-AAC8-87A5-5031C45A6462}"/>
              </a:ext>
            </a:extLst>
          </p:cNvPr>
          <p:cNvSpPr/>
          <p:nvPr>
            <p:custDataLst>
              <p:tags r:id="rId63"/>
            </p:custDataLst>
          </p:nvPr>
        </p:nvSpPr>
        <p:spPr bwMode="auto">
          <a:xfrm>
            <a:off x="5989910" y="2717606"/>
            <a:ext cx="330201" cy="22226"/>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0" name="Text Placeholder">
            <a:extLst>
              <a:ext uri="{FF2B5EF4-FFF2-40B4-BE49-F238E27FC236}">
                <a16:creationId xmlns:a16="http://schemas.microsoft.com/office/drawing/2014/main" id="{F4F40C86-C3EE-5F6B-0713-7F1BFFE923B7}"/>
              </a:ext>
            </a:extLst>
          </p:cNvPr>
          <p:cNvSpPr>
            <a:spLocks noGrp="1"/>
          </p:cNvSpPr>
          <p:nvPr>
            <p:custDataLst>
              <p:tags r:id="rId64"/>
            </p:custDataLst>
          </p:nvPr>
        </p:nvSpPr>
        <p:spPr bwMode="gray">
          <a:xfrm>
            <a:off x="6016897" y="2300093"/>
            <a:ext cx="277813" cy="1333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algn="ctr">
              <a:spcBef>
                <a:spcPct val="0"/>
              </a:spcBef>
              <a:defRPr/>
            </a:pPr>
            <a:fld id="{70A21B54-E9B7-40F2-AE39-FF6E37F4977C}" type="datetime'''''''''''''''''''''''''''''1''.''''1''''''1'''">
              <a:rPr lang="en-GB" altLang="en-US" sz="975" b="1" smtClean="0">
                <a:solidFill>
                  <a:srgbClr val="212121"/>
                </a:solidFill>
                <a:ea typeface="+mj-ea"/>
                <a:cs typeface="+mj-cs"/>
              </a:rPr>
              <a:pPr/>
              <a:t>1.11</a:t>
            </a:fld>
            <a:endParaRPr lang="de-DE" sz="975" b="1">
              <a:solidFill>
                <a:srgbClr val="212121"/>
              </a:solidFill>
              <a:ea typeface="+mj-ea"/>
              <a:cs typeface="+mj-cs"/>
            </a:endParaRPr>
          </a:p>
        </p:txBody>
      </p:sp>
      <p:sp>
        <p:nvSpPr>
          <p:cNvPr id="171" name="Freihandform: Form 5">
            <a:extLst>
              <a:ext uri="{FF2B5EF4-FFF2-40B4-BE49-F238E27FC236}">
                <a16:creationId xmlns:a16="http://schemas.microsoft.com/office/drawing/2014/main" id="{7E94121A-8FEA-12A1-79B9-76D0B483F80F}"/>
              </a:ext>
            </a:extLst>
          </p:cNvPr>
          <p:cNvSpPr/>
          <p:nvPr/>
        </p:nvSpPr>
        <p:spPr>
          <a:xfrm>
            <a:off x="2464056" y="2401122"/>
            <a:ext cx="114143" cy="114143"/>
          </a:xfrm>
          <a:custGeom>
            <a:avLst/>
            <a:gdLst/>
            <a:ahLst/>
            <a:cxnLst/>
            <a:rect l="0" t="0" r="0" b="0"/>
            <a:pathLst>
              <a:path w="457200" h="457199">
                <a:moveTo>
                  <a:pt x="119958" y="2263"/>
                </a:moveTo>
                <a:lnTo>
                  <a:pt x="119958" y="45267"/>
                </a:lnTo>
                <a:lnTo>
                  <a:pt x="104114" y="45267"/>
                </a:lnTo>
                <a:lnTo>
                  <a:pt x="104114" y="334977"/>
                </a:lnTo>
                <a:lnTo>
                  <a:pt x="151645" y="334977"/>
                </a:lnTo>
                <a:lnTo>
                  <a:pt x="151645" y="45267"/>
                </a:lnTo>
                <a:lnTo>
                  <a:pt x="133538" y="45267"/>
                </a:lnTo>
                <a:lnTo>
                  <a:pt x="133538" y="13580"/>
                </a:lnTo>
                <a:lnTo>
                  <a:pt x="319134" y="13580"/>
                </a:lnTo>
                <a:lnTo>
                  <a:pt x="319134" y="45267"/>
                </a:lnTo>
                <a:lnTo>
                  <a:pt x="303291" y="45267"/>
                </a:lnTo>
                <a:lnTo>
                  <a:pt x="303291" y="334977"/>
                </a:lnTo>
                <a:lnTo>
                  <a:pt x="350821" y="334977"/>
                </a:lnTo>
                <a:lnTo>
                  <a:pt x="350821" y="45267"/>
                </a:lnTo>
                <a:lnTo>
                  <a:pt x="334978" y="45267"/>
                </a:lnTo>
                <a:lnTo>
                  <a:pt x="334978" y="2263"/>
                </a:lnTo>
                <a:lnTo>
                  <a:pt x="119958" y="2263"/>
                </a:lnTo>
                <a:moveTo>
                  <a:pt x="29423" y="138065"/>
                </a:moveTo>
                <a:lnTo>
                  <a:pt x="29423" y="454935"/>
                </a:lnTo>
                <a:lnTo>
                  <a:pt x="427776" y="454935"/>
                </a:lnTo>
                <a:lnTo>
                  <a:pt x="427776" y="138065"/>
                </a:lnTo>
                <a:lnTo>
                  <a:pt x="366665" y="138065"/>
                </a:lnTo>
                <a:lnTo>
                  <a:pt x="366665" y="344030"/>
                </a:lnTo>
                <a:lnTo>
                  <a:pt x="287447" y="344030"/>
                </a:lnTo>
                <a:lnTo>
                  <a:pt x="287447" y="138065"/>
                </a:lnTo>
                <a:lnTo>
                  <a:pt x="167489" y="138065"/>
                </a:lnTo>
                <a:lnTo>
                  <a:pt x="167489" y="344030"/>
                </a:lnTo>
                <a:lnTo>
                  <a:pt x="88271" y="344030"/>
                </a:lnTo>
                <a:lnTo>
                  <a:pt x="88271" y="138065"/>
                </a:lnTo>
                <a:lnTo>
                  <a:pt x="29423" y="138065"/>
                </a:lnTo>
                <a:close/>
              </a:path>
              <a:path w="457200" h="457199">
                <a:moveTo>
                  <a:pt x="126748" y="364401"/>
                </a:moveTo>
                <a:lnTo>
                  <a:pt x="126748" y="396088"/>
                </a:lnTo>
                <a:lnTo>
                  <a:pt x="129011" y="396088"/>
                </a:lnTo>
                <a:lnTo>
                  <a:pt x="129011" y="380244"/>
                </a:lnTo>
                <a:lnTo>
                  <a:pt x="142592" y="380244"/>
                </a:lnTo>
                <a:lnTo>
                  <a:pt x="142592" y="377981"/>
                </a:lnTo>
                <a:lnTo>
                  <a:pt x="129011" y="377981"/>
                </a:lnTo>
                <a:lnTo>
                  <a:pt x="126748" y="364401"/>
                </a:lnTo>
                <a:moveTo>
                  <a:pt x="110904" y="377981"/>
                </a:moveTo>
                <a:lnTo>
                  <a:pt x="110904" y="380244"/>
                </a:lnTo>
                <a:lnTo>
                  <a:pt x="124485" y="380244"/>
                </a:lnTo>
                <a:lnTo>
                  <a:pt x="110904" y="377981"/>
                </a:lnTo>
                <a:moveTo>
                  <a:pt x="312344" y="377981"/>
                </a:moveTo>
                <a:lnTo>
                  <a:pt x="312344" y="380244"/>
                </a:lnTo>
                <a:lnTo>
                  <a:pt x="339504" y="380244"/>
                </a:lnTo>
                <a:lnTo>
                  <a:pt x="312344" y="377981"/>
                </a:lnTo>
                <a:close/>
              </a:path>
            </a:pathLst>
          </a:cu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base">
              <a:spcBef>
                <a:spcPct val="0"/>
              </a:spcBef>
              <a:spcAft>
                <a:spcPct val="0"/>
              </a:spcAft>
              <a:defRPr/>
            </a:pPr>
            <a:endParaRPr lang="de-DE" sz="900" b="1">
              <a:solidFill>
                <a:srgbClr val="FFFFFF"/>
              </a:solidFill>
              <a:latin typeface="+mj-lt"/>
              <a:ea typeface="Microsoft YaHei"/>
              <a:cs typeface="Calibri"/>
            </a:endParaRPr>
          </a:p>
        </p:txBody>
      </p:sp>
      <p:grpSp>
        <p:nvGrpSpPr>
          <p:cNvPr id="172" name="Group 438">
            <a:extLst>
              <a:ext uri="{FF2B5EF4-FFF2-40B4-BE49-F238E27FC236}">
                <a16:creationId xmlns:a16="http://schemas.microsoft.com/office/drawing/2014/main" id="{DF1F3DCF-4F7A-560C-5328-1FC6F56301E0}"/>
              </a:ext>
            </a:extLst>
          </p:cNvPr>
          <p:cNvGrpSpPr/>
          <p:nvPr/>
        </p:nvGrpSpPr>
        <p:grpSpPr>
          <a:xfrm>
            <a:off x="267604" y="-985"/>
            <a:ext cx="1821103" cy="246221"/>
            <a:chOff x="267604" y="3778"/>
            <a:chExt cx="1821103" cy="246221"/>
          </a:xfrm>
        </p:grpSpPr>
        <p:sp>
          <p:nvSpPr>
            <p:cNvPr id="173" name="Oval 439">
              <a:extLst>
                <a:ext uri="{FF2B5EF4-FFF2-40B4-BE49-F238E27FC236}">
                  <a16:creationId xmlns:a16="http://schemas.microsoft.com/office/drawing/2014/main" id="{DD48F432-E75A-18F3-FF53-0188E447B27D}"/>
                </a:ext>
              </a:extLst>
            </p:cNvPr>
            <p:cNvSpPr/>
            <p:nvPr/>
          </p:nvSpPr>
          <p:spPr>
            <a:xfrm>
              <a:off x="267604" y="45746"/>
              <a:ext cx="162285" cy="162285"/>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RB Office"/>
                  <a:ea typeface="Microsoft YaHei"/>
                  <a:cs typeface="Calibri"/>
                </a:rPr>
                <a:t>B</a:t>
              </a:r>
            </a:p>
          </p:txBody>
        </p:sp>
        <p:sp>
          <p:nvSpPr>
            <p:cNvPr id="174" name="TextBox 440">
              <a:extLst>
                <a:ext uri="{FF2B5EF4-FFF2-40B4-BE49-F238E27FC236}">
                  <a16:creationId xmlns:a16="http://schemas.microsoft.com/office/drawing/2014/main" id="{50211F37-AA52-AFFC-9426-8E03A3594B7B}"/>
                </a:ext>
              </a:extLst>
            </p:cNvPr>
            <p:cNvSpPr txBox="1"/>
            <p:nvPr/>
          </p:nvSpPr>
          <p:spPr>
            <a:xfrm>
              <a:off x="362201" y="3778"/>
              <a:ext cx="1726506" cy="246221"/>
            </a:xfrm>
            <a:prstGeom prst="rect">
              <a:avLst/>
            </a:prstGeom>
            <a:noFill/>
          </p:spPr>
          <p:txBody>
            <a:bodyPr wrap="square" rtlCol="0" anchor="ctr">
              <a:spAutoFit/>
            </a:bodyPr>
            <a:lstStyle/>
            <a:p>
              <a:r>
                <a:rPr lang="en-GB" sz="1000" dirty="0"/>
                <a:t>Hydrogen infrastructure</a:t>
              </a:r>
            </a:p>
          </p:txBody>
        </p:sp>
      </p:grpSp>
    </p:spTree>
    <p:extLst>
      <p:ext uri="{BB962C8B-B14F-4D97-AF65-F5344CB8AC3E}">
        <p14:creationId xmlns:p14="http://schemas.microsoft.com/office/powerpoint/2010/main" val="9686929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BDAAC7-FB3E-DF76-669B-D307CA901527}"/>
              </a:ext>
            </a:extLst>
          </p:cNvPr>
          <p:cNvSpPr txBox="1">
            <a:spLocks/>
          </p:cNvSpPr>
          <p:nvPr/>
        </p:nvSpPr>
        <p:spPr>
          <a:xfrm>
            <a:off x="193067" y="824095"/>
            <a:ext cx="8700107" cy="576000"/>
          </a:xfrm>
          <a:prstGeom prst="rect">
            <a:avLst/>
          </a:prstGeom>
        </p:spPr>
        <p:txBody>
          <a:bodyPr vert="horz"/>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r>
              <a:rPr lang="en-US" sz="1800" dirty="0"/>
              <a:t>Pipelines as most suitable solution for large transport volumes over a medium to long distance – Especially for "pure" H2</a:t>
            </a:r>
            <a:endParaRPr lang="en-GB" sz="1800" dirty="0"/>
          </a:p>
        </p:txBody>
      </p:sp>
      <p:grpSp>
        <p:nvGrpSpPr>
          <p:cNvPr id="3" name="Group 3">
            <a:extLst>
              <a:ext uri="{FF2B5EF4-FFF2-40B4-BE49-F238E27FC236}">
                <a16:creationId xmlns:a16="http://schemas.microsoft.com/office/drawing/2014/main" id="{8F4F6018-368D-2014-4F5A-33CA02C4C097}"/>
              </a:ext>
            </a:extLst>
          </p:cNvPr>
          <p:cNvGrpSpPr/>
          <p:nvPr/>
        </p:nvGrpSpPr>
        <p:grpSpPr>
          <a:xfrm>
            <a:off x="300636" y="2062160"/>
            <a:ext cx="6367090" cy="2509294"/>
            <a:chOff x="472168" y="2402843"/>
            <a:chExt cx="6444102" cy="3887968"/>
          </a:xfrm>
        </p:grpSpPr>
        <p:sp>
          <p:nvSpPr>
            <p:cNvPr id="4" name="RBRightAngle3">
              <a:extLst>
                <a:ext uri="{FF2B5EF4-FFF2-40B4-BE49-F238E27FC236}">
                  <a16:creationId xmlns:a16="http://schemas.microsoft.com/office/drawing/2014/main" id="{813501B8-D30B-9749-690A-6AAA0B34B693}"/>
                </a:ext>
              </a:extLst>
            </p:cNvPr>
            <p:cNvSpPr/>
            <p:nvPr/>
          </p:nvSpPr>
          <p:spPr>
            <a:xfrm rot="16200000">
              <a:off x="1959228" y="1128404"/>
              <a:ext cx="3673856" cy="6222733"/>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9050" cmpd="sng">
              <a:solidFill>
                <a:schemeClr val="tx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spcBef>
                  <a:spcPts val="0"/>
                </a:spcBef>
              </a:pPr>
              <a:endParaRPr lang="en-US" sz="1600"/>
            </a:p>
          </p:txBody>
        </p:sp>
        <p:sp>
          <p:nvSpPr>
            <p:cNvPr id="5" name="Formatted_text">
              <a:extLst>
                <a:ext uri="{FF2B5EF4-FFF2-40B4-BE49-F238E27FC236}">
                  <a16:creationId xmlns:a16="http://schemas.microsoft.com/office/drawing/2014/main" id="{DA3A6C5F-79F9-C2A0-45AD-663CFDB8F87F}"/>
                </a:ext>
              </a:extLst>
            </p:cNvPr>
            <p:cNvSpPr txBox="1">
              <a:spLocks/>
            </p:cNvSpPr>
            <p:nvPr/>
          </p:nvSpPr>
          <p:spPr>
            <a:xfrm>
              <a:off x="2855211" y="6085182"/>
              <a:ext cx="1881890" cy="205629"/>
            </a:xfrm>
            <a:prstGeom prst="rect">
              <a:avLst/>
            </a:prstGeom>
            <a:noFill/>
            <a:ln w="9525">
              <a:noFill/>
            </a:ln>
          </p:spPr>
          <p:txBody>
            <a:bodyPr vert="horz" wrap="square" lIns="0" tIns="36000" rIns="0" bIns="0" rtlCol="0">
              <a:spAutoFit/>
            </a:bodyPr>
            <a:lstStyle/>
            <a:p>
              <a:pPr algn="ctr" rtl="0" fontAlgn="base">
                <a:lnSpc>
                  <a:spcPct val="100000"/>
                </a:lnSpc>
                <a:spcBef>
                  <a:spcPts val="400"/>
                </a:spcBef>
                <a:spcAft>
                  <a:spcPct val="0"/>
                </a:spcAft>
                <a:buSzPct val="100000"/>
              </a:pPr>
              <a:r>
                <a:rPr lang="en-US" sz="1100" b="0" dirty="0">
                  <a:latin typeface="+mn-lt"/>
                  <a:ea typeface="+mn-ea"/>
                  <a:cs typeface="+mn-cs"/>
                  <a:sym typeface="+mn-lt"/>
                </a:rPr>
                <a:t>Transport volumes</a:t>
              </a:r>
            </a:p>
          </p:txBody>
        </p:sp>
        <p:sp>
          <p:nvSpPr>
            <p:cNvPr id="6" name="Formatted_text">
              <a:extLst>
                <a:ext uri="{FF2B5EF4-FFF2-40B4-BE49-F238E27FC236}">
                  <a16:creationId xmlns:a16="http://schemas.microsoft.com/office/drawing/2014/main" id="{D6A4B6BD-B783-6BA4-CCB3-03D8F1722B6C}"/>
                </a:ext>
              </a:extLst>
            </p:cNvPr>
            <p:cNvSpPr txBox="1">
              <a:spLocks/>
            </p:cNvSpPr>
            <p:nvPr/>
          </p:nvSpPr>
          <p:spPr>
            <a:xfrm rot="16200000">
              <a:off x="-16726" y="4145173"/>
              <a:ext cx="1166986" cy="189197"/>
            </a:xfrm>
            <a:prstGeom prst="rect">
              <a:avLst/>
            </a:prstGeom>
            <a:noFill/>
            <a:ln w="9525">
              <a:noFill/>
            </a:ln>
          </p:spPr>
          <p:txBody>
            <a:bodyPr vert="horz" wrap="none" lIns="0" tIns="0" rIns="0" bIns="36000" rtlCol="0">
              <a:spAutoFit/>
            </a:bodyPr>
            <a:lstStyle/>
            <a:p>
              <a:pPr rtl="0" fontAlgn="base">
                <a:lnSpc>
                  <a:spcPct val="100000"/>
                </a:lnSpc>
                <a:spcBef>
                  <a:spcPts val="400"/>
                </a:spcBef>
                <a:spcAft>
                  <a:spcPct val="0"/>
                </a:spcAft>
                <a:buSzPct val="100000"/>
              </a:pPr>
              <a:r>
                <a:rPr lang="en-US" sz="1100" b="0" dirty="0">
                  <a:latin typeface="+mn-lt"/>
                  <a:ea typeface="+mn-ea"/>
                  <a:cs typeface="+mn-cs"/>
                  <a:sym typeface="+mn-lt"/>
                </a:rPr>
                <a:t>Transport distance</a:t>
              </a:r>
            </a:p>
          </p:txBody>
        </p:sp>
        <p:sp>
          <p:nvSpPr>
            <p:cNvPr id="7" name="Rectangle 7">
              <a:extLst>
                <a:ext uri="{FF2B5EF4-FFF2-40B4-BE49-F238E27FC236}">
                  <a16:creationId xmlns:a16="http://schemas.microsoft.com/office/drawing/2014/main" id="{4752D81C-70F1-C2DF-E63E-55FEF498CE56}"/>
                </a:ext>
              </a:extLst>
            </p:cNvPr>
            <p:cNvSpPr/>
            <p:nvPr/>
          </p:nvSpPr>
          <p:spPr>
            <a:xfrm>
              <a:off x="4499102" y="3268824"/>
              <a:ext cx="2417168" cy="2676667"/>
            </a:xfrm>
            <a:prstGeom prst="rect">
              <a:avLst/>
            </a:prstGeom>
            <a:solidFill>
              <a:schemeClr val="accent4">
                <a:alpha val="68000"/>
              </a:schemeClr>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108000" rIns="72000" bIns="252000" rtlCol="0" anchor="b"/>
            <a:lstStyle/>
            <a:p>
              <a:pPr algn="ctr" fontAlgn="base">
                <a:lnSpc>
                  <a:spcPct val="100000"/>
                </a:lnSpc>
                <a:spcBef>
                  <a:spcPts val="400"/>
                </a:spcBef>
                <a:spcAft>
                  <a:spcPct val="0"/>
                </a:spcAft>
                <a:buSzPct val="100000"/>
              </a:pPr>
              <a:r>
                <a:rPr lang="en-US" sz="1200" b="0" dirty="0">
                  <a:solidFill>
                    <a:schemeClr val="bg1">
                      <a:lumMod val="100000"/>
                    </a:schemeClr>
                  </a:solidFill>
                  <a:sym typeface="+mn-lt"/>
                </a:rPr>
                <a:t>Compressed hydrogen (pipeline)</a:t>
              </a:r>
            </a:p>
          </p:txBody>
        </p:sp>
        <p:sp>
          <p:nvSpPr>
            <p:cNvPr id="8" name="Rectangle 8">
              <a:extLst>
                <a:ext uri="{FF2B5EF4-FFF2-40B4-BE49-F238E27FC236}">
                  <a16:creationId xmlns:a16="http://schemas.microsoft.com/office/drawing/2014/main" id="{7F1CA3E6-BD66-F0DC-22A2-C0068FCB11B9}"/>
                </a:ext>
              </a:extLst>
            </p:cNvPr>
            <p:cNvSpPr/>
            <p:nvPr/>
          </p:nvSpPr>
          <p:spPr>
            <a:xfrm>
              <a:off x="777130" y="4388475"/>
              <a:ext cx="2417168" cy="1557016"/>
            </a:xfrm>
            <a:prstGeom prst="rect">
              <a:avLst/>
            </a:prstGeom>
            <a:solidFill>
              <a:schemeClr val="tx2"/>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108000" rIns="72000" bIns="110880" rtlCol="0" anchor="b"/>
            <a:lstStyle/>
            <a:p>
              <a:pPr algn="ctr" fontAlgn="base">
                <a:lnSpc>
                  <a:spcPct val="100000"/>
                </a:lnSpc>
                <a:spcBef>
                  <a:spcPts val="400"/>
                </a:spcBef>
                <a:spcAft>
                  <a:spcPct val="0"/>
                </a:spcAft>
                <a:buSzPct val="100000"/>
              </a:pPr>
              <a:r>
                <a:rPr lang="en-US" sz="1200" b="0">
                  <a:solidFill>
                    <a:schemeClr val="bg1">
                      <a:lumMod val="100000"/>
                    </a:schemeClr>
                  </a:solidFill>
                  <a:sym typeface="+mn-lt"/>
                </a:rPr>
                <a:t>Compressed hydrogen (portable tank)</a:t>
              </a:r>
            </a:p>
          </p:txBody>
        </p:sp>
        <p:sp>
          <p:nvSpPr>
            <p:cNvPr id="9" name="Rectangle 9">
              <a:extLst>
                <a:ext uri="{FF2B5EF4-FFF2-40B4-BE49-F238E27FC236}">
                  <a16:creationId xmlns:a16="http://schemas.microsoft.com/office/drawing/2014/main" id="{B33F62E2-5E2B-F89F-3590-759613501A5E}"/>
                </a:ext>
              </a:extLst>
            </p:cNvPr>
            <p:cNvSpPr/>
            <p:nvPr/>
          </p:nvSpPr>
          <p:spPr>
            <a:xfrm>
              <a:off x="2513470" y="2603170"/>
              <a:ext cx="3437680" cy="1915653"/>
            </a:xfrm>
            <a:prstGeom prst="rect">
              <a:avLst/>
            </a:prstGeom>
            <a:solidFill>
              <a:schemeClr val="accent5">
                <a:alpha val="68000"/>
              </a:schemeClr>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1728000" tIns="684000" rIns="180000" bIns="72000" rtlCol="0" anchor="ctr"/>
            <a:lstStyle/>
            <a:p>
              <a:pPr algn="ctr" fontAlgn="base">
                <a:lnSpc>
                  <a:spcPct val="100000"/>
                </a:lnSpc>
                <a:spcBef>
                  <a:spcPts val="400"/>
                </a:spcBef>
                <a:spcAft>
                  <a:spcPct val="0"/>
                </a:spcAft>
                <a:buSzPct val="100000"/>
              </a:pPr>
              <a:r>
                <a:rPr lang="en-US" sz="1200" b="0" dirty="0">
                  <a:solidFill>
                    <a:schemeClr val="bg1">
                      <a:lumMod val="100000"/>
                    </a:schemeClr>
                  </a:solidFill>
                  <a:sym typeface="+mn-lt"/>
                </a:rPr>
                <a:t>Liquid bulk</a:t>
              </a:r>
            </a:p>
            <a:p>
              <a:pPr algn="ctr" fontAlgn="base">
                <a:lnSpc>
                  <a:spcPct val="100000"/>
                </a:lnSpc>
                <a:spcBef>
                  <a:spcPts val="400"/>
                </a:spcBef>
                <a:spcAft>
                  <a:spcPct val="0"/>
                </a:spcAft>
                <a:buSzPct val="100000"/>
              </a:pPr>
              <a:r>
                <a:rPr lang="en-US" sz="1200" b="0" dirty="0">
                  <a:solidFill>
                    <a:schemeClr val="bg1">
                      <a:lumMod val="100000"/>
                    </a:schemeClr>
                  </a:solidFill>
                  <a:sym typeface="+mn-lt"/>
                </a:rPr>
                <a:t>(ammonia/</a:t>
              </a:r>
              <a:r>
                <a:rPr lang="en-US" sz="1200" b="0" dirty="0" err="1">
                  <a:solidFill>
                    <a:schemeClr val="bg1">
                      <a:lumMod val="100000"/>
                    </a:schemeClr>
                  </a:solidFill>
                  <a:sym typeface="+mn-lt"/>
                </a:rPr>
                <a:t>LOHC</a:t>
              </a:r>
              <a:r>
                <a:rPr lang="en-US" sz="1200" b="0" baseline="30000" dirty="0" err="1">
                  <a:solidFill>
                    <a:schemeClr val="bg1">
                      <a:lumMod val="100000"/>
                    </a:schemeClr>
                  </a:solidFill>
                  <a:sym typeface="+mn-lt"/>
                </a:rPr>
                <a:t>1</a:t>
              </a:r>
              <a:r>
                <a:rPr lang="en-US" sz="1200" b="0" baseline="30000" dirty="0">
                  <a:solidFill>
                    <a:schemeClr val="bg1">
                      <a:lumMod val="100000"/>
                    </a:schemeClr>
                  </a:solidFill>
                  <a:sym typeface="+mn-lt"/>
                </a:rPr>
                <a:t>)</a:t>
              </a:r>
              <a:r>
                <a:rPr lang="en-US" sz="1200" b="0" dirty="0">
                  <a:solidFill>
                    <a:schemeClr val="bg1">
                      <a:lumMod val="100000"/>
                    </a:schemeClr>
                  </a:solidFill>
                  <a:sym typeface="+mn-lt"/>
                </a:rPr>
                <a:t>/</a:t>
              </a:r>
              <a:br>
                <a:rPr lang="en-US" sz="1200" b="0" dirty="0">
                  <a:solidFill>
                    <a:schemeClr val="bg1">
                      <a:lumMod val="100000"/>
                    </a:schemeClr>
                  </a:solidFill>
                  <a:sym typeface="+mn-lt"/>
                </a:rPr>
              </a:br>
              <a:r>
                <a:rPr lang="en-US" sz="1200" b="0" dirty="0">
                  <a:solidFill>
                    <a:schemeClr val="bg1">
                      <a:lumMod val="100000"/>
                    </a:schemeClr>
                  </a:solidFill>
                  <a:sym typeface="+mn-lt"/>
                </a:rPr>
                <a:t>liquid hydrogen)</a:t>
              </a:r>
            </a:p>
          </p:txBody>
        </p:sp>
        <p:sp>
          <p:nvSpPr>
            <p:cNvPr id="10" name="Rectangle 10">
              <a:extLst>
                <a:ext uri="{FF2B5EF4-FFF2-40B4-BE49-F238E27FC236}">
                  <a16:creationId xmlns:a16="http://schemas.microsoft.com/office/drawing/2014/main" id="{385FD148-371C-D9B4-12B5-73C43C1E8C78}"/>
                </a:ext>
              </a:extLst>
            </p:cNvPr>
            <p:cNvSpPr/>
            <p:nvPr/>
          </p:nvSpPr>
          <p:spPr>
            <a:xfrm>
              <a:off x="1428809" y="2603170"/>
              <a:ext cx="2764140" cy="2318028"/>
            </a:xfrm>
            <a:prstGeom prst="rect">
              <a:avLst/>
            </a:prstGeom>
            <a:solidFill>
              <a:schemeClr val="accent3">
                <a:alpha val="68000"/>
              </a:schemeClr>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288000" rtlCol="0" anchor="ctr"/>
            <a:lstStyle/>
            <a:p>
              <a:pPr algn="ctr" fontAlgn="base">
                <a:lnSpc>
                  <a:spcPct val="100000"/>
                </a:lnSpc>
                <a:spcBef>
                  <a:spcPts val="400"/>
                </a:spcBef>
                <a:spcAft>
                  <a:spcPct val="0"/>
                </a:spcAft>
                <a:buSzPct val="100000"/>
              </a:pPr>
              <a:r>
                <a:rPr lang="en-US" sz="1200" b="0">
                  <a:solidFill>
                    <a:schemeClr val="bg1">
                      <a:lumMod val="100000"/>
                    </a:schemeClr>
                  </a:solidFill>
                  <a:sym typeface="+mn-lt"/>
                </a:rPr>
                <a:t>Solid –state (metal hydride)</a:t>
              </a:r>
            </a:p>
          </p:txBody>
        </p:sp>
        <p:sp>
          <p:nvSpPr>
            <p:cNvPr id="11" name="Freeform: Shape 11">
              <a:extLst>
                <a:ext uri="{FF2B5EF4-FFF2-40B4-BE49-F238E27FC236}">
                  <a16:creationId xmlns:a16="http://schemas.microsoft.com/office/drawing/2014/main" id="{DCCD11C4-F594-7F57-E548-79AB3C404870}"/>
                </a:ext>
              </a:extLst>
            </p:cNvPr>
            <p:cNvSpPr>
              <a:spLocks noChangeAspect="1"/>
            </p:cNvSpPr>
            <p:nvPr/>
          </p:nvSpPr>
          <p:spPr>
            <a:xfrm>
              <a:off x="5483286" y="4792244"/>
              <a:ext cx="448801" cy="455129"/>
            </a:xfrm>
            <a:custGeom>
              <a:avLst/>
              <a:gdLst>
                <a:gd name="connsiteX0" fmla="*/ 1274383 w 3685150"/>
                <a:gd name="connsiteY0" fmla="*/ 1585091 h 3737113"/>
                <a:gd name="connsiteX1" fmla="*/ 2412450 w 3685150"/>
                <a:gd name="connsiteY1" fmla="*/ 1585091 h 3737113"/>
                <a:gd name="connsiteX2" fmla="*/ 2534251 w 3685150"/>
                <a:gd name="connsiteY2" fmla="*/ 1900637 h 3737113"/>
                <a:gd name="connsiteX3" fmla="*/ 2603040 w 3685150"/>
                <a:gd name="connsiteY3" fmla="*/ 1900637 h 3737113"/>
                <a:gd name="connsiteX4" fmla="*/ 2617344 w 3685150"/>
                <a:gd name="connsiteY4" fmla="*/ 1900637 h 3737113"/>
                <a:gd name="connsiteX5" fmla="*/ 2636698 w 3685150"/>
                <a:gd name="connsiteY5" fmla="*/ 1905475 h 3737113"/>
                <a:gd name="connsiteX6" fmla="*/ 2654158 w 3685150"/>
                <a:gd name="connsiteY6" fmla="*/ 1914942 h 3737113"/>
                <a:gd name="connsiteX7" fmla="*/ 2663835 w 3685150"/>
                <a:gd name="connsiteY7" fmla="*/ 1929457 h 3737113"/>
                <a:gd name="connsiteX8" fmla="*/ 2705487 w 3685150"/>
                <a:gd name="connsiteY8" fmla="*/ 1979103 h 3737113"/>
                <a:gd name="connsiteX9" fmla="*/ 2747139 w 3685150"/>
                <a:gd name="connsiteY9" fmla="*/ 2031904 h 3737113"/>
                <a:gd name="connsiteX10" fmla="*/ 2783952 w 3685150"/>
                <a:gd name="connsiteY10" fmla="*/ 2091227 h 3737113"/>
                <a:gd name="connsiteX11" fmla="*/ 2815928 w 3685150"/>
                <a:gd name="connsiteY11" fmla="*/ 2147183 h 3737113"/>
                <a:gd name="connsiteX12" fmla="*/ 3262529 w 3685150"/>
                <a:gd name="connsiteY12" fmla="*/ 2147183 h 3737113"/>
                <a:gd name="connsiteX13" fmla="*/ 3262529 w 3685150"/>
                <a:gd name="connsiteY13" fmla="*/ 1966271 h 3737113"/>
                <a:gd name="connsiteX14" fmla="*/ 3262529 w 3685150"/>
                <a:gd name="connsiteY14" fmla="*/ 1947127 h 3737113"/>
                <a:gd name="connsiteX15" fmla="*/ 3272206 w 3685150"/>
                <a:gd name="connsiteY15" fmla="*/ 1937451 h 3737113"/>
                <a:gd name="connsiteX16" fmla="*/ 3286511 w 3685150"/>
                <a:gd name="connsiteY16" fmla="*/ 1932612 h 3737113"/>
                <a:gd name="connsiteX17" fmla="*/ 3301026 w 3685150"/>
                <a:gd name="connsiteY17" fmla="*/ 1929457 h 3737113"/>
                <a:gd name="connsiteX18" fmla="*/ 3650019 w 3685150"/>
                <a:gd name="connsiteY18" fmla="*/ 1929457 h 3737113"/>
                <a:gd name="connsiteX19" fmla="*/ 3667479 w 3685150"/>
                <a:gd name="connsiteY19" fmla="*/ 1932612 h 3737113"/>
                <a:gd name="connsiteX20" fmla="*/ 3677156 w 3685150"/>
                <a:gd name="connsiteY20" fmla="*/ 1937451 h 3737113"/>
                <a:gd name="connsiteX21" fmla="*/ 3681994 w 3685150"/>
                <a:gd name="connsiteY21" fmla="*/ 1947127 h 3737113"/>
                <a:gd name="connsiteX22" fmla="*/ 3685150 w 3685150"/>
                <a:gd name="connsiteY22" fmla="*/ 1966271 h 3737113"/>
                <a:gd name="connsiteX23" fmla="*/ 3685150 w 3685150"/>
                <a:gd name="connsiteY23" fmla="*/ 3324169 h 3737113"/>
                <a:gd name="connsiteX24" fmla="*/ 3681994 w 3685150"/>
                <a:gd name="connsiteY24" fmla="*/ 3338474 h 3737113"/>
                <a:gd name="connsiteX25" fmla="*/ 3677156 w 3685150"/>
                <a:gd name="connsiteY25" fmla="*/ 3352989 h 3737113"/>
                <a:gd name="connsiteX26" fmla="*/ 3667479 w 3685150"/>
                <a:gd name="connsiteY26" fmla="*/ 3362455 h 3737113"/>
                <a:gd name="connsiteX27" fmla="*/ 3650019 w 3685150"/>
                <a:gd name="connsiteY27" fmla="*/ 3362455 h 3737113"/>
                <a:gd name="connsiteX28" fmla="*/ 3301026 w 3685150"/>
                <a:gd name="connsiteY28" fmla="*/ 3362455 h 3737113"/>
                <a:gd name="connsiteX29" fmla="*/ 3286511 w 3685150"/>
                <a:gd name="connsiteY29" fmla="*/ 3362455 h 3737113"/>
                <a:gd name="connsiteX30" fmla="*/ 3272206 w 3685150"/>
                <a:gd name="connsiteY30" fmla="*/ 3352989 h 3737113"/>
                <a:gd name="connsiteX31" fmla="*/ 3262529 w 3685150"/>
                <a:gd name="connsiteY31" fmla="*/ 3338474 h 3737113"/>
                <a:gd name="connsiteX32" fmla="*/ 3262529 w 3685150"/>
                <a:gd name="connsiteY32" fmla="*/ 3324169 h 3737113"/>
                <a:gd name="connsiteX33" fmla="*/ 3262529 w 3685150"/>
                <a:gd name="connsiteY33" fmla="*/ 3143046 h 3737113"/>
                <a:gd name="connsiteX34" fmla="*/ 2815928 w 3685150"/>
                <a:gd name="connsiteY34" fmla="*/ 3143046 h 3737113"/>
                <a:gd name="connsiteX35" fmla="*/ 2779114 w 3685150"/>
                <a:gd name="connsiteY35" fmla="*/ 3204051 h 3737113"/>
                <a:gd name="connsiteX36" fmla="*/ 2737462 w 3685150"/>
                <a:gd name="connsiteY36" fmla="*/ 3268002 h 3737113"/>
                <a:gd name="connsiteX37" fmla="*/ 2695810 w 3685150"/>
                <a:gd name="connsiteY37" fmla="*/ 3328797 h 3737113"/>
                <a:gd name="connsiteX38" fmla="*/ 2649320 w 3685150"/>
                <a:gd name="connsiteY38" fmla="*/ 3380126 h 3737113"/>
                <a:gd name="connsiteX39" fmla="*/ 2593363 w 3685150"/>
                <a:gd name="connsiteY39" fmla="*/ 3431455 h 3737113"/>
                <a:gd name="connsiteX40" fmla="*/ 2537406 w 3685150"/>
                <a:gd name="connsiteY40" fmla="*/ 3487411 h 3737113"/>
                <a:gd name="connsiteX41" fmla="*/ 2482922 w 3685150"/>
                <a:gd name="connsiteY41" fmla="*/ 3529063 h 3737113"/>
                <a:gd name="connsiteX42" fmla="*/ 2417289 w 3685150"/>
                <a:gd name="connsiteY42" fmla="*/ 3570716 h 3737113"/>
                <a:gd name="connsiteX43" fmla="*/ 2356493 w 3685150"/>
                <a:gd name="connsiteY43" fmla="*/ 3607529 h 3737113"/>
                <a:gd name="connsiteX44" fmla="*/ 2287705 w 3685150"/>
                <a:gd name="connsiteY44" fmla="*/ 3639504 h 3737113"/>
                <a:gd name="connsiteX45" fmla="*/ 2217233 w 3685150"/>
                <a:gd name="connsiteY45" fmla="*/ 3668324 h 3737113"/>
                <a:gd name="connsiteX46" fmla="*/ 2148444 w 3685150"/>
                <a:gd name="connsiteY46" fmla="*/ 3690833 h 3737113"/>
                <a:gd name="connsiteX47" fmla="*/ 2073134 w 3685150"/>
                <a:gd name="connsiteY47" fmla="*/ 3709976 h 3737113"/>
                <a:gd name="connsiteX48" fmla="*/ 1999506 w 3685150"/>
                <a:gd name="connsiteY48" fmla="*/ 3724281 h 3737113"/>
                <a:gd name="connsiteX49" fmla="*/ 1919358 w 3685150"/>
                <a:gd name="connsiteY49" fmla="*/ 3732485 h 3737113"/>
                <a:gd name="connsiteX50" fmla="*/ 1845731 w 3685150"/>
                <a:gd name="connsiteY50" fmla="*/ 3737113 h 3737113"/>
                <a:gd name="connsiteX51" fmla="*/ 1767265 w 3685150"/>
                <a:gd name="connsiteY51" fmla="*/ 3732485 h 3737113"/>
                <a:gd name="connsiteX52" fmla="*/ 1687327 w 3685150"/>
                <a:gd name="connsiteY52" fmla="*/ 3724281 h 3737113"/>
                <a:gd name="connsiteX53" fmla="*/ 1613699 w 3685150"/>
                <a:gd name="connsiteY53" fmla="*/ 3709976 h 3737113"/>
                <a:gd name="connsiteX54" fmla="*/ 1538389 w 3685150"/>
                <a:gd name="connsiteY54" fmla="*/ 3690833 h 3737113"/>
                <a:gd name="connsiteX55" fmla="*/ 1469600 w 3685150"/>
                <a:gd name="connsiteY55" fmla="*/ 3668324 h 3737113"/>
                <a:gd name="connsiteX56" fmla="*/ 1399129 w 3685150"/>
                <a:gd name="connsiteY56" fmla="*/ 3639504 h 3737113"/>
                <a:gd name="connsiteX57" fmla="*/ 1328657 w 3685150"/>
                <a:gd name="connsiteY57" fmla="*/ 3607529 h 3737113"/>
                <a:gd name="connsiteX58" fmla="*/ 1269545 w 3685150"/>
                <a:gd name="connsiteY58" fmla="*/ 3570716 h 3737113"/>
                <a:gd name="connsiteX59" fmla="*/ 1203911 w 3685150"/>
                <a:gd name="connsiteY59" fmla="*/ 3529063 h 3737113"/>
                <a:gd name="connsiteX60" fmla="*/ 1149427 w 3685150"/>
                <a:gd name="connsiteY60" fmla="*/ 3487411 h 3737113"/>
                <a:gd name="connsiteX61" fmla="*/ 1093470 w 3685150"/>
                <a:gd name="connsiteY61" fmla="*/ 3431455 h 3737113"/>
                <a:gd name="connsiteX62" fmla="*/ 1042142 w 3685150"/>
                <a:gd name="connsiteY62" fmla="*/ 3380126 h 3737113"/>
                <a:gd name="connsiteX63" fmla="*/ 989340 w 3685150"/>
                <a:gd name="connsiteY63" fmla="*/ 3328797 h 3737113"/>
                <a:gd name="connsiteX64" fmla="*/ 949371 w 3685150"/>
                <a:gd name="connsiteY64" fmla="*/ 3268002 h 3737113"/>
                <a:gd name="connsiteX65" fmla="*/ 907719 w 3685150"/>
                <a:gd name="connsiteY65" fmla="*/ 3204051 h 3737113"/>
                <a:gd name="connsiteX66" fmla="*/ 874061 w 3685150"/>
                <a:gd name="connsiteY66" fmla="*/ 3143046 h 3737113"/>
                <a:gd name="connsiteX67" fmla="*/ 422621 w 3685150"/>
                <a:gd name="connsiteY67" fmla="*/ 3143046 h 3737113"/>
                <a:gd name="connsiteX68" fmla="*/ 422621 w 3685150"/>
                <a:gd name="connsiteY68" fmla="*/ 3324169 h 3737113"/>
                <a:gd name="connsiteX69" fmla="*/ 422621 w 3685150"/>
                <a:gd name="connsiteY69" fmla="*/ 3338474 h 3737113"/>
                <a:gd name="connsiteX70" fmla="*/ 414627 w 3685150"/>
                <a:gd name="connsiteY70" fmla="*/ 3352989 h 3737113"/>
                <a:gd name="connsiteX71" fmla="*/ 400112 w 3685150"/>
                <a:gd name="connsiteY71" fmla="*/ 3362455 h 3737113"/>
                <a:gd name="connsiteX72" fmla="*/ 385807 w 3685150"/>
                <a:gd name="connsiteY72" fmla="*/ 3362455 h 3737113"/>
                <a:gd name="connsiteX73" fmla="*/ 36814 w 3685150"/>
                <a:gd name="connsiteY73" fmla="*/ 3362455 h 3737113"/>
                <a:gd name="connsiteX74" fmla="*/ 19143 w 3685150"/>
                <a:gd name="connsiteY74" fmla="*/ 3362455 h 3737113"/>
                <a:gd name="connsiteX75" fmla="*/ 9677 w 3685150"/>
                <a:gd name="connsiteY75" fmla="*/ 3352989 h 3737113"/>
                <a:gd name="connsiteX76" fmla="*/ 4839 w 3685150"/>
                <a:gd name="connsiteY76" fmla="*/ 3338474 h 3737113"/>
                <a:gd name="connsiteX77" fmla="*/ 0 w 3685150"/>
                <a:gd name="connsiteY77" fmla="*/ 3324169 h 3737113"/>
                <a:gd name="connsiteX78" fmla="*/ 0 w 3685150"/>
                <a:gd name="connsiteY78" fmla="*/ 1966271 h 3737113"/>
                <a:gd name="connsiteX79" fmla="*/ 4839 w 3685150"/>
                <a:gd name="connsiteY79" fmla="*/ 1947127 h 3737113"/>
                <a:gd name="connsiteX80" fmla="*/ 9677 w 3685150"/>
                <a:gd name="connsiteY80" fmla="*/ 1937451 h 3737113"/>
                <a:gd name="connsiteX81" fmla="*/ 19143 w 3685150"/>
                <a:gd name="connsiteY81" fmla="*/ 1932612 h 3737113"/>
                <a:gd name="connsiteX82" fmla="*/ 36814 w 3685150"/>
                <a:gd name="connsiteY82" fmla="*/ 1929457 h 3737113"/>
                <a:gd name="connsiteX83" fmla="*/ 385807 w 3685150"/>
                <a:gd name="connsiteY83" fmla="*/ 1929457 h 3737113"/>
                <a:gd name="connsiteX84" fmla="*/ 400112 w 3685150"/>
                <a:gd name="connsiteY84" fmla="*/ 1932612 h 3737113"/>
                <a:gd name="connsiteX85" fmla="*/ 414627 w 3685150"/>
                <a:gd name="connsiteY85" fmla="*/ 1937451 h 3737113"/>
                <a:gd name="connsiteX86" fmla="*/ 422621 w 3685150"/>
                <a:gd name="connsiteY86" fmla="*/ 1947127 h 3737113"/>
                <a:gd name="connsiteX87" fmla="*/ 422621 w 3685150"/>
                <a:gd name="connsiteY87" fmla="*/ 1966271 h 3737113"/>
                <a:gd name="connsiteX88" fmla="*/ 422621 w 3685150"/>
                <a:gd name="connsiteY88" fmla="*/ 2147183 h 3737113"/>
                <a:gd name="connsiteX89" fmla="*/ 874061 w 3685150"/>
                <a:gd name="connsiteY89" fmla="*/ 2147183 h 3737113"/>
                <a:gd name="connsiteX90" fmla="*/ 902881 w 3685150"/>
                <a:gd name="connsiteY90" fmla="*/ 2091227 h 3737113"/>
                <a:gd name="connsiteX91" fmla="*/ 939694 w 3685150"/>
                <a:gd name="connsiteY91" fmla="*/ 2031904 h 3737113"/>
                <a:gd name="connsiteX92" fmla="*/ 981347 w 3685150"/>
                <a:gd name="connsiteY92" fmla="*/ 1979103 h 3737113"/>
                <a:gd name="connsiteX93" fmla="*/ 1022999 w 3685150"/>
                <a:gd name="connsiteY93" fmla="*/ 1929457 h 3737113"/>
                <a:gd name="connsiteX94" fmla="*/ 1032465 w 3685150"/>
                <a:gd name="connsiteY94" fmla="*/ 1914942 h 3737113"/>
                <a:gd name="connsiteX95" fmla="*/ 1050135 w 3685150"/>
                <a:gd name="connsiteY95" fmla="*/ 1905475 h 3737113"/>
                <a:gd name="connsiteX96" fmla="*/ 1069279 w 3685150"/>
                <a:gd name="connsiteY96" fmla="*/ 1900637 h 3737113"/>
                <a:gd name="connsiteX97" fmla="*/ 1088632 w 3685150"/>
                <a:gd name="connsiteY97" fmla="*/ 1900637 h 3737113"/>
                <a:gd name="connsiteX98" fmla="*/ 1152583 w 3685150"/>
                <a:gd name="connsiteY98" fmla="*/ 1900637 h 3737113"/>
                <a:gd name="connsiteX99" fmla="*/ 1387137 w 3685150"/>
                <a:gd name="connsiteY99" fmla="*/ 355094 h 3737113"/>
                <a:gd name="connsiteX100" fmla="*/ 1659769 w 3685150"/>
                <a:gd name="connsiteY100" fmla="*/ 612580 h 3737113"/>
                <a:gd name="connsiteX101" fmla="*/ 2043051 w 3685150"/>
                <a:gd name="connsiteY101" fmla="*/ 612580 h 3737113"/>
                <a:gd name="connsiteX102" fmla="*/ 2317365 w 3685150"/>
                <a:gd name="connsiteY102" fmla="*/ 355094 h 3737113"/>
                <a:gd name="connsiteX103" fmla="*/ 764882 w 3685150"/>
                <a:gd name="connsiteY103" fmla="*/ 0 h 3737113"/>
                <a:gd name="connsiteX104" fmla="*/ 793702 w 3685150"/>
                <a:gd name="connsiteY104" fmla="*/ 0 h 3737113"/>
                <a:gd name="connsiteX105" fmla="*/ 2912274 w 3685150"/>
                <a:gd name="connsiteY105" fmla="*/ 0 h 3737113"/>
                <a:gd name="connsiteX106" fmla="*/ 2934782 w 3685150"/>
                <a:gd name="connsiteY106" fmla="*/ 0 h 3737113"/>
                <a:gd name="connsiteX107" fmla="*/ 2963813 w 3685150"/>
                <a:gd name="connsiteY107" fmla="*/ 9677 h 3737113"/>
                <a:gd name="connsiteX108" fmla="*/ 2981483 w 3685150"/>
                <a:gd name="connsiteY108" fmla="*/ 23982 h 3737113"/>
                <a:gd name="connsiteX109" fmla="*/ 3007147 w 3685150"/>
                <a:gd name="connsiteY109" fmla="*/ 36814 h 3737113"/>
                <a:gd name="connsiteX110" fmla="*/ 3019980 w 3685150"/>
                <a:gd name="connsiteY110" fmla="*/ 60795 h 3737113"/>
                <a:gd name="connsiteX111" fmla="*/ 3034495 w 3685150"/>
                <a:gd name="connsiteY111" fmla="*/ 79939 h 3737113"/>
                <a:gd name="connsiteX112" fmla="*/ 3042489 w 3685150"/>
                <a:gd name="connsiteY112" fmla="*/ 108758 h 3737113"/>
                <a:gd name="connsiteX113" fmla="*/ 3042489 w 3685150"/>
                <a:gd name="connsiteY113" fmla="*/ 131057 h 3737113"/>
                <a:gd name="connsiteX114" fmla="*/ 3042489 w 3685150"/>
                <a:gd name="connsiteY114" fmla="*/ 221093 h 3737113"/>
                <a:gd name="connsiteX115" fmla="*/ 3042489 w 3685150"/>
                <a:gd name="connsiteY115" fmla="*/ 248230 h 3737113"/>
                <a:gd name="connsiteX116" fmla="*/ 3034495 w 3685150"/>
                <a:gd name="connsiteY116" fmla="*/ 275367 h 3737113"/>
                <a:gd name="connsiteX117" fmla="*/ 3019980 w 3685150"/>
                <a:gd name="connsiteY117" fmla="*/ 294510 h 3737113"/>
                <a:gd name="connsiteX118" fmla="*/ 3007147 w 3685150"/>
                <a:gd name="connsiteY118" fmla="*/ 318491 h 3737113"/>
                <a:gd name="connsiteX119" fmla="*/ 2981483 w 3685150"/>
                <a:gd name="connsiteY119" fmla="*/ 332796 h 3737113"/>
                <a:gd name="connsiteX120" fmla="*/ 2963813 w 3685150"/>
                <a:gd name="connsiteY120" fmla="*/ 340790 h 3737113"/>
                <a:gd name="connsiteX121" fmla="*/ 2934993 w 3685150"/>
                <a:gd name="connsiteY121" fmla="*/ 355094 h 3737113"/>
                <a:gd name="connsiteX122" fmla="*/ 2912484 w 3685150"/>
                <a:gd name="connsiteY122" fmla="*/ 355094 h 3737113"/>
                <a:gd name="connsiteX123" fmla="*/ 2814665 w 3685150"/>
                <a:gd name="connsiteY123" fmla="*/ 355094 h 3737113"/>
                <a:gd name="connsiteX124" fmla="*/ 2383209 w 3685150"/>
                <a:gd name="connsiteY124" fmla="*/ 751630 h 3737113"/>
                <a:gd name="connsiteX125" fmla="*/ 2412029 w 3685150"/>
                <a:gd name="connsiteY125" fmla="*/ 751630 h 3737113"/>
                <a:gd name="connsiteX126" fmla="*/ 2426544 w 3685150"/>
                <a:gd name="connsiteY126" fmla="*/ 751630 h 3737113"/>
                <a:gd name="connsiteX127" fmla="*/ 2439376 w 3685150"/>
                <a:gd name="connsiteY127" fmla="*/ 761307 h 3737113"/>
                <a:gd name="connsiteX128" fmla="*/ 2449053 w 3685150"/>
                <a:gd name="connsiteY128" fmla="*/ 770984 h 3737113"/>
                <a:gd name="connsiteX129" fmla="*/ 2449053 w 3685150"/>
                <a:gd name="connsiteY129" fmla="*/ 790127 h 3737113"/>
                <a:gd name="connsiteX130" fmla="*/ 2449053 w 3685150"/>
                <a:gd name="connsiteY130" fmla="*/ 1004488 h 3737113"/>
                <a:gd name="connsiteX131" fmla="*/ 2449053 w 3685150"/>
                <a:gd name="connsiteY131" fmla="*/ 1018792 h 3737113"/>
                <a:gd name="connsiteX132" fmla="*/ 2439376 w 3685150"/>
                <a:gd name="connsiteY132" fmla="*/ 1028469 h 3737113"/>
                <a:gd name="connsiteX133" fmla="*/ 2426544 w 3685150"/>
                <a:gd name="connsiteY133" fmla="*/ 1042774 h 3737113"/>
                <a:gd name="connsiteX134" fmla="*/ 2412029 w 3685150"/>
                <a:gd name="connsiteY134" fmla="*/ 1042774 h 3737113"/>
                <a:gd name="connsiteX135" fmla="*/ 2238900 w 3685150"/>
                <a:gd name="connsiteY135" fmla="*/ 1042774 h 3737113"/>
                <a:gd name="connsiteX136" fmla="*/ 2238900 w 3685150"/>
                <a:gd name="connsiteY136" fmla="*/ 1335180 h 3737113"/>
                <a:gd name="connsiteX137" fmla="*/ 2234061 w 3685150"/>
                <a:gd name="connsiteY137" fmla="*/ 1349484 h 3737113"/>
                <a:gd name="connsiteX138" fmla="*/ 2229223 w 3685150"/>
                <a:gd name="connsiteY138" fmla="*/ 1360634 h 3737113"/>
                <a:gd name="connsiteX139" fmla="*/ 2211552 w 3685150"/>
                <a:gd name="connsiteY139" fmla="*/ 1373466 h 3737113"/>
                <a:gd name="connsiteX140" fmla="*/ 2197037 w 3685150"/>
                <a:gd name="connsiteY140" fmla="*/ 1373466 h 3737113"/>
                <a:gd name="connsiteX141" fmla="*/ 1504310 w 3685150"/>
                <a:gd name="connsiteY141" fmla="*/ 1373466 h 3737113"/>
                <a:gd name="connsiteX142" fmla="*/ 1486639 w 3685150"/>
                <a:gd name="connsiteY142" fmla="*/ 1373466 h 3737113"/>
                <a:gd name="connsiteX143" fmla="*/ 1472124 w 3685150"/>
                <a:gd name="connsiteY143" fmla="*/ 1360634 h 3737113"/>
                <a:gd name="connsiteX144" fmla="*/ 1467286 w 3685150"/>
                <a:gd name="connsiteY144" fmla="*/ 1349484 h 3737113"/>
                <a:gd name="connsiteX145" fmla="*/ 1462447 w 3685150"/>
                <a:gd name="connsiteY145" fmla="*/ 1335180 h 3737113"/>
                <a:gd name="connsiteX146" fmla="*/ 1462447 w 3685150"/>
                <a:gd name="connsiteY146" fmla="*/ 1042563 h 3737113"/>
                <a:gd name="connsiteX147" fmla="*/ 1293946 w 3685150"/>
                <a:gd name="connsiteY147" fmla="*/ 1042563 h 3737113"/>
                <a:gd name="connsiteX148" fmla="*/ 1279431 w 3685150"/>
                <a:gd name="connsiteY148" fmla="*/ 1042563 h 3737113"/>
                <a:gd name="connsiteX149" fmla="*/ 1266599 w 3685150"/>
                <a:gd name="connsiteY149" fmla="*/ 1028259 h 3737113"/>
                <a:gd name="connsiteX150" fmla="*/ 1261761 w 3685150"/>
                <a:gd name="connsiteY150" fmla="*/ 1018582 h 3737113"/>
                <a:gd name="connsiteX151" fmla="*/ 1255450 w 3685150"/>
                <a:gd name="connsiteY151" fmla="*/ 1004277 h 3737113"/>
                <a:gd name="connsiteX152" fmla="*/ 1255450 w 3685150"/>
                <a:gd name="connsiteY152" fmla="*/ 789916 h 3737113"/>
                <a:gd name="connsiteX153" fmla="*/ 1261761 w 3685150"/>
                <a:gd name="connsiteY153" fmla="*/ 770773 h 3737113"/>
                <a:gd name="connsiteX154" fmla="*/ 1266599 w 3685150"/>
                <a:gd name="connsiteY154" fmla="*/ 761097 h 3737113"/>
                <a:gd name="connsiteX155" fmla="*/ 1279431 w 3685150"/>
                <a:gd name="connsiteY155" fmla="*/ 751420 h 3737113"/>
                <a:gd name="connsiteX156" fmla="*/ 1293946 w 3685150"/>
                <a:gd name="connsiteY156" fmla="*/ 751420 h 3737113"/>
                <a:gd name="connsiteX157" fmla="*/ 1313089 w 3685150"/>
                <a:gd name="connsiteY157" fmla="*/ 751420 h 3737113"/>
                <a:gd name="connsiteX158" fmla="*/ 886472 w 3685150"/>
                <a:gd name="connsiteY158" fmla="*/ 354884 h 3737113"/>
                <a:gd name="connsiteX159" fmla="*/ 793491 w 3685150"/>
                <a:gd name="connsiteY159" fmla="*/ 354884 h 3737113"/>
                <a:gd name="connsiteX160" fmla="*/ 764671 w 3685150"/>
                <a:gd name="connsiteY160" fmla="*/ 354884 h 3737113"/>
                <a:gd name="connsiteX161" fmla="*/ 742162 w 3685150"/>
                <a:gd name="connsiteY161" fmla="*/ 340579 h 3737113"/>
                <a:gd name="connsiteX162" fmla="*/ 718181 w 3685150"/>
                <a:gd name="connsiteY162" fmla="*/ 332586 h 3737113"/>
                <a:gd name="connsiteX163" fmla="*/ 699038 w 3685150"/>
                <a:gd name="connsiteY163" fmla="*/ 318281 h 3737113"/>
                <a:gd name="connsiteX164" fmla="*/ 681367 w 3685150"/>
                <a:gd name="connsiteY164" fmla="*/ 294299 h 3737113"/>
                <a:gd name="connsiteX165" fmla="*/ 671901 w 3685150"/>
                <a:gd name="connsiteY165" fmla="*/ 274946 h 3737113"/>
                <a:gd name="connsiteX166" fmla="*/ 662224 w 3685150"/>
                <a:gd name="connsiteY166" fmla="*/ 247809 h 3737113"/>
                <a:gd name="connsiteX167" fmla="*/ 662224 w 3685150"/>
                <a:gd name="connsiteY167" fmla="*/ 220672 h 3737113"/>
                <a:gd name="connsiteX168" fmla="*/ 662224 w 3685150"/>
                <a:gd name="connsiteY168" fmla="*/ 131057 h 3737113"/>
                <a:gd name="connsiteX169" fmla="*/ 662224 w 3685150"/>
                <a:gd name="connsiteY169" fmla="*/ 108758 h 3737113"/>
                <a:gd name="connsiteX170" fmla="*/ 671901 w 3685150"/>
                <a:gd name="connsiteY170" fmla="*/ 79939 h 3737113"/>
                <a:gd name="connsiteX171" fmla="*/ 681578 w 3685150"/>
                <a:gd name="connsiteY171" fmla="*/ 60795 h 3737113"/>
                <a:gd name="connsiteX172" fmla="*/ 699248 w 3685150"/>
                <a:gd name="connsiteY172" fmla="*/ 36814 h 3737113"/>
                <a:gd name="connsiteX173" fmla="*/ 718391 w 3685150"/>
                <a:gd name="connsiteY173" fmla="*/ 23982 h 3737113"/>
                <a:gd name="connsiteX174" fmla="*/ 742373 w 3685150"/>
                <a:gd name="connsiteY174" fmla="*/ 9677 h 3737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85150" h="3737113">
                  <a:moveTo>
                    <a:pt x="1274383" y="1585091"/>
                  </a:moveTo>
                  <a:lnTo>
                    <a:pt x="2412450" y="1585091"/>
                  </a:lnTo>
                  <a:lnTo>
                    <a:pt x="2534251" y="1900637"/>
                  </a:lnTo>
                  <a:lnTo>
                    <a:pt x="2603040" y="1900637"/>
                  </a:lnTo>
                  <a:lnTo>
                    <a:pt x="2617344" y="1900637"/>
                  </a:lnTo>
                  <a:lnTo>
                    <a:pt x="2636698" y="1905475"/>
                  </a:lnTo>
                  <a:lnTo>
                    <a:pt x="2654158" y="1914942"/>
                  </a:lnTo>
                  <a:lnTo>
                    <a:pt x="2663835" y="1929457"/>
                  </a:lnTo>
                  <a:lnTo>
                    <a:pt x="2705487" y="1979103"/>
                  </a:lnTo>
                  <a:lnTo>
                    <a:pt x="2747139" y="2031904"/>
                  </a:lnTo>
                  <a:lnTo>
                    <a:pt x="2783952" y="2091227"/>
                  </a:lnTo>
                  <a:lnTo>
                    <a:pt x="2815928" y="2147183"/>
                  </a:lnTo>
                  <a:lnTo>
                    <a:pt x="3262529" y="2147183"/>
                  </a:lnTo>
                  <a:lnTo>
                    <a:pt x="3262529" y="1966271"/>
                  </a:lnTo>
                  <a:lnTo>
                    <a:pt x="3262529" y="1947127"/>
                  </a:lnTo>
                  <a:lnTo>
                    <a:pt x="3272206" y="1937451"/>
                  </a:lnTo>
                  <a:lnTo>
                    <a:pt x="3286511" y="1932612"/>
                  </a:lnTo>
                  <a:lnTo>
                    <a:pt x="3301026" y="1929457"/>
                  </a:lnTo>
                  <a:lnTo>
                    <a:pt x="3650019" y="1929457"/>
                  </a:lnTo>
                  <a:lnTo>
                    <a:pt x="3667479" y="1932612"/>
                  </a:lnTo>
                  <a:lnTo>
                    <a:pt x="3677156" y="1937451"/>
                  </a:lnTo>
                  <a:lnTo>
                    <a:pt x="3681994" y="1947127"/>
                  </a:lnTo>
                  <a:lnTo>
                    <a:pt x="3685150" y="1966271"/>
                  </a:lnTo>
                  <a:lnTo>
                    <a:pt x="3685150" y="3324169"/>
                  </a:lnTo>
                  <a:lnTo>
                    <a:pt x="3681994" y="3338474"/>
                  </a:lnTo>
                  <a:lnTo>
                    <a:pt x="3677156" y="3352989"/>
                  </a:lnTo>
                  <a:lnTo>
                    <a:pt x="3667479" y="3362455"/>
                  </a:lnTo>
                  <a:lnTo>
                    <a:pt x="3650019" y="3362455"/>
                  </a:lnTo>
                  <a:lnTo>
                    <a:pt x="3301026" y="3362455"/>
                  </a:lnTo>
                  <a:lnTo>
                    <a:pt x="3286511" y="3362455"/>
                  </a:lnTo>
                  <a:lnTo>
                    <a:pt x="3272206" y="3352989"/>
                  </a:lnTo>
                  <a:lnTo>
                    <a:pt x="3262529" y="3338474"/>
                  </a:lnTo>
                  <a:lnTo>
                    <a:pt x="3262529" y="3324169"/>
                  </a:lnTo>
                  <a:lnTo>
                    <a:pt x="3262529" y="3143046"/>
                  </a:lnTo>
                  <a:lnTo>
                    <a:pt x="2815928" y="3143046"/>
                  </a:lnTo>
                  <a:lnTo>
                    <a:pt x="2779114" y="3204051"/>
                  </a:lnTo>
                  <a:lnTo>
                    <a:pt x="2737462" y="3268002"/>
                  </a:lnTo>
                  <a:lnTo>
                    <a:pt x="2695810" y="3328797"/>
                  </a:lnTo>
                  <a:lnTo>
                    <a:pt x="2649320" y="3380126"/>
                  </a:lnTo>
                  <a:lnTo>
                    <a:pt x="2593363" y="3431455"/>
                  </a:lnTo>
                  <a:lnTo>
                    <a:pt x="2537406" y="3487411"/>
                  </a:lnTo>
                  <a:lnTo>
                    <a:pt x="2482922" y="3529063"/>
                  </a:lnTo>
                  <a:lnTo>
                    <a:pt x="2417289" y="3570716"/>
                  </a:lnTo>
                  <a:lnTo>
                    <a:pt x="2356493" y="3607529"/>
                  </a:lnTo>
                  <a:lnTo>
                    <a:pt x="2287705" y="3639504"/>
                  </a:lnTo>
                  <a:lnTo>
                    <a:pt x="2217233" y="3668324"/>
                  </a:lnTo>
                  <a:lnTo>
                    <a:pt x="2148444" y="3690833"/>
                  </a:lnTo>
                  <a:lnTo>
                    <a:pt x="2073134" y="3709976"/>
                  </a:lnTo>
                  <a:lnTo>
                    <a:pt x="1999506" y="3724281"/>
                  </a:lnTo>
                  <a:lnTo>
                    <a:pt x="1919358" y="3732485"/>
                  </a:lnTo>
                  <a:lnTo>
                    <a:pt x="1845731" y="3737113"/>
                  </a:lnTo>
                  <a:lnTo>
                    <a:pt x="1767265" y="3732485"/>
                  </a:lnTo>
                  <a:lnTo>
                    <a:pt x="1687327" y="3724281"/>
                  </a:lnTo>
                  <a:lnTo>
                    <a:pt x="1613699" y="3709976"/>
                  </a:lnTo>
                  <a:lnTo>
                    <a:pt x="1538389" y="3690833"/>
                  </a:lnTo>
                  <a:lnTo>
                    <a:pt x="1469600" y="3668324"/>
                  </a:lnTo>
                  <a:lnTo>
                    <a:pt x="1399129" y="3639504"/>
                  </a:lnTo>
                  <a:lnTo>
                    <a:pt x="1328657" y="3607529"/>
                  </a:lnTo>
                  <a:lnTo>
                    <a:pt x="1269545" y="3570716"/>
                  </a:lnTo>
                  <a:lnTo>
                    <a:pt x="1203911" y="3529063"/>
                  </a:lnTo>
                  <a:lnTo>
                    <a:pt x="1149427" y="3487411"/>
                  </a:lnTo>
                  <a:lnTo>
                    <a:pt x="1093470" y="3431455"/>
                  </a:lnTo>
                  <a:lnTo>
                    <a:pt x="1042142" y="3380126"/>
                  </a:lnTo>
                  <a:lnTo>
                    <a:pt x="989340" y="3328797"/>
                  </a:lnTo>
                  <a:lnTo>
                    <a:pt x="949371" y="3268002"/>
                  </a:lnTo>
                  <a:lnTo>
                    <a:pt x="907719" y="3204051"/>
                  </a:lnTo>
                  <a:lnTo>
                    <a:pt x="874061" y="3143046"/>
                  </a:lnTo>
                  <a:lnTo>
                    <a:pt x="422621" y="3143046"/>
                  </a:lnTo>
                  <a:lnTo>
                    <a:pt x="422621" y="3324169"/>
                  </a:lnTo>
                  <a:lnTo>
                    <a:pt x="422621" y="3338474"/>
                  </a:lnTo>
                  <a:lnTo>
                    <a:pt x="414627" y="3352989"/>
                  </a:lnTo>
                  <a:lnTo>
                    <a:pt x="400112" y="3362455"/>
                  </a:lnTo>
                  <a:lnTo>
                    <a:pt x="385807" y="3362455"/>
                  </a:lnTo>
                  <a:lnTo>
                    <a:pt x="36814" y="3362455"/>
                  </a:lnTo>
                  <a:lnTo>
                    <a:pt x="19143" y="3362455"/>
                  </a:lnTo>
                  <a:lnTo>
                    <a:pt x="9677" y="3352989"/>
                  </a:lnTo>
                  <a:lnTo>
                    <a:pt x="4839" y="3338474"/>
                  </a:lnTo>
                  <a:lnTo>
                    <a:pt x="0" y="3324169"/>
                  </a:lnTo>
                  <a:lnTo>
                    <a:pt x="0" y="1966271"/>
                  </a:lnTo>
                  <a:lnTo>
                    <a:pt x="4839" y="1947127"/>
                  </a:lnTo>
                  <a:lnTo>
                    <a:pt x="9677" y="1937451"/>
                  </a:lnTo>
                  <a:lnTo>
                    <a:pt x="19143" y="1932612"/>
                  </a:lnTo>
                  <a:lnTo>
                    <a:pt x="36814" y="1929457"/>
                  </a:lnTo>
                  <a:lnTo>
                    <a:pt x="385807" y="1929457"/>
                  </a:lnTo>
                  <a:lnTo>
                    <a:pt x="400112" y="1932612"/>
                  </a:lnTo>
                  <a:lnTo>
                    <a:pt x="414627" y="1937451"/>
                  </a:lnTo>
                  <a:lnTo>
                    <a:pt x="422621" y="1947127"/>
                  </a:lnTo>
                  <a:lnTo>
                    <a:pt x="422621" y="1966271"/>
                  </a:lnTo>
                  <a:lnTo>
                    <a:pt x="422621" y="2147183"/>
                  </a:lnTo>
                  <a:lnTo>
                    <a:pt x="874061" y="2147183"/>
                  </a:lnTo>
                  <a:lnTo>
                    <a:pt x="902881" y="2091227"/>
                  </a:lnTo>
                  <a:lnTo>
                    <a:pt x="939694" y="2031904"/>
                  </a:lnTo>
                  <a:lnTo>
                    <a:pt x="981347" y="1979103"/>
                  </a:lnTo>
                  <a:lnTo>
                    <a:pt x="1022999" y="1929457"/>
                  </a:lnTo>
                  <a:lnTo>
                    <a:pt x="1032465" y="1914942"/>
                  </a:lnTo>
                  <a:lnTo>
                    <a:pt x="1050135" y="1905475"/>
                  </a:lnTo>
                  <a:lnTo>
                    <a:pt x="1069279" y="1900637"/>
                  </a:lnTo>
                  <a:lnTo>
                    <a:pt x="1088632" y="1900637"/>
                  </a:lnTo>
                  <a:lnTo>
                    <a:pt x="1152583" y="1900637"/>
                  </a:lnTo>
                  <a:close/>
                  <a:moveTo>
                    <a:pt x="1387137" y="355094"/>
                  </a:moveTo>
                  <a:lnTo>
                    <a:pt x="1659769" y="612580"/>
                  </a:lnTo>
                  <a:lnTo>
                    <a:pt x="2043051" y="612580"/>
                  </a:lnTo>
                  <a:lnTo>
                    <a:pt x="2317365" y="355094"/>
                  </a:lnTo>
                  <a:close/>
                  <a:moveTo>
                    <a:pt x="764882" y="0"/>
                  </a:moveTo>
                  <a:lnTo>
                    <a:pt x="793702" y="0"/>
                  </a:lnTo>
                  <a:lnTo>
                    <a:pt x="2912274" y="0"/>
                  </a:lnTo>
                  <a:lnTo>
                    <a:pt x="2934782" y="0"/>
                  </a:lnTo>
                  <a:lnTo>
                    <a:pt x="2963813" y="9677"/>
                  </a:lnTo>
                  <a:lnTo>
                    <a:pt x="2981483" y="23982"/>
                  </a:lnTo>
                  <a:lnTo>
                    <a:pt x="3007147" y="36814"/>
                  </a:lnTo>
                  <a:lnTo>
                    <a:pt x="3019980" y="60795"/>
                  </a:lnTo>
                  <a:lnTo>
                    <a:pt x="3034495" y="79939"/>
                  </a:lnTo>
                  <a:lnTo>
                    <a:pt x="3042489" y="108758"/>
                  </a:lnTo>
                  <a:lnTo>
                    <a:pt x="3042489" y="131057"/>
                  </a:lnTo>
                  <a:lnTo>
                    <a:pt x="3042489" y="221093"/>
                  </a:lnTo>
                  <a:lnTo>
                    <a:pt x="3042489" y="248230"/>
                  </a:lnTo>
                  <a:lnTo>
                    <a:pt x="3034495" y="275367"/>
                  </a:lnTo>
                  <a:lnTo>
                    <a:pt x="3019980" y="294510"/>
                  </a:lnTo>
                  <a:lnTo>
                    <a:pt x="3007147" y="318491"/>
                  </a:lnTo>
                  <a:lnTo>
                    <a:pt x="2981483" y="332796"/>
                  </a:lnTo>
                  <a:lnTo>
                    <a:pt x="2963813" y="340790"/>
                  </a:lnTo>
                  <a:lnTo>
                    <a:pt x="2934993" y="355094"/>
                  </a:lnTo>
                  <a:lnTo>
                    <a:pt x="2912484" y="355094"/>
                  </a:lnTo>
                  <a:lnTo>
                    <a:pt x="2814665" y="355094"/>
                  </a:lnTo>
                  <a:lnTo>
                    <a:pt x="2383209" y="751630"/>
                  </a:lnTo>
                  <a:lnTo>
                    <a:pt x="2412029" y="751630"/>
                  </a:lnTo>
                  <a:lnTo>
                    <a:pt x="2426544" y="751630"/>
                  </a:lnTo>
                  <a:lnTo>
                    <a:pt x="2439376" y="761307"/>
                  </a:lnTo>
                  <a:lnTo>
                    <a:pt x="2449053" y="770984"/>
                  </a:lnTo>
                  <a:lnTo>
                    <a:pt x="2449053" y="790127"/>
                  </a:lnTo>
                  <a:lnTo>
                    <a:pt x="2449053" y="1004488"/>
                  </a:lnTo>
                  <a:lnTo>
                    <a:pt x="2449053" y="1018792"/>
                  </a:lnTo>
                  <a:lnTo>
                    <a:pt x="2439376" y="1028469"/>
                  </a:lnTo>
                  <a:lnTo>
                    <a:pt x="2426544" y="1042774"/>
                  </a:lnTo>
                  <a:lnTo>
                    <a:pt x="2412029" y="1042774"/>
                  </a:lnTo>
                  <a:lnTo>
                    <a:pt x="2238900" y="1042774"/>
                  </a:lnTo>
                  <a:lnTo>
                    <a:pt x="2238900" y="1335180"/>
                  </a:lnTo>
                  <a:lnTo>
                    <a:pt x="2234061" y="1349484"/>
                  </a:lnTo>
                  <a:lnTo>
                    <a:pt x="2229223" y="1360634"/>
                  </a:lnTo>
                  <a:lnTo>
                    <a:pt x="2211552" y="1373466"/>
                  </a:lnTo>
                  <a:lnTo>
                    <a:pt x="2197037" y="1373466"/>
                  </a:lnTo>
                  <a:lnTo>
                    <a:pt x="1504310" y="1373466"/>
                  </a:lnTo>
                  <a:lnTo>
                    <a:pt x="1486639" y="1373466"/>
                  </a:lnTo>
                  <a:lnTo>
                    <a:pt x="1472124" y="1360634"/>
                  </a:lnTo>
                  <a:lnTo>
                    <a:pt x="1467286" y="1349484"/>
                  </a:lnTo>
                  <a:lnTo>
                    <a:pt x="1462447" y="1335180"/>
                  </a:lnTo>
                  <a:lnTo>
                    <a:pt x="1462447" y="1042563"/>
                  </a:lnTo>
                  <a:lnTo>
                    <a:pt x="1293946" y="1042563"/>
                  </a:lnTo>
                  <a:lnTo>
                    <a:pt x="1279431" y="1042563"/>
                  </a:lnTo>
                  <a:lnTo>
                    <a:pt x="1266599" y="1028259"/>
                  </a:lnTo>
                  <a:lnTo>
                    <a:pt x="1261761" y="1018582"/>
                  </a:lnTo>
                  <a:lnTo>
                    <a:pt x="1255450" y="1004277"/>
                  </a:lnTo>
                  <a:lnTo>
                    <a:pt x="1255450" y="789916"/>
                  </a:lnTo>
                  <a:lnTo>
                    <a:pt x="1261761" y="770773"/>
                  </a:lnTo>
                  <a:lnTo>
                    <a:pt x="1266599" y="761097"/>
                  </a:lnTo>
                  <a:lnTo>
                    <a:pt x="1279431" y="751420"/>
                  </a:lnTo>
                  <a:lnTo>
                    <a:pt x="1293946" y="751420"/>
                  </a:lnTo>
                  <a:lnTo>
                    <a:pt x="1313089" y="751420"/>
                  </a:lnTo>
                  <a:lnTo>
                    <a:pt x="886472" y="354884"/>
                  </a:lnTo>
                  <a:lnTo>
                    <a:pt x="793491" y="354884"/>
                  </a:lnTo>
                  <a:lnTo>
                    <a:pt x="764671" y="354884"/>
                  </a:lnTo>
                  <a:lnTo>
                    <a:pt x="742162" y="340579"/>
                  </a:lnTo>
                  <a:lnTo>
                    <a:pt x="718181" y="332586"/>
                  </a:lnTo>
                  <a:lnTo>
                    <a:pt x="699038" y="318281"/>
                  </a:lnTo>
                  <a:lnTo>
                    <a:pt x="681367" y="294299"/>
                  </a:lnTo>
                  <a:lnTo>
                    <a:pt x="671901" y="274946"/>
                  </a:lnTo>
                  <a:lnTo>
                    <a:pt x="662224" y="247809"/>
                  </a:lnTo>
                  <a:lnTo>
                    <a:pt x="662224" y="220672"/>
                  </a:lnTo>
                  <a:lnTo>
                    <a:pt x="662224" y="131057"/>
                  </a:lnTo>
                  <a:lnTo>
                    <a:pt x="662224" y="108758"/>
                  </a:lnTo>
                  <a:lnTo>
                    <a:pt x="671901" y="79939"/>
                  </a:lnTo>
                  <a:lnTo>
                    <a:pt x="681578" y="60795"/>
                  </a:lnTo>
                  <a:lnTo>
                    <a:pt x="699248" y="36814"/>
                  </a:lnTo>
                  <a:lnTo>
                    <a:pt x="718391" y="23982"/>
                  </a:lnTo>
                  <a:lnTo>
                    <a:pt x="742373" y="9677"/>
                  </a:lnTo>
                  <a:close/>
                </a:path>
              </a:pathLst>
            </a:custGeom>
            <a:solidFill>
              <a:schemeClr val="bg1"/>
            </a:solidFill>
            <a:ln w="9525" cap="flat">
              <a:noFill/>
              <a:prstDash val="solid"/>
              <a:miter/>
            </a:ln>
          </p:spPr>
          <p:txBody>
            <a:bodyPr rtlCol="0" anchor="ctr"/>
            <a:lstStyle/>
            <a:p>
              <a:endParaRPr lang="en-US" sz="1600"/>
            </a:p>
          </p:txBody>
        </p:sp>
        <p:cxnSp>
          <p:nvCxnSpPr>
            <p:cNvPr id="12" name="RBHorizontalLine16">
              <a:extLst>
                <a:ext uri="{FF2B5EF4-FFF2-40B4-BE49-F238E27FC236}">
                  <a16:creationId xmlns:a16="http://schemas.microsoft.com/office/drawing/2014/main" id="{A4AF5BC0-16C2-91E1-03FB-B33390EEC067}"/>
                </a:ext>
              </a:extLst>
            </p:cNvPr>
            <p:cNvCxnSpPr>
              <a:cxnSpLocks/>
            </p:cNvCxnSpPr>
            <p:nvPr/>
          </p:nvCxnSpPr>
          <p:spPr>
            <a:xfrm>
              <a:off x="4628855" y="5118811"/>
              <a:ext cx="2157662" cy="0"/>
            </a:xfrm>
            <a:prstGeom prst="line">
              <a:avLst/>
            </a:prstGeom>
            <a:ln w="44450" cmpd="sng">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Freeform: Shape 13">
              <a:extLst>
                <a:ext uri="{FF2B5EF4-FFF2-40B4-BE49-F238E27FC236}">
                  <a16:creationId xmlns:a16="http://schemas.microsoft.com/office/drawing/2014/main" id="{AAD3BCEE-D65A-4C33-D9B6-8CE8BF0898A7}"/>
                </a:ext>
              </a:extLst>
            </p:cNvPr>
            <p:cNvSpPr>
              <a:spLocks noChangeAspect="1"/>
            </p:cNvSpPr>
            <p:nvPr/>
          </p:nvSpPr>
          <p:spPr>
            <a:xfrm flipH="1">
              <a:off x="4698704" y="3040071"/>
              <a:ext cx="578905" cy="484851"/>
            </a:xfrm>
            <a:custGeom>
              <a:avLst/>
              <a:gdLst>
                <a:gd name="connsiteX0" fmla="*/ 3132942 w 3721356"/>
                <a:gd name="connsiteY0" fmla="*/ 2786101 h 3116751"/>
                <a:gd name="connsiteX1" fmla="*/ 3314151 w 3721356"/>
                <a:gd name="connsiteY1" fmla="*/ 2857524 h 3116751"/>
                <a:gd name="connsiteX2" fmla="*/ 3615578 w 3721356"/>
                <a:gd name="connsiteY2" fmla="*/ 2893695 h 3116751"/>
                <a:gd name="connsiteX3" fmla="*/ 3706006 w 3721356"/>
                <a:gd name="connsiteY3" fmla="*/ 2893695 h 3116751"/>
                <a:gd name="connsiteX4" fmla="*/ 3699977 w 3721356"/>
                <a:gd name="connsiteY4" fmla="*/ 2978095 h 3116751"/>
                <a:gd name="connsiteX5" fmla="*/ 3247837 w 3721356"/>
                <a:gd name="connsiteY5" fmla="*/ 2941924 h 3116751"/>
                <a:gd name="connsiteX6" fmla="*/ 2958468 w 3721356"/>
                <a:gd name="connsiteY6" fmla="*/ 2978095 h 3116751"/>
                <a:gd name="connsiteX7" fmla="*/ 2470157 w 3721356"/>
                <a:gd name="connsiteY7" fmla="*/ 3014266 h 3116751"/>
                <a:gd name="connsiteX8" fmla="*/ 2253129 w 3721356"/>
                <a:gd name="connsiteY8" fmla="*/ 2893695 h 3116751"/>
                <a:gd name="connsiteX9" fmla="*/ 2090359 w 3721356"/>
                <a:gd name="connsiteY9" fmla="*/ 2966038 h 3116751"/>
                <a:gd name="connsiteX10" fmla="*/ 1620133 w 3721356"/>
                <a:gd name="connsiteY10" fmla="*/ 2996181 h 3116751"/>
                <a:gd name="connsiteX11" fmla="*/ 1294592 w 3721356"/>
                <a:gd name="connsiteY11" fmla="*/ 2996181 h 3116751"/>
                <a:gd name="connsiteX12" fmla="*/ 1023308 w 3721356"/>
                <a:gd name="connsiteY12" fmla="*/ 3116751 h 3116751"/>
                <a:gd name="connsiteX13" fmla="*/ 818338 w 3721356"/>
                <a:gd name="connsiteY13" fmla="*/ 3032352 h 3116751"/>
                <a:gd name="connsiteX14" fmla="*/ 619397 w 3721356"/>
                <a:gd name="connsiteY14" fmla="*/ 2941924 h 3116751"/>
                <a:gd name="connsiteX15" fmla="*/ 492797 w 3721356"/>
                <a:gd name="connsiteY15" fmla="*/ 3002209 h 3116751"/>
                <a:gd name="connsiteX16" fmla="*/ 239599 w 3721356"/>
                <a:gd name="connsiteY16" fmla="*/ 3098666 h 3116751"/>
                <a:gd name="connsiteX17" fmla="*/ 10515 w 3721356"/>
                <a:gd name="connsiteY17" fmla="*/ 2978095 h 3116751"/>
                <a:gd name="connsiteX18" fmla="*/ 22572 w 3721356"/>
                <a:gd name="connsiteY18" fmla="*/ 2893695 h 3116751"/>
                <a:gd name="connsiteX19" fmla="*/ 106971 w 3721356"/>
                <a:gd name="connsiteY19" fmla="*/ 2905753 h 3116751"/>
                <a:gd name="connsiteX20" fmla="*/ 245628 w 3721356"/>
                <a:gd name="connsiteY20" fmla="*/ 2978095 h 3116751"/>
                <a:gd name="connsiteX21" fmla="*/ 402369 w 3721356"/>
                <a:gd name="connsiteY21" fmla="*/ 2923838 h 3116751"/>
                <a:gd name="connsiteX22" fmla="*/ 854509 w 3721356"/>
                <a:gd name="connsiteY22" fmla="*/ 2911781 h 3116751"/>
                <a:gd name="connsiteX23" fmla="*/ 1035365 w 3721356"/>
                <a:gd name="connsiteY23" fmla="*/ 3002209 h 3116751"/>
                <a:gd name="connsiteX24" fmla="*/ 1234307 w 3721356"/>
                <a:gd name="connsiteY24" fmla="*/ 2893695 h 3116751"/>
                <a:gd name="connsiteX25" fmla="*/ 1686447 w 3721356"/>
                <a:gd name="connsiteY25" fmla="*/ 2905753 h 3116751"/>
                <a:gd name="connsiteX26" fmla="*/ 2024045 w 3721356"/>
                <a:gd name="connsiteY26" fmla="*/ 2869581 h 3116751"/>
                <a:gd name="connsiteX27" fmla="*/ 2512356 w 3721356"/>
                <a:gd name="connsiteY27" fmla="*/ 2911781 h 3116751"/>
                <a:gd name="connsiteX28" fmla="*/ 2681155 w 3721356"/>
                <a:gd name="connsiteY28" fmla="*/ 2990152 h 3116751"/>
                <a:gd name="connsiteX29" fmla="*/ 2892154 w 3721356"/>
                <a:gd name="connsiteY29" fmla="*/ 2869581 h 3116751"/>
                <a:gd name="connsiteX30" fmla="*/ 3132942 w 3721356"/>
                <a:gd name="connsiteY30" fmla="*/ 2786101 h 3116751"/>
                <a:gd name="connsiteX31" fmla="*/ 3132942 w 3721356"/>
                <a:gd name="connsiteY31" fmla="*/ 2321904 h 3116751"/>
                <a:gd name="connsiteX32" fmla="*/ 3314151 w 3721356"/>
                <a:gd name="connsiteY32" fmla="*/ 2393327 h 3116751"/>
                <a:gd name="connsiteX33" fmla="*/ 3615578 w 3721356"/>
                <a:gd name="connsiteY33" fmla="*/ 2429499 h 3116751"/>
                <a:gd name="connsiteX34" fmla="*/ 3699977 w 3721356"/>
                <a:gd name="connsiteY34" fmla="*/ 2435527 h 3116751"/>
                <a:gd name="connsiteX35" fmla="*/ 3693949 w 3721356"/>
                <a:gd name="connsiteY35" fmla="*/ 2519927 h 3116751"/>
                <a:gd name="connsiteX36" fmla="*/ 3241809 w 3721356"/>
                <a:gd name="connsiteY36" fmla="*/ 2483755 h 3116751"/>
                <a:gd name="connsiteX37" fmla="*/ 2952439 w 3721356"/>
                <a:gd name="connsiteY37" fmla="*/ 2519927 h 3116751"/>
                <a:gd name="connsiteX38" fmla="*/ 2464128 w 3721356"/>
                <a:gd name="connsiteY38" fmla="*/ 2556098 h 3116751"/>
                <a:gd name="connsiteX39" fmla="*/ 2247101 w 3721356"/>
                <a:gd name="connsiteY39" fmla="*/ 2435527 h 3116751"/>
                <a:gd name="connsiteX40" fmla="*/ 2084330 w 3721356"/>
                <a:gd name="connsiteY40" fmla="*/ 2507870 h 3116751"/>
                <a:gd name="connsiteX41" fmla="*/ 1614105 w 3721356"/>
                <a:gd name="connsiteY41" fmla="*/ 2538012 h 3116751"/>
                <a:gd name="connsiteX42" fmla="*/ 1288564 w 3721356"/>
                <a:gd name="connsiteY42" fmla="*/ 2538012 h 3116751"/>
                <a:gd name="connsiteX43" fmla="*/ 1017280 w 3721356"/>
                <a:gd name="connsiteY43" fmla="*/ 2658583 h 3116751"/>
                <a:gd name="connsiteX44" fmla="*/ 812310 w 3721356"/>
                <a:gd name="connsiteY44" fmla="*/ 2574183 h 3116751"/>
                <a:gd name="connsiteX45" fmla="*/ 613368 w 3721356"/>
                <a:gd name="connsiteY45" fmla="*/ 2483755 h 3116751"/>
                <a:gd name="connsiteX46" fmla="*/ 486769 w 3721356"/>
                <a:gd name="connsiteY46" fmla="*/ 2544041 h 3116751"/>
                <a:gd name="connsiteX47" fmla="*/ 233571 w 3721356"/>
                <a:gd name="connsiteY47" fmla="*/ 2640497 h 3116751"/>
                <a:gd name="connsiteX48" fmla="*/ 10515 w 3721356"/>
                <a:gd name="connsiteY48" fmla="*/ 2513898 h 3116751"/>
                <a:gd name="connsiteX49" fmla="*/ 22572 w 3721356"/>
                <a:gd name="connsiteY49" fmla="*/ 2429499 h 3116751"/>
                <a:gd name="connsiteX50" fmla="*/ 106971 w 3721356"/>
                <a:gd name="connsiteY50" fmla="*/ 2441556 h 3116751"/>
                <a:gd name="connsiteX51" fmla="*/ 245628 w 3721356"/>
                <a:gd name="connsiteY51" fmla="*/ 2513898 h 3116751"/>
                <a:gd name="connsiteX52" fmla="*/ 402369 w 3721356"/>
                <a:gd name="connsiteY52" fmla="*/ 2459641 h 3116751"/>
                <a:gd name="connsiteX53" fmla="*/ 854509 w 3721356"/>
                <a:gd name="connsiteY53" fmla="*/ 2447584 h 3116751"/>
                <a:gd name="connsiteX54" fmla="*/ 1035365 w 3721356"/>
                <a:gd name="connsiteY54" fmla="*/ 2538012 h 3116751"/>
                <a:gd name="connsiteX55" fmla="*/ 1234307 w 3721356"/>
                <a:gd name="connsiteY55" fmla="*/ 2429499 h 3116751"/>
                <a:gd name="connsiteX56" fmla="*/ 1686447 w 3721356"/>
                <a:gd name="connsiteY56" fmla="*/ 2441556 h 3116751"/>
                <a:gd name="connsiteX57" fmla="*/ 2024045 w 3721356"/>
                <a:gd name="connsiteY57" fmla="*/ 2405384 h 3116751"/>
                <a:gd name="connsiteX58" fmla="*/ 2512356 w 3721356"/>
                <a:gd name="connsiteY58" fmla="*/ 2447584 h 3116751"/>
                <a:gd name="connsiteX59" fmla="*/ 2681155 w 3721356"/>
                <a:gd name="connsiteY59" fmla="*/ 2525955 h 3116751"/>
                <a:gd name="connsiteX60" fmla="*/ 2892154 w 3721356"/>
                <a:gd name="connsiteY60" fmla="*/ 2405384 h 3116751"/>
                <a:gd name="connsiteX61" fmla="*/ 3132942 w 3721356"/>
                <a:gd name="connsiteY61" fmla="*/ 2321904 h 3116751"/>
                <a:gd name="connsiteX62" fmla="*/ 733939 w 3721356"/>
                <a:gd name="connsiteY62" fmla="*/ 1573447 h 3116751"/>
                <a:gd name="connsiteX63" fmla="*/ 673653 w 3721356"/>
                <a:gd name="connsiteY63" fmla="*/ 1633732 h 3116751"/>
                <a:gd name="connsiteX64" fmla="*/ 733939 w 3721356"/>
                <a:gd name="connsiteY64" fmla="*/ 1694018 h 3116751"/>
                <a:gd name="connsiteX65" fmla="*/ 2391786 w 3721356"/>
                <a:gd name="connsiteY65" fmla="*/ 1694018 h 3116751"/>
                <a:gd name="connsiteX66" fmla="*/ 2452071 w 3721356"/>
                <a:gd name="connsiteY66" fmla="*/ 1633732 h 3116751"/>
                <a:gd name="connsiteX67" fmla="*/ 2391786 w 3721356"/>
                <a:gd name="connsiteY67" fmla="*/ 1573447 h 3116751"/>
                <a:gd name="connsiteX68" fmla="*/ 173285 w 3721356"/>
                <a:gd name="connsiteY68" fmla="*/ 1314220 h 3116751"/>
                <a:gd name="connsiteX69" fmla="*/ 3639692 w 3721356"/>
                <a:gd name="connsiteY69" fmla="*/ 1314220 h 3116751"/>
                <a:gd name="connsiteX70" fmla="*/ 3699977 w 3721356"/>
                <a:gd name="connsiteY70" fmla="*/ 1374505 h 3116751"/>
                <a:gd name="connsiteX71" fmla="*/ 3139324 w 3721356"/>
                <a:gd name="connsiteY71" fmla="*/ 2140129 h 3116751"/>
                <a:gd name="connsiteX72" fmla="*/ 733939 w 3721356"/>
                <a:gd name="connsiteY72" fmla="*/ 2140129 h 3116751"/>
                <a:gd name="connsiteX73" fmla="*/ 221513 w 3721356"/>
                <a:gd name="connsiteY73" fmla="*/ 1609618 h 3116751"/>
                <a:gd name="connsiteX74" fmla="*/ 125057 w 3721356"/>
                <a:gd name="connsiteY74" fmla="*/ 1404648 h 3116751"/>
                <a:gd name="connsiteX75" fmla="*/ 125057 w 3721356"/>
                <a:gd name="connsiteY75" fmla="*/ 1344363 h 3116751"/>
                <a:gd name="connsiteX76" fmla="*/ 173285 w 3721356"/>
                <a:gd name="connsiteY76" fmla="*/ 1314220 h 3116751"/>
                <a:gd name="connsiteX77" fmla="*/ 2156673 w 3721356"/>
                <a:gd name="connsiteY77" fmla="*/ 904280 h 3116751"/>
                <a:gd name="connsiteX78" fmla="*/ 2681155 w 3721356"/>
                <a:gd name="connsiteY78" fmla="*/ 904280 h 3116751"/>
                <a:gd name="connsiteX79" fmla="*/ 2681155 w 3721356"/>
                <a:gd name="connsiteY79" fmla="*/ 1133365 h 3116751"/>
                <a:gd name="connsiteX80" fmla="*/ 2156673 w 3721356"/>
                <a:gd name="connsiteY80" fmla="*/ 1133365 h 3116751"/>
                <a:gd name="connsiteX81" fmla="*/ 1565876 w 3721356"/>
                <a:gd name="connsiteY81" fmla="*/ 904280 h 3116751"/>
                <a:gd name="connsiteX82" fmla="*/ 2090359 w 3721356"/>
                <a:gd name="connsiteY82" fmla="*/ 904280 h 3116751"/>
                <a:gd name="connsiteX83" fmla="*/ 2090359 w 3721356"/>
                <a:gd name="connsiteY83" fmla="*/ 1133365 h 3116751"/>
                <a:gd name="connsiteX84" fmla="*/ 1565876 w 3721356"/>
                <a:gd name="connsiteY84" fmla="*/ 1133365 h 3116751"/>
                <a:gd name="connsiteX85" fmla="*/ 975080 w 3721356"/>
                <a:gd name="connsiteY85" fmla="*/ 904280 h 3116751"/>
                <a:gd name="connsiteX86" fmla="*/ 1499562 w 3721356"/>
                <a:gd name="connsiteY86" fmla="*/ 904280 h 3116751"/>
                <a:gd name="connsiteX87" fmla="*/ 1499562 w 3721356"/>
                <a:gd name="connsiteY87" fmla="*/ 1133365 h 3116751"/>
                <a:gd name="connsiteX88" fmla="*/ 975080 w 3721356"/>
                <a:gd name="connsiteY88" fmla="*/ 1133365 h 3116751"/>
                <a:gd name="connsiteX89" fmla="*/ 438540 w 3721356"/>
                <a:gd name="connsiteY89" fmla="*/ 783709 h 3116751"/>
                <a:gd name="connsiteX90" fmla="*/ 842452 w 3721356"/>
                <a:gd name="connsiteY90" fmla="*/ 783709 h 3116751"/>
                <a:gd name="connsiteX91" fmla="*/ 902737 w 3721356"/>
                <a:gd name="connsiteY91" fmla="*/ 843994 h 3116751"/>
                <a:gd name="connsiteX92" fmla="*/ 902737 w 3721356"/>
                <a:gd name="connsiteY92" fmla="*/ 1133364 h 3116751"/>
                <a:gd name="connsiteX93" fmla="*/ 378255 w 3721356"/>
                <a:gd name="connsiteY93" fmla="*/ 1133364 h 3116751"/>
                <a:gd name="connsiteX94" fmla="*/ 378255 w 3721356"/>
                <a:gd name="connsiteY94" fmla="*/ 843994 h 3116751"/>
                <a:gd name="connsiteX95" fmla="*/ 438540 w 3721356"/>
                <a:gd name="connsiteY95" fmla="*/ 783709 h 3116751"/>
                <a:gd name="connsiteX96" fmla="*/ 3247837 w 3721356"/>
                <a:gd name="connsiteY96" fmla="*/ 777681 h 3116751"/>
                <a:gd name="connsiteX97" fmla="*/ 3187552 w 3721356"/>
                <a:gd name="connsiteY97" fmla="*/ 837966 h 3116751"/>
                <a:gd name="connsiteX98" fmla="*/ 3187552 w 3721356"/>
                <a:gd name="connsiteY98" fmla="*/ 898252 h 3116751"/>
                <a:gd name="connsiteX99" fmla="*/ 3247837 w 3721356"/>
                <a:gd name="connsiteY99" fmla="*/ 958537 h 3116751"/>
                <a:gd name="connsiteX100" fmla="*/ 3308122 w 3721356"/>
                <a:gd name="connsiteY100" fmla="*/ 898252 h 3116751"/>
                <a:gd name="connsiteX101" fmla="*/ 3308122 w 3721356"/>
                <a:gd name="connsiteY101" fmla="*/ 837966 h 3116751"/>
                <a:gd name="connsiteX102" fmla="*/ 3247837 w 3721356"/>
                <a:gd name="connsiteY102" fmla="*/ 777681 h 3116751"/>
                <a:gd name="connsiteX103" fmla="*/ 3048895 w 3721356"/>
                <a:gd name="connsiteY103" fmla="*/ 777681 h 3116751"/>
                <a:gd name="connsiteX104" fmla="*/ 2988610 w 3721356"/>
                <a:gd name="connsiteY104" fmla="*/ 837966 h 3116751"/>
                <a:gd name="connsiteX105" fmla="*/ 2988610 w 3721356"/>
                <a:gd name="connsiteY105" fmla="*/ 898252 h 3116751"/>
                <a:gd name="connsiteX106" fmla="*/ 3048895 w 3721356"/>
                <a:gd name="connsiteY106" fmla="*/ 958537 h 3116751"/>
                <a:gd name="connsiteX107" fmla="*/ 3109181 w 3721356"/>
                <a:gd name="connsiteY107" fmla="*/ 898252 h 3116751"/>
                <a:gd name="connsiteX108" fmla="*/ 3109181 w 3721356"/>
                <a:gd name="connsiteY108" fmla="*/ 837966 h 3116751"/>
                <a:gd name="connsiteX109" fmla="*/ 3048895 w 3721356"/>
                <a:gd name="connsiteY109" fmla="*/ 777681 h 3116751"/>
                <a:gd name="connsiteX110" fmla="*/ 2156673 w 3721356"/>
                <a:gd name="connsiteY110" fmla="*/ 614910 h 3116751"/>
                <a:gd name="connsiteX111" fmla="*/ 2681155 w 3721356"/>
                <a:gd name="connsiteY111" fmla="*/ 614910 h 3116751"/>
                <a:gd name="connsiteX112" fmla="*/ 2681155 w 3721356"/>
                <a:gd name="connsiteY112" fmla="*/ 783709 h 3116751"/>
                <a:gd name="connsiteX113" fmla="*/ 2156673 w 3721356"/>
                <a:gd name="connsiteY113" fmla="*/ 783709 h 3116751"/>
                <a:gd name="connsiteX114" fmla="*/ 3247837 w 3721356"/>
                <a:gd name="connsiteY114" fmla="*/ 506397 h 3116751"/>
                <a:gd name="connsiteX115" fmla="*/ 3187552 w 3721356"/>
                <a:gd name="connsiteY115" fmla="*/ 566682 h 3116751"/>
                <a:gd name="connsiteX116" fmla="*/ 3187552 w 3721356"/>
                <a:gd name="connsiteY116" fmla="*/ 626968 h 3116751"/>
                <a:gd name="connsiteX117" fmla="*/ 3247837 w 3721356"/>
                <a:gd name="connsiteY117" fmla="*/ 687253 h 3116751"/>
                <a:gd name="connsiteX118" fmla="*/ 3308122 w 3721356"/>
                <a:gd name="connsiteY118" fmla="*/ 626968 h 3116751"/>
                <a:gd name="connsiteX119" fmla="*/ 3308122 w 3721356"/>
                <a:gd name="connsiteY119" fmla="*/ 566682 h 3116751"/>
                <a:gd name="connsiteX120" fmla="*/ 3247837 w 3721356"/>
                <a:gd name="connsiteY120" fmla="*/ 506397 h 3116751"/>
                <a:gd name="connsiteX121" fmla="*/ 3048895 w 3721356"/>
                <a:gd name="connsiteY121" fmla="*/ 506397 h 3116751"/>
                <a:gd name="connsiteX122" fmla="*/ 2988610 w 3721356"/>
                <a:gd name="connsiteY122" fmla="*/ 566682 h 3116751"/>
                <a:gd name="connsiteX123" fmla="*/ 2988610 w 3721356"/>
                <a:gd name="connsiteY123" fmla="*/ 626968 h 3116751"/>
                <a:gd name="connsiteX124" fmla="*/ 3048895 w 3721356"/>
                <a:gd name="connsiteY124" fmla="*/ 687253 h 3116751"/>
                <a:gd name="connsiteX125" fmla="*/ 3109181 w 3721356"/>
                <a:gd name="connsiteY125" fmla="*/ 626968 h 3116751"/>
                <a:gd name="connsiteX126" fmla="*/ 3109181 w 3721356"/>
                <a:gd name="connsiteY126" fmla="*/ 566682 h 3116751"/>
                <a:gd name="connsiteX127" fmla="*/ 3048895 w 3721356"/>
                <a:gd name="connsiteY127" fmla="*/ 506397 h 3116751"/>
                <a:gd name="connsiteX128" fmla="*/ 1626161 w 3721356"/>
                <a:gd name="connsiteY128" fmla="*/ 494340 h 3116751"/>
                <a:gd name="connsiteX129" fmla="*/ 2030073 w 3721356"/>
                <a:gd name="connsiteY129" fmla="*/ 494340 h 3116751"/>
                <a:gd name="connsiteX130" fmla="*/ 2090358 w 3721356"/>
                <a:gd name="connsiteY130" fmla="*/ 554625 h 3116751"/>
                <a:gd name="connsiteX131" fmla="*/ 2090358 w 3721356"/>
                <a:gd name="connsiteY131" fmla="*/ 783710 h 3116751"/>
                <a:gd name="connsiteX132" fmla="*/ 1565876 w 3721356"/>
                <a:gd name="connsiteY132" fmla="*/ 783710 h 3116751"/>
                <a:gd name="connsiteX133" fmla="*/ 1565876 w 3721356"/>
                <a:gd name="connsiteY133" fmla="*/ 554625 h 3116751"/>
                <a:gd name="connsiteX134" fmla="*/ 1626161 w 3721356"/>
                <a:gd name="connsiteY134" fmla="*/ 494340 h 3116751"/>
                <a:gd name="connsiteX135" fmla="*/ 1029337 w 3721356"/>
                <a:gd name="connsiteY135" fmla="*/ 494340 h 3116751"/>
                <a:gd name="connsiteX136" fmla="*/ 1433249 w 3721356"/>
                <a:gd name="connsiteY136" fmla="*/ 494340 h 3116751"/>
                <a:gd name="connsiteX137" fmla="*/ 1493534 w 3721356"/>
                <a:gd name="connsiteY137" fmla="*/ 554625 h 3116751"/>
                <a:gd name="connsiteX138" fmla="*/ 1493534 w 3721356"/>
                <a:gd name="connsiteY138" fmla="*/ 783710 h 3116751"/>
                <a:gd name="connsiteX139" fmla="*/ 969052 w 3721356"/>
                <a:gd name="connsiteY139" fmla="*/ 783710 h 3116751"/>
                <a:gd name="connsiteX140" fmla="*/ 969052 w 3721356"/>
                <a:gd name="connsiteY140" fmla="*/ 554625 h 3116751"/>
                <a:gd name="connsiteX141" fmla="*/ 1029337 w 3721356"/>
                <a:gd name="connsiteY141" fmla="*/ 494340 h 3116751"/>
                <a:gd name="connsiteX142" fmla="*/ 3247837 w 3721356"/>
                <a:gd name="connsiteY142" fmla="*/ 241141 h 3116751"/>
                <a:gd name="connsiteX143" fmla="*/ 3187552 w 3721356"/>
                <a:gd name="connsiteY143" fmla="*/ 301427 h 3116751"/>
                <a:gd name="connsiteX144" fmla="*/ 3187552 w 3721356"/>
                <a:gd name="connsiteY144" fmla="*/ 361712 h 3116751"/>
                <a:gd name="connsiteX145" fmla="*/ 3247837 w 3721356"/>
                <a:gd name="connsiteY145" fmla="*/ 421997 h 3116751"/>
                <a:gd name="connsiteX146" fmla="*/ 3308122 w 3721356"/>
                <a:gd name="connsiteY146" fmla="*/ 361712 h 3116751"/>
                <a:gd name="connsiteX147" fmla="*/ 3308122 w 3721356"/>
                <a:gd name="connsiteY147" fmla="*/ 301427 h 3116751"/>
                <a:gd name="connsiteX148" fmla="*/ 3247837 w 3721356"/>
                <a:gd name="connsiteY148" fmla="*/ 241141 h 3116751"/>
                <a:gd name="connsiteX149" fmla="*/ 3048895 w 3721356"/>
                <a:gd name="connsiteY149" fmla="*/ 241141 h 3116751"/>
                <a:gd name="connsiteX150" fmla="*/ 2988610 w 3721356"/>
                <a:gd name="connsiteY150" fmla="*/ 301427 h 3116751"/>
                <a:gd name="connsiteX151" fmla="*/ 2988610 w 3721356"/>
                <a:gd name="connsiteY151" fmla="*/ 361712 h 3116751"/>
                <a:gd name="connsiteX152" fmla="*/ 3048895 w 3721356"/>
                <a:gd name="connsiteY152" fmla="*/ 421997 h 3116751"/>
                <a:gd name="connsiteX153" fmla="*/ 3109181 w 3721356"/>
                <a:gd name="connsiteY153" fmla="*/ 361712 h 3116751"/>
                <a:gd name="connsiteX154" fmla="*/ 3109181 w 3721356"/>
                <a:gd name="connsiteY154" fmla="*/ 301427 h 3116751"/>
                <a:gd name="connsiteX155" fmla="*/ 3048895 w 3721356"/>
                <a:gd name="connsiteY155" fmla="*/ 241141 h 3116751"/>
                <a:gd name="connsiteX156" fmla="*/ 2216958 w 3721356"/>
                <a:gd name="connsiteY156" fmla="*/ 204970 h 3116751"/>
                <a:gd name="connsiteX157" fmla="*/ 2620870 w 3721356"/>
                <a:gd name="connsiteY157" fmla="*/ 204970 h 3116751"/>
                <a:gd name="connsiteX158" fmla="*/ 2681155 w 3721356"/>
                <a:gd name="connsiteY158" fmla="*/ 265255 h 3116751"/>
                <a:gd name="connsiteX159" fmla="*/ 2681155 w 3721356"/>
                <a:gd name="connsiteY159" fmla="*/ 494340 h 3116751"/>
                <a:gd name="connsiteX160" fmla="*/ 2156673 w 3721356"/>
                <a:gd name="connsiteY160" fmla="*/ 494340 h 3116751"/>
                <a:gd name="connsiteX161" fmla="*/ 2156673 w 3721356"/>
                <a:gd name="connsiteY161" fmla="*/ 265255 h 3116751"/>
                <a:gd name="connsiteX162" fmla="*/ 2216958 w 3721356"/>
                <a:gd name="connsiteY162" fmla="*/ 204970 h 3116751"/>
                <a:gd name="connsiteX163" fmla="*/ 2982582 w 3721356"/>
                <a:gd name="connsiteY163" fmla="*/ 0 h 3116751"/>
                <a:gd name="connsiteX164" fmla="*/ 3314151 w 3721356"/>
                <a:gd name="connsiteY164" fmla="*/ 0 h 3116751"/>
                <a:gd name="connsiteX165" fmla="*/ 3513092 w 3721356"/>
                <a:gd name="connsiteY165" fmla="*/ 198942 h 3116751"/>
                <a:gd name="connsiteX166" fmla="*/ 3513092 w 3721356"/>
                <a:gd name="connsiteY166" fmla="*/ 1133364 h 3116751"/>
                <a:gd name="connsiteX167" fmla="*/ 3452807 w 3721356"/>
                <a:gd name="connsiteY167" fmla="*/ 1193650 h 3116751"/>
                <a:gd name="connsiteX168" fmla="*/ 2843925 w 3721356"/>
                <a:gd name="connsiteY168" fmla="*/ 1193650 h 3116751"/>
                <a:gd name="connsiteX169" fmla="*/ 2783640 w 3721356"/>
                <a:gd name="connsiteY169" fmla="*/ 1133364 h 3116751"/>
                <a:gd name="connsiteX170" fmla="*/ 2783640 w 3721356"/>
                <a:gd name="connsiteY170" fmla="*/ 198942 h 3116751"/>
                <a:gd name="connsiteX171" fmla="*/ 2982582 w 3721356"/>
                <a:gd name="connsiteY171" fmla="*/ 0 h 311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3721356" h="3116751">
                  <a:moveTo>
                    <a:pt x="3132942" y="2786101"/>
                  </a:moveTo>
                  <a:cubicBezTo>
                    <a:pt x="3195464" y="2790834"/>
                    <a:pt x="3259894" y="2812310"/>
                    <a:pt x="3314151" y="2857524"/>
                  </a:cubicBezTo>
                  <a:cubicBezTo>
                    <a:pt x="3416636" y="2935895"/>
                    <a:pt x="3507064" y="2984123"/>
                    <a:pt x="3615578" y="2893695"/>
                  </a:cubicBezTo>
                  <a:cubicBezTo>
                    <a:pt x="3645721" y="2869581"/>
                    <a:pt x="3681892" y="2875610"/>
                    <a:pt x="3706006" y="2893695"/>
                  </a:cubicBezTo>
                  <a:cubicBezTo>
                    <a:pt x="3730120" y="2917810"/>
                    <a:pt x="3724091" y="2953981"/>
                    <a:pt x="3699977" y="2978095"/>
                  </a:cubicBezTo>
                  <a:cubicBezTo>
                    <a:pt x="3561321" y="3098666"/>
                    <a:pt x="3398551" y="3074551"/>
                    <a:pt x="3247837" y="2941924"/>
                  </a:cubicBezTo>
                  <a:cubicBezTo>
                    <a:pt x="3181523" y="2881639"/>
                    <a:pt x="3073010" y="2875610"/>
                    <a:pt x="2958468" y="2978095"/>
                  </a:cubicBezTo>
                  <a:cubicBezTo>
                    <a:pt x="2753498" y="3158951"/>
                    <a:pt x="2536470" y="3110723"/>
                    <a:pt x="2470157" y="3014266"/>
                  </a:cubicBezTo>
                  <a:cubicBezTo>
                    <a:pt x="2458099" y="3002209"/>
                    <a:pt x="2361643" y="2905753"/>
                    <a:pt x="2253129" y="2893695"/>
                  </a:cubicBezTo>
                  <a:cubicBezTo>
                    <a:pt x="2162701" y="2887667"/>
                    <a:pt x="2126530" y="2929867"/>
                    <a:pt x="2090359" y="2966038"/>
                  </a:cubicBezTo>
                  <a:cubicBezTo>
                    <a:pt x="1909503" y="3128808"/>
                    <a:pt x="1698504" y="3098666"/>
                    <a:pt x="1620133" y="2996181"/>
                  </a:cubicBezTo>
                  <a:cubicBezTo>
                    <a:pt x="1487505" y="2869581"/>
                    <a:pt x="1385020" y="2917810"/>
                    <a:pt x="1294592" y="2996181"/>
                  </a:cubicBezTo>
                  <a:cubicBezTo>
                    <a:pt x="1204164" y="3074551"/>
                    <a:pt x="1113736" y="3116751"/>
                    <a:pt x="1023308" y="3116751"/>
                  </a:cubicBezTo>
                  <a:cubicBezTo>
                    <a:pt x="926852" y="3116751"/>
                    <a:pt x="842452" y="3062495"/>
                    <a:pt x="818338" y="3032352"/>
                  </a:cubicBezTo>
                  <a:cubicBezTo>
                    <a:pt x="794224" y="3014266"/>
                    <a:pt x="709825" y="2941924"/>
                    <a:pt x="619397" y="2941924"/>
                  </a:cubicBezTo>
                  <a:cubicBezTo>
                    <a:pt x="571168" y="2941924"/>
                    <a:pt x="528969" y="2960009"/>
                    <a:pt x="492797" y="3002209"/>
                  </a:cubicBezTo>
                  <a:cubicBezTo>
                    <a:pt x="426484" y="3068523"/>
                    <a:pt x="336056" y="3104694"/>
                    <a:pt x="239599" y="3098666"/>
                  </a:cubicBezTo>
                  <a:cubicBezTo>
                    <a:pt x="143143" y="3092637"/>
                    <a:pt x="58743" y="3050437"/>
                    <a:pt x="10515" y="2978095"/>
                  </a:cubicBezTo>
                  <a:cubicBezTo>
                    <a:pt x="-7571" y="2947952"/>
                    <a:pt x="-1542" y="2911781"/>
                    <a:pt x="22572" y="2893695"/>
                  </a:cubicBezTo>
                  <a:cubicBezTo>
                    <a:pt x="52715" y="2875610"/>
                    <a:pt x="88886" y="2881639"/>
                    <a:pt x="106971" y="2905753"/>
                  </a:cubicBezTo>
                  <a:cubicBezTo>
                    <a:pt x="137114" y="2947952"/>
                    <a:pt x="185342" y="2972067"/>
                    <a:pt x="245628" y="2978095"/>
                  </a:cubicBezTo>
                  <a:cubicBezTo>
                    <a:pt x="305913" y="2984123"/>
                    <a:pt x="366198" y="2966038"/>
                    <a:pt x="402369" y="2923838"/>
                  </a:cubicBezTo>
                  <a:cubicBezTo>
                    <a:pt x="522940" y="2797239"/>
                    <a:pt x="691739" y="2791210"/>
                    <a:pt x="854509" y="2911781"/>
                  </a:cubicBezTo>
                  <a:cubicBezTo>
                    <a:pt x="908766" y="2953981"/>
                    <a:pt x="944937" y="3008238"/>
                    <a:pt x="1035365" y="3002209"/>
                  </a:cubicBezTo>
                  <a:cubicBezTo>
                    <a:pt x="1125793" y="2996181"/>
                    <a:pt x="1216221" y="2917810"/>
                    <a:pt x="1234307" y="2893695"/>
                  </a:cubicBezTo>
                  <a:cubicBezTo>
                    <a:pt x="1306649" y="2791210"/>
                    <a:pt x="1517648" y="2761068"/>
                    <a:pt x="1686447" y="2905753"/>
                  </a:cubicBezTo>
                  <a:cubicBezTo>
                    <a:pt x="1807018" y="3008238"/>
                    <a:pt x="1927588" y="2972067"/>
                    <a:pt x="2024045" y="2869581"/>
                  </a:cubicBezTo>
                  <a:cubicBezTo>
                    <a:pt x="2096387" y="2767096"/>
                    <a:pt x="2319443" y="2736954"/>
                    <a:pt x="2512356" y="2911781"/>
                  </a:cubicBezTo>
                  <a:cubicBezTo>
                    <a:pt x="2548527" y="2935895"/>
                    <a:pt x="2584699" y="2996181"/>
                    <a:pt x="2681155" y="2990152"/>
                  </a:cubicBezTo>
                  <a:cubicBezTo>
                    <a:pt x="2783640" y="2978095"/>
                    <a:pt x="2880097" y="2881639"/>
                    <a:pt x="2892154" y="2869581"/>
                  </a:cubicBezTo>
                  <a:cubicBezTo>
                    <a:pt x="2929832" y="2816832"/>
                    <a:pt x="3028738" y="2778212"/>
                    <a:pt x="3132942" y="2786101"/>
                  </a:cubicBezTo>
                  <a:close/>
                  <a:moveTo>
                    <a:pt x="3132942" y="2321904"/>
                  </a:moveTo>
                  <a:cubicBezTo>
                    <a:pt x="3195464" y="2326637"/>
                    <a:pt x="3259894" y="2348113"/>
                    <a:pt x="3314151" y="2393327"/>
                  </a:cubicBezTo>
                  <a:cubicBezTo>
                    <a:pt x="3416636" y="2471698"/>
                    <a:pt x="3507064" y="2519927"/>
                    <a:pt x="3615578" y="2429499"/>
                  </a:cubicBezTo>
                  <a:cubicBezTo>
                    <a:pt x="3639692" y="2405384"/>
                    <a:pt x="3675863" y="2411413"/>
                    <a:pt x="3699977" y="2435527"/>
                  </a:cubicBezTo>
                  <a:cubicBezTo>
                    <a:pt x="3724091" y="2459641"/>
                    <a:pt x="3718063" y="2495812"/>
                    <a:pt x="3693949" y="2519927"/>
                  </a:cubicBezTo>
                  <a:cubicBezTo>
                    <a:pt x="3555293" y="2640497"/>
                    <a:pt x="3392522" y="2616383"/>
                    <a:pt x="3241809" y="2483755"/>
                  </a:cubicBezTo>
                  <a:cubicBezTo>
                    <a:pt x="3175495" y="2423470"/>
                    <a:pt x="3066981" y="2417442"/>
                    <a:pt x="2952439" y="2519927"/>
                  </a:cubicBezTo>
                  <a:cubicBezTo>
                    <a:pt x="2747469" y="2700783"/>
                    <a:pt x="2530442" y="2652554"/>
                    <a:pt x="2464128" y="2556098"/>
                  </a:cubicBezTo>
                  <a:cubicBezTo>
                    <a:pt x="2452071" y="2544041"/>
                    <a:pt x="2355614" y="2447584"/>
                    <a:pt x="2247101" y="2435527"/>
                  </a:cubicBezTo>
                  <a:cubicBezTo>
                    <a:pt x="2156673" y="2429499"/>
                    <a:pt x="2120502" y="2471698"/>
                    <a:pt x="2084330" y="2507870"/>
                  </a:cubicBezTo>
                  <a:cubicBezTo>
                    <a:pt x="1903474" y="2670640"/>
                    <a:pt x="1692476" y="2640497"/>
                    <a:pt x="1614105" y="2538012"/>
                  </a:cubicBezTo>
                  <a:cubicBezTo>
                    <a:pt x="1481477" y="2411413"/>
                    <a:pt x="1378992" y="2459641"/>
                    <a:pt x="1288564" y="2538012"/>
                  </a:cubicBezTo>
                  <a:cubicBezTo>
                    <a:pt x="1198136" y="2616383"/>
                    <a:pt x="1107708" y="2658583"/>
                    <a:pt x="1017280" y="2658583"/>
                  </a:cubicBezTo>
                  <a:cubicBezTo>
                    <a:pt x="920823" y="2658583"/>
                    <a:pt x="836424" y="2604326"/>
                    <a:pt x="812310" y="2574183"/>
                  </a:cubicBezTo>
                  <a:cubicBezTo>
                    <a:pt x="788196" y="2556098"/>
                    <a:pt x="703796" y="2483755"/>
                    <a:pt x="613368" y="2483755"/>
                  </a:cubicBezTo>
                  <a:cubicBezTo>
                    <a:pt x="565140" y="2483755"/>
                    <a:pt x="522940" y="2501841"/>
                    <a:pt x="486769" y="2544041"/>
                  </a:cubicBezTo>
                  <a:cubicBezTo>
                    <a:pt x="420455" y="2610355"/>
                    <a:pt x="330027" y="2646526"/>
                    <a:pt x="233571" y="2640497"/>
                  </a:cubicBezTo>
                  <a:cubicBezTo>
                    <a:pt x="137114" y="2634469"/>
                    <a:pt x="52715" y="2586240"/>
                    <a:pt x="10515" y="2513898"/>
                  </a:cubicBezTo>
                  <a:cubicBezTo>
                    <a:pt x="-7571" y="2483755"/>
                    <a:pt x="-1542" y="2447584"/>
                    <a:pt x="22572" y="2429499"/>
                  </a:cubicBezTo>
                  <a:cubicBezTo>
                    <a:pt x="52715" y="2411413"/>
                    <a:pt x="88886" y="2417442"/>
                    <a:pt x="106971" y="2441556"/>
                  </a:cubicBezTo>
                  <a:cubicBezTo>
                    <a:pt x="137114" y="2483755"/>
                    <a:pt x="185342" y="2507870"/>
                    <a:pt x="245628" y="2513898"/>
                  </a:cubicBezTo>
                  <a:cubicBezTo>
                    <a:pt x="305913" y="2519927"/>
                    <a:pt x="366198" y="2501841"/>
                    <a:pt x="402369" y="2459641"/>
                  </a:cubicBezTo>
                  <a:cubicBezTo>
                    <a:pt x="522940" y="2333042"/>
                    <a:pt x="691739" y="2327013"/>
                    <a:pt x="854509" y="2447584"/>
                  </a:cubicBezTo>
                  <a:cubicBezTo>
                    <a:pt x="908766" y="2489784"/>
                    <a:pt x="944937" y="2544041"/>
                    <a:pt x="1035365" y="2538012"/>
                  </a:cubicBezTo>
                  <a:cubicBezTo>
                    <a:pt x="1125793" y="2531984"/>
                    <a:pt x="1216221" y="2453613"/>
                    <a:pt x="1234307" y="2429499"/>
                  </a:cubicBezTo>
                  <a:cubicBezTo>
                    <a:pt x="1306649" y="2327013"/>
                    <a:pt x="1517648" y="2296871"/>
                    <a:pt x="1686447" y="2441556"/>
                  </a:cubicBezTo>
                  <a:cubicBezTo>
                    <a:pt x="1807018" y="2544041"/>
                    <a:pt x="1927588" y="2507870"/>
                    <a:pt x="2024045" y="2405384"/>
                  </a:cubicBezTo>
                  <a:cubicBezTo>
                    <a:pt x="2096387" y="2302899"/>
                    <a:pt x="2319443" y="2272757"/>
                    <a:pt x="2512356" y="2447584"/>
                  </a:cubicBezTo>
                  <a:cubicBezTo>
                    <a:pt x="2548527" y="2471698"/>
                    <a:pt x="2584699" y="2531984"/>
                    <a:pt x="2681155" y="2525955"/>
                  </a:cubicBezTo>
                  <a:cubicBezTo>
                    <a:pt x="2783640" y="2513898"/>
                    <a:pt x="2880097" y="2417442"/>
                    <a:pt x="2892154" y="2405384"/>
                  </a:cubicBezTo>
                  <a:cubicBezTo>
                    <a:pt x="2929832" y="2352635"/>
                    <a:pt x="3028738" y="2314015"/>
                    <a:pt x="3132942" y="2321904"/>
                  </a:cubicBezTo>
                  <a:close/>
                  <a:moveTo>
                    <a:pt x="733939" y="1573447"/>
                  </a:moveTo>
                  <a:cubicBezTo>
                    <a:pt x="697768" y="1573447"/>
                    <a:pt x="673653" y="1603590"/>
                    <a:pt x="673653" y="1633732"/>
                  </a:cubicBezTo>
                  <a:cubicBezTo>
                    <a:pt x="673653" y="1669903"/>
                    <a:pt x="703796" y="1694018"/>
                    <a:pt x="733939" y="1694018"/>
                  </a:cubicBezTo>
                  <a:lnTo>
                    <a:pt x="2391786" y="1694018"/>
                  </a:lnTo>
                  <a:cubicBezTo>
                    <a:pt x="2427957" y="1694018"/>
                    <a:pt x="2452071" y="1669903"/>
                    <a:pt x="2452071" y="1633732"/>
                  </a:cubicBezTo>
                  <a:cubicBezTo>
                    <a:pt x="2452071" y="1603590"/>
                    <a:pt x="2427957" y="1573447"/>
                    <a:pt x="2391786" y="1573447"/>
                  </a:cubicBezTo>
                  <a:close/>
                  <a:moveTo>
                    <a:pt x="173285" y="1314220"/>
                  </a:moveTo>
                  <a:lnTo>
                    <a:pt x="3639692" y="1314220"/>
                  </a:lnTo>
                  <a:cubicBezTo>
                    <a:pt x="3669834" y="1314220"/>
                    <a:pt x="3699977" y="1344363"/>
                    <a:pt x="3699977" y="1374505"/>
                  </a:cubicBezTo>
                  <a:cubicBezTo>
                    <a:pt x="3699977" y="2043673"/>
                    <a:pt x="3350322" y="2140129"/>
                    <a:pt x="3139324" y="2140129"/>
                  </a:cubicBezTo>
                  <a:lnTo>
                    <a:pt x="733939" y="2140129"/>
                  </a:lnTo>
                  <a:cubicBezTo>
                    <a:pt x="468683" y="2140129"/>
                    <a:pt x="348113" y="1880902"/>
                    <a:pt x="221513" y="1609618"/>
                  </a:cubicBezTo>
                  <a:cubicBezTo>
                    <a:pt x="185342" y="1543304"/>
                    <a:pt x="155199" y="1470962"/>
                    <a:pt x="125057" y="1404648"/>
                  </a:cubicBezTo>
                  <a:cubicBezTo>
                    <a:pt x="113000" y="1386562"/>
                    <a:pt x="113000" y="1362448"/>
                    <a:pt x="125057" y="1344363"/>
                  </a:cubicBezTo>
                  <a:cubicBezTo>
                    <a:pt x="131085" y="1326277"/>
                    <a:pt x="155199" y="1314220"/>
                    <a:pt x="173285" y="1314220"/>
                  </a:cubicBezTo>
                  <a:close/>
                  <a:moveTo>
                    <a:pt x="2156673" y="904280"/>
                  </a:moveTo>
                  <a:lnTo>
                    <a:pt x="2681155" y="904280"/>
                  </a:lnTo>
                  <a:lnTo>
                    <a:pt x="2681155" y="1133365"/>
                  </a:lnTo>
                  <a:lnTo>
                    <a:pt x="2156673" y="1133365"/>
                  </a:lnTo>
                  <a:close/>
                  <a:moveTo>
                    <a:pt x="1565876" y="904280"/>
                  </a:moveTo>
                  <a:lnTo>
                    <a:pt x="2090359" y="904280"/>
                  </a:lnTo>
                  <a:lnTo>
                    <a:pt x="2090359" y="1133365"/>
                  </a:lnTo>
                  <a:lnTo>
                    <a:pt x="1565876" y="1133365"/>
                  </a:lnTo>
                  <a:close/>
                  <a:moveTo>
                    <a:pt x="975080" y="904280"/>
                  </a:moveTo>
                  <a:lnTo>
                    <a:pt x="1499562" y="904280"/>
                  </a:lnTo>
                  <a:lnTo>
                    <a:pt x="1499562" y="1133365"/>
                  </a:lnTo>
                  <a:lnTo>
                    <a:pt x="975080" y="1133365"/>
                  </a:lnTo>
                  <a:close/>
                  <a:moveTo>
                    <a:pt x="438540" y="783709"/>
                  </a:moveTo>
                  <a:lnTo>
                    <a:pt x="842452" y="783709"/>
                  </a:lnTo>
                  <a:cubicBezTo>
                    <a:pt x="872595" y="783709"/>
                    <a:pt x="902737" y="813852"/>
                    <a:pt x="902737" y="843994"/>
                  </a:cubicBezTo>
                  <a:lnTo>
                    <a:pt x="902737" y="1133364"/>
                  </a:lnTo>
                  <a:lnTo>
                    <a:pt x="378255" y="1133364"/>
                  </a:lnTo>
                  <a:lnTo>
                    <a:pt x="378255" y="843994"/>
                  </a:lnTo>
                  <a:cubicBezTo>
                    <a:pt x="378255" y="813852"/>
                    <a:pt x="408398" y="783709"/>
                    <a:pt x="438540" y="783709"/>
                  </a:cubicBezTo>
                  <a:close/>
                  <a:moveTo>
                    <a:pt x="3247837" y="777681"/>
                  </a:moveTo>
                  <a:cubicBezTo>
                    <a:pt x="3211666" y="777681"/>
                    <a:pt x="3187552" y="801795"/>
                    <a:pt x="3187552" y="837966"/>
                  </a:cubicBezTo>
                  <a:lnTo>
                    <a:pt x="3187552" y="898252"/>
                  </a:lnTo>
                  <a:cubicBezTo>
                    <a:pt x="3187552" y="934423"/>
                    <a:pt x="3211666" y="958537"/>
                    <a:pt x="3247837" y="958537"/>
                  </a:cubicBezTo>
                  <a:cubicBezTo>
                    <a:pt x="3284008" y="958537"/>
                    <a:pt x="3308122" y="934423"/>
                    <a:pt x="3308122" y="898252"/>
                  </a:cubicBezTo>
                  <a:lnTo>
                    <a:pt x="3308122" y="837966"/>
                  </a:lnTo>
                  <a:cubicBezTo>
                    <a:pt x="3308122" y="801795"/>
                    <a:pt x="3284008" y="777681"/>
                    <a:pt x="3247837" y="777681"/>
                  </a:cubicBezTo>
                  <a:close/>
                  <a:moveTo>
                    <a:pt x="3048895" y="777681"/>
                  </a:moveTo>
                  <a:cubicBezTo>
                    <a:pt x="3012724" y="777681"/>
                    <a:pt x="2988610" y="801795"/>
                    <a:pt x="2988610" y="837966"/>
                  </a:cubicBezTo>
                  <a:lnTo>
                    <a:pt x="2988610" y="898252"/>
                  </a:lnTo>
                  <a:cubicBezTo>
                    <a:pt x="2988610" y="934423"/>
                    <a:pt x="3012724" y="958537"/>
                    <a:pt x="3048895" y="958537"/>
                  </a:cubicBezTo>
                  <a:cubicBezTo>
                    <a:pt x="3085067" y="958537"/>
                    <a:pt x="3109181" y="934423"/>
                    <a:pt x="3109181" y="898252"/>
                  </a:cubicBezTo>
                  <a:lnTo>
                    <a:pt x="3109181" y="837966"/>
                  </a:lnTo>
                  <a:cubicBezTo>
                    <a:pt x="3109181" y="801795"/>
                    <a:pt x="3085067" y="777681"/>
                    <a:pt x="3048895" y="777681"/>
                  </a:cubicBezTo>
                  <a:close/>
                  <a:moveTo>
                    <a:pt x="2156673" y="614910"/>
                  </a:moveTo>
                  <a:lnTo>
                    <a:pt x="2681155" y="614910"/>
                  </a:lnTo>
                  <a:lnTo>
                    <a:pt x="2681155" y="783709"/>
                  </a:lnTo>
                  <a:lnTo>
                    <a:pt x="2156673" y="783709"/>
                  </a:lnTo>
                  <a:close/>
                  <a:moveTo>
                    <a:pt x="3247837" y="506397"/>
                  </a:moveTo>
                  <a:cubicBezTo>
                    <a:pt x="3211666" y="506397"/>
                    <a:pt x="3187552" y="530511"/>
                    <a:pt x="3187552" y="566682"/>
                  </a:cubicBezTo>
                  <a:lnTo>
                    <a:pt x="3187552" y="626968"/>
                  </a:lnTo>
                  <a:cubicBezTo>
                    <a:pt x="3187552" y="663139"/>
                    <a:pt x="3211666" y="687253"/>
                    <a:pt x="3247837" y="687253"/>
                  </a:cubicBezTo>
                  <a:cubicBezTo>
                    <a:pt x="3284008" y="687253"/>
                    <a:pt x="3308122" y="663139"/>
                    <a:pt x="3308122" y="626968"/>
                  </a:cubicBezTo>
                  <a:lnTo>
                    <a:pt x="3308122" y="566682"/>
                  </a:lnTo>
                  <a:cubicBezTo>
                    <a:pt x="3308122" y="530511"/>
                    <a:pt x="3284008" y="506397"/>
                    <a:pt x="3247837" y="506397"/>
                  </a:cubicBezTo>
                  <a:close/>
                  <a:moveTo>
                    <a:pt x="3048895" y="506397"/>
                  </a:moveTo>
                  <a:cubicBezTo>
                    <a:pt x="3012724" y="506397"/>
                    <a:pt x="2988610" y="530511"/>
                    <a:pt x="2988610" y="566682"/>
                  </a:cubicBezTo>
                  <a:lnTo>
                    <a:pt x="2988610" y="626968"/>
                  </a:lnTo>
                  <a:cubicBezTo>
                    <a:pt x="2988610" y="663139"/>
                    <a:pt x="3012724" y="687253"/>
                    <a:pt x="3048895" y="687253"/>
                  </a:cubicBezTo>
                  <a:cubicBezTo>
                    <a:pt x="3085067" y="687253"/>
                    <a:pt x="3109181" y="663139"/>
                    <a:pt x="3109181" y="626968"/>
                  </a:cubicBezTo>
                  <a:lnTo>
                    <a:pt x="3109181" y="566682"/>
                  </a:lnTo>
                  <a:cubicBezTo>
                    <a:pt x="3109181" y="530511"/>
                    <a:pt x="3085067" y="506397"/>
                    <a:pt x="3048895" y="506397"/>
                  </a:cubicBezTo>
                  <a:close/>
                  <a:moveTo>
                    <a:pt x="1626161" y="494340"/>
                  </a:moveTo>
                  <a:lnTo>
                    <a:pt x="2030073" y="494340"/>
                  </a:lnTo>
                  <a:cubicBezTo>
                    <a:pt x="2066244" y="494340"/>
                    <a:pt x="2090358" y="524483"/>
                    <a:pt x="2090358" y="554625"/>
                  </a:cubicBezTo>
                  <a:lnTo>
                    <a:pt x="2090358" y="783710"/>
                  </a:lnTo>
                  <a:lnTo>
                    <a:pt x="1565876" y="783710"/>
                  </a:lnTo>
                  <a:lnTo>
                    <a:pt x="1565876" y="554625"/>
                  </a:lnTo>
                  <a:cubicBezTo>
                    <a:pt x="1565876" y="524483"/>
                    <a:pt x="1596019" y="494340"/>
                    <a:pt x="1626161" y="494340"/>
                  </a:cubicBezTo>
                  <a:close/>
                  <a:moveTo>
                    <a:pt x="1029337" y="494340"/>
                  </a:moveTo>
                  <a:lnTo>
                    <a:pt x="1433249" y="494340"/>
                  </a:lnTo>
                  <a:cubicBezTo>
                    <a:pt x="1463392" y="494340"/>
                    <a:pt x="1493534" y="524483"/>
                    <a:pt x="1493534" y="554625"/>
                  </a:cubicBezTo>
                  <a:lnTo>
                    <a:pt x="1493534" y="783710"/>
                  </a:lnTo>
                  <a:lnTo>
                    <a:pt x="969052" y="783710"/>
                  </a:lnTo>
                  <a:lnTo>
                    <a:pt x="969052" y="554625"/>
                  </a:lnTo>
                  <a:cubicBezTo>
                    <a:pt x="969052" y="524483"/>
                    <a:pt x="993166" y="494340"/>
                    <a:pt x="1029337" y="494340"/>
                  </a:cubicBezTo>
                  <a:close/>
                  <a:moveTo>
                    <a:pt x="3247837" y="241141"/>
                  </a:moveTo>
                  <a:cubicBezTo>
                    <a:pt x="3211666" y="241141"/>
                    <a:pt x="3187552" y="265255"/>
                    <a:pt x="3187552" y="301427"/>
                  </a:cubicBezTo>
                  <a:lnTo>
                    <a:pt x="3187552" y="361712"/>
                  </a:lnTo>
                  <a:cubicBezTo>
                    <a:pt x="3187552" y="397883"/>
                    <a:pt x="3211666" y="421997"/>
                    <a:pt x="3247837" y="421997"/>
                  </a:cubicBezTo>
                  <a:cubicBezTo>
                    <a:pt x="3284008" y="421997"/>
                    <a:pt x="3308122" y="397883"/>
                    <a:pt x="3308122" y="361712"/>
                  </a:cubicBezTo>
                  <a:lnTo>
                    <a:pt x="3308122" y="301427"/>
                  </a:lnTo>
                  <a:cubicBezTo>
                    <a:pt x="3308122" y="265255"/>
                    <a:pt x="3284008" y="241141"/>
                    <a:pt x="3247837" y="241141"/>
                  </a:cubicBezTo>
                  <a:close/>
                  <a:moveTo>
                    <a:pt x="3048895" y="241141"/>
                  </a:moveTo>
                  <a:cubicBezTo>
                    <a:pt x="3012724" y="241141"/>
                    <a:pt x="2988610" y="265255"/>
                    <a:pt x="2988610" y="301427"/>
                  </a:cubicBezTo>
                  <a:lnTo>
                    <a:pt x="2988610" y="361712"/>
                  </a:lnTo>
                  <a:cubicBezTo>
                    <a:pt x="2988610" y="397883"/>
                    <a:pt x="3012724" y="421997"/>
                    <a:pt x="3048895" y="421997"/>
                  </a:cubicBezTo>
                  <a:cubicBezTo>
                    <a:pt x="3085067" y="421997"/>
                    <a:pt x="3109181" y="397883"/>
                    <a:pt x="3109181" y="361712"/>
                  </a:cubicBezTo>
                  <a:lnTo>
                    <a:pt x="3109181" y="301427"/>
                  </a:lnTo>
                  <a:cubicBezTo>
                    <a:pt x="3109181" y="265255"/>
                    <a:pt x="3085067" y="241141"/>
                    <a:pt x="3048895" y="241141"/>
                  </a:cubicBezTo>
                  <a:close/>
                  <a:moveTo>
                    <a:pt x="2216958" y="204970"/>
                  </a:moveTo>
                  <a:lnTo>
                    <a:pt x="2620870" y="204970"/>
                  </a:lnTo>
                  <a:cubicBezTo>
                    <a:pt x="2651013" y="204970"/>
                    <a:pt x="2681155" y="235113"/>
                    <a:pt x="2681155" y="265255"/>
                  </a:cubicBezTo>
                  <a:lnTo>
                    <a:pt x="2681155" y="494340"/>
                  </a:lnTo>
                  <a:lnTo>
                    <a:pt x="2156673" y="494340"/>
                  </a:lnTo>
                  <a:lnTo>
                    <a:pt x="2156673" y="265255"/>
                  </a:lnTo>
                  <a:cubicBezTo>
                    <a:pt x="2156673" y="235113"/>
                    <a:pt x="2186816" y="204970"/>
                    <a:pt x="2216958" y="204970"/>
                  </a:cubicBezTo>
                  <a:close/>
                  <a:moveTo>
                    <a:pt x="2982582" y="0"/>
                  </a:moveTo>
                  <a:lnTo>
                    <a:pt x="3314151" y="0"/>
                  </a:lnTo>
                  <a:cubicBezTo>
                    <a:pt x="3422664" y="0"/>
                    <a:pt x="3513092" y="90428"/>
                    <a:pt x="3513092" y="198942"/>
                  </a:cubicBezTo>
                  <a:lnTo>
                    <a:pt x="3513092" y="1133364"/>
                  </a:lnTo>
                  <a:cubicBezTo>
                    <a:pt x="3513092" y="1169536"/>
                    <a:pt x="3482950" y="1193650"/>
                    <a:pt x="3452807" y="1193650"/>
                  </a:cubicBezTo>
                  <a:lnTo>
                    <a:pt x="2843925" y="1193650"/>
                  </a:lnTo>
                  <a:cubicBezTo>
                    <a:pt x="2813783" y="1193650"/>
                    <a:pt x="2783640" y="1169536"/>
                    <a:pt x="2783640" y="1133364"/>
                  </a:cubicBezTo>
                  <a:lnTo>
                    <a:pt x="2783640" y="198942"/>
                  </a:lnTo>
                  <a:cubicBezTo>
                    <a:pt x="2783640" y="90428"/>
                    <a:pt x="2874068" y="0"/>
                    <a:pt x="2982582" y="0"/>
                  </a:cubicBezTo>
                  <a:close/>
                </a:path>
              </a:pathLst>
            </a:custGeom>
            <a:solidFill>
              <a:schemeClr val="bg1"/>
            </a:solidFill>
            <a:ln w="0">
              <a:noFill/>
              <a:prstDash val="solid"/>
              <a:round/>
              <a:headEnd/>
              <a:tailEnd/>
            </a:ln>
          </p:spPr>
          <p:txBody>
            <a:bodyPr rtlCol="0" anchor="ctr"/>
            <a:lstStyle/>
            <a:p>
              <a:endParaRPr lang="en-US" sz="1600"/>
            </a:p>
          </p:txBody>
        </p:sp>
        <p:sp>
          <p:nvSpPr>
            <p:cNvPr id="14" name="Freeform: Shape 14">
              <a:extLst>
                <a:ext uri="{FF2B5EF4-FFF2-40B4-BE49-F238E27FC236}">
                  <a16:creationId xmlns:a16="http://schemas.microsoft.com/office/drawing/2014/main" id="{595FFF26-2674-3924-6CA8-AF6EB8740EE1}"/>
                </a:ext>
              </a:extLst>
            </p:cNvPr>
            <p:cNvSpPr>
              <a:spLocks noChangeAspect="1"/>
            </p:cNvSpPr>
            <p:nvPr/>
          </p:nvSpPr>
          <p:spPr>
            <a:xfrm>
              <a:off x="2478206" y="2977621"/>
              <a:ext cx="665343" cy="443562"/>
            </a:xfrm>
            <a:custGeom>
              <a:avLst/>
              <a:gdLst>
                <a:gd name="connsiteX0" fmla="*/ 590550 w 800100"/>
                <a:gd name="connsiteY0" fmla="*/ 400050 h 533400"/>
                <a:gd name="connsiteX1" fmla="*/ 571500 w 800100"/>
                <a:gd name="connsiteY1" fmla="*/ 419100 h 533400"/>
                <a:gd name="connsiteX2" fmla="*/ 590550 w 800100"/>
                <a:gd name="connsiteY2" fmla="*/ 438150 h 533400"/>
                <a:gd name="connsiteX3" fmla="*/ 609600 w 800100"/>
                <a:gd name="connsiteY3" fmla="*/ 419100 h 533400"/>
                <a:gd name="connsiteX4" fmla="*/ 590550 w 800100"/>
                <a:gd name="connsiteY4" fmla="*/ 400050 h 533400"/>
                <a:gd name="connsiteX5" fmla="*/ 400050 w 800100"/>
                <a:gd name="connsiteY5" fmla="*/ 400050 h 533400"/>
                <a:gd name="connsiteX6" fmla="*/ 381000 w 800100"/>
                <a:gd name="connsiteY6" fmla="*/ 419100 h 533400"/>
                <a:gd name="connsiteX7" fmla="*/ 400050 w 800100"/>
                <a:gd name="connsiteY7" fmla="*/ 438150 h 533400"/>
                <a:gd name="connsiteX8" fmla="*/ 419100 w 800100"/>
                <a:gd name="connsiteY8" fmla="*/ 419100 h 533400"/>
                <a:gd name="connsiteX9" fmla="*/ 400050 w 800100"/>
                <a:gd name="connsiteY9" fmla="*/ 400050 h 533400"/>
                <a:gd name="connsiteX10" fmla="*/ 209550 w 800100"/>
                <a:gd name="connsiteY10" fmla="*/ 400050 h 533400"/>
                <a:gd name="connsiteX11" fmla="*/ 190500 w 800100"/>
                <a:gd name="connsiteY11" fmla="*/ 419100 h 533400"/>
                <a:gd name="connsiteX12" fmla="*/ 209550 w 800100"/>
                <a:gd name="connsiteY12" fmla="*/ 438150 h 533400"/>
                <a:gd name="connsiteX13" fmla="*/ 228600 w 800100"/>
                <a:gd name="connsiteY13" fmla="*/ 419100 h 533400"/>
                <a:gd name="connsiteX14" fmla="*/ 209550 w 800100"/>
                <a:gd name="connsiteY14" fmla="*/ 400050 h 533400"/>
                <a:gd name="connsiteX15" fmla="*/ 0 w 800100"/>
                <a:gd name="connsiteY15" fmla="*/ 285750 h 533400"/>
                <a:gd name="connsiteX16" fmla="*/ 38100 w 800100"/>
                <a:gd name="connsiteY16" fmla="*/ 285750 h 533400"/>
                <a:gd name="connsiteX17" fmla="*/ 95250 w 800100"/>
                <a:gd name="connsiteY17" fmla="*/ 285750 h 533400"/>
                <a:gd name="connsiteX18" fmla="*/ 95250 w 800100"/>
                <a:gd name="connsiteY18" fmla="*/ 419100 h 533400"/>
                <a:gd name="connsiteX19" fmla="*/ 114300 w 800100"/>
                <a:gd name="connsiteY19" fmla="*/ 438150 h 533400"/>
                <a:gd name="connsiteX20" fmla="*/ 133350 w 800100"/>
                <a:gd name="connsiteY20" fmla="*/ 419100 h 533400"/>
                <a:gd name="connsiteX21" fmla="*/ 133350 w 800100"/>
                <a:gd name="connsiteY21" fmla="*/ 285750 h 533400"/>
                <a:gd name="connsiteX22" fmla="*/ 190500 w 800100"/>
                <a:gd name="connsiteY22" fmla="*/ 285750 h 533400"/>
                <a:gd name="connsiteX23" fmla="*/ 190500 w 800100"/>
                <a:gd name="connsiteY23" fmla="*/ 342900 h 533400"/>
                <a:gd name="connsiteX24" fmla="*/ 209550 w 800100"/>
                <a:gd name="connsiteY24" fmla="*/ 361950 h 533400"/>
                <a:gd name="connsiteX25" fmla="*/ 228600 w 800100"/>
                <a:gd name="connsiteY25" fmla="*/ 342900 h 533400"/>
                <a:gd name="connsiteX26" fmla="*/ 228600 w 800100"/>
                <a:gd name="connsiteY26" fmla="*/ 285750 h 533400"/>
                <a:gd name="connsiteX27" fmla="*/ 285750 w 800100"/>
                <a:gd name="connsiteY27" fmla="*/ 285750 h 533400"/>
                <a:gd name="connsiteX28" fmla="*/ 285750 w 800100"/>
                <a:gd name="connsiteY28" fmla="*/ 419100 h 533400"/>
                <a:gd name="connsiteX29" fmla="*/ 304800 w 800100"/>
                <a:gd name="connsiteY29" fmla="*/ 438150 h 533400"/>
                <a:gd name="connsiteX30" fmla="*/ 323850 w 800100"/>
                <a:gd name="connsiteY30" fmla="*/ 419100 h 533400"/>
                <a:gd name="connsiteX31" fmla="*/ 323850 w 800100"/>
                <a:gd name="connsiteY31" fmla="*/ 285750 h 533400"/>
                <a:gd name="connsiteX32" fmla="*/ 381000 w 800100"/>
                <a:gd name="connsiteY32" fmla="*/ 285750 h 533400"/>
                <a:gd name="connsiteX33" fmla="*/ 381000 w 800100"/>
                <a:gd name="connsiteY33" fmla="*/ 342900 h 533400"/>
                <a:gd name="connsiteX34" fmla="*/ 400050 w 800100"/>
                <a:gd name="connsiteY34" fmla="*/ 361950 h 533400"/>
                <a:gd name="connsiteX35" fmla="*/ 419100 w 800100"/>
                <a:gd name="connsiteY35" fmla="*/ 342900 h 533400"/>
                <a:gd name="connsiteX36" fmla="*/ 419100 w 800100"/>
                <a:gd name="connsiteY36" fmla="*/ 285750 h 533400"/>
                <a:gd name="connsiteX37" fmla="*/ 476250 w 800100"/>
                <a:gd name="connsiteY37" fmla="*/ 285750 h 533400"/>
                <a:gd name="connsiteX38" fmla="*/ 476250 w 800100"/>
                <a:gd name="connsiteY38" fmla="*/ 419100 h 533400"/>
                <a:gd name="connsiteX39" fmla="*/ 495300 w 800100"/>
                <a:gd name="connsiteY39" fmla="*/ 438150 h 533400"/>
                <a:gd name="connsiteX40" fmla="*/ 514350 w 800100"/>
                <a:gd name="connsiteY40" fmla="*/ 419100 h 533400"/>
                <a:gd name="connsiteX41" fmla="*/ 514350 w 800100"/>
                <a:gd name="connsiteY41" fmla="*/ 285750 h 533400"/>
                <a:gd name="connsiteX42" fmla="*/ 571500 w 800100"/>
                <a:gd name="connsiteY42" fmla="*/ 285750 h 533400"/>
                <a:gd name="connsiteX43" fmla="*/ 571500 w 800100"/>
                <a:gd name="connsiteY43" fmla="*/ 342900 h 533400"/>
                <a:gd name="connsiteX44" fmla="*/ 590550 w 800100"/>
                <a:gd name="connsiteY44" fmla="*/ 361950 h 533400"/>
                <a:gd name="connsiteX45" fmla="*/ 609600 w 800100"/>
                <a:gd name="connsiteY45" fmla="*/ 342900 h 533400"/>
                <a:gd name="connsiteX46" fmla="*/ 609600 w 800100"/>
                <a:gd name="connsiteY46" fmla="*/ 285750 h 533400"/>
                <a:gd name="connsiteX47" fmla="*/ 666750 w 800100"/>
                <a:gd name="connsiteY47" fmla="*/ 285750 h 533400"/>
                <a:gd name="connsiteX48" fmla="*/ 666750 w 800100"/>
                <a:gd name="connsiteY48" fmla="*/ 419100 h 533400"/>
                <a:gd name="connsiteX49" fmla="*/ 685800 w 800100"/>
                <a:gd name="connsiteY49" fmla="*/ 438150 h 533400"/>
                <a:gd name="connsiteX50" fmla="*/ 704850 w 800100"/>
                <a:gd name="connsiteY50" fmla="*/ 419100 h 533400"/>
                <a:gd name="connsiteX51" fmla="*/ 704850 w 800100"/>
                <a:gd name="connsiteY51" fmla="*/ 285750 h 533400"/>
                <a:gd name="connsiteX52" fmla="*/ 762000 w 800100"/>
                <a:gd name="connsiteY52" fmla="*/ 285750 h 533400"/>
                <a:gd name="connsiteX53" fmla="*/ 800100 w 800100"/>
                <a:gd name="connsiteY53" fmla="*/ 285750 h 533400"/>
                <a:gd name="connsiteX54" fmla="*/ 800100 w 800100"/>
                <a:gd name="connsiteY54" fmla="*/ 514350 h 533400"/>
                <a:gd name="connsiteX55" fmla="*/ 781050 w 800100"/>
                <a:gd name="connsiteY55" fmla="*/ 533400 h 533400"/>
                <a:gd name="connsiteX56" fmla="*/ 19050 w 800100"/>
                <a:gd name="connsiteY56" fmla="*/ 533400 h 533400"/>
                <a:gd name="connsiteX57" fmla="*/ 0 w 800100"/>
                <a:gd name="connsiteY57" fmla="*/ 514350 h 533400"/>
                <a:gd name="connsiteX58" fmla="*/ 685800 w 800100"/>
                <a:gd name="connsiteY58" fmla="*/ 95250 h 533400"/>
                <a:gd name="connsiteX59" fmla="*/ 666750 w 800100"/>
                <a:gd name="connsiteY59" fmla="*/ 114300 h 533400"/>
                <a:gd name="connsiteX60" fmla="*/ 685800 w 800100"/>
                <a:gd name="connsiteY60" fmla="*/ 133350 h 533400"/>
                <a:gd name="connsiteX61" fmla="*/ 704850 w 800100"/>
                <a:gd name="connsiteY61" fmla="*/ 114300 h 533400"/>
                <a:gd name="connsiteX62" fmla="*/ 685800 w 800100"/>
                <a:gd name="connsiteY62" fmla="*/ 95250 h 533400"/>
                <a:gd name="connsiteX63" fmla="*/ 495300 w 800100"/>
                <a:gd name="connsiteY63" fmla="*/ 95250 h 533400"/>
                <a:gd name="connsiteX64" fmla="*/ 476250 w 800100"/>
                <a:gd name="connsiteY64" fmla="*/ 114300 h 533400"/>
                <a:gd name="connsiteX65" fmla="*/ 495300 w 800100"/>
                <a:gd name="connsiteY65" fmla="*/ 133350 h 533400"/>
                <a:gd name="connsiteX66" fmla="*/ 514350 w 800100"/>
                <a:gd name="connsiteY66" fmla="*/ 114300 h 533400"/>
                <a:gd name="connsiteX67" fmla="*/ 495300 w 800100"/>
                <a:gd name="connsiteY67" fmla="*/ 95250 h 533400"/>
                <a:gd name="connsiteX68" fmla="*/ 304800 w 800100"/>
                <a:gd name="connsiteY68" fmla="*/ 95250 h 533400"/>
                <a:gd name="connsiteX69" fmla="*/ 285750 w 800100"/>
                <a:gd name="connsiteY69" fmla="*/ 114300 h 533400"/>
                <a:gd name="connsiteX70" fmla="*/ 304800 w 800100"/>
                <a:gd name="connsiteY70" fmla="*/ 133350 h 533400"/>
                <a:gd name="connsiteX71" fmla="*/ 323850 w 800100"/>
                <a:gd name="connsiteY71" fmla="*/ 114300 h 533400"/>
                <a:gd name="connsiteX72" fmla="*/ 304800 w 800100"/>
                <a:gd name="connsiteY72" fmla="*/ 95250 h 533400"/>
                <a:gd name="connsiteX73" fmla="*/ 114300 w 800100"/>
                <a:gd name="connsiteY73" fmla="*/ 95250 h 533400"/>
                <a:gd name="connsiteX74" fmla="*/ 95250 w 800100"/>
                <a:gd name="connsiteY74" fmla="*/ 114300 h 533400"/>
                <a:gd name="connsiteX75" fmla="*/ 114300 w 800100"/>
                <a:gd name="connsiteY75" fmla="*/ 133350 h 533400"/>
                <a:gd name="connsiteX76" fmla="*/ 133350 w 800100"/>
                <a:gd name="connsiteY76" fmla="*/ 114300 h 533400"/>
                <a:gd name="connsiteX77" fmla="*/ 114300 w 800100"/>
                <a:gd name="connsiteY77" fmla="*/ 95250 h 533400"/>
                <a:gd name="connsiteX78" fmla="*/ 19050 w 800100"/>
                <a:gd name="connsiteY78" fmla="*/ 0 h 533400"/>
                <a:gd name="connsiteX79" fmla="*/ 781050 w 800100"/>
                <a:gd name="connsiteY79" fmla="*/ 0 h 533400"/>
                <a:gd name="connsiteX80" fmla="*/ 800100 w 800100"/>
                <a:gd name="connsiteY80" fmla="*/ 19050 h 533400"/>
                <a:gd name="connsiteX81" fmla="*/ 800100 w 800100"/>
                <a:gd name="connsiteY81" fmla="*/ 247650 h 533400"/>
                <a:gd name="connsiteX82" fmla="*/ 762000 w 800100"/>
                <a:gd name="connsiteY82" fmla="*/ 247650 h 533400"/>
                <a:gd name="connsiteX83" fmla="*/ 704850 w 800100"/>
                <a:gd name="connsiteY83" fmla="*/ 247650 h 533400"/>
                <a:gd name="connsiteX84" fmla="*/ 704850 w 800100"/>
                <a:gd name="connsiteY84" fmla="*/ 190500 h 533400"/>
                <a:gd name="connsiteX85" fmla="*/ 685800 w 800100"/>
                <a:gd name="connsiteY85" fmla="*/ 171450 h 533400"/>
                <a:gd name="connsiteX86" fmla="*/ 666750 w 800100"/>
                <a:gd name="connsiteY86" fmla="*/ 190500 h 533400"/>
                <a:gd name="connsiteX87" fmla="*/ 666750 w 800100"/>
                <a:gd name="connsiteY87" fmla="*/ 247650 h 533400"/>
                <a:gd name="connsiteX88" fmla="*/ 609600 w 800100"/>
                <a:gd name="connsiteY88" fmla="*/ 247650 h 533400"/>
                <a:gd name="connsiteX89" fmla="*/ 609600 w 800100"/>
                <a:gd name="connsiteY89" fmla="*/ 114300 h 533400"/>
                <a:gd name="connsiteX90" fmla="*/ 590550 w 800100"/>
                <a:gd name="connsiteY90" fmla="*/ 95250 h 533400"/>
                <a:gd name="connsiteX91" fmla="*/ 571500 w 800100"/>
                <a:gd name="connsiteY91" fmla="*/ 114300 h 533400"/>
                <a:gd name="connsiteX92" fmla="*/ 571500 w 800100"/>
                <a:gd name="connsiteY92" fmla="*/ 247650 h 533400"/>
                <a:gd name="connsiteX93" fmla="*/ 514350 w 800100"/>
                <a:gd name="connsiteY93" fmla="*/ 247650 h 533400"/>
                <a:gd name="connsiteX94" fmla="*/ 514350 w 800100"/>
                <a:gd name="connsiteY94" fmla="*/ 190500 h 533400"/>
                <a:gd name="connsiteX95" fmla="*/ 495300 w 800100"/>
                <a:gd name="connsiteY95" fmla="*/ 171450 h 533400"/>
                <a:gd name="connsiteX96" fmla="*/ 476250 w 800100"/>
                <a:gd name="connsiteY96" fmla="*/ 190500 h 533400"/>
                <a:gd name="connsiteX97" fmla="*/ 476250 w 800100"/>
                <a:gd name="connsiteY97" fmla="*/ 247650 h 533400"/>
                <a:gd name="connsiteX98" fmla="*/ 419100 w 800100"/>
                <a:gd name="connsiteY98" fmla="*/ 247650 h 533400"/>
                <a:gd name="connsiteX99" fmla="*/ 419100 w 800100"/>
                <a:gd name="connsiteY99" fmla="*/ 114300 h 533400"/>
                <a:gd name="connsiteX100" fmla="*/ 400050 w 800100"/>
                <a:gd name="connsiteY100" fmla="*/ 95250 h 533400"/>
                <a:gd name="connsiteX101" fmla="*/ 381000 w 800100"/>
                <a:gd name="connsiteY101" fmla="*/ 114300 h 533400"/>
                <a:gd name="connsiteX102" fmla="*/ 381000 w 800100"/>
                <a:gd name="connsiteY102" fmla="*/ 247650 h 533400"/>
                <a:gd name="connsiteX103" fmla="*/ 323850 w 800100"/>
                <a:gd name="connsiteY103" fmla="*/ 247650 h 533400"/>
                <a:gd name="connsiteX104" fmla="*/ 323850 w 800100"/>
                <a:gd name="connsiteY104" fmla="*/ 190500 h 533400"/>
                <a:gd name="connsiteX105" fmla="*/ 304800 w 800100"/>
                <a:gd name="connsiteY105" fmla="*/ 171450 h 533400"/>
                <a:gd name="connsiteX106" fmla="*/ 285750 w 800100"/>
                <a:gd name="connsiteY106" fmla="*/ 190500 h 533400"/>
                <a:gd name="connsiteX107" fmla="*/ 285750 w 800100"/>
                <a:gd name="connsiteY107" fmla="*/ 247650 h 533400"/>
                <a:gd name="connsiteX108" fmla="*/ 228600 w 800100"/>
                <a:gd name="connsiteY108" fmla="*/ 247650 h 533400"/>
                <a:gd name="connsiteX109" fmla="*/ 228600 w 800100"/>
                <a:gd name="connsiteY109" fmla="*/ 114300 h 533400"/>
                <a:gd name="connsiteX110" fmla="*/ 209550 w 800100"/>
                <a:gd name="connsiteY110" fmla="*/ 95250 h 533400"/>
                <a:gd name="connsiteX111" fmla="*/ 190500 w 800100"/>
                <a:gd name="connsiteY111" fmla="*/ 114300 h 533400"/>
                <a:gd name="connsiteX112" fmla="*/ 190500 w 800100"/>
                <a:gd name="connsiteY112" fmla="*/ 247650 h 533400"/>
                <a:gd name="connsiteX113" fmla="*/ 133350 w 800100"/>
                <a:gd name="connsiteY113" fmla="*/ 247650 h 533400"/>
                <a:gd name="connsiteX114" fmla="*/ 133350 w 800100"/>
                <a:gd name="connsiteY114" fmla="*/ 209550 h 533400"/>
                <a:gd name="connsiteX115" fmla="*/ 114300 w 800100"/>
                <a:gd name="connsiteY115" fmla="*/ 190500 h 533400"/>
                <a:gd name="connsiteX116" fmla="*/ 95250 w 800100"/>
                <a:gd name="connsiteY116" fmla="*/ 209550 h 533400"/>
                <a:gd name="connsiteX117" fmla="*/ 95250 w 800100"/>
                <a:gd name="connsiteY117" fmla="*/ 247650 h 533400"/>
                <a:gd name="connsiteX118" fmla="*/ 38100 w 800100"/>
                <a:gd name="connsiteY118" fmla="*/ 247650 h 533400"/>
                <a:gd name="connsiteX119" fmla="*/ 0 w 800100"/>
                <a:gd name="connsiteY119" fmla="*/ 247650 h 533400"/>
                <a:gd name="connsiteX120" fmla="*/ 0 w 800100"/>
                <a:gd name="connsiteY120" fmla="*/ 19050 h 533400"/>
                <a:gd name="connsiteX121" fmla="*/ 19050 w 800100"/>
                <a:gd name="connsiteY121"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800100" h="533400">
                  <a:moveTo>
                    <a:pt x="590550" y="400050"/>
                  </a:moveTo>
                  <a:cubicBezTo>
                    <a:pt x="579977" y="400050"/>
                    <a:pt x="571500" y="408527"/>
                    <a:pt x="571500" y="419100"/>
                  </a:cubicBezTo>
                  <a:cubicBezTo>
                    <a:pt x="571500" y="429577"/>
                    <a:pt x="579977" y="438150"/>
                    <a:pt x="590550" y="438150"/>
                  </a:cubicBezTo>
                  <a:cubicBezTo>
                    <a:pt x="601028" y="438150"/>
                    <a:pt x="609600" y="429577"/>
                    <a:pt x="609600" y="419100"/>
                  </a:cubicBezTo>
                  <a:cubicBezTo>
                    <a:pt x="609600" y="408527"/>
                    <a:pt x="601028" y="400050"/>
                    <a:pt x="590550" y="400050"/>
                  </a:cubicBezTo>
                  <a:close/>
                  <a:moveTo>
                    <a:pt x="400050" y="400050"/>
                  </a:moveTo>
                  <a:cubicBezTo>
                    <a:pt x="389477" y="400050"/>
                    <a:pt x="381000" y="408527"/>
                    <a:pt x="381000" y="419100"/>
                  </a:cubicBezTo>
                  <a:cubicBezTo>
                    <a:pt x="381000" y="429577"/>
                    <a:pt x="389477" y="438150"/>
                    <a:pt x="400050" y="438150"/>
                  </a:cubicBezTo>
                  <a:cubicBezTo>
                    <a:pt x="410528" y="438150"/>
                    <a:pt x="419100" y="429577"/>
                    <a:pt x="419100" y="419100"/>
                  </a:cubicBezTo>
                  <a:cubicBezTo>
                    <a:pt x="419100" y="408527"/>
                    <a:pt x="410528" y="400050"/>
                    <a:pt x="400050" y="400050"/>
                  </a:cubicBezTo>
                  <a:close/>
                  <a:moveTo>
                    <a:pt x="209550" y="400050"/>
                  </a:moveTo>
                  <a:cubicBezTo>
                    <a:pt x="198977" y="400050"/>
                    <a:pt x="190500" y="408527"/>
                    <a:pt x="190500" y="419100"/>
                  </a:cubicBezTo>
                  <a:cubicBezTo>
                    <a:pt x="190500" y="429577"/>
                    <a:pt x="198977" y="438150"/>
                    <a:pt x="209550" y="438150"/>
                  </a:cubicBezTo>
                  <a:cubicBezTo>
                    <a:pt x="220028" y="438150"/>
                    <a:pt x="228600" y="429577"/>
                    <a:pt x="228600" y="419100"/>
                  </a:cubicBezTo>
                  <a:cubicBezTo>
                    <a:pt x="228600" y="408527"/>
                    <a:pt x="220028" y="400050"/>
                    <a:pt x="209550" y="400050"/>
                  </a:cubicBezTo>
                  <a:close/>
                  <a:moveTo>
                    <a:pt x="0" y="285750"/>
                  </a:moveTo>
                  <a:lnTo>
                    <a:pt x="38100" y="285750"/>
                  </a:lnTo>
                  <a:lnTo>
                    <a:pt x="95250" y="285750"/>
                  </a:lnTo>
                  <a:lnTo>
                    <a:pt x="95250" y="419100"/>
                  </a:lnTo>
                  <a:cubicBezTo>
                    <a:pt x="95250" y="429577"/>
                    <a:pt x="103727" y="438150"/>
                    <a:pt x="114300" y="438150"/>
                  </a:cubicBezTo>
                  <a:cubicBezTo>
                    <a:pt x="124778" y="438150"/>
                    <a:pt x="133350" y="429577"/>
                    <a:pt x="133350" y="419100"/>
                  </a:cubicBezTo>
                  <a:lnTo>
                    <a:pt x="133350" y="285750"/>
                  </a:lnTo>
                  <a:lnTo>
                    <a:pt x="190500" y="285750"/>
                  </a:lnTo>
                  <a:lnTo>
                    <a:pt x="190500" y="342900"/>
                  </a:lnTo>
                  <a:cubicBezTo>
                    <a:pt x="190500" y="353377"/>
                    <a:pt x="198977" y="361950"/>
                    <a:pt x="209550" y="361950"/>
                  </a:cubicBezTo>
                  <a:cubicBezTo>
                    <a:pt x="220028" y="361950"/>
                    <a:pt x="228600" y="353377"/>
                    <a:pt x="228600" y="342900"/>
                  </a:cubicBezTo>
                  <a:lnTo>
                    <a:pt x="228600" y="285750"/>
                  </a:lnTo>
                  <a:lnTo>
                    <a:pt x="285750" y="285750"/>
                  </a:lnTo>
                  <a:lnTo>
                    <a:pt x="285750" y="419100"/>
                  </a:lnTo>
                  <a:cubicBezTo>
                    <a:pt x="285750" y="429577"/>
                    <a:pt x="294227" y="438150"/>
                    <a:pt x="304800" y="438150"/>
                  </a:cubicBezTo>
                  <a:cubicBezTo>
                    <a:pt x="315278" y="438150"/>
                    <a:pt x="323850" y="429577"/>
                    <a:pt x="323850" y="419100"/>
                  </a:cubicBezTo>
                  <a:lnTo>
                    <a:pt x="323850" y="285750"/>
                  </a:lnTo>
                  <a:lnTo>
                    <a:pt x="381000" y="285750"/>
                  </a:lnTo>
                  <a:lnTo>
                    <a:pt x="381000" y="342900"/>
                  </a:lnTo>
                  <a:cubicBezTo>
                    <a:pt x="381000" y="353377"/>
                    <a:pt x="389477" y="361950"/>
                    <a:pt x="400050" y="361950"/>
                  </a:cubicBezTo>
                  <a:cubicBezTo>
                    <a:pt x="410528" y="361950"/>
                    <a:pt x="419100" y="353377"/>
                    <a:pt x="419100" y="342900"/>
                  </a:cubicBezTo>
                  <a:lnTo>
                    <a:pt x="419100" y="285750"/>
                  </a:lnTo>
                  <a:lnTo>
                    <a:pt x="476250" y="285750"/>
                  </a:lnTo>
                  <a:lnTo>
                    <a:pt x="476250" y="419100"/>
                  </a:lnTo>
                  <a:cubicBezTo>
                    <a:pt x="476250" y="429577"/>
                    <a:pt x="484727" y="438150"/>
                    <a:pt x="495300" y="438150"/>
                  </a:cubicBezTo>
                  <a:cubicBezTo>
                    <a:pt x="505778" y="438150"/>
                    <a:pt x="514350" y="429577"/>
                    <a:pt x="514350" y="419100"/>
                  </a:cubicBezTo>
                  <a:lnTo>
                    <a:pt x="514350" y="285750"/>
                  </a:lnTo>
                  <a:lnTo>
                    <a:pt x="571500" y="285750"/>
                  </a:lnTo>
                  <a:lnTo>
                    <a:pt x="571500" y="342900"/>
                  </a:lnTo>
                  <a:cubicBezTo>
                    <a:pt x="571500" y="353377"/>
                    <a:pt x="579977" y="361950"/>
                    <a:pt x="590550" y="361950"/>
                  </a:cubicBezTo>
                  <a:cubicBezTo>
                    <a:pt x="601028" y="361950"/>
                    <a:pt x="609600" y="353377"/>
                    <a:pt x="609600" y="342900"/>
                  </a:cubicBezTo>
                  <a:lnTo>
                    <a:pt x="609600" y="285750"/>
                  </a:lnTo>
                  <a:lnTo>
                    <a:pt x="666750" y="285750"/>
                  </a:lnTo>
                  <a:lnTo>
                    <a:pt x="666750" y="419100"/>
                  </a:lnTo>
                  <a:cubicBezTo>
                    <a:pt x="666750" y="429577"/>
                    <a:pt x="675227" y="438150"/>
                    <a:pt x="685800" y="438150"/>
                  </a:cubicBezTo>
                  <a:cubicBezTo>
                    <a:pt x="696278" y="438150"/>
                    <a:pt x="704850" y="429577"/>
                    <a:pt x="704850" y="419100"/>
                  </a:cubicBezTo>
                  <a:lnTo>
                    <a:pt x="704850" y="285750"/>
                  </a:lnTo>
                  <a:lnTo>
                    <a:pt x="762000" y="285750"/>
                  </a:lnTo>
                  <a:lnTo>
                    <a:pt x="800100" y="285750"/>
                  </a:lnTo>
                  <a:lnTo>
                    <a:pt x="800100" y="514350"/>
                  </a:lnTo>
                  <a:cubicBezTo>
                    <a:pt x="800100" y="524827"/>
                    <a:pt x="791528" y="533400"/>
                    <a:pt x="781050" y="533400"/>
                  </a:cubicBezTo>
                  <a:lnTo>
                    <a:pt x="19050" y="533400"/>
                  </a:lnTo>
                  <a:cubicBezTo>
                    <a:pt x="8477" y="533400"/>
                    <a:pt x="0" y="524827"/>
                    <a:pt x="0" y="514350"/>
                  </a:cubicBezTo>
                  <a:close/>
                  <a:moveTo>
                    <a:pt x="685800" y="95250"/>
                  </a:moveTo>
                  <a:cubicBezTo>
                    <a:pt x="675227" y="95250"/>
                    <a:pt x="666750" y="103727"/>
                    <a:pt x="666750" y="114300"/>
                  </a:cubicBezTo>
                  <a:cubicBezTo>
                    <a:pt x="666750" y="124777"/>
                    <a:pt x="675227" y="133350"/>
                    <a:pt x="685800" y="133350"/>
                  </a:cubicBezTo>
                  <a:cubicBezTo>
                    <a:pt x="696278" y="133350"/>
                    <a:pt x="704850" y="124777"/>
                    <a:pt x="704850" y="114300"/>
                  </a:cubicBezTo>
                  <a:cubicBezTo>
                    <a:pt x="704850" y="103727"/>
                    <a:pt x="696278" y="95250"/>
                    <a:pt x="685800" y="95250"/>
                  </a:cubicBezTo>
                  <a:close/>
                  <a:moveTo>
                    <a:pt x="495300" y="95250"/>
                  </a:moveTo>
                  <a:cubicBezTo>
                    <a:pt x="484727" y="95250"/>
                    <a:pt x="476250" y="103727"/>
                    <a:pt x="476250" y="114300"/>
                  </a:cubicBezTo>
                  <a:cubicBezTo>
                    <a:pt x="476250" y="124777"/>
                    <a:pt x="484727" y="133350"/>
                    <a:pt x="495300" y="133350"/>
                  </a:cubicBezTo>
                  <a:cubicBezTo>
                    <a:pt x="505778" y="133350"/>
                    <a:pt x="514350" y="124777"/>
                    <a:pt x="514350" y="114300"/>
                  </a:cubicBezTo>
                  <a:cubicBezTo>
                    <a:pt x="514350" y="103727"/>
                    <a:pt x="505778" y="95250"/>
                    <a:pt x="495300" y="95250"/>
                  </a:cubicBezTo>
                  <a:close/>
                  <a:moveTo>
                    <a:pt x="304800" y="95250"/>
                  </a:moveTo>
                  <a:cubicBezTo>
                    <a:pt x="294227" y="95250"/>
                    <a:pt x="285750" y="103727"/>
                    <a:pt x="285750" y="114300"/>
                  </a:cubicBezTo>
                  <a:cubicBezTo>
                    <a:pt x="285750" y="124777"/>
                    <a:pt x="294227" y="133350"/>
                    <a:pt x="304800" y="133350"/>
                  </a:cubicBezTo>
                  <a:cubicBezTo>
                    <a:pt x="315278" y="133350"/>
                    <a:pt x="323850" y="124777"/>
                    <a:pt x="323850" y="114300"/>
                  </a:cubicBezTo>
                  <a:cubicBezTo>
                    <a:pt x="323850" y="103727"/>
                    <a:pt x="315278" y="95250"/>
                    <a:pt x="304800" y="95250"/>
                  </a:cubicBezTo>
                  <a:close/>
                  <a:moveTo>
                    <a:pt x="114300" y="95250"/>
                  </a:moveTo>
                  <a:cubicBezTo>
                    <a:pt x="103727" y="95250"/>
                    <a:pt x="95250" y="103727"/>
                    <a:pt x="95250" y="114300"/>
                  </a:cubicBezTo>
                  <a:cubicBezTo>
                    <a:pt x="95250" y="124777"/>
                    <a:pt x="103727" y="133350"/>
                    <a:pt x="114300" y="133350"/>
                  </a:cubicBezTo>
                  <a:cubicBezTo>
                    <a:pt x="124778" y="133350"/>
                    <a:pt x="133350" y="124777"/>
                    <a:pt x="133350" y="114300"/>
                  </a:cubicBezTo>
                  <a:cubicBezTo>
                    <a:pt x="133350" y="103727"/>
                    <a:pt x="124778" y="95250"/>
                    <a:pt x="114300" y="95250"/>
                  </a:cubicBezTo>
                  <a:close/>
                  <a:moveTo>
                    <a:pt x="19050" y="0"/>
                  </a:moveTo>
                  <a:lnTo>
                    <a:pt x="781050" y="0"/>
                  </a:lnTo>
                  <a:cubicBezTo>
                    <a:pt x="791528" y="0"/>
                    <a:pt x="800100" y="8477"/>
                    <a:pt x="800100" y="19050"/>
                  </a:cubicBezTo>
                  <a:lnTo>
                    <a:pt x="800100" y="247650"/>
                  </a:lnTo>
                  <a:lnTo>
                    <a:pt x="762000" y="247650"/>
                  </a:lnTo>
                  <a:lnTo>
                    <a:pt x="704850" y="247650"/>
                  </a:lnTo>
                  <a:lnTo>
                    <a:pt x="704850" y="190500"/>
                  </a:lnTo>
                  <a:cubicBezTo>
                    <a:pt x="704850" y="179927"/>
                    <a:pt x="696278" y="171450"/>
                    <a:pt x="685800" y="171450"/>
                  </a:cubicBezTo>
                  <a:cubicBezTo>
                    <a:pt x="675227" y="171450"/>
                    <a:pt x="666750" y="179927"/>
                    <a:pt x="666750" y="190500"/>
                  </a:cubicBezTo>
                  <a:lnTo>
                    <a:pt x="666750" y="247650"/>
                  </a:lnTo>
                  <a:lnTo>
                    <a:pt x="609600" y="247650"/>
                  </a:lnTo>
                  <a:lnTo>
                    <a:pt x="609600" y="114300"/>
                  </a:lnTo>
                  <a:cubicBezTo>
                    <a:pt x="609600" y="103727"/>
                    <a:pt x="601028" y="95250"/>
                    <a:pt x="590550" y="95250"/>
                  </a:cubicBezTo>
                  <a:cubicBezTo>
                    <a:pt x="579977" y="95250"/>
                    <a:pt x="571500" y="103727"/>
                    <a:pt x="571500" y="114300"/>
                  </a:cubicBezTo>
                  <a:lnTo>
                    <a:pt x="571500" y="247650"/>
                  </a:lnTo>
                  <a:lnTo>
                    <a:pt x="514350" y="247650"/>
                  </a:lnTo>
                  <a:lnTo>
                    <a:pt x="514350" y="190500"/>
                  </a:lnTo>
                  <a:cubicBezTo>
                    <a:pt x="514350" y="179927"/>
                    <a:pt x="505778" y="171450"/>
                    <a:pt x="495300" y="171450"/>
                  </a:cubicBezTo>
                  <a:cubicBezTo>
                    <a:pt x="484727" y="171450"/>
                    <a:pt x="476250" y="179927"/>
                    <a:pt x="476250" y="190500"/>
                  </a:cubicBezTo>
                  <a:lnTo>
                    <a:pt x="476250" y="247650"/>
                  </a:lnTo>
                  <a:lnTo>
                    <a:pt x="419100" y="247650"/>
                  </a:lnTo>
                  <a:lnTo>
                    <a:pt x="419100" y="114300"/>
                  </a:lnTo>
                  <a:cubicBezTo>
                    <a:pt x="419100" y="103727"/>
                    <a:pt x="410528" y="95250"/>
                    <a:pt x="400050" y="95250"/>
                  </a:cubicBezTo>
                  <a:cubicBezTo>
                    <a:pt x="389477" y="95250"/>
                    <a:pt x="381000" y="103727"/>
                    <a:pt x="381000" y="114300"/>
                  </a:cubicBezTo>
                  <a:lnTo>
                    <a:pt x="381000" y="247650"/>
                  </a:lnTo>
                  <a:lnTo>
                    <a:pt x="323850" y="247650"/>
                  </a:lnTo>
                  <a:lnTo>
                    <a:pt x="323850" y="190500"/>
                  </a:lnTo>
                  <a:cubicBezTo>
                    <a:pt x="323850" y="179927"/>
                    <a:pt x="315278" y="171450"/>
                    <a:pt x="304800" y="171450"/>
                  </a:cubicBezTo>
                  <a:cubicBezTo>
                    <a:pt x="294227" y="171450"/>
                    <a:pt x="285750" y="179927"/>
                    <a:pt x="285750" y="190500"/>
                  </a:cubicBezTo>
                  <a:lnTo>
                    <a:pt x="285750" y="247650"/>
                  </a:lnTo>
                  <a:lnTo>
                    <a:pt x="228600" y="247650"/>
                  </a:lnTo>
                  <a:lnTo>
                    <a:pt x="228600" y="114300"/>
                  </a:lnTo>
                  <a:cubicBezTo>
                    <a:pt x="228600" y="103727"/>
                    <a:pt x="220028" y="95250"/>
                    <a:pt x="209550" y="95250"/>
                  </a:cubicBezTo>
                  <a:cubicBezTo>
                    <a:pt x="198977" y="95250"/>
                    <a:pt x="190500" y="103727"/>
                    <a:pt x="190500" y="114300"/>
                  </a:cubicBezTo>
                  <a:lnTo>
                    <a:pt x="190500" y="247650"/>
                  </a:lnTo>
                  <a:lnTo>
                    <a:pt x="133350" y="247650"/>
                  </a:lnTo>
                  <a:lnTo>
                    <a:pt x="133350" y="209550"/>
                  </a:lnTo>
                  <a:cubicBezTo>
                    <a:pt x="133350" y="198977"/>
                    <a:pt x="124778" y="190500"/>
                    <a:pt x="114300" y="190500"/>
                  </a:cubicBezTo>
                  <a:cubicBezTo>
                    <a:pt x="103727" y="190500"/>
                    <a:pt x="95250" y="198977"/>
                    <a:pt x="95250" y="209550"/>
                  </a:cubicBezTo>
                  <a:lnTo>
                    <a:pt x="95250" y="247650"/>
                  </a:lnTo>
                  <a:lnTo>
                    <a:pt x="38100" y="247650"/>
                  </a:lnTo>
                  <a:lnTo>
                    <a:pt x="0" y="247650"/>
                  </a:lnTo>
                  <a:lnTo>
                    <a:pt x="0" y="19050"/>
                  </a:lnTo>
                  <a:cubicBezTo>
                    <a:pt x="0" y="8477"/>
                    <a:pt x="8477" y="0"/>
                    <a:pt x="19050" y="0"/>
                  </a:cubicBez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600"/>
            </a:p>
          </p:txBody>
        </p:sp>
        <p:sp>
          <p:nvSpPr>
            <p:cNvPr id="15" name="Freeform: Shape 15">
              <a:extLst>
                <a:ext uri="{FF2B5EF4-FFF2-40B4-BE49-F238E27FC236}">
                  <a16:creationId xmlns:a16="http://schemas.microsoft.com/office/drawing/2014/main" id="{604EF494-A176-BE3F-988B-C7FE7F4B38E8}"/>
                </a:ext>
              </a:extLst>
            </p:cNvPr>
            <p:cNvSpPr>
              <a:spLocks noChangeAspect="1"/>
            </p:cNvSpPr>
            <p:nvPr/>
          </p:nvSpPr>
          <p:spPr>
            <a:xfrm>
              <a:off x="1580072" y="4799004"/>
              <a:ext cx="811287" cy="345637"/>
            </a:xfrm>
            <a:custGeom>
              <a:avLst/>
              <a:gdLst>
                <a:gd name="connsiteX0" fmla="*/ 1855048 w 2113285"/>
                <a:gd name="connsiteY0" fmla="*/ 648410 h 900335"/>
                <a:gd name="connsiteX1" fmla="*/ 1981011 w 2113285"/>
                <a:gd name="connsiteY1" fmla="*/ 774373 h 900335"/>
                <a:gd name="connsiteX2" fmla="*/ 1855048 w 2113285"/>
                <a:gd name="connsiteY2" fmla="*/ 900335 h 900335"/>
                <a:gd name="connsiteX3" fmla="*/ 1729085 w 2113285"/>
                <a:gd name="connsiteY3" fmla="*/ 774373 h 900335"/>
                <a:gd name="connsiteX4" fmla="*/ 1855048 w 2113285"/>
                <a:gd name="connsiteY4" fmla="*/ 648410 h 900335"/>
                <a:gd name="connsiteX5" fmla="*/ 1500201 w 2113285"/>
                <a:gd name="connsiteY5" fmla="*/ 648410 h 900335"/>
                <a:gd name="connsiteX6" fmla="*/ 1626164 w 2113285"/>
                <a:gd name="connsiteY6" fmla="*/ 774373 h 900335"/>
                <a:gd name="connsiteX7" fmla="*/ 1500201 w 2113285"/>
                <a:gd name="connsiteY7" fmla="*/ 900335 h 900335"/>
                <a:gd name="connsiteX8" fmla="*/ 1374238 w 2113285"/>
                <a:gd name="connsiteY8" fmla="*/ 774373 h 900335"/>
                <a:gd name="connsiteX9" fmla="*/ 1500201 w 2113285"/>
                <a:gd name="connsiteY9" fmla="*/ 648410 h 900335"/>
                <a:gd name="connsiteX10" fmla="*/ 613084 w 2113285"/>
                <a:gd name="connsiteY10" fmla="*/ 648410 h 900335"/>
                <a:gd name="connsiteX11" fmla="*/ 739047 w 2113285"/>
                <a:gd name="connsiteY11" fmla="*/ 774373 h 900335"/>
                <a:gd name="connsiteX12" fmla="*/ 613084 w 2113285"/>
                <a:gd name="connsiteY12" fmla="*/ 900335 h 900335"/>
                <a:gd name="connsiteX13" fmla="*/ 487121 w 2113285"/>
                <a:gd name="connsiteY13" fmla="*/ 774373 h 900335"/>
                <a:gd name="connsiteX14" fmla="*/ 613084 w 2113285"/>
                <a:gd name="connsiteY14" fmla="*/ 648410 h 900335"/>
                <a:gd name="connsiteX15" fmla="*/ 258237 w 2113285"/>
                <a:gd name="connsiteY15" fmla="*/ 648410 h 900335"/>
                <a:gd name="connsiteX16" fmla="*/ 384200 w 2113285"/>
                <a:gd name="connsiteY16" fmla="*/ 774373 h 900335"/>
                <a:gd name="connsiteX17" fmla="*/ 258237 w 2113285"/>
                <a:gd name="connsiteY17" fmla="*/ 900335 h 900335"/>
                <a:gd name="connsiteX18" fmla="*/ 132274 w 2113285"/>
                <a:gd name="connsiteY18" fmla="*/ 774373 h 900335"/>
                <a:gd name="connsiteX19" fmla="*/ 258237 w 2113285"/>
                <a:gd name="connsiteY19" fmla="*/ 648410 h 900335"/>
                <a:gd name="connsiteX20" fmla="*/ 65913 w 2113285"/>
                <a:gd name="connsiteY20" fmla="*/ 571331 h 900335"/>
                <a:gd name="connsiteX21" fmla="*/ 2047297 w 2113285"/>
                <a:gd name="connsiteY21" fmla="*/ 571331 h 900335"/>
                <a:gd name="connsiteX22" fmla="*/ 2075679 w 2113285"/>
                <a:gd name="connsiteY22" fmla="*/ 599713 h 900335"/>
                <a:gd name="connsiteX23" fmla="*/ 2075679 w 2113285"/>
                <a:gd name="connsiteY23" fmla="*/ 687248 h 900335"/>
                <a:gd name="connsiteX24" fmla="*/ 2010812 w 2113285"/>
                <a:gd name="connsiteY24" fmla="*/ 687248 h 900335"/>
                <a:gd name="connsiteX25" fmla="*/ 1854992 w 2113285"/>
                <a:gd name="connsiteY25" fmla="*/ 595773 h 900335"/>
                <a:gd name="connsiteX26" fmla="*/ 1699210 w 2113285"/>
                <a:gd name="connsiteY26" fmla="*/ 687248 h 900335"/>
                <a:gd name="connsiteX27" fmla="*/ 1655946 w 2113285"/>
                <a:gd name="connsiteY27" fmla="*/ 687248 h 900335"/>
                <a:gd name="connsiteX28" fmla="*/ 1500164 w 2113285"/>
                <a:gd name="connsiteY28" fmla="*/ 595773 h 900335"/>
                <a:gd name="connsiteX29" fmla="*/ 1344344 w 2113285"/>
                <a:gd name="connsiteY29" fmla="*/ 687248 h 900335"/>
                <a:gd name="connsiteX30" fmla="*/ 768866 w 2113285"/>
                <a:gd name="connsiteY30" fmla="*/ 687248 h 900335"/>
                <a:gd name="connsiteX31" fmla="*/ 613046 w 2113285"/>
                <a:gd name="connsiteY31" fmla="*/ 595773 h 900335"/>
                <a:gd name="connsiteX32" fmla="*/ 457264 w 2113285"/>
                <a:gd name="connsiteY32" fmla="*/ 687248 h 900335"/>
                <a:gd name="connsiteX33" fmla="*/ 414000 w 2113285"/>
                <a:gd name="connsiteY33" fmla="*/ 687248 h 900335"/>
                <a:gd name="connsiteX34" fmla="*/ 258218 w 2113285"/>
                <a:gd name="connsiteY34" fmla="*/ 595773 h 900335"/>
                <a:gd name="connsiteX35" fmla="*/ 102398 w 2113285"/>
                <a:gd name="connsiteY35" fmla="*/ 687248 h 900335"/>
                <a:gd name="connsiteX36" fmla="*/ 37531 w 2113285"/>
                <a:gd name="connsiteY36" fmla="*/ 687248 h 900335"/>
                <a:gd name="connsiteX37" fmla="*/ 37531 w 2113285"/>
                <a:gd name="connsiteY37" fmla="*/ 599713 h 900335"/>
                <a:gd name="connsiteX38" fmla="*/ 65913 w 2113285"/>
                <a:gd name="connsiteY38" fmla="*/ 571331 h 900335"/>
                <a:gd name="connsiteX39" fmla="*/ 1234085 w 2113285"/>
                <a:gd name="connsiteY39" fmla="*/ 316961 h 900335"/>
                <a:gd name="connsiteX40" fmla="*/ 1201987 w 2113285"/>
                <a:gd name="connsiteY40" fmla="*/ 326764 h 900335"/>
                <a:gd name="connsiteX41" fmla="*/ 1188599 w 2113285"/>
                <a:gd name="connsiteY41" fmla="*/ 356583 h 900335"/>
                <a:gd name="connsiteX42" fmla="*/ 1212630 w 2113285"/>
                <a:gd name="connsiteY42" fmla="*/ 356583 h 900335"/>
                <a:gd name="connsiteX43" fmla="*/ 1219502 w 2113285"/>
                <a:gd name="connsiteY43" fmla="*/ 342373 h 900335"/>
                <a:gd name="connsiteX44" fmla="*/ 1234626 w 2113285"/>
                <a:gd name="connsiteY44" fmla="*/ 337575 h 900335"/>
                <a:gd name="connsiteX45" fmla="*/ 1248743 w 2113285"/>
                <a:gd name="connsiteY45" fmla="*/ 342672 h 900335"/>
                <a:gd name="connsiteX46" fmla="*/ 1253691 w 2113285"/>
                <a:gd name="connsiteY46" fmla="*/ 355388 h 900335"/>
                <a:gd name="connsiteX47" fmla="*/ 1249938 w 2113285"/>
                <a:gd name="connsiteY47" fmla="*/ 368104 h 900335"/>
                <a:gd name="connsiteX48" fmla="*/ 1238118 w 2113285"/>
                <a:gd name="connsiteY48" fmla="*/ 376618 h 900335"/>
                <a:gd name="connsiteX49" fmla="*/ 1213732 w 2113285"/>
                <a:gd name="connsiteY49" fmla="*/ 386832 h 900335"/>
                <a:gd name="connsiteX50" fmla="*/ 1201819 w 2113285"/>
                <a:gd name="connsiteY50" fmla="*/ 393237 h 900335"/>
                <a:gd name="connsiteX51" fmla="*/ 1186601 w 2113285"/>
                <a:gd name="connsiteY51" fmla="*/ 427257 h 900335"/>
                <a:gd name="connsiteX52" fmla="*/ 1186601 w 2113285"/>
                <a:gd name="connsiteY52" fmla="*/ 449477 h 900335"/>
                <a:gd name="connsiteX53" fmla="*/ 1276265 w 2113285"/>
                <a:gd name="connsiteY53" fmla="*/ 449477 h 900335"/>
                <a:gd name="connsiteX54" fmla="*/ 1276265 w 2113285"/>
                <a:gd name="connsiteY54" fmla="*/ 427855 h 900335"/>
                <a:gd name="connsiteX55" fmla="*/ 1276247 w 2113285"/>
                <a:gd name="connsiteY55" fmla="*/ 427855 h 900335"/>
                <a:gd name="connsiteX56" fmla="*/ 1208224 w 2113285"/>
                <a:gd name="connsiteY56" fmla="*/ 427855 h 900335"/>
                <a:gd name="connsiteX57" fmla="*/ 1208224 w 2113285"/>
                <a:gd name="connsiteY57" fmla="*/ 424046 h 900335"/>
                <a:gd name="connsiteX58" fmla="*/ 1211435 w 2113285"/>
                <a:gd name="connsiteY58" fmla="*/ 414541 h 900335"/>
                <a:gd name="connsiteX59" fmla="*/ 1221799 w 2113285"/>
                <a:gd name="connsiteY59" fmla="*/ 407838 h 900335"/>
                <a:gd name="connsiteX60" fmla="*/ 1246558 w 2113285"/>
                <a:gd name="connsiteY60" fmla="*/ 397438 h 900335"/>
                <a:gd name="connsiteX61" fmla="*/ 1269562 w 2113285"/>
                <a:gd name="connsiteY61" fmla="*/ 381118 h 900335"/>
                <a:gd name="connsiteX62" fmla="*/ 1276994 w 2113285"/>
                <a:gd name="connsiteY62" fmla="*/ 355201 h 900335"/>
                <a:gd name="connsiteX63" fmla="*/ 1264707 w 2113285"/>
                <a:gd name="connsiteY63" fmla="*/ 327772 h 900335"/>
                <a:gd name="connsiteX64" fmla="*/ 1234085 w 2113285"/>
                <a:gd name="connsiteY64" fmla="*/ 316961 h 900335"/>
                <a:gd name="connsiteX65" fmla="*/ 941192 w 2113285"/>
                <a:gd name="connsiteY65" fmla="*/ 121855 h 900335"/>
                <a:gd name="connsiteX66" fmla="*/ 941192 w 2113285"/>
                <a:gd name="connsiteY66" fmla="*/ 421842 h 900335"/>
                <a:gd name="connsiteX67" fmla="*/ 996910 w 2113285"/>
                <a:gd name="connsiteY67" fmla="*/ 421842 h 900335"/>
                <a:gd name="connsiteX68" fmla="*/ 996910 w 2113285"/>
                <a:gd name="connsiteY68" fmla="*/ 293266 h 900335"/>
                <a:gd name="connsiteX69" fmla="*/ 1105769 w 2113285"/>
                <a:gd name="connsiteY69" fmla="*/ 293266 h 900335"/>
                <a:gd name="connsiteX70" fmla="*/ 1105769 w 2113285"/>
                <a:gd name="connsiteY70" fmla="*/ 421842 h 900335"/>
                <a:gd name="connsiteX71" fmla="*/ 1161487 w 2113285"/>
                <a:gd name="connsiteY71" fmla="*/ 421842 h 900335"/>
                <a:gd name="connsiteX72" fmla="*/ 1161487 w 2113285"/>
                <a:gd name="connsiteY72" fmla="*/ 121855 h 900335"/>
                <a:gd name="connsiteX73" fmla="*/ 1105769 w 2113285"/>
                <a:gd name="connsiteY73" fmla="*/ 121855 h 900335"/>
                <a:gd name="connsiteX74" fmla="*/ 1105769 w 2113285"/>
                <a:gd name="connsiteY74" fmla="*/ 245707 h 900335"/>
                <a:gd name="connsiteX75" fmla="*/ 996910 w 2113285"/>
                <a:gd name="connsiteY75" fmla="*/ 245707 h 900335"/>
                <a:gd name="connsiteX76" fmla="*/ 996910 w 2113285"/>
                <a:gd name="connsiteY76" fmla="*/ 121855 h 900335"/>
                <a:gd name="connsiteX77" fmla="*/ 285666 w 2113285"/>
                <a:gd name="connsiteY77" fmla="*/ 0 h 900335"/>
                <a:gd name="connsiteX78" fmla="*/ 1827619 w 2113285"/>
                <a:gd name="connsiteY78" fmla="*/ 0 h 900335"/>
                <a:gd name="connsiteX79" fmla="*/ 2113285 w 2113285"/>
                <a:gd name="connsiteY79" fmla="*/ 285666 h 900335"/>
                <a:gd name="connsiteX80" fmla="*/ 1992756 w 2113285"/>
                <a:gd name="connsiteY80" fmla="*/ 518695 h 900335"/>
                <a:gd name="connsiteX81" fmla="*/ 120529 w 2113285"/>
                <a:gd name="connsiteY81" fmla="*/ 518695 h 900335"/>
                <a:gd name="connsiteX82" fmla="*/ 0 w 2113285"/>
                <a:gd name="connsiteY82" fmla="*/ 285666 h 900335"/>
                <a:gd name="connsiteX83" fmla="*/ 285666 w 2113285"/>
                <a:gd name="connsiteY83" fmla="*/ 0 h 900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113285" h="900335">
                  <a:moveTo>
                    <a:pt x="1855048" y="648410"/>
                  </a:moveTo>
                  <a:cubicBezTo>
                    <a:pt x="1924615" y="648410"/>
                    <a:pt x="1981011" y="704805"/>
                    <a:pt x="1981011" y="774373"/>
                  </a:cubicBezTo>
                  <a:cubicBezTo>
                    <a:pt x="1981011" y="843940"/>
                    <a:pt x="1924615" y="900335"/>
                    <a:pt x="1855048" y="900335"/>
                  </a:cubicBezTo>
                  <a:cubicBezTo>
                    <a:pt x="1785480" y="900335"/>
                    <a:pt x="1729085" y="843940"/>
                    <a:pt x="1729085" y="774373"/>
                  </a:cubicBezTo>
                  <a:cubicBezTo>
                    <a:pt x="1729085" y="704805"/>
                    <a:pt x="1785480" y="648410"/>
                    <a:pt x="1855048" y="648410"/>
                  </a:cubicBezTo>
                  <a:close/>
                  <a:moveTo>
                    <a:pt x="1500201" y="648410"/>
                  </a:moveTo>
                  <a:cubicBezTo>
                    <a:pt x="1569768" y="648410"/>
                    <a:pt x="1626164" y="704805"/>
                    <a:pt x="1626164" y="774373"/>
                  </a:cubicBezTo>
                  <a:cubicBezTo>
                    <a:pt x="1626164" y="843940"/>
                    <a:pt x="1569768" y="900335"/>
                    <a:pt x="1500201" y="900335"/>
                  </a:cubicBezTo>
                  <a:cubicBezTo>
                    <a:pt x="1430633" y="900335"/>
                    <a:pt x="1374238" y="843940"/>
                    <a:pt x="1374238" y="774373"/>
                  </a:cubicBezTo>
                  <a:cubicBezTo>
                    <a:pt x="1374238" y="704805"/>
                    <a:pt x="1430633" y="648410"/>
                    <a:pt x="1500201" y="648410"/>
                  </a:cubicBezTo>
                  <a:close/>
                  <a:moveTo>
                    <a:pt x="613084" y="648410"/>
                  </a:moveTo>
                  <a:cubicBezTo>
                    <a:pt x="682651" y="648410"/>
                    <a:pt x="739047" y="704805"/>
                    <a:pt x="739047" y="774373"/>
                  </a:cubicBezTo>
                  <a:cubicBezTo>
                    <a:pt x="739047" y="843940"/>
                    <a:pt x="682651" y="900335"/>
                    <a:pt x="613084" y="900335"/>
                  </a:cubicBezTo>
                  <a:cubicBezTo>
                    <a:pt x="543516" y="900335"/>
                    <a:pt x="487121" y="843940"/>
                    <a:pt x="487121" y="774373"/>
                  </a:cubicBezTo>
                  <a:cubicBezTo>
                    <a:pt x="487121" y="704805"/>
                    <a:pt x="543517" y="648410"/>
                    <a:pt x="613084" y="648410"/>
                  </a:cubicBezTo>
                  <a:close/>
                  <a:moveTo>
                    <a:pt x="258237" y="648410"/>
                  </a:moveTo>
                  <a:cubicBezTo>
                    <a:pt x="327804" y="648410"/>
                    <a:pt x="384200" y="704805"/>
                    <a:pt x="384200" y="774373"/>
                  </a:cubicBezTo>
                  <a:cubicBezTo>
                    <a:pt x="384200" y="843940"/>
                    <a:pt x="327804" y="900335"/>
                    <a:pt x="258237" y="900335"/>
                  </a:cubicBezTo>
                  <a:cubicBezTo>
                    <a:pt x="188669" y="900335"/>
                    <a:pt x="132274" y="843940"/>
                    <a:pt x="132274" y="774373"/>
                  </a:cubicBezTo>
                  <a:cubicBezTo>
                    <a:pt x="132274" y="704805"/>
                    <a:pt x="188669" y="648410"/>
                    <a:pt x="258237" y="648410"/>
                  </a:cubicBezTo>
                  <a:close/>
                  <a:moveTo>
                    <a:pt x="65913" y="571331"/>
                  </a:moveTo>
                  <a:lnTo>
                    <a:pt x="2047297" y="571331"/>
                  </a:lnTo>
                  <a:cubicBezTo>
                    <a:pt x="2062963" y="571331"/>
                    <a:pt x="2075679" y="584028"/>
                    <a:pt x="2075679" y="599713"/>
                  </a:cubicBezTo>
                  <a:lnTo>
                    <a:pt x="2075679" y="687248"/>
                  </a:lnTo>
                  <a:lnTo>
                    <a:pt x="2010812" y="687248"/>
                  </a:lnTo>
                  <a:cubicBezTo>
                    <a:pt x="1980208" y="632725"/>
                    <a:pt x="1921839" y="595773"/>
                    <a:pt x="1854992" y="595773"/>
                  </a:cubicBezTo>
                  <a:cubicBezTo>
                    <a:pt x="1788146" y="595773"/>
                    <a:pt x="1729814" y="632725"/>
                    <a:pt x="1699210" y="687248"/>
                  </a:cubicBezTo>
                  <a:lnTo>
                    <a:pt x="1655946" y="687248"/>
                  </a:lnTo>
                  <a:cubicBezTo>
                    <a:pt x="1625361" y="632725"/>
                    <a:pt x="1567010" y="595773"/>
                    <a:pt x="1500164" y="595773"/>
                  </a:cubicBezTo>
                  <a:cubicBezTo>
                    <a:pt x="1433317" y="595773"/>
                    <a:pt x="1374948" y="632725"/>
                    <a:pt x="1344344" y="687248"/>
                  </a:cubicBezTo>
                  <a:lnTo>
                    <a:pt x="768866" y="687248"/>
                  </a:lnTo>
                  <a:cubicBezTo>
                    <a:pt x="738262" y="632725"/>
                    <a:pt x="679893" y="595773"/>
                    <a:pt x="613046" y="595773"/>
                  </a:cubicBezTo>
                  <a:cubicBezTo>
                    <a:pt x="546200" y="595773"/>
                    <a:pt x="487868" y="632725"/>
                    <a:pt x="457264" y="687248"/>
                  </a:cubicBezTo>
                  <a:lnTo>
                    <a:pt x="414000" y="687248"/>
                  </a:lnTo>
                  <a:cubicBezTo>
                    <a:pt x="383415" y="632725"/>
                    <a:pt x="325065" y="595773"/>
                    <a:pt x="258218" y="595773"/>
                  </a:cubicBezTo>
                  <a:cubicBezTo>
                    <a:pt x="191371" y="595773"/>
                    <a:pt x="133002" y="632725"/>
                    <a:pt x="102398" y="687248"/>
                  </a:cubicBezTo>
                  <a:lnTo>
                    <a:pt x="37531" y="687248"/>
                  </a:lnTo>
                  <a:lnTo>
                    <a:pt x="37531" y="599713"/>
                  </a:lnTo>
                  <a:cubicBezTo>
                    <a:pt x="37531" y="584047"/>
                    <a:pt x="50228" y="571331"/>
                    <a:pt x="65913" y="571331"/>
                  </a:cubicBezTo>
                  <a:close/>
                  <a:moveTo>
                    <a:pt x="1234085" y="316961"/>
                  </a:moveTo>
                  <a:cubicBezTo>
                    <a:pt x="1220622" y="316961"/>
                    <a:pt x="1209923" y="320228"/>
                    <a:pt x="1201987" y="326764"/>
                  </a:cubicBezTo>
                  <a:cubicBezTo>
                    <a:pt x="1193305" y="333971"/>
                    <a:pt x="1188842" y="343905"/>
                    <a:pt x="1188599" y="356583"/>
                  </a:cubicBezTo>
                  <a:lnTo>
                    <a:pt x="1212630" y="356583"/>
                  </a:lnTo>
                  <a:cubicBezTo>
                    <a:pt x="1213228" y="350309"/>
                    <a:pt x="1215525" y="345585"/>
                    <a:pt x="1219502" y="342373"/>
                  </a:cubicBezTo>
                  <a:cubicBezTo>
                    <a:pt x="1223460" y="339181"/>
                    <a:pt x="1228521" y="337575"/>
                    <a:pt x="1234626" y="337575"/>
                  </a:cubicBezTo>
                  <a:cubicBezTo>
                    <a:pt x="1240732" y="337575"/>
                    <a:pt x="1245438" y="339274"/>
                    <a:pt x="1248743" y="342672"/>
                  </a:cubicBezTo>
                  <a:cubicBezTo>
                    <a:pt x="1252047" y="346089"/>
                    <a:pt x="1253691" y="350309"/>
                    <a:pt x="1253691" y="355388"/>
                  </a:cubicBezTo>
                  <a:cubicBezTo>
                    <a:pt x="1253691" y="360467"/>
                    <a:pt x="1252440" y="364705"/>
                    <a:pt x="1249938" y="368104"/>
                  </a:cubicBezTo>
                  <a:cubicBezTo>
                    <a:pt x="1247435" y="371521"/>
                    <a:pt x="1243496" y="374359"/>
                    <a:pt x="1238118" y="376618"/>
                  </a:cubicBezTo>
                  <a:lnTo>
                    <a:pt x="1213732" y="386832"/>
                  </a:lnTo>
                  <a:cubicBezTo>
                    <a:pt x="1209213" y="388699"/>
                    <a:pt x="1205236" y="390828"/>
                    <a:pt x="1201819" y="393237"/>
                  </a:cubicBezTo>
                  <a:cubicBezTo>
                    <a:pt x="1191680" y="400295"/>
                    <a:pt x="1186601" y="411647"/>
                    <a:pt x="1186601" y="427257"/>
                  </a:cubicBezTo>
                  <a:lnTo>
                    <a:pt x="1186601" y="449477"/>
                  </a:lnTo>
                  <a:lnTo>
                    <a:pt x="1276265" y="449477"/>
                  </a:lnTo>
                  <a:lnTo>
                    <a:pt x="1276265" y="427855"/>
                  </a:lnTo>
                  <a:lnTo>
                    <a:pt x="1276247" y="427855"/>
                  </a:lnTo>
                  <a:lnTo>
                    <a:pt x="1208224" y="427855"/>
                  </a:lnTo>
                  <a:lnTo>
                    <a:pt x="1208224" y="424046"/>
                  </a:lnTo>
                  <a:cubicBezTo>
                    <a:pt x="1208224" y="420181"/>
                    <a:pt x="1209288" y="417006"/>
                    <a:pt x="1211435" y="414541"/>
                  </a:cubicBezTo>
                  <a:cubicBezTo>
                    <a:pt x="1213583" y="412077"/>
                    <a:pt x="1217037" y="409836"/>
                    <a:pt x="1221799" y="407838"/>
                  </a:cubicBezTo>
                  <a:lnTo>
                    <a:pt x="1246558" y="397438"/>
                  </a:lnTo>
                  <a:cubicBezTo>
                    <a:pt x="1256940" y="393031"/>
                    <a:pt x="1264614" y="387598"/>
                    <a:pt x="1269562" y="381118"/>
                  </a:cubicBezTo>
                  <a:cubicBezTo>
                    <a:pt x="1274510" y="374658"/>
                    <a:pt x="1276994" y="366012"/>
                    <a:pt x="1276994" y="355201"/>
                  </a:cubicBezTo>
                  <a:cubicBezTo>
                    <a:pt x="1276994" y="344390"/>
                    <a:pt x="1272904" y="335241"/>
                    <a:pt x="1264707" y="327772"/>
                  </a:cubicBezTo>
                  <a:cubicBezTo>
                    <a:pt x="1256641" y="320564"/>
                    <a:pt x="1246427" y="316961"/>
                    <a:pt x="1234085" y="316961"/>
                  </a:cubicBezTo>
                  <a:close/>
                  <a:moveTo>
                    <a:pt x="941192" y="121855"/>
                  </a:moveTo>
                  <a:lnTo>
                    <a:pt x="941192" y="421842"/>
                  </a:lnTo>
                  <a:lnTo>
                    <a:pt x="996910" y="421842"/>
                  </a:lnTo>
                  <a:lnTo>
                    <a:pt x="996910" y="293266"/>
                  </a:lnTo>
                  <a:lnTo>
                    <a:pt x="1105769" y="293266"/>
                  </a:lnTo>
                  <a:lnTo>
                    <a:pt x="1105769" y="421842"/>
                  </a:lnTo>
                  <a:lnTo>
                    <a:pt x="1161487" y="421842"/>
                  </a:lnTo>
                  <a:lnTo>
                    <a:pt x="1161487" y="121855"/>
                  </a:lnTo>
                  <a:lnTo>
                    <a:pt x="1105769" y="121855"/>
                  </a:lnTo>
                  <a:lnTo>
                    <a:pt x="1105769" y="245707"/>
                  </a:lnTo>
                  <a:lnTo>
                    <a:pt x="996910" y="245707"/>
                  </a:lnTo>
                  <a:lnTo>
                    <a:pt x="996910" y="121855"/>
                  </a:lnTo>
                  <a:close/>
                  <a:moveTo>
                    <a:pt x="285666" y="0"/>
                  </a:moveTo>
                  <a:lnTo>
                    <a:pt x="1827619" y="0"/>
                  </a:lnTo>
                  <a:cubicBezTo>
                    <a:pt x="1985381" y="0"/>
                    <a:pt x="2113285" y="127905"/>
                    <a:pt x="2113285" y="285666"/>
                  </a:cubicBezTo>
                  <a:cubicBezTo>
                    <a:pt x="2113285" y="381884"/>
                    <a:pt x="2065671" y="466936"/>
                    <a:pt x="1992756" y="518695"/>
                  </a:cubicBezTo>
                  <a:lnTo>
                    <a:pt x="120529" y="518695"/>
                  </a:lnTo>
                  <a:cubicBezTo>
                    <a:pt x="47614" y="466936"/>
                    <a:pt x="0" y="381884"/>
                    <a:pt x="0" y="285666"/>
                  </a:cubicBezTo>
                  <a:cubicBezTo>
                    <a:pt x="0" y="127886"/>
                    <a:pt x="127905" y="0"/>
                    <a:pt x="285666" y="0"/>
                  </a:cubicBezTo>
                  <a:close/>
                </a:path>
              </a:pathLst>
            </a:custGeom>
            <a:solidFill>
              <a:schemeClr val="bg1"/>
            </a:solidFill>
            <a:ln w="2037" cap="flat">
              <a:noFill/>
              <a:prstDash val="solid"/>
              <a:miter/>
            </a:ln>
          </p:spPr>
          <p:txBody>
            <a:bodyPr rtlCol="0" anchor="ctr"/>
            <a:lstStyle/>
            <a:p>
              <a:endParaRPr lang="en-US" sz="1050"/>
            </a:p>
          </p:txBody>
        </p:sp>
      </p:grpSp>
      <p:grpSp>
        <p:nvGrpSpPr>
          <p:cNvPr id="16" name="Group 18">
            <a:extLst>
              <a:ext uri="{FF2B5EF4-FFF2-40B4-BE49-F238E27FC236}">
                <a16:creationId xmlns:a16="http://schemas.microsoft.com/office/drawing/2014/main" id="{F7E9E644-DE13-FAF7-E4F6-17A8FB157A09}"/>
              </a:ext>
            </a:extLst>
          </p:cNvPr>
          <p:cNvGrpSpPr/>
          <p:nvPr/>
        </p:nvGrpSpPr>
        <p:grpSpPr>
          <a:xfrm>
            <a:off x="304637" y="1612362"/>
            <a:ext cx="6363089" cy="321756"/>
            <a:chOff x="329374" y="1993952"/>
            <a:chExt cx="7152268" cy="321756"/>
          </a:xfrm>
        </p:grpSpPr>
        <p:sp>
          <p:nvSpPr>
            <p:cNvPr id="17" name="Title4949">
              <a:extLst>
                <a:ext uri="{FF2B5EF4-FFF2-40B4-BE49-F238E27FC236}">
                  <a16:creationId xmlns:a16="http://schemas.microsoft.com/office/drawing/2014/main" id="{66FE012C-718E-7324-8127-52BC047ECA3D}"/>
                </a:ext>
              </a:extLst>
            </p:cNvPr>
            <p:cNvSpPr txBox="1"/>
            <p:nvPr/>
          </p:nvSpPr>
          <p:spPr>
            <a:xfrm>
              <a:off x="329374" y="1993952"/>
              <a:ext cx="7074816" cy="256309"/>
            </a:xfrm>
            <a:prstGeom prst="rect">
              <a:avLst/>
            </a:prstGeom>
            <a:noFill/>
            <a:ln w="9525">
              <a:noFill/>
            </a:ln>
          </p:spPr>
          <p:txBody>
            <a:bodyPr vert="horz" wrap="square" lIns="0" tIns="0" rIns="0" bIns="70950" rtlCol="0" anchor="b">
              <a:spAutoFit/>
            </a:bodyPr>
            <a:lstStyle/>
            <a:p>
              <a:pPr algn="l" fontAlgn="base">
                <a:spcBef>
                  <a:spcPts val="0"/>
                </a:spcBef>
                <a:buSzPct val="100000"/>
              </a:pPr>
              <a:r>
                <a:rPr lang="en-GB" sz="1200" dirty="0">
                  <a:sym typeface="+mn-lt"/>
                </a:rPr>
                <a:t>Different options for hydrogen transport and their respective use cases </a:t>
              </a:r>
            </a:p>
          </p:txBody>
        </p:sp>
        <p:cxnSp>
          <p:nvCxnSpPr>
            <p:cNvPr id="18" name="HorizontalLine50">
              <a:extLst>
                <a:ext uri="{FF2B5EF4-FFF2-40B4-BE49-F238E27FC236}">
                  <a16:creationId xmlns:a16="http://schemas.microsoft.com/office/drawing/2014/main" id="{E631CC12-9904-DC5A-FC05-741D06F56ABC}"/>
                </a:ext>
              </a:extLst>
            </p:cNvPr>
            <p:cNvCxnSpPr>
              <a:cxnSpLocks/>
            </p:cNvCxnSpPr>
            <p:nvPr/>
          </p:nvCxnSpPr>
          <p:spPr>
            <a:xfrm>
              <a:off x="406826" y="2315708"/>
              <a:ext cx="7074816" cy="0"/>
            </a:xfrm>
            <a:prstGeom prst="line">
              <a:avLst/>
            </a:prstGeom>
            <a:ln w="19050" cmpd="sng">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Rectangle 76">
            <a:extLst>
              <a:ext uri="{FF2B5EF4-FFF2-40B4-BE49-F238E27FC236}">
                <a16:creationId xmlns:a16="http://schemas.microsoft.com/office/drawing/2014/main" id="{3A8B5519-B9EF-72C9-20B0-882F8DB3AC99}"/>
              </a:ext>
            </a:extLst>
          </p:cNvPr>
          <p:cNvSpPr/>
          <p:nvPr/>
        </p:nvSpPr>
        <p:spPr>
          <a:xfrm>
            <a:off x="6697657" y="1934118"/>
            <a:ext cx="2102841" cy="25092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Subtitle">
            <a:extLst>
              <a:ext uri="{FF2B5EF4-FFF2-40B4-BE49-F238E27FC236}">
                <a16:creationId xmlns:a16="http://schemas.microsoft.com/office/drawing/2014/main" id="{6D8A068B-F5ED-BF9C-6B1A-C49A2A4B7746}"/>
              </a:ext>
            </a:extLst>
          </p:cNvPr>
          <p:cNvSpPr txBox="1">
            <a:spLocks/>
          </p:cNvSpPr>
          <p:nvPr/>
        </p:nvSpPr>
        <p:spPr>
          <a:xfrm>
            <a:off x="6757169" y="2414417"/>
            <a:ext cx="1993388" cy="1941814"/>
          </a:xfrm>
          <a:prstGeom prst="rect">
            <a:avLst/>
          </a:prstGeom>
        </p:spPr>
        <p:txBody>
          <a:bodyPr vert="horz" wrap="square" lIns="0" tIns="0" rIns="0" bIns="0" rtlCol="0">
            <a:spAutoFit/>
          </a:bodyPr>
          <a:lstStyle>
            <a:defPPr>
              <a:defRPr lang="en-EN"/>
            </a:defPPr>
            <a:lvl1pPr marL="0" lvl="0" indent="0" defTabSz="914400" eaLnBrk="1" latinLnBrk="0" hangingPunct="1">
              <a:lnSpc>
                <a:spcPct val="90000"/>
              </a:lnSpc>
              <a:buClr>
                <a:schemeClr val="tx1"/>
              </a:buClr>
              <a:buSzPct val="100000"/>
              <a:buFont typeface="+mn-lt" pitchFamily="34" charset="0"/>
              <a:buNone/>
              <a:defRPr sz="1800" b="0" i="0" baseline="0">
                <a:solidFill>
                  <a:schemeClr val="tx2"/>
                </a:solidFill>
                <a:latin typeface="+mn-lt"/>
              </a:defRPr>
            </a:lvl1pPr>
            <a:lvl2pPr marL="230400" indent="-230400" defTabSz="914400" eaLnBrk="1" latinLnBrk="0" hangingPunct="1">
              <a:lnSpc>
                <a:spcPct val="90000"/>
              </a:lnSpc>
              <a:spcBef>
                <a:spcPts val="1200"/>
              </a:spcBef>
              <a:buClrTx/>
              <a:buFont typeface="+mn-lt" panose="020B0604020202020204" pitchFamily="34" charset="0"/>
              <a:buChar char="•"/>
              <a:defRPr sz="1800" b="0">
                <a:latin typeface="+mn-lt"/>
              </a:defRPr>
            </a:lvl2pPr>
            <a:lvl3pPr marL="482400" indent="-234000" defTabSz="914400" eaLnBrk="1" latinLnBrk="0" hangingPunct="1">
              <a:lnSpc>
                <a:spcPct val="90000"/>
              </a:lnSpc>
              <a:spcBef>
                <a:spcPts val="400"/>
              </a:spcBef>
              <a:buClrTx/>
              <a:buFont typeface="+mn-lt" pitchFamily="34" charset="0"/>
              <a:buChar char="–"/>
              <a:defRPr sz="1800" b="0">
                <a:latin typeface="+mn-lt"/>
              </a:defRPr>
            </a:lvl3pPr>
            <a:lvl4pPr marL="698400" indent="-201600" defTabSz="914400" eaLnBrk="1" latinLnBrk="0" hangingPunct="1">
              <a:lnSpc>
                <a:spcPct val="90000"/>
              </a:lnSpc>
              <a:spcBef>
                <a:spcPts val="200"/>
              </a:spcBef>
              <a:buClrTx/>
              <a:buFont typeface="+mn-lt" pitchFamily="34" charset="0"/>
              <a:buChar char="-"/>
              <a:defRPr sz="1800" b="0">
                <a:latin typeface="+mn-lt"/>
              </a:defRPr>
            </a:lvl4pPr>
            <a:lvl5pPr marL="698400" indent="0" defTabSz="914400" eaLnBrk="1" latinLnBrk="0" hangingPunct="1">
              <a:lnSpc>
                <a:spcPct val="93000"/>
              </a:lnSpc>
              <a:spcBef>
                <a:spcPts val="0"/>
              </a:spcBef>
              <a:buFont typeface="+mn-lt" pitchFamily="34" charset="0"/>
              <a:buNone/>
              <a:defRPr sz="1700">
                <a:latin typeface="+mn-lt" pitchFamily="34" charset="0"/>
              </a:defRPr>
            </a:lvl5pPr>
            <a:lvl6pPr marL="2514600" indent="-228600">
              <a:spcBef>
                <a:spcPct val="20000"/>
              </a:spcBef>
              <a:buFont typeface="+mn-lt" pitchFamily="34" charset="0"/>
              <a:buChar char="•"/>
              <a:defRPr sz="2000">
                <a:latin typeface="+mn-lt"/>
              </a:defRPr>
            </a:lvl6pPr>
            <a:lvl7pPr marL="2971800" indent="-228600">
              <a:spcBef>
                <a:spcPct val="20000"/>
              </a:spcBef>
              <a:buFont typeface="+mn-lt" pitchFamily="34" charset="0"/>
              <a:buChar char="•"/>
              <a:defRPr sz="2000">
                <a:latin typeface="+mn-lt"/>
              </a:defRPr>
            </a:lvl7pPr>
            <a:lvl8pPr marL="3429000" indent="-228600">
              <a:spcBef>
                <a:spcPct val="20000"/>
              </a:spcBef>
              <a:buFont typeface="+mn-lt" pitchFamily="34" charset="0"/>
              <a:buChar char="•"/>
              <a:defRPr sz="2000">
                <a:latin typeface="+mn-lt"/>
              </a:defRPr>
            </a:lvl8pPr>
            <a:lvl9pPr marL="3886200" indent="-228600">
              <a:spcBef>
                <a:spcPct val="20000"/>
              </a:spcBef>
              <a:buFont typeface="+mn-lt" pitchFamily="34" charset="0"/>
              <a:buChar char="•"/>
              <a:defRPr sz="2000">
                <a:latin typeface="+mn-lt"/>
              </a:defRPr>
            </a:lvl9pPr>
          </a:lstStyle>
          <a:p>
            <a:pPr marL="109631" lvl="1" indent="-109631">
              <a:spcBef>
                <a:spcPts val="400"/>
              </a:spcBef>
              <a:buSzPct val="100000"/>
              <a:buFont typeface="+mn-lt"/>
              <a:buChar char="•"/>
            </a:pPr>
            <a:r>
              <a:rPr lang="en-US" sz="1050" b="1" dirty="0">
                <a:latin typeface="Arial" panose="020B0604020202020204" pitchFamily="34" charset="0"/>
                <a:cs typeface="Arial" panose="020B0604020202020204" pitchFamily="34" charset="0"/>
                <a:sym typeface="Arial Nova Cond" panose="020B0506020202020204" pitchFamily="34" charset="0"/>
              </a:rPr>
              <a:t>Hydrogen </a:t>
            </a:r>
            <a:r>
              <a:rPr lang="en-US" sz="1050" dirty="0">
                <a:latin typeface="Arial" panose="020B0604020202020204" pitchFamily="34" charset="0"/>
                <a:cs typeface="Arial" panose="020B0604020202020204" pitchFamily="34" charset="0"/>
                <a:sym typeface="Arial Nova Cond" panose="020B0506020202020204" pitchFamily="34" charset="0"/>
              </a:rPr>
              <a:t>has a </a:t>
            </a:r>
            <a:r>
              <a:rPr lang="en-US" sz="1050" b="1" dirty="0">
                <a:latin typeface="Arial" panose="020B0604020202020204" pitchFamily="34" charset="0"/>
                <a:cs typeface="Arial" panose="020B0604020202020204" pitchFamily="34" charset="0"/>
                <a:sym typeface="Arial Nova Cond" panose="020B0506020202020204" pitchFamily="34" charset="0"/>
              </a:rPr>
              <a:t>low ratio of energy per volume </a:t>
            </a:r>
            <a:r>
              <a:rPr lang="en-US" sz="1050" dirty="0">
                <a:latin typeface="Arial" panose="020B0604020202020204" pitchFamily="34" charset="0"/>
                <a:cs typeface="Arial" panose="020B0604020202020204" pitchFamily="34" charset="0"/>
                <a:sym typeface="Arial Nova Cond" panose="020B0506020202020204" pitchFamily="34" charset="0"/>
              </a:rPr>
              <a:t>and is </a:t>
            </a:r>
            <a:r>
              <a:rPr lang="en-US" sz="1050" b="1" dirty="0">
                <a:latin typeface="Arial" panose="020B0604020202020204" pitchFamily="34" charset="0"/>
                <a:cs typeface="Arial" panose="020B0604020202020204" pitchFamily="34" charset="0"/>
                <a:sym typeface="Arial Nova Cond" panose="020B0506020202020204" pitchFamily="34" charset="0"/>
              </a:rPr>
              <a:t>very reactive, </a:t>
            </a:r>
            <a:r>
              <a:rPr lang="en-US" sz="1050" dirty="0">
                <a:latin typeface="Arial" panose="020B0604020202020204" pitchFamily="34" charset="0"/>
                <a:cs typeface="Arial" panose="020B0604020202020204" pitchFamily="34" charset="0"/>
                <a:sym typeface="Arial Nova Cond" panose="020B0506020202020204" pitchFamily="34" charset="0"/>
              </a:rPr>
              <a:t>which makes</a:t>
            </a:r>
            <a:r>
              <a:rPr lang="en-US" sz="1050" b="1" dirty="0">
                <a:latin typeface="Arial" panose="020B0604020202020204" pitchFamily="34" charset="0"/>
                <a:cs typeface="Arial" panose="020B0604020202020204" pitchFamily="34" charset="0"/>
                <a:sym typeface="Arial Nova Cond" panose="020B0506020202020204" pitchFamily="34" charset="0"/>
              </a:rPr>
              <a:t> storage and transportation </a:t>
            </a:r>
            <a:r>
              <a:rPr lang="en-US" sz="1050" dirty="0">
                <a:latin typeface="Arial" panose="020B0604020202020204" pitchFamily="34" charset="0"/>
                <a:cs typeface="Arial" panose="020B0604020202020204" pitchFamily="34" charset="0"/>
                <a:sym typeface="Arial Nova Cond" panose="020B0506020202020204" pitchFamily="34" charset="0"/>
              </a:rPr>
              <a:t>technically </a:t>
            </a:r>
            <a:r>
              <a:rPr lang="en-US" sz="1050" b="1" dirty="0">
                <a:latin typeface="Arial" panose="020B0604020202020204" pitchFamily="34" charset="0"/>
                <a:cs typeface="Arial" panose="020B0604020202020204" pitchFamily="34" charset="0"/>
                <a:sym typeface="Arial Nova Cond" panose="020B0506020202020204" pitchFamily="34" charset="0"/>
              </a:rPr>
              <a:t>challenging and costly</a:t>
            </a:r>
          </a:p>
          <a:p>
            <a:pPr marL="109631" lvl="1" indent="-109631">
              <a:spcBef>
                <a:spcPts val="400"/>
              </a:spcBef>
              <a:buSzPct val="100000"/>
              <a:buFont typeface="+mn-lt"/>
              <a:buChar char="•"/>
            </a:pPr>
            <a:r>
              <a:rPr lang="en-US" sz="1050" dirty="0">
                <a:latin typeface="Arial" panose="020B0604020202020204" pitchFamily="34" charset="0"/>
                <a:cs typeface="Arial" panose="020B0604020202020204" pitchFamily="34" charset="0"/>
                <a:sym typeface="Arial Nova Cond" panose="020B0506020202020204" pitchFamily="34" charset="0"/>
              </a:rPr>
              <a:t>The</a:t>
            </a:r>
            <a:r>
              <a:rPr lang="en-US" sz="1050" b="1" dirty="0">
                <a:latin typeface="Arial" panose="020B0604020202020204" pitchFamily="34" charset="0"/>
                <a:cs typeface="Arial" panose="020B0604020202020204" pitchFamily="34" charset="0"/>
                <a:sym typeface="Arial Nova Cond" panose="020B0506020202020204" pitchFamily="34" charset="0"/>
              </a:rPr>
              <a:t> strengths of pipelines </a:t>
            </a:r>
            <a:r>
              <a:rPr lang="en-US" sz="1050" dirty="0">
                <a:latin typeface="Arial" panose="020B0604020202020204" pitchFamily="34" charset="0"/>
                <a:cs typeface="Arial" panose="020B0604020202020204" pitchFamily="34" charset="0"/>
                <a:sym typeface="Arial Nova Cond" panose="020B0506020202020204" pitchFamily="34" charset="0"/>
              </a:rPr>
              <a:t>include</a:t>
            </a:r>
            <a:r>
              <a:rPr lang="en-US" sz="1050" b="1" dirty="0">
                <a:latin typeface="Arial" panose="020B0604020202020204" pitchFamily="34" charset="0"/>
                <a:cs typeface="Arial" panose="020B0604020202020204" pitchFamily="34" charset="0"/>
                <a:sym typeface="Arial Nova Cond" panose="020B0506020202020204" pitchFamily="34" charset="0"/>
              </a:rPr>
              <a:t> a long lifetime, low operating costs, </a:t>
            </a:r>
            <a:r>
              <a:rPr lang="en-US" sz="1050" dirty="0">
                <a:latin typeface="Arial" panose="020B0604020202020204" pitchFamily="34" charset="0"/>
                <a:cs typeface="Arial" panose="020B0604020202020204" pitchFamily="34" charset="0"/>
                <a:sym typeface="Arial Nova Cond" panose="020B0506020202020204" pitchFamily="34" charset="0"/>
              </a:rPr>
              <a:t>and</a:t>
            </a:r>
            <a:r>
              <a:rPr lang="en-US" sz="1050" b="1" dirty="0">
                <a:latin typeface="Arial" panose="020B0604020202020204" pitchFamily="34" charset="0"/>
                <a:cs typeface="Arial" panose="020B0604020202020204" pitchFamily="34" charset="0"/>
                <a:sym typeface="Arial Nova Cond" panose="020B0506020202020204" pitchFamily="34" charset="0"/>
              </a:rPr>
              <a:t> high transport volumes </a:t>
            </a:r>
            <a:r>
              <a:rPr lang="en-US" sz="1050" dirty="0">
                <a:latin typeface="Arial" panose="020B0604020202020204" pitchFamily="34" charset="0"/>
                <a:cs typeface="Arial" panose="020B0604020202020204" pitchFamily="34" charset="0"/>
                <a:sym typeface="Arial Nova Cond" panose="020B0506020202020204" pitchFamily="34" charset="0"/>
              </a:rPr>
              <a:t>which makes them especially suitable for large-scale, long-distance hydrogen transmission</a:t>
            </a:r>
          </a:p>
        </p:txBody>
      </p:sp>
      <p:sp>
        <p:nvSpPr>
          <p:cNvPr id="21" name="Subtitle">
            <a:extLst>
              <a:ext uri="{FF2B5EF4-FFF2-40B4-BE49-F238E27FC236}">
                <a16:creationId xmlns:a16="http://schemas.microsoft.com/office/drawing/2014/main" id="{A45CC687-D293-6BEA-0CE3-0C76F11C7434}"/>
              </a:ext>
            </a:extLst>
          </p:cNvPr>
          <p:cNvSpPr txBox="1">
            <a:spLocks/>
          </p:cNvSpPr>
          <p:nvPr/>
        </p:nvSpPr>
        <p:spPr>
          <a:xfrm>
            <a:off x="6803636" y="2029150"/>
            <a:ext cx="1812171" cy="221599"/>
          </a:xfrm>
          <a:prstGeom prst="rect">
            <a:avLst/>
          </a:prstGeom>
        </p:spPr>
        <p:txBody>
          <a:bodyPr vert="horz" wrap="square" lIns="0" tIns="0" rIns="0" bIns="0" rtlCol="0">
            <a:spAutoFit/>
          </a:bodyPr>
          <a:lstStyle>
            <a:defPPr>
              <a:defRPr lang="en-EN"/>
            </a:defPPr>
            <a:lvl1pPr marL="0" lvl="0" indent="0" defTabSz="914400" eaLnBrk="1" latinLnBrk="0" hangingPunct="1">
              <a:lnSpc>
                <a:spcPct val="90000"/>
              </a:lnSpc>
              <a:buClr>
                <a:schemeClr val="tx1"/>
              </a:buClr>
              <a:buSzPct val="100000"/>
              <a:buFont typeface="+mn-lt" pitchFamily="34" charset="0"/>
              <a:buNone/>
              <a:defRPr sz="1800" b="0" i="0" baseline="0">
                <a:solidFill>
                  <a:schemeClr val="tx2"/>
                </a:solidFill>
                <a:latin typeface="+mn-lt"/>
              </a:defRPr>
            </a:lvl1pPr>
            <a:lvl2pPr marL="230400" indent="-230400" defTabSz="914400" eaLnBrk="1" latinLnBrk="0" hangingPunct="1">
              <a:lnSpc>
                <a:spcPct val="90000"/>
              </a:lnSpc>
              <a:spcBef>
                <a:spcPts val="1200"/>
              </a:spcBef>
              <a:buClrTx/>
              <a:buFont typeface="+mn-lt" panose="020B0604020202020204" pitchFamily="34" charset="0"/>
              <a:buChar char="•"/>
              <a:defRPr sz="1800" b="0">
                <a:latin typeface="+mn-lt"/>
              </a:defRPr>
            </a:lvl2pPr>
            <a:lvl3pPr marL="482400" indent="-234000" defTabSz="914400" eaLnBrk="1" latinLnBrk="0" hangingPunct="1">
              <a:lnSpc>
                <a:spcPct val="90000"/>
              </a:lnSpc>
              <a:spcBef>
                <a:spcPts val="400"/>
              </a:spcBef>
              <a:buClrTx/>
              <a:buFont typeface="+mn-lt" pitchFamily="34" charset="0"/>
              <a:buChar char="–"/>
              <a:defRPr sz="1800" b="0">
                <a:latin typeface="+mn-lt"/>
              </a:defRPr>
            </a:lvl3pPr>
            <a:lvl4pPr marL="698400" indent="-201600" defTabSz="914400" eaLnBrk="1" latinLnBrk="0" hangingPunct="1">
              <a:lnSpc>
                <a:spcPct val="90000"/>
              </a:lnSpc>
              <a:spcBef>
                <a:spcPts val="200"/>
              </a:spcBef>
              <a:buClrTx/>
              <a:buFont typeface="+mn-lt" pitchFamily="34" charset="0"/>
              <a:buChar char="-"/>
              <a:defRPr sz="1800" b="0">
                <a:latin typeface="+mn-lt"/>
              </a:defRPr>
            </a:lvl4pPr>
            <a:lvl5pPr marL="698400" indent="0" defTabSz="914400" eaLnBrk="1" latinLnBrk="0" hangingPunct="1">
              <a:lnSpc>
                <a:spcPct val="93000"/>
              </a:lnSpc>
              <a:spcBef>
                <a:spcPts val="0"/>
              </a:spcBef>
              <a:buFont typeface="+mn-lt" pitchFamily="34" charset="0"/>
              <a:buNone/>
              <a:defRPr sz="1700">
                <a:latin typeface="+mn-lt" pitchFamily="34" charset="0"/>
              </a:defRPr>
            </a:lvl5pPr>
            <a:lvl6pPr marL="2514600" indent="-228600">
              <a:spcBef>
                <a:spcPct val="20000"/>
              </a:spcBef>
              <a:buFont typeface="+mn-lt" pitchFamily="34" charset="0"/>
              <a:buChar char="•"/>
              <a:defRPr sz="2000">
                <a:latin typeface="+mn-lt"/>
              </a:defRPr>
            </a:lvl6pPr>
            <a:lvl7pPr marL="2971800" indent="-228600">
              <a:spcBef>
                <a:spcPct val="20000"/>
              </a:spcBef>
              <a:buFont typeface="+mn-lt" pitchFamily="34" charset="0"/>
              <a:buChar char="•"/>
              <a:defRPr sz="2000">
                <a:latin typeface="+mn-lt"/>
              </a:defRPr>
            </a:lvl7pPr>
            <a:lvl8pPr marL="3429000" indent="-228600">
              <a:spcBef>
                <a:spcPct val="20000"/>
              </a:spcBef>
              <a:buFont typeface="+mn-lt" pitchFamily="34" charset="0"/>
              <a:buChar char="•"/>
              <a:defRPr sz="2000">
                <a:latin typeface="+mn-lt"/>
              </a:defRPr>
            </a:lvl8pPr>
            <a:lvl9pPr marL="3886200" indent="-228600">
              <a:spcBef>
                <a:spcPct val="20000"/>
              </a:spcBef>
              <a:buFont typeface="+mn-lt" pitchFamily="34" charset="0"/>
              <a:buChar char="•"/>
              <a:defRPr sz="2000">
                <a:latin typeface="+mn-lt"/>
              </a:defRPr>
            </a:lvl9pPr>
          </a:lstStyle>
          <a:p>
            <a:pPr>
              <a:buClrTx/>
              <a:buFont typeface=""/>
            </a:pPr>
            <a:r>
              <a:rPr lang="en-US" sz="1600" b="1" dirty="0">
                <a:solidFill>
                  <a:schemeClr val="accent4"/>
                </a:solidFill>
                <a:latin typeface="Arial" panose="020B0604020202020204" pitchFamily="34" charset="0"/>
                <a:cs typeface="Arial" panose="020B0604020202020204" pitchFamily="34" charset="0"/>
                <a:sym typeface="Arial Nova Cond" panose="020B0506020202020204" pitchFamily="34" charset="0"/>
              </a:rPr>
              <a:t>Key insights</a:t>
            </a:r>
          </a:p>
        </p:txBody>
      </p:sp>
      <p:sp>
        <p:nvSpPr>
          <p:cNvPr id="22" name="Source">
            <a:extLst>
              <a:ext uri="{FF2B5EF4-FFF2-40B4-BE49-F238E27FC236}">
                <a16:creationId xmlns:a16="http://schemas.microsoft.com/office/drawing/2014/main" id="{121D6A41-F59E-96E3-4DF6-2AA336C45C2B}"/>
              </a:ext>
            </a:extLst>
          </p:cNvPr>
          <p:cNvSpPr txBox="1"/>
          <p:nvPr/>
        </p:nvSpPr>
        <p:spPr>
          <a:xfrm>
            <a:off x="4863315" y="1572979"/>
            <a:ext cx="4054710" cy="83100"/>
          </a:xfrm>
          <a:prstGeom prst="rect">
            <a:avLst/>
          </a:prstGeom>
          <a:noFill/>
          <a:ln w="9525">
            <a:noFill/>
          </a:ln>
        </p:spPr>
        <p:txBody>
          <a:bodyPr vert="horz" wrap="squar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a:sym typeface="+mn-lt"/>
              </a:rPr>
              <a:t>Source: International Renewable Energy Agency (IRENA), International Energy Agency (IEA), </a:t>
            </a:r>
            <a:r>
              <a:rPr lang="en-US" sz="600" err="1">
                <a:sym typeface="+mn-lt"/>
              </a:rPr>
              <a:t>EHB</a:t>
            </a:r>
            <a:r>
              <a:rPr lang="en-US" sz="600">
                <a:sym typeface="+mn-lt"/>
              </a:rPr>
              <a:t>, desk research, own calculations</a:t>
            </a:r>
          </a:p>
        </p:txBody>
      </p:sp>
      <p:sp>
        <p:nvSpPr>
          <p:cNvPr id="23" name="TextBox 23">
            <a:extLst>
              <a:ext uri="{FF2B5EF4-FFF2-40B4-BE49-F238E27FC236}">
                <a16:creationId xmlns:a16="http://schemas.microsoft.com/office/drawing/2014/main" id="{9CDF7A96-3E67-73CD-1A0A-7A85EBD8CD4D}"/>
              </a:ext>
            </a:extLst>
          </p:cNvPr>
          <p:cNvSpPr txBox="1"/>
          <p:nvPr/>
        </p:nvSpPr>
        <p:spPr>
          <a:xfrm>
            <a:off x="225976" y="1306872"/>
            <a:ext cx="4382538" cy="276999"/>
          </a:xfrm>
          <a:prstGeom prst="rect">
            <a:avLst/>
          </a:prstGeom>
          <a:noFill/>
        </p:spPr>
        <p:txBody>
          <a:bodyPr wrap="square">
            <a:spAutoFit/>
          </a:bodyPr>
          <a:lstStyle/>
          <a:p>
            <a:r>
              <a:rPr lang="en-US" sz="1200" dirty="0">
                <a:solidFill>
                  <a:schemeClr val="tx2"/>
                </a:solidFill>
                <a:latin typeface="+mj-lt"/>
                <a:cs typeface="+mj-cs"/>
                <a:sym typeface="+mn-lt"/>
              </a:rPr>
              <a:t>Large-scale H2 transportation technology options</a:t>
            </a:r>
          </a:p>
        </p:txBody>
      </p:sp>
      <p:sp>
        <p:nvSpPr>
          <p:cNvPr id="24" name="Notes">
            <a:extLst>
              <a:ext uri="{FF2B5EF4-FFF2-40B4-BE49-F238E27FC236}">
                <a16:creationId xmlns:a16="http://schemas.microsoft.com/office/drawing/2014/main" id="{6D8587BD-AB52-9BA0-3BF8-8FB2E5F4905B}"/>
              </a:ext>
            </a:extLst>
          </p:cNvPr>
          <p:cNvSpPr txBox="1">
            <a:spLocks/>
          </p:cNvSpPr>
          <p:nvPr/>
        </p:nvSpPr>
        <p:spPr>
          <a:xfrm>
            <a:off x="4863315" y="1431796"/>
            <a:ext cx="1197444" cy="92333"/>
          </a:xfrm>
          <a:prstGeom prst="rect">
            <a:avLst/>
          </a:prstGeom>
          <a:noFill/>
          <a:ln w="9525">
            <a:noFill/>
          </a:ln>
        </p:spPr>
        <p:txBody>
          <a:bodyPr vert="horz" wrap="square" lIns="0" tIns="0" rIns="0" bIns="0" rtlCol="0" anchor="b" anchorCtr="0">
            <a:spAutoFit/>
          </a:bodyPr>
          <a:lstStyle>
            <a:defPPr>
              <a:defRPr lang="en-EN"/>
            </a:defPPr>
            <a:lvl1pPr lvl="0">
              <a:lnSpc>
                <a:spcPct val="100000"/>
              </a:lnSpc>
              <a:spcBef>
                <a:spcPts val="0"/>
              </a:spcBef>
              <a:spcAft>
                <a:spcPts val="0"/>
              </a:spcAft>
              <a:buSzPct val="100000"/>
              <a:defRPr sz="800" b="0">
                <a:solidFill>
                  <a:schemeClr val="tx2"/>
                </a:solidFill>
                <a:latin typeface="+mn-lt"/>
              </a:defRPr>
            </a:lvl1pPr>
          </a:lstStyle>
          <a:p>
            <a:r>
              <a:rPr lang="en-US" sz="600" dirty="0">
                <a:sym typeface="+mn-lt"/>
              </a:rPr>
              <a:t>1) Liquid organic hydrogen carriers</a:t>
            </a:r>
          </a:p>
        </p:txBody>
      </p:sp>
      <p:grpSp>
        <p:nvGrpSpPr>
          <p:cNvPr id="25" name="Group 31">
            <a:extLst>
              <a:ext uri="{FF2B5EF4-FFF2-40B4-BE49-F238E27FC236}">
                <a16:creationId xmlns:a16="http://schemas.microsoft.com/office/drawing/2014/main" id="{BF5F8536-9193-F5A4-E4E5-26A165F98373}"/>
              </a:ext>
            </a:extLst>
          </p:cNvPr>
          <p:cNvGrpSpPr/>
          <p:nvPr/>
        </p:nvGrpSpPr>
        <p:grpSpPr>
          <a:xfrm>
            <a:off x="267604" y="-985"/>
            <a:ext cx="1821103" cy="246221"/>
            <a:chOff x="267604" y="3778"/>
            <a:chExt cx="1821103" cy="246221"/>
          </a:xfrm>
        </p:grpSpPr>
        <p:sp>
          <p:nvSpPr>
            <p:cNvPr id="26" name="Oval 32">
              <a:extLst>
                <a:ext uri="{FF2B5EF4-FFF2-40B4-BE49-F238E27FC236}">
                  <a16:creationId xmlns:a16="http://schemas.microsoft.com/office/drawing/2014/main" id="{ABBEC390-F7A1-8206-3E0B-737B1CF808BE}"/>
                </a:ext>
              </a:extLst>
            </p:cNvPr>
            <p:cNvSpPr/>
            <p:nvPr/>
          </p:nvSpPr>
          <p:spPr>
            <a:xfrm>
              <a:off x="267604" y="45746"/>
              <a:ext cx="162285" cy="162285"/>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RB Office"/>
                  <a:ea typeface="Microsoft YaHei"/>
                  <a:cs typeface="Calibri"/>
                </a:rPr>
                <a:t>B</a:t>
              </a:r>
            </a:p>
          </p:txBody>
        </p:sp>
        <p:sp>
          <p:nvSpPr>
            <p:cNvPr id="27" name="TextBox 33">
              <a:extLst>
                <a:ext uri="{FF2B5EF4-FFF2-40B4-BE49-F238E27FC236}">
                  <a16:creationId xmlns:a16="http://schemas.microsoft.com/office/drawing/2014/main" id="{BD8EA1F1-EE3E-05D0-AB38-24E7E027C095}"/>
                </a:ext>
              </a:extLst>
            </p:cNvPr>
            <p:cNvSpPr txBox="1"/>
            <p:nvPr/>
          </p:nvSpPr>
          <p:spPr>
            <a:xfrm>
              <a:off x="362201" y="3778"/>
              <a:ext cx="1726506" cy="246221"/>
            </a:xfrm>
            <a:prstGeom prst="rect">
              <a:avLst/>
            </a:prstGeom>
            <a:noFill/>
          </p:spPr>
          <p:txBody>
            <a:bodyPr wrap="square" rtlCol="0" anchor="ctr">
              <a:spAutoFit/>
            </a:bodyPr>
            <a:lstStyle/>
            <a:p>
              <a:r>
                <a:rPr lang="en-GB" sz="1000" dirty="0"/>
                <a:t>Hydrogen infrastructure</a:t>
              </a:r>
            </a:p>
          </p:txBody>
        </p:sp>
      </p:grpSp>
    </p:spTree>
    <p:extLst>
      <p:ext uri="{BB962C8B-B14F-4D97-AF65-F5344CB8AC3E}">
        <p14:creationId xmlns:p14="http://schemas.microsoft.com/office/powerpoint/2010/main" val="18650911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0BEEFAC-B87D-48F6-D21D-02E165BC31C0}"/>
              </a:ext>
            </a:extLst>
          </p:cNvPr>
          <p:cNvSpPr>
            <a:spLocks noGrp="1"/>
          </p:cNvSpPr>
          <p:nvPr>
            <p:ph type="title"/>
          </p:nvPr>
        </p:nvSpPr>
        <p:spPr>
          <a:xfrm>
            <a:off x="250825" y="1166814"/>
            <a:ext cx="6888810" cy="1225550"/>
          </a:xfrm>
        </p:spPr>
        <p:txBody>
          <a:bodyPr/>
          <a:lstStyle/>
          <a:p>
            <a:pPr>
              <a:lnSpc>
                <a:spcPct val="100000"/>
              </a:lnSpc>
            </a:pPr>
            <a:r>
              <a:rPr lang="en-US" sz="3200" spc="0" dirty="0">
                <a:cs typeface="Arial" panose="020B0604020202020204" pitchFamily="34" charset="0"/>
              </a:rPr>
              <a:t>Perspective and strategic options ahead for industrial valves players</a:t>
            </a:r>
            <a:endParaRPr lang="it-IT" sz="3200" spc="0" dirty="0">
              <a:cs typeface="Arial" panose="020B0604020202020204" pitchFamily="34" charset="0"/>
            </a:endParaRPr>
          </a:p>
        </p:txBody>
      </p:sp>
      <p:sp>
        <p:nvSpPr>
          <p:cNvPr id="4" name="Segnaposto piè di pagina 3">
            <a:extLst>
              <a:ext uri="{FF2B5EF4-FFF2-40B4-BE49-F238E27FC236}">
                <a16:creationId xmlns:a16="http://schemas.microsoft.com/office/drawing/2014/main" id="{5AADA74F-B2EE-695A-A3F5-C0368D738520}"/>
              </a:ext>
            </a:extLst>
          </p:cNvPr>
          <p:cNvSpPr>
            <a:spLocks noGrp="1"/>
          </p:cNvSpPr>
          <p:nvPr>
            <p:ph type="ftr" sz="quarter" idx="11"/>
          </p:nvPr>
        </p:nvSpPr>
        <p:spPr>
          <a:xfrm>
            <a:off x="250825" y="3333441"/>
            <a:ext cx="1066673" cy="273844"/>
          </a:xfrm>
        </p:spPr>
        <p:txBody>
          <a:bodyPr/>
          <a:lstStyle/>
          <a:p>
            <a:r>
              <a:rPr lang="it-IT" dirty="0"/>
              <a:t>Speaker: </a:t>
            </a:r>
          </a:p>
        </p:txBody>
      </p:sp>
      <p:sp>
        <p:nvSpPr>
          <p:cNvPr id="6" name="Segnaposto testo 4">
            <a:extLst>
              <a:ext uri="{FF2B5EF4-FFF2-40B4-BE49-F238E27FC236}">
                <a16:creationId xmlns:a16="http://schemas.microsoft.com/office/drawing/2014/main" id="{02101DC7-1DBB-4FF0-3502-EE3388345414}"/>
              </a:ext>
            </a:extLst>
          </p:cNvPr>
          <p:cNvSpPr>
            <a:spLocks noGrp="1"/>
          </p:cNvSpPr>
          <p:nvPr>
            <p:ph type="body" sz="quarter" idx="13"/>
          </p:nvPr>
        </p:nvSpPr>
        <p:spPr>
          <a:xfrm>
            <a:off x="1110204" y="3355926"/>
            <a:ext cx="4529455" cy="563563"/>
          </a:xfrm>
        </p:spPr>
        <p:txBody>
          <a:bodyPr/>
          <a:lstStyle/>
          <a:p>
            <a:r>
              <a:rPr lang="it-IT" dirty="0">
                <a:cs typeface="Arial" panose="020B0604020202020204" pitchFamily="34" charset="0"/>
              </a:rPr>
              <a:t>Leonardo Bonetti | Partner</a:t>
            </a:r>
          </a:p>
          <a:p>
            <a:r>
              <a:rPr lang="it-IT" dirty="0">
                <a:cs typeface="Arial" panose="020B0604020202020204" pitchFamily="34" charset="0"/>
              </a:rPr>
              <a:t>Nicola Morzenti | Partner</a:t>
            </a:r>
          </a:p>
        </p:txBody>
      </p:sp>
    </p:spTree>
    <p:extLst>
      <p:ext uri="{BB962C8B-B14F-4D97-AF65-F5344CB8AC3E}">
        <p14:creationId xmlns:p14="http://schemas.microsoft.com/office/powerpoint/2010/main" val="40245107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7ADF24-4AC1-267D-01DF-521C89D0BB08}"/>
              </a:ext>
            </a:extLst>
          </p:cNvPr>
          <p:cNvSpPr txBox="1">
            <a:spLocks/>
          </p:cNvSpPr>
          <p:nvPr/>
        </p:nvSpPr>
        <p:spPr>
          <a:xfrm>
            <a:off x="273785" y="881230"/>
            <a:ext cx="8151078" cy="576000"/>
          </a:xfrm>
          <a:prstGeom prst="rect">
            <a:avLst/>
          </a:prstGeom>
        </p:spPr>
        <p:txBody>
          <a:bodyPr vert="horz"/>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r>
              <a:rPr lang="en-US" sz="1600" dirty="0"/>
              <a:t>In the long-run, the Middle East, Africa, Latin America and Australia will export H2; EU and East Asia will be net H2 importers</a:t>
            </a:r>
            <a:endParaRPr lang="en-GB" sz="1600" dirty="0"/>
          </a:p>
        </p:txBody>
      </p:sp>
      <p:sp>
        <p:nvSpPr>
          <p:cNvPr id="3" name="Source">
            <a:extLst>
              <a:ext uri="{FF2B5EF4-FFF2-40B4-BE49-F238E27FC236}">
                <a16:creationId xmlns:a16="http://schemas.microsoft.com/office/drawing/2014/main" id="{C4118B68-2A70-D09E-8003-921F040CDF60}"/>
              </a:ext>
            </a:extLst>
          </p:cNvPr>
          <p:cNvSpPr txBox="1"/>
          <p:nvPr/>
        </p:nvSpPr>
        <p:spPr>
          <a:xfrm>
            <a:off x="259269" y="4504608"/>
            <a:ext cx="2223366"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dirty="0">
                <a:sym typeface="+mn-lt"/>
              </a:rPr>
              <a:t>Source: International Energy Agency (IEA), World Energy Council</a:t>
            </a:r>
          </a:p>
        </p:txBody>
      </p:sp>
      <p:sp>
        <p:nvSpPr>
          <p:cNvPr id="4" name="TextBox 3">
            <a:extLst>
              <a:ext uri="{FF2B5EF4-FFF2-40B4-BE49-F238E27FC236}">
                <a16:creationId xmlns:a16="http://schemas.microsoft.com/office/drawing/2014/main" id="{D1F3A1B8-B5CA-9E0E-0AFA-1D4D61D863F4}"/>
              </a:ext>
            </a:extLst>
          </p:cNvPr>
          <p:cNvSpPr txBox="1"/>
          <p:nvPr/>
        </p:nvSpPr>
        <p:spPr>
          <a:xfrm>
            <a:off x="169324" y="1401900"/>
            <a:ext cx="7579731" cy="276999"/>
          </a:xfrm>
          <a:prstGeom prst="rect">
            <a:avLst/>
          </a:prstGeom>
          <a:noFill/>
        </p:spPr>
        <p:txBody>
          <a:bodyPr wrap="square">
            <a:spAutoFit/>
          </a:bodyPr>
          <a:lstStyle/>
          <a:p>
            <a:r>
              <a:rPr lang="en-US" sz="1200" dirty="0">
                <a:solidFill>
                  <a:schemeClr val="tx2"/>
                </a:solidFill>
                <a:latin typeface="+mj-lt"/>
                <a:cs typeface="+mj-cs"/>
                <a:sym typeface="+mn-lt"/>
              </a:rPr>
              <a:t>Expected global clean </a:t>
            </a:r>
            <a:r>
              <a:rPr lang="en-US" sz="1200" dirty="0" err="1">
                <a:solidFill>
                  <a:schemeClr val="tx2"/>
                </a:solidFill>
                <a:latin typeface="+mj-lt"/>
                <a:cs typeface="+mj-cs"/>
                <a:sym typeface="+mn-lt"/>
              </a:rPr>
              <a:t>H2</a:t>
            </a:r>
            <a:r>
              <a:rPr lang="en-US" sz="1200" dirty="0">
                <a:solidFill>
                  <a:schemeClr val="tx2"/>
                </a:solidFill>
                <a:latin typeface="+mj-lt"/>
                <a:cs typeface="+mj-cs"/>
                <a:sym typeface="+mn-lt"/>
              </a:rPr>
              <a:t> export and import centers [2035+]</a:t>
            </a:r>
          </a:p>
        </p:txBody>
      </p:sp>
      <p:sp>
        <p:nvSpPr>
          <p:cNvPr id="5" name="Notes">
            <a:extLst>
              <a:ext uri="{FF2B5EF4-FFF2-40B4-BE49-F238E27FC236}">
                <a16:creationId xmlns:a16="http://schemas.microsoft.com/office/drawing/2014/main" id="{92ADD119-55F3-FDC7-E063-6C09010F2F1E}"/>
              </a:ext>
            </a:extLst>
          </p:cNvPr>
          <p:cNvSpPr txBox="1">
            <a:spLocks/>
          </p:cNvSpPr>
          <p:nvPr/>
        </p:nvSpPr>
        <p:spPr>
          <a:xfrm>
            <a:off x="259490" y="4353566"/>
            <a:ext cx="8526600" cy="92333"/>
          </a:xfrm>
          <a:prstGeom prst="rect">
            <a:avLst/>
          </a:prstGeom>
          <a:noFill/>
          <a:ln w="9525">
            <a:noFill/>
          </a:ln>
        </p:spPr>
        <p:txBody>
          <a:bodyPr vert="horz" wrap="square" lIns="0" tIns="0" rIns="0" bIns="0" rtlCol="0" anchor="b" anchorCtr="0">
            <a:spAutoFit/>
          </a:bodyPr>
          <a:lstStyle>
            <a:defPPr>
              <a:defRPr lang="en-EN"/>
            </a:defPPr>
            <a:lvl1pPr lvl="0">
              <a:lnSpc>
                <a:spcPct val="100000"/>
              </a:lnSpc>
              <a:spcBef>
                <a:spcPts val="0"/>
              </a:spcBef>
              <a:spcAft>
                <a:spcPts val="0"/>
              </a:spcAft>
              <a:buSzPct val="100000"/>
              <a:defRPr sz="800" b="0">
                <a:solidFill>
                  <a:schemeClr val="tx2"/>
                </a:solidFill>
                <a:latin typeface="+mn-lt"/>
              </a:defRPr>
            </a:lvl1pPr>
          </a:lstStyle>
          <a:p>
            <a:r>
              <a:rPr lang="en-US" sz="600" dirty="0">
                <a:sym typeface="+mn-lt"/>
              </a:rPr>
              <a:t>Note: Overview considers net trade balance</a:t>
            </a:r>
          </a:p>
        </p:txBody>
      </p:sp>
      <p:sp>
        <p:nvSpPr>
          <p:cNvPr id="6" name="TextBox 24">
            <a:extLst>
              <a:ext uri="{FF2B5EF4-FFF2-40B4-BE49-F238E27FC236}">
                <a16:creationId xmlns:a16="http://schemas.microsoft.com/office/drawing/2014/main" id="{9FDC2C08-8CE7-6F5E-B48F-C0AB8DFCC20F}"/>
              </a:ext>
            </a:extLst>
          </p:cNvPr>
          <p:cNvSpPr txBox="1"/>
          <p:nvPr/>
        </p:nvSpPr>
        <p:spPr>
          <a:xfrm>
            <a:off x="557268" y="2849820"/>
            <a:ext cx="617157" cy="115416"/>
          </a:xfrm>
          <a:prstGeom prst="rect">
            <a:avLst/>
          </a:prstGeom>
          <a:solidFill>
            <a:schemeClr val="bg1"/>
          </a:solidFill>
          <a:ln w="9525">
            <a:noFill/>
          </a:ln>
        </p:spPr>
        <p:txBody>
          <a:bodyPr vert="horz" wrap="none" lIns="0" tIns="0" rIns="0" bIns="0" rtlCol="0" anchor="ctr">
            <a:spAutoFit/>
          </a:bodyPr>
          <a:lstStyle/>
          <a:p>
            <a:pPr defTabSz="685800" fontAlgn="base">
              <a:spcBef>
                <a:spcPts val="300"/>
              </a:spcBef>
              <a:spcAft>
                <a:spcPct val="0"/>
              </a:spcAft>
              <a:buSzPct val="100000"/>
              <a:defRPr/>
            </a:pPr>
            <a:r>
              <a:rPr lang="en-DE" sz="750" dirty="0">
                <a:solidFill>
                  <a:srgbClr val="000000"/>
                </a:solidFill>
                <a:latin typeface="+mj-lt"/>
                <a:ea typeface="Microsoft YaHei"/>
                <a:cs typeface="Segoe UI"/>
              </a:rPr>
              <a:t>Major importer</a:t>
            </a:r>
            <a:endParaRPr lang="en-US" sz="750" dirty="0">
              <a:solidFill>
                <a:srgbClr val="000000"/>
              </a:solidFill>
              <a:latin typeface="+mj-lt"/>
              <a:ea typeface="Microsoft YaHei"/>
              <a:cs typeface="Segoe UI"/>
            </a:endParaRPr>
          </a:p>
        </p:txBody>
      </p:sp>
      <p:sp>
        <p:nvSpPr>
          <p:cNvPr id="7" name="LegendIcon">
            <a:extLst>
              <a:ext uri="{FF2B5EF4-FFF2-40B4-BE49-F238E27FC236}">
                <a16:creationId xmlns:a16="http://schemas.microsoft.com/office/drawing/2014/main" id="{76B82812-D3FA-75DC-D57B-F55C0795C8DB}"/>
              </a:ext>
            </a:extLst>
          </p:cNvPr>
          <p:cNvSpPr>
            <a:spLocks/>
          </p:cNvSpPr>
          <p:nvPr/>
        </p:nvSpPr>
        <p:spPr>
          <a:xfrm rot="10800000">
            <a:off x="309862" y="3463554"/>
            <a:ext cx="162000" cy="142009"/>
          </a:xfrm>
          <a:prstGeom prst="rect">
            <a:avLst/>
          </a:prstGeom>
          <a:solidFill>
            <a:schemeClr val="accent6"/>
          </a:solidFill>
          <a:ln w="9525" cap="flat" cmpd="sng" algn="ctr">
            <a:noFill/>
            <a:prstDash val="solid"/>
          </a:ln>
          <a:effectLst/>
        </p:spPr>
        <p:txBody>
          <a:bodyPr lIns="0" tIns="0" rIns="0" bIns="0" rtlCol="0" anchor="ctr"/>
          <a:lstStyle/>
          <a:p>
            <a:pPr algn="ctr" defTabSz="685783" fontAlgn="base">
              <a:lnSpc>
                <a:spcPct val="90000"/>
              </a:lnSpc>
              <a:spcBef>
                <a:spcPct val="0"/>
              </a:spcBef>
              <a:spcAft>
                <a:spcPct val="0"/>
              </a:spcAft>
              <a:defRPr/>
            </a:pPr>
            <a:endParaRPr lang="en-GB" sz="825" kern="0">
              <a:solidFill>
                <a:srgbClr val="000000"/>
              </a:solidFill>
              <a:latin typeface="+mj-lt"/>
              <a:ea typeface="Microsoft YaHei"/>
              <a:cs typeface="Segoe UI"/>
              <a:sym typeface="+mn-lt"/>
            </a:endParaRPr>
          </a:p>
        </p:txBody>
      </p:sp>
      <p:sp>
        <p:nvSpPr>
          <p:cNvPr id="8" name="LegendIcon">
            <a:extLst>
              <a:ext uri="{FF2B5EF4-FFF2-40B4-BE49-F238E27FC236}">
                <a16:creationId xmlns:a16="http://schemas.microsoft.com/office/drawing/2014/main" id="{333983EF-1E80-0888-403B-649DAF4B8656}"/>
              </a:ext>
            </a:extLst>
          </p:cNvPr>
          <p:cNvSpPr>
            <a:spLocks/>
          </p:cNvSpPr>
          <p:nvPr/>
        </p:nvSpPr>
        <p:spPr>
          <a:xfrm rot="10800000">
            <a:off x="309862" y="3306797"/>
            <a:ext cx="162000" cy="142009"/>
          </a:xfrm>
          <a:prstGeom prst="rect">
            <a:avLst/>
          </a:prstGeom>
          <a:solidFill>
            <a:schemeClr val="accent5"/>
          </a:solidFill>
          <a:ln w="9525" cap="flat" cmpd="sng" algn="ctr">
            <a:noFill/>
            <a:prstDash val="solid"/>
          </a:ln>
          <a:effectLst/>
        </p:spPr>
        <p:txBody>
          <a:bodyPr lIns="0" tIns="0" rIns="0" bIns="0" rtlCol="0" anchor="ctr"/>
          <a:lstStyle/>
          <a:p>
            <a:pPr algn="ctr" defTabSz="685783" fontAlgn="base">
              <a:lnSpc>
                <a:spcPct val="90000"/>
              </a:lnSpc>
              <a:spcBef>
                <a:spcPct val="0"/>
              </a:spcBef>
              <a:spcAft>
                <a:spcPct val="0"/>
              </a:spcAft>
              <a:defRPr/>
            </a:pPr>
            <a:endParaRPr lang="en-GB" sz="825" kern="0">
              <a:solidFill>
                <a:srgbClr val="000000"/>
              </a:solidFill>
              <a:latin typeface="+mj-lt"/>
              <a:ea typeface="Microsoft YaHei"/>
              <a:cs typeface="Segoe UI"/>
              <a:sym typeface="+mn-lt"/>
            </a:endParaRPr>
          </a:p>
        </p:txBody>
      </p:sp>
      <p:sp>
        <p:nvSpPr>
          <p:cNvPr id="9" name="LegendIcon">
            <a:extLst>
              <a:ext uri="{FF2B5EF4-FFF2-40B4-BE49-F238E27FC236}">
                <a16:creationId xmlns:a16="http://schemas.microsoft.com/office/drawing/2014/main" id="{EFDD27B9-DEEF-6355-A653-4131DE752D36}"/>
              </a:ext>
            </a:extLst>
          </p:cNvPr>
          <p:cNvSpPr>
            <a:spLocks/>
          </p:cNvSpPr>
          <p:nvPr/>
        </p:nvSpPr>
        <p:spPr>
          <a:xfrm rot="10800000">
            <a:off x="309862" y="2993282"/>
            <a:ext cx="162000" cy="142009"/>
          </a:xfrm>
          <a:prstGeom prst="rect">
            <a:avLst/>
          </a:prstGeom>
          <a:solidFill>
            <a:schemeClr val="accent2"/>
          </a:solidFill>
          <a:ln w="9525" cap="flat" cmpd="sng" algn="ctr">
            <a:noFill/>
            <a:prstDash val="solid"/>
          </a:ln>
          <a:effectLst/>
        </p:spPr>
        <p:txBody>
          <a:bodyPr lIns="0" tIns="0" rIns="0" bIns="0" rtlCol="0" anchor="ctr"/>
          <a:lstStyle/>
          <a:p>
            <a:pPr algn="ctr" defTabSz="685783" fontAlgn="base">
              <a:lnSpc>
                <a:spcPct val="90000"/>
              </a:lnSpc>
              <a:spcBef>
                <a:spcPct val="0"/>
              </a:spcBef>
              <a:spcAft>
                <a:spcPct val="0"/>
              </a:spcAft>
              <a:defRPr/>
            </a:pPr>
            <a:endParaRPr lang="en-GB" sz="825" kern="0">
              <a:solidFill>
                <a:srgbClr val="000000"/>
              </a:solidFill>
              <a:latin typeface="+mj-lt"/>
              <a:ea typeface="Microsoft YaHei"/>
              <a:cs typeface="Segoe UI"/>
              <a:sym typeface="+mn-lt"/>
            </a:endParaRPr>
          </a:p>
        </p:txBody>
      </p:sp>
      <p:sp>
        <p:nvSpPr>
          <p:cNvPr id="10" name="LegendIcon">
            <a:extLst>
              <a:ext uri="{FF2B5EF4-FFF2-40B4-BE49-F238E27FC236}">
                <a16:creationId xmlns:a16="http://schemas.microsoft.com/office/drawing/2014/main" id="{6656809D-8518-32A2-B718-D86722FAD922}"/>
              </a:ext>
            </a:extLst>
          </p:cNvPr>
          <p:cNvSpPr>
            <a:spLocks/>
          </p:cNvSpPr>
          <p:nvPr/>
        </p:nvSpPr>
        <p:spPr>
          <a:xfrm rot="10800000">
            <a:off x="309863" y="2836524"/>
            <a:ext cx="162000" cy="142009"/>
          </a:xfrm>
          <a:prstGeom prst="rect">
            <a:avLst/>
          </a:prstGeom>
          <a:solidFill>
            <a:schemeClr val="accent3"/>
          </a:solidFill>
          <a:ln w="9525" cap="flat" cmpd="sng" algn="ctr">
            <a:noFill/>
            <a:prstDash val="solid"/>
          </a:ln>
          <a:effectLst/>
        </p:spPr>
        <p:txBody>
          <a:bodyPr lIns="0" tIns="0" rIns="0" bIns="0" rtlCol="0" anchor="ctr"/>
          <a:lstStyle/>
          <a:p>
            <a:pPr algn="ctr" defTabSz="685783" fontAlgn="base">
              <a:lnSpc>
                <a:spcPct val="90000"/>
              </a:lnSpc>
              <a:spcBef>
                <a:spcPct val="0"/>
              </a:spcBef>
              <a:spcAft>
                <a:spcPct val="0"/>
              </a:spcAft>
              <a:defRPr/>
            </a:pPr>
            <a:endParaRPr lang="en-GB" sz="825" kern="0">
              <a:solidFill>
                <a:srgbClr val="000000"/>
              </a:solidFill>
              <a:latin typeface="+mj-lt"/>
              <a:ea typeface="Microsoft YaHei"/>
              <a:cs typeface="Segoe UI"/>
              <a:sym typeface="+mn-lt"/>
            </a:endParaRPr>
          </a:p>
        </p:txBody>
      </p:sp>
      <p:sp>
        <p:nvSpPr>
          <p:cNvPr id="11" name="LegendIcon">
            <a:extLst>
              <a:ext uri="{FF2B5EF4-FFF2-40B4-BE49-F238E27FC236}">
                <a16:creationId xmlns:a16="http://schemas.microsoft.com/office/drawing/2014/main" id="{464B98A4-6904-D033-5405-C7293F8FB545}"/>
              </a:ext>
            </a:extLst>
          </p:cNvPr>
          <p:cNvSpPr>
            <a:spLocks/>
          </p:cNvSpPr>
          <p:nvPr/>
        </p:nvSpPr>
        <p:spPr>
          <a:xfrm rot="10800000">
            <a:off x="309862" y="3150039"/>
            <a:ext cx="162000" cy="142009"/>
          </a:xfrm>
          <a:prstGeom prst="rect">
            <a:avLst/>
          </a:prstGeom>
          <a:solidFill>
            <a:schemeClr val="accent1"/>
          </a:solidFill>
          <a:ln w="9525" cap="flat" cmpd="sng" algn="ctr">
            <a:noFill/>
            <a:prstDash val="solid"/>
          </a:ln>
          <a:effectLst/>
        </p:spPr>
        <p:txBody>
          <a:bodyPr lIns="0" tIns="0" rIns="0" bIns="0" rtlCol="0" anchor="ctr"/>
          <a:lstStyle/>
          <a:p>
            <a:pPr algn="ctr" defTabSz="685783" fontAlgn="base">
              <a:lnSpc>
                <a:spcPct val="90000"/>
              </a:lnSpc>
              <a:spcBef>
                <a:spcPct val="0"/>
              </a:spcBef>
              <a:spcAft>
                <a:spcPct val="0"/>
              </a:spcAft>
              <a:defRPr/>
            </a:pPr>
            <a:endParaRPr lang="en-GB" sz="825" kern="0">
              <a:solidFill>
                <a:srgbClr val="000000"/>
              </a:solidFill>
              <a:latin typeface="+mj-lt"/>
              <a:ea typeface="Microsoft YaHei"/>
              <a:cs typeface="Segoe UI"/>
              <a:sym typeface="+mn-lt"/>
            </a:endParaRPr>
          </a:p>
        </p:txBody>
      </p:sp>
      <p:sp>
        <p:nvSpPr>
          <p:cNvPr id="12" name="TextBox 30">
            <a:extLst>
              <a:ext uri="{FF2B5EF4-FFF2-40B4-BE49-F238E27FC236}">
                <a16:creationId xmlns:a16="http://schemas.microsoft.com/office/drawing/2014/main" id="{6299BB5F-E203-751C-80C7-A28772EAC561}"/>
              </a:ext>
            </a:extLst>
          </p:cNvPr>
          <p:cNvSpPr txBox="1"/>
          <p:nvPr/>
        </p:nvSpPr>
        <p:spPr>
          <a:xfrm>
            <a:off x="557267" y="3006578"/>
            <a:ext cx="357470" cy="115416"/>
          </a:xfrm>
          <a:prstGeom prst="rect">
            <a:avLst/>
          </a:prstGeom>
          <a:solidFill>
            <a:schemeClr val="bg1"/>
          </a:solidFill>
          <a:ln w="9525">
            <a:noFill/>
          </a:ln>
        </p:spPr>
        <p:txBody>
          <a:bodyPr vert="horz" wrap="none" lIns="0" tIns="0" rIns="0" bIns="0" rtlCol="0" anchor="ctr">
            <a:spAutoFit/>
          </a:bodyPr>
          <a:lstStyle/>
          <a:p>
            <a:pPr defTabSz="685800" fontAlgn="base">
              <a:spcBef>
                <a:spcPts val="300"/>
              </a:spcBef>
              <a:spcAft>
                <a:spcPct val="0"/>
              </a:spcAft>
              <a:buSzPct val="100000"/>
              <a:defRPr/>
            </a:pPr>
            <a:r>
              <a:rPr lang="en-DE" sz="750">
                <a:solidFill>
                  <a:srgbClr val="000000"/>
                </a:solidFill>
                <a:latin typeface="+mj-lt"/>
                <a:ea typeface="Microsoft YaHei"/>
                <a:cs typeface="Segoe UI"/>
              </a:rPr>
              <a:t>Importer</a:t>
            </a:r>
            <a:endParaRPr lang="en-US" sz="750">
              <a:solidFill>
                <a:srgbClr val="000000"/>
              </a:solidFill>
              <a:latin typeface="+mj-lt"/>
              <a:ea typeface="Microsoft YaHei"/>
              <a:cs typeface="Segoe UI"/>
            </a:endParaRPr>
          </a:p>
        </p:txBody>
      </p:sp>
      <p:sp>
        <p:nvSpPr>
          <p:cNvPr id="13" name="TextBox 31">
            <a:extLst>
              <a:ext uri="{FF2B5EF4-FFF2-40B4-BE49-F238E27FC236}">
                <a16:creationId xmlns:a16="http://schemas.microsoft.com/office/drawing/2014/main" id="{78F31BC7-7286-342F-1ACA-099886A072E4}"/>
              </a:ext>
            </a:extLst>
          </p:cNvPr>
          <p:cNvSpPr txBox="1"/>
          <p:nvPr/>
        </p:nvSpPr>
        <p:spPr>
          <a:xfrm>
            <a:off x="557268" y="3476850"/>
            <a:ext cx="617157" cy="115416"/>
          </a:xfrm>
          <a:prstGeom prst="rect">
            <a:avLst/>
          </a:prstGeom>
          <a:solidFill>
            <a:schemeClr val="bg1"/>
          </a:solidFill>
          <a:ln w="9525">
            <a:noFill/>
          </a:ln>
        </p:spPr>
        <p:txBody>
          <a:bodyPr vert="horz" wrap="none" lIns="0" tIns="0" rIns="0" bIns="0" rtlCol="0" anchor="ctr">
            <a:spAutoFit/>
          </a:bodyPr>
          <a:lstStyle/>
          <a:p>
            <a:pPr defTabSz="685800" fontAlgn="base">
              <a:spcBef>
                <a:spcPts val="300"/>
              </a:spcBef>
              <a:spcAft>
                <a:spcPct val="0"/>
              </a:spcAft>
              <a:buSzPct val="100000"/>
              <a:defRPr/>
            </a:pPr>
            <a:r>
              <a:rPr lang="en-DE" sz="750">
                <a:solidFill>
                  <a:srgbClr val="000000"/>
                </a:solidFill>
                <a:latin typeface="+mj-lt"/>
                <a:ea typeface="Microsoft YaHei"/>
                <a:cs typeface="Segoe UI"/>
              </a:rPr>
              <a:t>Major exporter</a:t>
            </a:r>
            <a:endParaRPr lang="en-US" sz="750">
              <a:solidFill>
                <a:srgbClr val="000000"/>
              </a:solidFill>
              <a:latin typeface="+mj-lt"/>
              <a:ea typeface="Microsoft YaHei"/>
              <a:cs typeface="Segoe UI"/>
            </a:endParaRPr>
          </a:p>
        </p:txBody>
      </p:sp>
      <p:sp>
        <p:nvSpPr>
          <p:cNvPr id="14" name="TextBox 32">
            <a:extLst>
              <a:ext uri="{FF2B5EF4-FFF2-40B4-BE49-F238E27FC236}">
                <a16:creationId xmlns:a16="http://schemas.microsoft.com/office/drawing/2014/main" id="{0BDDBD77-04D4-D41F-1CB2-3318F0A1D431}"/>
              </a:ext>
            </a:extLst>
          </p:cNvPr>
          <p:cNvSpPr txBox="1"/>
          <p:nvPr/>
        </p:nvSpPr>
        <p:spPr>
          <a:xfrm>
            <a:off x="557268" y="3320093"/>
            <a:ext cx="362279" cy="115416"/>
          </a:xfrm>
          <a:prstGeom prst="rect">
            <a:avLst/>
          </a:prstGeom>
          <a:solidFill>
            <a:schemeClr val="bg1"/>
          </a:solidFill>
          <a:ln w="9525">
            <a:noFill/>
          </a:ln>
        </p:spPr>
        <p:txBody>
          <a:bodyPr vert="horz" wrap="none" lIns="0" tIns="0" rIns="0" bIns="0" rtlCol="0" anchor="ctr">
            <a:spAutoFit/>
          </a:bodyPr>
          <a:lstStyle/>
          <a:p>
            <a:pPr defTabSz="685800" fontAlgn="base">
              <a:spcBef>
                <a:spcPts val="300"/>
              </a:spcBef>
              <a:spcAft>
                <a:spcPct val="0"/>
              </a:spcAft>
              <a:buSzPct val="100000"/>
              <a:defRPr/>
            </a:pPr>
            <a:r>
              <a:rPr lang="en-DE" sz="750">
                <a:solidFill>
                  <a:srgbClr val="000000"/>
                </a:solidFill>
                <a:latin typeface="+mj-lt"/>
                <a:ea typeface="Microsoft YaHei"/>
                <a:cs typeface="Segoe UI"/>
              </a:rPr>
              <a:t>Exporter</a:t>
            </a:r>
            <a:endParaRPr lang="en-US" sz="750">
              <a:solidFill>
                <a:srgbClr val="000000"/>
              </a:solidFill>
              <a:latin typeface="+mj-lt"/>
              <a:ea typeface="Microsoft YaHei"/>
              <a:cs typeface="Segoe UI"/>
            </a:endParaRPr>
          </a:p>
        </p:txBody>
      </p:sp>
      <p:sp>
        <p:nvSpPr>
          <p:cNvPr id="15" name="TextBox 33">
            <a:extLst>
              <a:ext uri="{FF2B5EF4-FFF2-40B4-BE49-F238E27FC236}">
                <a16:creationId xmlns:a16="http://schemas.microsoft.com/office/drawing/2014/main" id="{C396BDF7-4D6A-719A-B25F-608C3913BB36}"/>
              </a:ext>
            </a:extLst>
          </p:cNvPr>
          <p:cNvSpPr txBox="1"/>
          <p:nvPr/>
        </p:nvSpPr>
        <p:spPr>
          <a:xfrm>
            <a:off x="557267" y="3163335"/>
            <a:ext cx="913712" cy="115416"/>
          </a:xfrm>
          <a:prstGeom prst="rect">
            <a:avLst/>
          </a:prstGeom>
          <a:solidFill>
            <a:schemeClr val="bg1"/>
          </a:solidFill>
          <a:ln w="9525">
            <a:noFill/>
          </a:ln>
        </p:spPr>
        <p:txBody>
          <a:bodyPr vert="horz" wrap="none" lIns="0" tIns="0" rIns="0" bIns="0" rtlCol="0" anchor="ctr">
            <a:spAutoFit/>
          </a:bodyPr>
          <a:lstStyle/>
          <a:p>
            <a:pPr defTabSz="685800" fontAlgn="base">
              <a:spcBef>
                <a:spcPts val="300"/>
              </a:spcBef>
              <a:spcAft>
                <a:spcPct val="0"/>
              </a:spcAft>
              <a:buSzPct val="100000"/>
              <a:defRPr/>
            </a:pPr>
            <a:r>
              <a:rPr lang="en-US" sz="750">
                <a:solidFill>
                  <a:srgbClr val="000000"/>
                </a:solidFill>
                <a:latin typeface="+mj-lt"/>
                <a:ea typeface="Microsoft YaHei"/>
                <a:cs typeface="Segoe UI"/>
              </a:rPr>
              <a:t>Neutral trade balance</a:t>
            </a:r>
          </a:p>
        </p:txBody>
      </p:sp>
      <p:sp>
        <p:nvSpPr>
          <p:cNvPr id="16" name="LegendIcon">
            <a:extLst>
              <a:ext uri="{FF2B5EF4-FFF2-40B4-BE49-F238E27FC236}">
                <a16:creationId xmlns:a16="http://schemas.microsoft.com/office/drawing/2014/main" id="{17EC9FD9-BABA-767B-5F58-1AF271FEB8C9}"/>
              </a:ext>
            </a:extLst>
          </p:cNvPr>
          <p:cNvSpPr>
            <a:spLocks/>
          </p:cNvSpPr>
          <p:nvPr/>
        </p:nvSpPr>
        <p:spPr>
          <a:xfrm rot="10800000">
            <a:off x="309863" y="3620312"/>
            <a:ext cx="162000" cy="142009"/>
          </a:xfrm>
          <a:prstGeom prst="rect">
            <a:avLst/>
          </a:prstGeom>
          <a:solidFill>
            <a:srgbClr val="B4B4B4"/>
          </a:solidFill>
          <a:ln w="9525" cap="flat" cmpd="sng" algn="ctr">
            <a:noFill/>
            <a:prstDash val="solid"/>
          </a:ln>
          <a:effectLst/>
        </p:spPr>
        <p:txBody>
          <a:bodyPr lIns="0" tIns="0" rIns="0" bIns="0" rtlCol="0" anchor="t" anchorCtr="0"/>
          <a:lstStyle/>
          <a:p>
            <a:pPr algn="ctr" defTabSz="685783" fontAlgn="base">
              <a:lnSpc>
                <a:spcPct val="90000"/>
              </a:lnSpc>
              <a:spcBef>
                <a:spcPct val="0"/>
              </a:spcBef>
              <a:spcAft>
                <a:spcPct val="0"/>
              </a:spcAft>
              <a:defRPr/>
            </a:pPr>
            <a:endParaRPr lang="en-GB" sz="825" kern="0">
              <a:solidFill>
                <a:srgbClr val="000000"/>
              </a:solidFill>
              <a:latin typeface="+mj-lt"/>
              <a:ea typeface="Microsoft YaHei"/>
              <a:cs typeface="Segoe UI"/>
              <a:sym typeface="+mn-lt"/>
            </a:endParaRPr>
          </a:p>
        </p:txBody>
      </p:sp>
      <p:sp>
        <p:nvSpPr>
          <p:cNvPr id="17" name="TextBox 35">
            <a:extLst>
              <a:ext uri="{FF2B5EF4-FFF2-40B4-BE49-F238E27FC236}">
                <a16:creationId xmlns:a16="http://schemas.microsoft.com/office/drawing/2014/main" id="{C14A698B-927B-AAC0-9BBC-3A2A90EE8818}"/>
              </a:ext>
            </a:extLst>
          </p:cNvPr>
          <p:cNvSpPr txBox="1"/>
          <p:nvPr/>
        </p:nvSpPr>
        <p:spPr>
          <a:xfrm>
            <a:off x="557268" y="3633608"/>
            <a:ext cx="1170192" cy="115416"/>
          </a:xfrm>
          <a:prstGeom prst="rect">
            <a:avLst/>
          </a:prstGeom>
          <a:solidFill>
            <a:schemeClr val="bg1"/>
          </a:solidFill>
          <a:ln w="9525">
            <a:noFill/>
          </a:ln>
        </p:spPr>
        <p:txBody>
          <a:bodyPr vert="horz" wrap="none" lIns="0" tIns="0" rIns="0" bIns="0" rtlCol="0" anchor="ctr">
            <a:spAutoFit/>
          </a:bodyPr>
          <a:lstStyle/>
          <a:p>
            <a:pPr defTabSz="685800" fontAlgn="base">
              <a:spcBef>
                <a:spcPts val="300"/>
              </a:spcBef>
              <a:spcAft>
                <a:spcPct val="0"/>
              </a:spcAft>
              <a:buSzPct val="100000"/>
              <a:defRPr/>
            </a:pPr>
            <a:r>
              <a:rPr lang="en-US" sz="750">
                <a:solidFill>
                  <a:srgbClr val="000000"/>
                </a:solidFill>
                <a:latin typeface="+mj-lt"/>
                <a:ea typeface="Microsoft YaHei"/>
                <a:cs typeface="Segoe UI"/>
              </a:rPr>
              <a:t>Limited market participation</a:t>
            </a:r>
          </a:p>
        </p:txBody>
      </p:sp>
      <p:cxnSp>
        <p:nvCxnSpPr>
          <p:cNvPr id="18" name="Straight Arrow Connector 36">
            <a:extLst>
              <a:ext uri="{FF2B5EF4-FFF2-40B4-BE49-F238E27FC236}">
                <a16:creationId xmlns:a16="http://schemas.microsoft.com/office/drawing/2014/main" id="{6CCB9668-CC80-14B9-E50F-61C8DBA6728A}"/>
              </a:ext>
            </a:extLst>
          </p:cNvPr>
          <p:cNvCxnSpPr>
            <a:cxnSpLocks/>
          </p:cNvCxnSpPr>
          <p:nvPr/>
        </p:nvCxnSpPr>
        <p:spPr>
          <a:xfrm>
            <a:off x="305099" y="3852001"/>
            <a:ext cx="189000" cy="0"/>
          </a:xfrm>
          <a:prstGeom prst="straightConnector1">
            <a:avLst/>
          </a:prstGeom>
          <a:ln w="38100" cmpd="sng">
            <a:solidFill>
              <a:schemeClr val="accent6"/>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9" name="TextBox 37">
            <a:extLst>
              <a:ext uri="{FF2B5EF4-FFF2-40B4-BE49-F238E27FC236}">
                <a16:creationId xmlns:a16="http://schemas.microsoft.com/office/drawing/2014/main" id="{582E3F5F-D72D-5DF4-F70F-67C1CE996A3F}"/>
              </a:ext>
            </a:extLst>
          </p:cNvPr>
          <p:cNvSpPr txBox="1"/>
          <p:nvPr/>
        </p:nvSpPr>
        <p:spPr>
          <a:xfrm>
            <a:off x="557268" y="3798021"/>
            <a:ext cx="1436291" cy="230832"/>
          </a:xfrm>
          <a:prstGeom prst="rect">
            <a:avLst/>
          </a:prstGeom>
          <a:solidFill>
            <a:schemeClr val="bg1"/>
          </a:solidFill>
          <a:ln w="9525">
            <a:noFill/>
          </a:ln>
        </p:spPr>
        <p:txBody>
          <a:bodyPr vert="horz" wrap="none" lIns="0" tIns="0" rIns="0" bIns="0" rtlCol="0" anchor="ctr">
            <a:spAutoFit/>
          </a:bodyPr>
          <a:lstStyle/>
          <a:p>
            <a:pPr defTabSz="685800" fontAlgn="base">
              <a:spcBef>
                <a:spcPts val="300"/>
              </a:spcBef>
              <a:spcAft>
                <a:spcPct val="0"/>
              </a:spcAft>
              <a:buSzPct val="100000"/>
              <a:defRPr/>
            </a:pPr>
            <a:r>
              <a:rPr lang="en-US" sz="750">
                <a:solidFill>
                  <a:srgbClr val="000000"/>
                </a:solidFill>
                <a:latin typeface="+mj-lt"/>
                <a:ea typeface="Microsoft YaHei"/>
                <a:cs typeface="Segoe UI"/>
              </a:rPr>
              <a:t>Width indicates H</a:t>
            </a:r>
            <a:r>
              <a:rPr lang="en-US" sz="750" baseline="-25000">
                <a:solidFill>
                  <a:srgbClr val="000000"/>
                </a:solidFill>
                <a:latin typeface="+mj-lt"/>
                <a:ea typeface="Microsoft YaHei"/>
                <a:cs typeface="Segoe UI"/>
              </a:rPr>
              <a:t>2</a:t>
            </a:r>
            <a:r>
              <a:rPr lang="en-US" sz="750">
                <a:solidFill>
                  <a:srgbClr val="000000"/>
                </a:solidFill>
                <a:latin typeface="+mj-lt"/>
                <a:ea typeface="Microsoft YaHei"/>
                <a:cs typeface="Segoe UI"/>
              </a:rPr>
              <a:t> trade volumes;</a:t>
            </a:r>
            <a:br>
              <a:rPr lang="en-US" sz="750">
                <a:solidFill>
                  <a:srgbClr val="000000"/>
                </a:solidFill>
                <a:latin typeface="+mj-lt"/>
                <a:ea typeface="Microsoft YaHei"/>
                <a:cs typeface="Segoe UI"/>
              </a:rPr>
            </a:br>
            <a:r>
              <a:rPr lang="en-US" sz="750">
                <a:solidFill>
                  <a:srgbClr val="000000"/>
                </a:solidFill>
                <a:latin typeface="+mj-lt"/>
                <a:ea typeface="Microsoft YaHei"/>
                <a:cs typeface="Segoe UI"/>
              </a:rPr>
              <a:t>the wider, the higher the volume</a:t>
            </a:r>
          </a:p>
        </p:txBody>
      </p:sp>
      <p:cxnSp>
        <p:nvCxnSpPr>
          <p:cNvPr id="20" name="Straight Arrow Connector 38">
            <a:extLst>
              <a:ext uri="{FF2B5EF4-FFF2-40B4-BE49-F238E27FC236}">
                <a16:creationId xmlns:a16="http://schemas.microsoft.com/office/drawing/2014/main" id="{CE1C215F-A3C9-F4ED-9764-F7BADFCCDF68}"/>
              </a:ext>
            </a:extLst>
          </p:cNvPr>
          <p:cNvCxnSpPr>
            <a:cxnSpLocks/>
          </p:cNvCxnSpPr>
          <p:nvPr/>
        </p:nvCxnSpPr>
        <p:spPr>
          <a:xfrm>
            <a:off x="305099" y="4131226"/>
            <a:ext cx="189000" cy="0"/>
          </a:xfrm>
          <a:prstGeom prst="straightConnector1">
            <a:avLst/>
          </a:prstGeom>
          <a:ln w="38100" cmpd="sng">
            <a:solidFill>
              <a:srgbClr val="E6293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1" name="TextBox 39">
            <a:extLst>
              <a:ext uri="{FF2B5EF4-FFF2-40B4-BE49-F238E27FC236}">
                <a16:creationId xmlns:a16="http://schemas.microsoft.com/office/drawing/2014/main" id="{131A4CBD-2CD8-CA1D-9EEC-DD29E8DB15F0}"/>
              </a:ext>
            </a:extLst>
          </p:cNvPr>
          <p:cNvSpPr txBox="1"/>
          <p:nvPr/>
        </p:nvSpPr>
        <p:spPr>
          <a:xfrm>
            <a:off x="557268" y="4073518"/>
            <a:ext cx="537006" cy="115416"/>
          </a:xfrm>
          <a:prstGeom prst="rect">
            <a:avLst/>
          </a:prstGeom>
          <a:solidFill>
            <a:schemeClr val="bg1"/>
          </a:solidFill>
          <a:ln w="9525">
            <a:noFill/>
          </a:ln>
        </p:spPr>
        <p:txBody>
          <a:bodyPr vert="horz" wrap="none" lIns="0" tIns="0" rIns="0" bIns="0" rtlCol="0" anchor="ctr">
            <a:spAutoFit/>
          </a:bodyPr>
          <a:lstStyle/>
          <a:p>
            <a:pPr defTabSz="685800" fontAlgn="base">
              <a:spcBef>
                <a:spcPts val="300"/>
              </a:spcBef>
              <a:spcAft>
                <a:spcPct val="0"/>
              </a:spcAft>
              <a:buSzPct val="100000"/>
              <a:defRPr/>
            </a:pPr>
            <a:r>
              <a:rPr lang="en-US" sz="750" dirty="0">
                <a:solidFill>
                  <a:srgbClr val="000000"/>
                </a:solidFill>
                <a:latin typeface="+mj-lt"/>
                <a:ea typeface="Microsoft YaHei"/>
                <a:cs typeface="Segoe UI"/>
              </a:rPr>
              <a:t>Mostly piped</a:t>
            </a:r>
          </a:p>
        </p:txBody>
      </p:sp>
      <p:sp>
        <p:nvSpPr>
          <p:cNvPr id="22" name="Rectangle: Rounded Corners 40">
            <a:extLst>
              <a:ext uri="{FF2B5EF4-FFF2-40B4-BE49-F238E27FC236}">
                <a16:creationId xmlns:a16="http://schemas.microsoft.com/office/drawing/2014/main" id="{26E19F37-E7A2-6EA1-15AF-8A017F97B096}"/>
              </a:ext>
            </a:extLst>
          </p:cNvPr>
          <p:cNvSpPr/>
          <p:nvPr/>
        </p:nvSpPr>
        <p:spPr>
          <a:xfrm>
            <a:off x="3283167" y="4005390"/>
            <a:ext cx="3873029" cy="327278"/>
          </a:xfrm>
          <a:prstGeom prst="roundRect">
            <a:avLst/>
          </a:prstGeom>
          <a:solidFill>
            <a:schemeClr val="bg1">
              <a:alpha val="65000"/>
            </a:schemeClr>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spcBef>
                <a:spcPts val="300"/>
              </a:spcBef>
              <a:spcAft>
                <a:spcPct val="0"/>
              </a:spcAft>
              <a:buSzPct val="100000"/>
            </a:pPr>
            <a:r>
              <a:rPr lang="en-US" sz="750">
                <a:solidFill>
                  <a:schemeClr val="accent5"/>
                </a:solidFill>
                <a:latin typeface="+mj-lt"/>
                <a:sym typeface="+mn-lt"/>
              </a:rPr>
              <a:t>Key factors considered in analysis: </a:t>
            </a:r>
            <a:r>
              <a:rPr lang="en-US" sz="750">
                <a:solidFill>
                  <a:schemeClr val="tx1"/>
                </a:solidFill>
                <a:latin typeface="+mj-lt"/>
                <a:sym typeface="+mn-lt"/>
              </a:rPr>
              <a:t>levelized cost of electricity, renewable energy conditions, willingness-to-pay, policy frameworks, H</a:t>
            </a:r>
            <a:r>
              <a:rPr lang="en-US" sz="750" baseline="-25000">
                <a:solidFill>
                  <a:schemeClr val="tx1"/>
                </a:solidFill>
                <a:latin typeface="+mj-lt"/>
                <a:sym typeface="+mn-lt"/>
              </a:rPr>
              <a:t>2</a:t>
            </a:r>
            <a:r>
              <a:rPr lang="en-US" sz="750">
                <a:solidFill>
                  <a:schemeClr val="tx1"/>
                </a:solidFill>
                <a:latin typeface="+mj-lt"/>
                <a:sym typeface="+mn-lt"/>
              </a:rPr>
              <a:t> project announcements</a:t>
            </a:r>
          </a:p>
        </p:txBody>
      </p:sp>
      <p:grpSp>
        <p:nvGrpSpPr>
          <p:cNvPr id="23" name="Group 41">
            <a:extLst>
              <a:ext uri="{FF2B5EF4-FFF2-40B4-BE49-F238E27FC236}">
                <a16:creationId xmlns:a16="http://schemas.microsoft.com/office/drawing/2014/main" id="{3566FDF0-6425-F6B2-4B3C-12F5EC786E0D}"/>
              </a:ext>
            </a:extLst>
          </p:cNvPr>
          <p:cNvGrpSpPr/>
          <p:nvPr/>
        </p:nvGrpSpPr>
        <p:grpSpPr>
          <a:xfrm>
            <a:off x="914737" y="1676302"/>
            <a:ext cx="6641240" cy="2660551"/>
            <a:chOff x="231898" y="1510605"/>
            <a:chExt cx="8284327" cy="3406215"/>
          </a:xfrm>
        </p:grpSpPr>
        <p:sp>
          <p:nvSpPr>
            <p:cNvPr id="24" name="Zimbabwe" descr="© INSCALE GmbH, 05.05.2010&#10;http://www.presentationload.com/">
              <a:extLst>
                <a:ext uri="{FF2B5EF4-FFF2-40B4-BE49-F238E27FC236}">
                  <a16:creationId xmlns:a16="http://schemas.microsoft.com/office/drawing/2014/main" id="{1180C521-5646-8010-620A-284FE5E94DB6}"/>
                </a:ext>
              </a:extLst>
            </p:cNvPr>
            <p:cNvSpPr>
              <a:spLocks/>
            </p:cNvSpPr>
            <p:nvPr/>
          </p:nvSpPr>
          <p:spPr bwMode="gray">
            <a:xfrm>
              <a:off x="4892976" y="3904629"/>
              <a:ext cx="197632" cy="174901"/>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25" name="Zambia" descr="© INSCALE GmbH, 05.05.2010&#10;http://www.presentationload.com/">
              <a:extLst>
                <a:ext uri="{FF2B5EF4-FFF2-40B4-BE49-F238E27FC236}">
                  <a16:creationId xmlns:a16="http://schemas.microsoft.com/office/drawing/2014/main" id="{CCFED7A8-276F-F1B3-BA3A-F42B7352D039}"/>
                </a:ext>
              </a:extLst>
            </p:cNvPr>
            <p:cNvSpPr>
              <a:spLocks/>
            </p:cNvSpPr>
            <p:nvPr/>
          </p:nvSpPr>
          <p:spPr bwMode="gray">
            <a:xfrm>
              <a:off x="4813081" y="3713604"/>
              <a:ext cx="298550" cy="253047"/>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26" name="Yemen" descr="© INSCALE GmbH, 05.05.2010&#10;http://www.presentationload.com/">
              <a:extLst>
                <a:ext uri="{FF2B5EF4-FFF2-40B4-BE49-F238E27FC236}">
                  <a16:creationId xmlns:a16="http://schemas.microsoft.com/office/drawing/2014/main" id="{55A15443-369C-A9DB-DB86-AC025E6C2DE1}"/>
                </a:ext>
              </a:extLst>
            </p:cNvPr>
            <p:cNvSpPr>
              <a:spLocks/>
            </p:cNvSpPr>
            <p:nvPr/>
          </p:nvSpPr>
          <p:spPr bwMode="gray">
            <a:xfrm>
              <a:off x="5333093" y="3018965"/>
              <a:ext cx="262107" cy="158774"/>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27" name="Western Sahara" descr="© INSCALE GmbH, 05.05.2010&#10;http://www.presentationload.com/">
              <a:extLst>
                <a:ext uri="{FF2B5EF4-FFF2-40B4-BE49-F238E27FC236}">
                  <a16:creationId xmlns:a16="http://schemas.microsoft.com/office/drawing/2014/main" id="{A3A1874A-CADF-21B0-9265-F4ED4C68B781}"/>
                </a:ext>
              </a:extLst>
            </p:cNvPr>
            <p:cNvSpPr>
              <a:spLocks/>
            </p:cNvSpPr>
            <p:nvPr/>
          </p:nvSpPr>
          <p:spPr bwMode="gray">
            <a:xfrm>
              <a:off x="3834736" y="2798168"/>
              <a:ext cx="214451" cy="162497"/>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solidFill>
              <a:schemeClr val="accent6"/>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28" name="West Bank" descr="© INSCALE GmbH, 05.05.2010&#10;http://www.presentationload.com/">
              <a:extLst>
                <a:ext uri="{FF2B5EF4-FFF2-40B4-BE49-F238E27FC236}">
                  <a16:creationId xmlns:a16="http://schemas.microsoft.com/office/drawing/2014/main" id="{B53EFDB5-FC23-325D-38AF-36FD180BB09C}"/>
                </a:ext>
              </a:extLst>
            </p:cNvPr>
            <p:cNvSpPr>
              <a:spLocks/>
            </p:cNvSpPr>
            <p:nvPr/>
          </p:nvSpPr>
          <p:spPr bwMode="gray">
            <a:xfrm>
              <a:off x="5118640" y="2675366"/>
              <a:ext cx="15419" cy="29770"/>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29" name="Uzbekistan" descr="© INSCALE GmbH, 05.05.2010&#10;http://www.presentationload.com/">
              <a:extLst>
                <a:ext uri="{FF2B5EF4-FFF2-40B4-BE49-F238E27FC236}">
                  <a16:creationId xmlns:a16="http://schemas.microsoft.com/office/drawing/2014/main" id="{1DA0040E-C23C-8312-6626-D2447430EEC8}"/>
                </a:ext>
              </a:extLst>
            </p:cNvPr>
            <p:cNvSpPr>
              <a:spLocks/>
            </p:cNvSpPr>
            <p:nvPr/>
          </p:nvSpPr>
          <p:spPr bwMode="gray">
            <a:xfrm>
              <a:off x="5562962" y="2344171"/>
              <a:ext cx="424699" cy="210872"/>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30" name="Vietnam" descr="© INSCALE GmbH, 05.05.2010&#10;http://www.presentationload.com/">
              <a:extLst>
                <a:ext uri="{FF2B5EF4-FFF2-40B4-BE49-F238E27FC236}">
                  <a16:creationId xmlns:a16="http://schemas.microsoft.com/office/drawing/2014/main" id="{E04D921E-449E-6BFD-4C3D-97DA0FB68BE0}"/>
                </a:ext>
              </a:extLst>
            </p:cNvPr>
            <p:cNvSpPr>
              <a:spLocks/>
            </p:cNvSpPr>
            <p:nvPr/>
          </p:nvSpPr>
          <p:spPr bwMode="gray">
            <a:xfrm>
              <a:off x="6813226" y="2907326"/>
              <a:ext cx="217254" cy="378330"/>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31" name="Venezuela" descr="© INSCALE GmbH, 05.05.2010&#10;http://www.presentationload.com/">
              <a:extLst>
                <a:ext uri="{FF2B5EF4-FFF2-40B4-BE49-F238E27FC236}">
                  <a16:creationId xmlns:a16="http://schemas.microsoft.com/office/drawing/2014/main" id="{BF08EFA8-387E-EA7F-2E27-F4EEDF4BEE34}"/>
                </a:ext>
              </a:extLst>
            </p:cNvPr>
            <p:cNvSpPr>
              <a:spLocks noEditPoints="1"/>
            </p:cNvSpPr>
            <p:nvPr/>
          </p:nvSpPr>
          <p:spPr bwMode="gray">
            <a:xfrm>
              <a:off x="2391044" y="3193865"/>
              <a:ext cx="342000" cy="295222"/>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32" name="USA (Alaska)" descr="© INSCALE GmbH, 05.05.2010&#10;http://www.presentationload.com/">
              <a:extLst>
                <a:ext uri="{FF2B5EF4-FFF2-40B4-BE49-F238E27FC236}">
                  <a16:creationId xmlns:a16="http://schemas.microsoft.com/office/drawing/2014/main" id="{F2C4DE5E-9B02-D57E-817B-7158A0151715}"/>
                </a:ext>
              </a:extLst>
            </p:cNvPr>
            <p:cNvSpPr>
              <a:spLocks noEditPoints="1"/>
            </p:cNvSpPr>
            <p:nvPr/>
          </p:nvSpPr>
          <p:spPr bwMode="gray">
            <a:xfrm>
              <a:off x="627778" y="1738842"/>
              <a:ext cx="1101691" cy="421746"/>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33" name="USA" descr="© INSCALE GmbH, 05.05.2010&#10;http://www.presentationload.com/">
              <a:extLst>
                <a:ext uri="{FF2B5EF4-FFF2-40B4-BE49-F238E27FC236}">
                  <a16:creationId xmlns:a16="http://schemas.microsoft.com/office/drawing/2014/main" id="{AE8B6C11-104D-CF85-2CAC-7DCD153A3035}"/>
                </a:ext>
              </a:extLst>
            </p:cNvPr>
            <p:cNvSpPr>
              <a:spLocks noEditPoints="1"/>
            </p:cNvSpPr>
            <p:nvPr/>
          </p:nvSpPr>
          <p:spPr bwMode="gray">
            <a:xfrm>
              <a:off x="1348223" y="2246179"/>
              <a:ext cx="1404445" cy="616493"/>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34" name="Uruguay" descr="© INSCALE GmbH, 05.05.2010&#10;http://www.presentationload.com/">
              <a:extLst>
                <a:ext uri="{FF2B5EF4-FFF2-40B4-BE49-F238E27FC236}">
                  <a16:creationId xmlns:a16="http://schemas.microsoft.com/office/drawing/2014/main" id="{3BDA7D12-9B36-22EB-38C5-0D8C334B112A}"/>
                </a:ext>
              </a:extLst>
            </p:cNvPr>
            <p:cNvSpPr>
              <a:spLocks/>
            </p:cNvSpPr>
            <p:nvPr/>
          </p:nvSpPr>
          <p:spPr bwMode="gray">
            <a:xfrm>
              <a:off x="2846578" y="4275519"/>
              <a:ext cx="131754" cy="121561"/>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35" name="United Kingdom" descr="© INSCALE GmbH, 05.05.2010&#10;http://www.presentationload.com/">
              <a:extLst>
                <a:ext uri="{FF2B5EF4-FFF2-40B4-BE49-F238E27FC236}">
                  <a16:creationId xmlns:a16="http://schemas.microsoft.com/office/drawing/2014/main" id="{1A6E5ACE-72E9-01F8-01F0-8240A093270F}"/>
                </a:ext>
              </a:extLst>
            </p:cNvPr>
            <p:cNvSpPr>
              <a:spLocks noEditPoints="1"/>
            </p:cNvSpPr>
            <p:nvPr/>
          </p:nvSpPr>
          <p:spPr bwMode="gray">
            <a:xfrm>
              <a:off x="4122073" y="1972042"/>
              <a:ext cx="207443" cy="261731"/>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chemeClr val="accent3"/>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36" name="United Arab Emirates" descr="© INSCALE GmbH, 05.05.2010&#10;http://www.presentationload.com/">
              <a:extLst>
                <a:ext uri="{FF2B5EF4-FFF2-40B4-BE49-F238E27FC236}">
                  <a16:creationId xmlns:a16="http://schemas.microsoft.com/office/drawing/2014/main" id="{EBA5A616-12CA-1C4F-DF15-4E1D0456A76D}"/>
                </a:ext>
              </a:extLst>
            </p:cNvPr>
            <p:cNvSpPr>
              <a:spLocks/>
            </p:cNvSpPr>
            <p:nvPr/>
          </p:nvSpPr>
          <p:spPr bwMode="gray">
            <a:xfrm>
              <a:off x="5544739" y="2826698"/>
              <a:ext cx="120541" cy="101716"/>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solidFill>
              <a:schemeClr val="accent6"/>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37" name="Ukraine" descr="© INSCALE GmbH, 05.05.2010&#10;http://www.presentationload.com/">
              <a:extLst>
                <a:ext uri="{FF2B5EF4-FFF2-40B4-BE49-F238E27FC236}">
                  <a16:creationId xmlns:a16="http://schemas.microsoft.com/office/drawing/2014/main" id="{61FB0C11-C689-7443-4BAD-E6C81377B7CA}"/>
                </a:ext>
              </a:extLst>
            </p:cNvPr>
            <p:cNvSpPr>
              <a:spLocks/>
            </p:cNvSpPr>
            <p:nvPr/>
          </p:nvSpPr>
          <p:spPr bwMode="gray">
            <a:xfrm>
              <a:off x="4782246" y="2174235"/>
              <a:ext cx="400870" cy="198469"/>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38" name="Uganda" descr="© INSCALE GmbH, 05.05.2010&#10;http://www.presentationload.com/">
              <a:extLst>
                <a:ext uri="{FF2B5EF4-FFF2-40B4-BE49-F238E27FC236}">
                  <a16:creationId xmlns:a16="http://schemas.microsoft.com/office/drawing/2014/main" id="{0967BC63-5552-8ADF-68B2-4292E1A6B8AC}"/>
                </a:ext>
              </a:extLst>
            </p:cNvPr>
            <p:cNvSpPr>
              <a:spLocks noEditPoints="1"/>
            </p:cNvSpPr>
            <p:nvPr/>
          </p:nvSpPr>
          <p:spPr bwMode="gray">
            <a:xfrm>
              <a:off x="5010715" y="3398534"/>
              <a:ext cx="140162" cy="146370"/>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39" name="Turkmenistan" descr="© INSCALE GmbH, 05.05.2010&#10;http://www.presentationload.com/">
              <a:extLst>
                <a:ext uri="{FF2B5EF4-FFF2-40B4-BE49-F238E27FC236}">
                  <a16:creationId xmlns:a16="http://schemas.microsoft.com/office/drawing/2014/main" id="{1E315B93-3EBB-5944-A1AC-1A351F81A379}"/>
                </a:ext>
              </a:extLst>
            </p:cNvPr>
            <p:cNvSpPr>
              <a:spLocks/>
            </p:cNvSpPr>
            <p:nvPr/>
          </p:nvSpPr>
          <p:spPr bwMode="gray">
            <a:xfrm>
              <a:off x="5498486" y="2412396"/>
              <a:ext cx="361624" cy="192267"/>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40" name="Turkey" descr="© INSCALE GmbH, 05.05.2010&#10;http://www.presentationload.com/">
              <a:extLst>
                <a:ext uri="{FF2B5EF4-FFF2-40B4-BE49-F238E27FC236}">
                  <a16:creationId xmlns:a16="http://schemas.microsoft.com/office/drawing/2014/main" id="{25C031A9-0B70-BECC-2665-1A94FFB388ED}"/>
                </a:ext>
              </a:extLst>
            </p:cNvPr>
            <p:cNvSpPr>
              <a:spLocks noEditPoints="1"/>
            </p:cNvSpPr>
            <p:nvPr/>
          </p:nvSpPr>
          <p:spPr bwMode="gray">
            <a:xfrm>
              <a:off x="4864942" y="2427281"/>
              <a:ext cx="476558" cy="161256"/>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solidFill>
              <a:schemeClr val="bg2"/>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41" name="Tunisia" descr="© INSCALE GmbH, 05.05.2010&#10;http://www.presentationload.com/">
              <a:extLst>
                <a:ext uri="{FF2B5EF4-FFF2-40B4-BE49-F238E27FC236}">
                  <a16:creationId xmlns:a16="http://schemas.microsoft.com/office/drawing/2014/main" id="{345A1410-92FE-4C5D-1FDA-AE1081029001}"/>
                </a:ext>
              </a:extLst>
            </p:cNvPr>
            <p:cNvSpPr>
              <a:spLocks/>
            </p:cNvSpPr>
            <p:nvPr/>
          </p:nvSpPr>
          <p:spPr bwMode="gray">
            <a:xfrm>
              <a:off x="4450057" y="2551324"/>
              <a:ext cx="98115" cy="181103"/>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42" name="Togo" descr="© INSCALE GmbH, 05.05.2010&#10;http://www.presentationload.com/">
              <a:extLst>
                <a:ext uri="{FF2B5EF4-FFF2-40B4-BE49-F238E27FC236}">
                  <a16:creationId xmlns:a16="http://schemas.microsoft.com/office/drawing/2014/main" id="{3061D63B-0B75-AC7E-2DAA-178D2B89C4E3}"/>
                </a:ext>
              </a:extLst>
            </p:cNvPr>
            <p:cNvSpPr>
              <a:spLocks/>
            </p:cNvSpPr>
            <p:nvPr/>
          </p:nvSpPr>
          <p:spPr bwMode="gray">
            <a:xfrm>
              <a:off x="4251024" y="3222394"/>
              <a:ext cx="50459" cy="127765"/>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43" name="Thailand" descr="© INSCALE GmbH, 05.05.2010&#10;http://www.presentationload.com/">
              <a:extLst>
                <a:ext uri="{FF2B5EF4-FFF2-40B4-BE49-F238E27FC236}">
                  <a16:creationId xmlns:a16="http://schemas.microsoft.com/office/drawing/2014/main" id="{085B452B-9884-F509-714F-E20A5790C5A5}"/>
                </a:ext>
              </a:extLst>
            </p:cNvPr>
            <p:cNvSpPr>
              <a:spLocks/>
            </p:cNvSpPr>
            <p:nvPr/>
          </p:nvSpPr>
          <p:spPr bwMode="gray">
            <a:xfrm>
              <a:off x="6708102" y="2982992"/>
              <a:ext cx="221460" cy="377090"/>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44" name="Tanzania" descr="© INSCALE GmbH, 05.05.2010&#10;http://www.presentationload.com/">
              <a:extLst>
                <a:ext uri="{FF2B5EF4-FFF2-40B4-BE49-F238E27FC236}">
                  <a16:creationId xmlns:a16="http://schemas.microsoft.com/office/drawing/2014/main" id="{7138FC95-8EFF-5DBB-39AD-5FF8802ABBE5}"/>
                </a:ext>
              </a:extLst>
            </p:cNvPr>
            <p:cNvSpPr>
              <a:spLocks noEditPoints="1"/>
            </p:cNvSpPr>
            <p:nvPr/>
          </p:nvSpPr>
          <p:spPr bwMode="gray">
            <a:xfrm>
              <a:off x="5009312" y="3531261"/>
              <a:ext cx="274722" cy="275376"/>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45" name="Tajikistan" descr="© INSCALE GmbH, 05.05.2010&#10;http://www.presentationload.com/">
              <a:extLst>
                <a:ext uri="{FF2B5EF4-FFF2-40B4-BE49-F238E27FC236}">
                  <a16:creationId xmlns:a16="http://schemas.microsoft.com/office/drawing/2014/main" id="{A6B3CDF4-D49F-D99B-8C8D-B5217C65EA94}"/>
                </a:ext>
              </a:extLst>
            </p:cNvPr>
            <p:cNvSpPr>
              <a:spLocks/>
            </p:cNvSpPr>
            <p:nvPr/>
          </p:nvSpPr>
          <p:spPr bwMode="gray">
            <a:xfrm>
              <a:off x="5864313" y="2458291"/>
              <a:ext cx="197632" cy="110398"/>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46" name="Taiwan" descr="© INSCALE GmbH, 05.05.2010&#10;http://www.presentationload.com/">
              <a:extLst>
                <a:ext uri="{FF2B5EF4-FFF2-40B4-BE49-F238E27FC236}">
                  <a16:creationId xmlns:a16="http://schemas.microsoft.com/office/drawing/2014/main" id="{78950A78-B4ED-D55E-8A02-86E72AD4195F}"/>
                </a:ext>
              </a:extLst>
            </p:cNvPr>
            <p:cNvSpPr>
              <a:spLocks/>
            </p:cNvSpPr>
            <p:nvPr/>
          </p:nvSpPr>
          <p:spPr bwMode="gray">
            <a:xfrm>
              <a:off x="7249137" y="2857709"/>
              <a:ext cx="43451" cy="85590"/>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47" name="Syria" descr="© INSCALE GmbH, 05.05.2010&#10;http://www.presentationload.com/">
              <a:extLst>
                <a:ext uri="{FF2B5EF4-FFF2-40B4-BE49-F238E27FC236}">
                  <a16:creationId xmlns:a16="http://schemas.microsoft.com/office/drawing/2014/main" id="{E3FD9EC3-9C7D-E188-14F7-D6E87C9283FA}"/>
                </a:ext>
              </a:extLst>
            </p:cNvPr>
            <p:cNvSpPr>
              <a:spLocks/>
            </p:cNvSpPr>
            <p:nvPr/>
          </p:nvSpPr>
          <p:spPr bwMode="gray">
            <a:xfrm>
              <a:off x="5122846" y="2548842"/>
              <a:ext cx="161189" cy="131487"/>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solidFill>
              <a:schemeClr val="bg2"/>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48" name="Switzerland" descr="© INSCALE GmbH, 05.05.2010&#10;http://www.presentationload.com/">
              <a:extLst>
                <a:ext uri="{FF2B5EF4-FFF2-40B4-BE49-F238E27FC236}">
                  <a16:creationId xmlns:a16="http://schemas.microsoft.com/office/drawing/2014/main" id="{97770FBB-B6B2-F585-F3C3-828B3036B817}"/>
                </a:ext>
              </a:extLst>
            </p:cNvPr>
            <p:cNvSpPr>
              <a:spLocks/>
            </p:cNvSpPr>
            <p:nvPr/>
          </p:nvSpPr>
          <p:spPr bwMode="gray">
            <a:xfrm>
              <a:off x="4419221" y="2284631"/>
              <a:ext cx="103722" cy="50858"/>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chemeClr val="accent3"/>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49" name="Sweden" descr="© INSCALE GmbH, 05.05.2010&#10;http://www.presentationload.com/">
              <a:extLst>
                <a:ext uri="{FF2B5EF4-FFF2-40B4-BE49-F238E27FC236}">
                  <a16:creationId xmlns:a16="http://schemas.microsoft.com/office/drawing/2014/main" id="{99D267B4-A042-6089-A1F1-2F93204CAEEA}"/>
                </a:ext>
              </a:extLst>
            </p:cNvPr>
            <p:cNvSpPr>
              <a:spLocks noEditPoints="1"/>
            </p:cNvSpPr>
            <p:nvPr/>
          </p:nvSpPr>
          <p:spPr bwMode="gray">
            <a:xfrm>
              <a:off x="4536960" y="1785980"/>
              <a:ext cx="248092" cy="313829"/>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50" name="Swaziland" descr="© INSCALE GmbH, 05.05.2010&#10;http://www.presentationload.com/">
              <a:extLst>
                <a:ext uri="{FF2B5EF4-FFF2-40B4-BE49-F238E27FC236}">
                  <a16:creationId xmlns:a16="http://schemas.microsoft.com/office/drawing/2014/main" id="{8599EA1B-4970-7492-4706-CA4F2F1FAB14}"/>
                </a:ext>
              </a:extLst>
            </p:cNvPr>
            <p:cNvSpPr>
              <a:spLocks/>
            </p:cNvSpPr>
            <p:nvPr/>
          </p:nvSpPr>
          <p:spPr bwMode="gray">
            <a:xfrm>
              <a:off x="5026132" y="4162639"/>
              <a:ext cx="36443" cy="42175"/>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51" name="Suriname" descr="© INSCALE GmbH, 05.05.2010&#10;http://www.presentationload.com/">
              <a:extLst>
                <a:ext uri="{FF2B5EF4-FFF2-40B4-BE49-F238E27FC236}">
                  <a16:creationId xmlns:a16="http://schemas.microsoft.com/office/drawing/2014/main" id="{67694A11-066A-7E67-DB36-FAE8DC2C90B1}"/>
                </a:ext>
              </a:extLst>
            </p:cNvPr>
            <p:cNvSpPr>
              <a:spLocks/>
            </p:cNvSpPr>
            <p:nvPr/>
          </p:nvSpPr>
          <p:spPr bwMode="gray">
            <a:xfrm>
              <a:off x="2773694" y="3352640"/>
              <a:ext cx="105124" cy="106677"/>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52" name="Sudan">
              <a:extLst>
                <a:ext uri="{FF2B5EF4-FFF2-40B4-BE49-F238E27FC236}">
                  <a16:creationId xmlns:a16="http://schemas.microsoft.com/office/drawing/2014/main" id="{89ACCADC-2208-9566-B2B3-4325AB3CDE3F}"/>
                </a:ext>
              </a:extLst>
            </p:cNvPr>
            <p:cNvSpPr>
              <a:spLocks/>
            </p:cNvSpPr>
            <p:nvPr/>
          </p:nvSpPr>
          <p:spPr bwMode="auto">
            <a:xfrm>
              <a:off x="4803194" y="2912591"/>
              <a:ext cx="428277" cy="371835"/>
            </a:xfrm>
            <a:custGeom>
              <a:avLst/>
              <a:gdLst/>
              <a:ahLst/>
              <a:cxnLst>
                <a:cxn ang="0">
                  <a:pos x="442" y="199"/>
                </a:cxn>
                <a:cxn ang="0">
                  <a:pos x="446" y="187"/>
                </a:cxn>
                <a:cxn ang="0">
                  <a:pos x="475" y="170"/>
                </a:cxn>
                <a:cxn ang="0">
                  <a:pos x="458" y="149"/>
                </a:cxn>
                <a:cxn ang="0">
                  <a:pos x="439" y="137"/>
                </a:cxn>
                <a:cxn ang="0">
                  <a:pos x="434" y="114"/>
                </a:cxn>
                <a:cxn ang="0">
                  <a:pos x="430" y="90"/>
                </a:cxn>
                <a:cxn ang="0">
                  <a:pos x="423" y="55"/>
                </a:cxn>
                <a:cxn ang="0">
                  <a:pos x="413" y="29"/>
                </a:cxn>
                <a:cxn ang="0">
                  <a:pos x="387" y="0"/>
                </a:cxn>
                <a:cxn ang="0">
                  <a:pos x="361" y="26"/>
                </a:cxn>
                <a:cxn ang="0">
                  <a:pos x="345" y="31"/>
                </a:cxn>
                <a:cxn ang="0">
                  <a:pos x="326" y="47"/>
                </a:cxn>
                <a:cxn ang="0">
                  <a:pos x="269" y="36"/>
                </a:cxn>
                <a:cxn ang="0">
                  <a:pos x="87" y="36"/>
                </a:cxn>
                <a:cxn ang="0">
                  <a:pos x="54" y="241"/>
                </a:cxn>
                <a:cxn ang="0">
                  <a:pos x="30" y="246"/>
                </a:cxn>
                <a:cxn ang="0">
                  <a:pos x="30" y="258"/>
                </a:cxn>
                <a:cxn ang="0">
                  <a:pos x="16" y="272"/>
                </a:cxn>
                <a:cxn ang="0">
                  <a:pos x="7" y="300"/>
                </a:cxn>
                <a:cxn ang="0">
                  <a:pos x="9" y="322"/>
                </a:cxn>
                <a:cxn ang="0">
                  <a:pos x="4" y="338"/>
                </a:cxn>
                <a:cxn ang="0">
                  <a:pos x="19" y="338"/>
                </a:cxn>
                <a:cxn ang="0">
                  <a:pos x="21" y="373"/>
                </a:cxn>
                <a:cxn ang="0">
                  <a:pos x="35" y="385"/>
                </a:cxn>
                <a:cxn ang="0">
                  <a:pos x="42" y="409"/>
                </a:cxn>
                <a:cxn ang="0">
                  <a:pos x="54" y="430"/>
                </a:cxn>
                <a:cxn ang="0">
                  <a:pos x="47" y="451"/>
                </a:cxn>
                <a:cxn ang="0">
                  <a:pos x="49" y="463"/>
                </a:cxn>
                <a:cxn ang="0">
                  <a:pos x="73" y="456"/>
                </a:cxn>
                <a:cxn ang="0">
                  <a:pos x="78" y="447"/>
                </a:cxn>
                <a:cxn ang="0">
                  <a:pos x="89" y="418"/>
                </a:cxn>
                <a:cxn ang="0">
                  <a:pos x="115" y="416"/>
                </a:cxn>
                <a:cxn ang="0">
                  <a:pos x="125" y="430"/>
                </a:cxn>
                <a:cxn ang="0">
                  <a:pos x="170" y="433"/>
                </a:cxn>
                <a:cxn ang="0">
                  <a:pos x="196" y="442"/>
                </a:cxn>
                <a:cxn ang="0">
                  <a:pos x="234" y="411"/>
                </a:cxn>
                <a:cxn ang="0">
                  <a:pos x="290" y="409"/>
                </a:cxn>
                <a:cxn ang="0">
                  <a:pos x="307" y="364"/>
                </a:cxn>
                <a:cxn ang="0">
                  <a:pos x="331" y="347"/>
                </a:cxn>
                <a:cxn ang="0">
                  <a:pos x="328" y="378"/>
                </a:cxn>
                <a:cxn ang="0">
                  <a:pos x="335" y="399"/>
                </a:cxn>
                <a:cxn ang="0">
                  <a:pos x="357" y="423"/>
                </a:cxn>
                <a:cxn ang="0">
                  <a:pos x="359" y="409"/>
                </a:cxn>
                <a:cxn ang="0">
                  <a:pos x="368" y="399"/>
                </a:cxn>
                <a:cxn ang="0">
                  <a:pos x="380" y="385"/>
                </a:cxn>
                <a:cxn ang="0">
                  <a:pos x="382" y="364"/>
                </a:cxn>
                <a:cxn ang="0">
                  <a:pos x="392" y="343"/>
                </a:cxn>
                <a:cxn ang="0">
                  <a:pos x="411" y="333"/>
                </a:cxn>
                <a:cxn ang="0">
                  <a:pos x="418" y="303"/>
                </a:cxn>
                <a:cxn ang="0">
                  <a:pos x="416" y="262"/>
                </a:cxn>
                <a:cxn ang="0">
                  <a:pos x="423" y="239"/>
                </a:cxn>
                <a:cxn ang="0">
                  <a:pos x="430" y="215"/>
                </a:cxn>
              </a:cxnLst>
              <a:rect l="0" t="0" r="r" b="b"/>
              <a:pathLst>
                <a:path w="475" h="466">
                  <a:moveTo>
                    <a:pt x="432" y="208"/>
                  </a:moveTo>
                  <a:lnTo>
                    <a:pt x="434" y="206"/>
                  </a:lnTo>
                  <a:lnTo>
                    <a:pt x="434" y="199"/>
                  </a:lnTo>
                  <a:lnTo>
                    <a:pt x="442" y="199"/>
                  </a:lnTo>
                  <a:lnTo>
                    <a:pt x="444" y="196"/>
                  </a:lnTo>
                  <a:lnTo>
                    <a:pt x="444" y="194"/>
                  </a:lnTo>
                  <a:lnTo>
                    <a:pt x="446" y="192"/>
                  </a:lnTo>
                  <a:lnTo>
                    <a:pt x="446" y="187"/>
                  </a:lnTo>
                  <a:lnTo>
                    <a:pt x="451" y="187"/>
                  </a:lnTo>
                  <a:lnTo>
                    <a:pt x="460" y="184"/>
                  </a:lnTo>
                  <a:lnTo>
                    <a:pt x="470" y="180"/>
                  </a:lnTo>
                  <a:lnTo>
                    <a:pt x="475" y="170"/>
                  </a:lnTo>
                  <a:lnTo>
                    <a:pt x="475" y="166"/>
                  </a:lnTo>
                  <a:lnTo>
                    <a:pt x="460" y="154"/>
                  </a:lnTo>
                  <a:lnTo>
                    <a:pt x="460" y="151"/>
                  </a:lnTo>
                  <a:lnTo>
                    <a:pt x="458" y="149"/>
                  </a:lnTo>
                  <a:lnTo>
                    <a:pt x="458" y="144"/>
                  </a:lnTo>
                  <a:lnTo>
                    <a:pt x="453" y="142"/>
                  </a:lnTo>
                  <a:lnTo>
                    <a:pt x="444" y="142"/>
                  </a:lnTo>
                  <a:lnTo>
                    <a:pt x="439" y="137"/>
                  </a:lnTo>
                  <a:lnTo>
                    <a:pt x="439" y="132"/>
                  </a:lnTo>
                  <a:lnTo>
                    <a:pt x="437" y="125"/>
                  </a:lnTo>
                  <a:lnTo>
                    <a:pt x="437" y="118"/>
                  </a:lnTo>
                  <a:lnTo>
                    <a:pt x="434" y="114"/>
                  </a:lnTo>
                  <a:lnTo>
                    <a:pt x="434" y="107"/>
                  </a:lnTo>
                  <a:lnTo>
                    <a:pt x="432" y="107"/>
                  </a:lnTo>
                  <a:lnTo>
                    <a:pt x="432" y="97"/>
                  </a:lnTo>
                  <a:lnTo>
                    <a:pt x="430" y="90"/>
                  </a:lnTo>
                  <a:lnTo>
                    <a:pt x="430" y="73"/>
                  </a:lnTo>
                  <a:lnTo>
                    <a:pt x="427" y="69"/>
                  </a:lnTo>
                  <a:lnTo>
                    <a:pt x="434" y="66"/>
                  </a:lnTo>
                  <a:lnTo>
                    <a:pt x="423" y="55"/>
                  </a:lnTo>
                  <a:lnTo>
                    <a:pt x="423" y="38"/>
                  </a:lnTo>
                  <a:lnTo>
                    <a:pt x="420" y="33"/>
                  </a:lnTo>
                  <a:lnTo>
                    <a:pt x="418" y="31"/>
                  </a:lnTo>
                  <a:lnTo>
                    <a:pt x="413" y="29"/>
                  </a:lnTo>
                  <a:lnTo>
                    <a:pt x="401" y="17"/>
                  </a:lnTo>
                  <a:lnTo>
                    <a:pt x="397" y="17"/>
                  </a:lnTo>
                  <a:lnTo>
                    <a:pt x="390" y="10"/>
                  </a:lnTo>
                  <a:lnTo>
                    <a:pt x="387" y="0"/>
                  </a:lnTo>
                  <a:lnTo>
                    <a:pt x="378" y="12"/>
                  </a:lnTo>
                  <a:lnTo>
                    <a:pt x="364" y="12"/>
                  </a:lnTo>
                  <a:lnTo>
                    <a:pt x="364" y="21"/>
                  </a:lnTo>
                  <a:lnTo>
                    <a:pt x="361" y="26"/>
                  </a:lnTo>
                  <a:lnTo>
                    <a:pt x="359" y="29"/>
                  </a:lnTo>
                  <a:lnTo>
                    <a:pt x="352" y="29"/>
                  </a:lnTo>
                  <a:lnTo>
                    <a:pt x="349" y="31"/>
                  </a:lnTo>
                  <a:lnTo>
                    <a:pt x="345" y="31"/>
                  </a:lnTo>
                  <a:lnTo>
                    <a:pt x="340" y="36"/>
                  </a:lnTo>
                  <a:lnTo>
                    <a:pt x="335" y="45"/>
                  </a:lnTo>
                  <a:lnTo>
                    <a:pt x="333" y="47"/>
                  </a:lnTo>
                  <a:lnTo>
                    <a:pt x="326" y="47"/>
                  </a:lnTo>
                  <a:lnTo>
                    <a:pt x="323" y="45"/>
                  </a:lnTo>
                  <a:lnTo>
                    <a:pt x="321" y="40"/>
                  </a:lnTo>
                  <a:lnTo>
                    <a:pt x="319" y="38"/>
                  </a:lnTo>
                  <a:lnTo>
                    <a:pt x="269" y="36"/>
                  </a:lnTo>
                  <a:lnTo>
                    <a:pt x="269" y="31"/>
                  </a:lnTo>
                  <a:lnTo>
                    <a:pt x="267" y="31"/>
                  </a:lnTo>
                  <a:lnTo>
                    <a:pt x="260" y="38"/>
                  </a:lnTo>
                  <a:lnTo>
                    <a:pt x="87" y="36"/>
                  </a:lnTo>
                  <a:lnTo>
                    <a:pt x="87" y="99"/>
                  </a:lnTo>
                  <a:lnTo>
                    <a:pt x="56" y="99"/>
                  </a:lnTo>
                  <a:lnTo>
                    <a:pt x="59" y="241"/>
                  </a:lnTo>
                  <a:lnTo>
                    <a:pt x="54" y="241"/>
                  </a:lnTo>
                  <a:lnTo>
                    <a:pt x="49" y="239"/>
                  </a:lnTo>
                  <a:lnTo>
                    <a:pt x="33" y="239"/>
                  </a:lnTo>
                  <a:lnTo>
                    <a:pt x="28" y="244"/>
                  </a:lnTo>
                  <a:lnTo>
                    <a:pt x="30" y="246"/>
                  </a:lnTo>
                  <a:lnTo>
                    <a:pt x="30" y="251"/>
                  </a:lnTo>
                  <a:lnTo>
                    <a:pt x="33" y="253"/>
                  </a:lnTo>
                  <a:lnTo>
                    <a:pt x="33" y="255"/>
                  </a:lnTo>
                  <a:lnTo>
                    <a:pt x="30" y="258"/>
                  </a:lnTo>
                  <a:lnTo>
                    <a:pt x="26" y="260"/>
                  </a:lnTo>
                  <a:lnTo>
                    <a:pt x="21" y="265"/>
                  </a:lnTo>
                  <a:lnTo>
                    <a:pt x="21" y="272"/>
                  </a:lnTo>
                  <a:lnTo>
                    <a:pt x="16" y="272"/>
                  </a:lnTo>
                  <a:lnTo>
                    <a:pt x="19" y="281"/>
                  </a:lnTo>
                  <a:lnTo>
                    <a:pt x="21" y="288"/>
                  </a:lnTo>
                  <a:lnTo>
                    <a:pt x="14" y="293"/>
                  </a:lnTo>
                  <a:lnTo>
                    <a:pt x="7" y="300"/>
                  </a:lnTo>
                  <a:lnTo>
                    <a:pt x="9" y="303"/>
                  </a:lnTo>
                  <a:lnTo>
                    <a:pt x="14" y="312"/>
                  </a:lnTo>
                  <a:lnTo>
                    <a:pt x="14" y="317"/>
                  </a:lnTo>
                  <a:lnTo>
                    <a:pt x="9" y="322"/>
                  </a:lnTo>
                  <a:lnTo>
                    <a:pt x="4" y="324"/>
                  </a:lnTo>
                  <a:lnTo>
                    <a:pt x="0" y="329"/>
                  </a:lnTo>
                  <a:lnTo>
                    <a:pt x="0" y="336"/>
                  </a:lnTo>
                  <a:lnTo>
                    <a:pt x="4" y="338"/>
                  </a:lnTo>
                  <a:lnTo>
                    <a:pt x="9" y="338"/>
                  </a:lnTo>
                  <a:lnTo>
                    <a:pt x="12" y="336"/>
                  </a:lnTo>
                  <a:lnTo>
                    <a:pt x="16" y="336"/>
                  </a:lnTo>
                  <a:lnTo>
                    <a:pt x="19" y="338"/>
                  </a:lnTo>
                  <a:lnTo>
                    <a:pt x="19" y="355"/>
                  </a:lnTo>
                  <a:lnTo>
                    <a:pt x="26" y="362"/>
                  </a:lnTo>
                  <a:lnTo>
                    <a:pt x="19" y="364"/>
                  </a:lnTo>
                  <a:lnTo>
                    <a:pt x="21" y="373"/>
                  </a:lnTo>
                  <a:lnTo>
                    <a:pt x="23" y="373"/>
                  </a:lnTo>
                  <a:lnTo>
                    <a:pt x="28" y="376"/>
                  </a:lnTo>
                  <a:lnTo>
                    <a:pt x="33" y="383"/>
                  </a:lnTo>
                  <a:lnTo>
                    <a:pt x="35" y="385"/>
                  </a:lnTo>
                  <a:lnTo>
                    <a:pt x="35" y="388"/>
                  </a:lnTo>
                  <a:lnTo>
                    <a:pt x="30" y="388"/>
                  </a:lnTo>
                  <a:lnTo>
                    <a:pt x="30" y="397"/>
                  </a:lnTo>
                  <a:lnTo>
                    <a:pt x="42" y="409"/>
                  </a:lnTo>
                  <a:lnTo>
                    <a:pt x="45" y="414"/>
                  </a:lnTo>
                  <a:lnTo>
                    <a:pt x="49" y="418"/>
                  </a:lnTo>
                  <a:lnTo>
                    <a:pt x="52" y="425"/>
                  </a:lnTo>
                  <a:lnTo>
                    <a:pt x="54" y="430"/>
                  </a:lnTo>
                  <a:lnTo>
                    <a:pt x="54" y="442"/>
                  </a:lnTo>
                  <a:lnTo>
                    <a:pt x="52" y="444"/>
                  </a:lnTo>
                  <a:lnTo>
                    <a:pt x="49" y="449"/>
                  </a:lnTo>
                  <a:lnTo>
                    <a:pt x="47" y="451"/>
                  </a:lnTo>
                  <a:lnTo>
                    <a:pt x="47" y="454"/>
                  </a:lnTo>
                  <a:lnTo>
                    <a:pt x="49" y="456"/>
                  </a:lnTo>
                  <a:lnTo>
                    <a:pt x="52" y="456"/>
                  </a:lnTo>
                  <a:lnTo>
                    <a:pt x="49" y="463"/>
                  </a:lnTo>
                  <a:lnTo>
                    <a:pt x="66" y="466"/>
                  </a:lnTo>
                  <a:lnTo>
                    <a:pt x="66" y="461"/>
                  </a:lnTo>
                  <a:lnTo>
                    <a:pt x="68" y="459"/>
                  </a:lnTo>
                  <a:lnTo>
                    <a:pt x="73" y="456"/>
                  </a:lnTo>
                  <a:lnTo>
                    <a:pt x="73" y="456"/>
                  </a:lnTo>
                  <a:lnTo>
                    <a:pt x="73" y="454"/>
                  </a:lnTo>
                  <a:lnTo>
                    <a:pt x="73" y="451"/>
                  </a:lnTo>
                  <a:lnTo>
                    <a:pt x="78" y="447"/>
                  </a:lnTo>
                  <a:lnTo>
                    <a:pt x="78" y="437"/>
                  </a:lnTo>
                  <a:lnTo>
                    <a:pt x="82" y="437"/>
                  </a:lnTo>
                  <a:lnTo>
                    <a:pt x="82" y="428"/>
                  </a:lnTo>
                  <a:lnTo>
                    <a:pt x="89" y="418"/>
                  </a:lnTo>
                  <a:lnTo>
                    <a:pt x="92" y="411"/>
                  </a:lnTo>
                  <a:lnTo>
                    <a:pt x="101" y="409"/>
                  </a:lnTo>
                  <a:lnTo>
                    <a:pt x="113" y="407"/>
                  </a:lnTo>
                  <a:lnTo>
                    <a:pt x="115" y="416"/>
                  </a:lnTo>
                  <a:lnTo>
                    <a:pt x="118" y="418"/>
                  </a:lnTo>
                  <a:lnTo>
                    <a:pt x="123" y="421"/>
                  </a:lnTo>
                  <a:lnTo>
                    <a:pt x="123" y="423"/>
                  </a:lnTo>
                  <a:lnTo>
                    <a:pt x="125" y="430"/>
                  </a:lnTo>
                  <a:lnTo>
                    <a:pt x="127" y="433"/>
                  </a:lnTo>
                  <a:lnTo>
                    <a:pt x="137" y="440"/>
                  </a:lnTo>
                  <a:lnTo>
                    <a:pt x="146" y="435"/>
                  </a:lnTo>
                  <a:lnTo>
                    <a:pt x="170" y="433"/>
                  </a:lnTo>
                  <a:lnTo>
                    <a:pt x="175" y="435"/>
                  </a:lnTo>
                  <a:lnTo>
                    <a:pt x="177" y="442"/>
                  </a:lnTo>
                  <a:lnTo>
                    <a:pt x="177" y="442"/>
                  </a:lnTo>
                  <a:lnTo>
                    <a:pt x="196" y="442"/>
                  </a:lnTo>
                  <a:lnTo>
                    <a:pt x="205" y="430"/>
                  </a:lnTo>
                  <a:lnTo>
                    <a:pt x="219" y="430"/>
                  </a:lnTo>
                  <a:lnTo>
                    <a:pt x="222" y="418"/>
                  </a:lnTo>
                  <a:lnTo>
                    <a:pt x="234" y="411"/>
                  </a:lnTo>
                  <a:lnTo>
                    <a:pt x="250" y="421"/>
                  </a:lnTo>
                  <a:lnTo>
                    <a:pt x="260" y="430"/>
                  </a:lnTo>
                  <a:lnTo>
                    <a:pt x="274" y="430"/>
                  </a:lnTo>
                  <a:lnTo>
                    <a:pt x="290" y="409"/>
                  </a:lnTo>
                  <a:lnTo>
                    <a:pt x="295" y="397"/>
                  </a:lnTo>
                  <a:lnTo>
                    <a:pt x="309" y="388"/>
                  </a:lnTo>
                  <a:lnTo>
                    <a:pt x="307" y="381"/>
                  </a:lnTo>
                  <a:lnTo>
                    <a:pt x="307" y="364"/>
                  </a:lnTo>
                  <a:lnTo>
                    <a:pt x="300" y="357"/>
                  </a:lnTo>
                  <a:lnTo>
                    <a:pt x="319" y="357"/>
                  </a:lnTo>
                  <a:lnTo>
                    <a:pt x="319" y="350"/>
                  </a:lnTo>
                  <a:lnTo>
                    <a:pt x="331" y="347"/>
                  </a:lnTo>
                  <a:lnTo>
                    <a:pt x="328" y="357"/>
                  </a:lnTo>
                  <a:lnTo>
                    <a:pt x="328" y="366"/>
                  </a:lnTo>
                  <a:lnTo>
                    <a:pt x="326" y="369"/>
                  </a:lnTo>
                  <a:lnTo>
                    <a:pt x="328" y="378"/>
                  </a:lnTo>
                  <a:lnTo>
                    <a:pt x="331" y="385"/>
                  </a:lnTo>
                  <a:lnTo>
                    <a:pt x="331" y="390"/>
                  </a:lnTo>
                  <a:lnTo>
                    <a:pt x="328" y="395"/>
                  </a:lnTo>
                  <a:lnTo>
                    <a:pt x="335" y="399"/>
                  </a:lnTo>
                  <a:lnTo>
                    <a:pt x="345" y="407"/>
                  </a:lnTo>
                  <a:lnTo>
                    <a:pt x="352" y="414"/>
                  </a:lnTo>
                  <a:lnTo>
                    <a:pt x="354" y="418"/>
                  </a:lnTo>
                  <a:lnTo>
                    <a:pt x="357" y="423"/>
                  </a:lnTo>
                  <a:lnTo>
                    <a:pt x="359" y="423"/>
                  </a:lnTo>
                  <a:lnTo>
                    <a:pt x="361" y="421"/>
                  </a:lnTo>
                  <a:lnTo>
                    <a:pt x="361" y="414"/>
                  </a:lnTo>
                  <a:lnTo>
                    <a:pt x="359" y="409"/>
                  </a:lnTo>
                  <a:lnTo>
                    <a:pt x="359" y="402"/>
                  </a:lnTo>
                  <a:lnTo>
                    <a:pt x="366" y="395"/>
                  </a:lnTo>
                  <a:lnTo>
                    <a:pt x="368" y="395"/>
                  </a:lnTo>
                  <a:lnTo>
                    <a:pt x="368" y="399"/>
                  </a:lnTo>
                  <a:lnTo>
                    <a:pt x="371" y="402"/>
                  </a:lnTo>
                  <a:lnTo>
                    <a:pt x="378" y="402"/>
                  </a:lnTo>
                  <a:lnTo>
                    <a:pt x="380" y="399"/>
                  </a:lnTo>
                  <a:lnTo>
                    <a:pt x="380" y="385"/>
                  </a:lnTo>
                  <a:lnTo>
                    <a:pt x="378" y="383"/>
                  </a:lnTo>
                  <a:lnTo>
                    <a:pt x="378" y="381"/>
                  </a:lnTo>
                  <a:lnTo>
                    <a:pt x="382" y="373"/>
                  </a:lnTo>
                  <a:lnTo>
                    <a:pt x="382" y="364"/>
                  </a:lnTo>
                  <a:lnTo>
                    <a:pt x="385" y="362"/>
                  </a:lnTo>
                  <a:lnTo>
                    <a:pt x="390" y="362"/>
                  </a:lnTo>
                  <a:lnTo>
                    <a:pt x="392" y="357"/>
                  </a:lnTo>
                  <a:lnTo>
                    <a:pt x="392" y="343"/>
                  </a:lnTo>
                  <a:lnTo>
                    <a:pt x="394" y="340"/>
                  </a:lnTo>
                  <a:lnTo>
                    <a:pt x="397" y="336"/>
                  </a:lnTo>
                  <a:lnTo>
                    <a:pt x="399" y="333"/>
                  </a:lnTo>
                  <a:lnTo>
                    <a:pt x="411" y="333"/>
                  </a:lnTo>
                  <a:lnTo>
                    <a:pt x="411" y="314"/>
                  </a:lnTo>
                  <a:lnTo>
                    <a:pt x="413" y="310"/>
                  </a:lnTo>
                  <a:lnTo>
                    <a:pt x="416" y="307"/>
                  </a:lnTo>
                  <a:lnTo>
                    <a:pt x="418" y="303"/>
                  </a:lnTo>
                  <a:lnTo>
                    <a:pt x="420" y="300"/>
                  </a:lnTo>
                  <a:lnTo>
                    <a:pt x="420" y="284"/>
                  </a:lnTo>
                  <a:lnTo>
                    <a:pt x="418" y="265"/>
                  </a:lnTo>
                  <a:lnTo>
                    <a:pt x="416" y="262"/>
                  </a:lnTo>
                  <a:lnTo>
                    <a:pt x="416" y="255"/>
                  </a:lnTo>
                  <a:lnTo>
                    <a:pt x="420" y="253"/>
                  </a:lnTo>
                  <a:lnTo>
                    <a:pt x="423" y="253"/>
                  </a:lnTo>
                  <a:lnTo>
                    <a:pt x="423" y="239"/>
                  </a:lnTo>
                  <a:lnTo>
                    <a:pt x="425" y="239"/>
                  </a:lnTo>
                  <a:lnTo>
                    <a:pt x="427" y="236"/>
                  </a:lnTo>
                  <a:lnTo>
                    <a:pt x="430" y="232"/>
                  </a:lnTo>
                  <a:lnTo>
                    <a:pt x="430" y="215"/>
                  </a:lnTo>
                  <a:lnTo>
                    <a:pt x="427" y="213"/>
                  </a:lnTo>
                  <a:lnTo>
                    <a:pt x="427" y="208"/>
                  </a:lnTo>
                  <a:lnTo>
                    <a:pt x="432" y="20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53" name="South Sudan">
              <a:extLst>
                <a:ext uri="{FF2B5EF4-FFF2-40B4-BE49-F238E27FC236}">
                  <a16:creationId xmlns:a16="http://schemas.microsoft.com/office/drawing/2014/main" id="{063C2E11-A7A8-1FAD-94D2-DD6CE0E58236}"/>
                </a:ext>
              </a:extLst>
            </p:cNvPr>
            <p:cNvSpPr>
              <a:spLocks/>
            </p:cNvSpPr>
            <p:nvPr/>
          </p:nvSpPr>
          <p:spPr bwMode="auto">
            <a:xfrm>
              <a:off x="4862703" y="3189473"/>
              <a:ext cx="308360" cy="228208"/>
            </a:xfrm>
            <a:custGeom>
              <a:avLst/>
              <a:gdLst/>
              <a:ahLst/>
              <a:cxnLst>
                <a:cxn ang="0">
                  <a:pos x="269" y="52"/>
                </a:cxn>
                <a:cxn ang="0">
                  <a:pos x="265" y="38"/>
                </a:cxn>
                <a:cxn ang="0">
                  <a:pos x="262" y="19"/>
                </a:cxn>
                <a:cxn ang="0">
                  <a:pos x="253" y="3"/>
                </a:cxn>
                <a:cxn ang="0">
                  <a:pos x="241" y="17"/>
                </a:cxn>
                <a:cxn ang="0">
                  <a:pos x="229" y="50"/>
                </a:cxn>
                <a:cxn ang="0">
                  <a:pos x="194" y="83"/>
                </a:cxn>
                <a:cxn ang="0">
                  <a:pos x="156" y="71"/>
                </a:cxn>
                <a:cxn ang="0">
                  <a:pos x="130" y="95"/>
                </a:cxn>
                <a:cxn ang="0">
                  <a:pos x="109" y="88"/>
                </a:cxn>
                <a:cxn ang="0">
                  <a:pos x="71" y="93"/>
                </a:cxn>
                <a:cxn ang="0">
                  <a:pos x="57" y="76"/>
                </a:cxn>
                <a:cxn ang="0">
                  <a:pos x="49" y="69"/>
                </a:cxn>
                <a:cxn ang="0">
                  <a:pos x="26" y="64"/>
                </a:cxn>
                <a:cxn ang="0">
                  <a:pos x="16" y="90"/>
                </a:cxn>
                <a:cxn ang="0">
                  <a:pos x="7" y="104"/>
                </a:cxn>
                <a:cxn ang="0">
                  <a:pos x="7" y="109"/>
                </a:cxn>
                <a:cxn ang="0">
                  <a:pos x="0" y="119"/>
                </a:cxn>
                <a:cxn ang="0">
                  <a:pos x="12" y="135"/>
                </a:cxn>
                <a:cxn ang="0">
                  <a:pos x="28" y="142"/>
                </a:cxn>
                <a:cxn ang="0">
                  <a:pos x="38" y="152"/>
                </a:cxn>
                <a:cxn ang="0">
                  <a:pos x="33" y="154"/>
                </a:cxn>
                <a:cxn ang="0">
                  <a:pos x="42" y="164"/>
                </a:cxn>
                <a:cxn ang="0">
                  <a:pos x="54" y="173"/>
                </a:cxn>
                <a:cxn ang="0">
                  <a:pos x="59" y="182"/>
                </a:cxn>
                <a:cxn ang="0">
                  <a:pos x="68" y="190"/>
                </a:cxn>
                <a:cxn ang="0">
                  <a:pos x="68" y="197"/>
                </a:cxn>
                <a:cxn ang="0">
                  <a:pos x="83" y="208"/>
                </a:cxn>
                <a:cxn ang="0">
                  <a:pos x="92" y="218"/>
                </a:cxn>
                <a:cxn ang="0">
                  <a:pos x="106" y="241"/>
                </a:cxn>
                <a:cxn ang="0">
                  <a:pos x="127" y="258"/>
                </a:cxn>
                <a:cxn ang="0">
                  <a:pos x="137" y="251"/>
                </a:cxn>
                <a:cxn ang="0">
                  <a:pos x="146" y="258"/>
                </a:cxn>
                <a:cxn ang="0">
                  <a:pos x="156" y="251"/>
                </a:cxn>
                <a:cxn ang="0">
                  <a:pos x="168" y="251"/>
                </a:cxn>
                <a:cxn ang="0">
                  <a:pos x="177" y="267"/>
                </a:cxn>
                <a:cxn ang="0">
                  <a:pos x="187" y="272"/>
                </a:cxn>
                <a:cxn ang="0">
                  <a:pos x="203" y="275"/>
                </a:cxn>
                <a:cxn ang="0">
                  <a:pos x="215" y="279"/>
                </a:cxn>
                <a:cxn ang="0">
                  <a:pos x="222" y="275"/>
                </a:cxn>
                <a:cxn ang="0">
                  <a:pos x="243" y="277"/>
                </a:cxn>
                <a:cxn ang="0">
                  <a:pos x="262" y="272"/>
                </a:cxn>
                <a:cxn ang="0">
                  <a:pos x="274" y="277"/>
                </a:cxn>
                <a:cxn ang="0">
                  <a:pos x="283" y="265"/>
                </a:cxn>
                <a:cxn ang="0">
                  <a:pos x="295" y="251"/>
                </a:cxn>
                <a:cxn ang="0">
                  <a:pos x="340" y="239"/>
                </a:cxn>
                <a:cxn ang="0">
                  <a:pos x="335" y="225"/>
                </a:cxn>
                <a:cxn ang="0">
                  <a:pos x="316" y="208"/>
                </a:cxn>
                <a:cxn ang="0">
                  <a:pos x="312" y="185"/>
                </a:cxn>
                <a:cxn ang="0">
                  <a:pos x="293" y="175"/>
                </a:cxn>
                <a:cxn ang="0">
                  <a:pos x="286" y="159"/>
                </a:cxn>
                <a:cxn ang="0">
                  <a:pos x="276" y="149"/>
                </a:cxn>
                <a:cxn ang="0">
                  <a:pos x="260" y="147"/>
                </a:cxn>
                <a:cxn ang="0">
                  <a:pos x="265" y="135"/>
                </a:cxn>
                <a:cxn ang="0">
                  <a:pos x="279" y="128"/>
                </a:cxn>
                <a:cxn ang="0">
                  <a:pos x="288" y="123"/>
                </a:cxn>
                <a:cxn ang="0">
                  <a:pos x="291" y="100"/>
                </a:cxn>
                <a:cxn ang="0">
                  <a:pos x="286" y="88"/>
                </a:cxn>
                <a:cxn ang="0">
                  <a:pos x="291" y="76"/>
                </a:cxn>
              </a:cxnLst>
              <a:rect l="0" t="0" r="r" b="b"/>
              <a:pathLst>
                <a:path w="342" h="286">
                  <a:moveTo>
                    <a:pt x="286" y="67"/>
                  </a:moveTo>
                  <a:lnTo>
                    <a:pt x="279" y="60"/>
                  </a:lnTo>
                  <a:lnTo>
                    <a:pt x="269" y="52"/>
                  </a:lnTo>
                  <a:lnTo>
                    <a:pt x="262" y="48"/>
                  </a:lnTo>
                  <a:lnTo>
                    <a:pt x="265" y="43"/>
                  </a:lnTo>
                  <a:lnTo>
                    <a:pt x="265" y="38"/>
                  </a:lnTo>
                  <a:lnTo>
                    <a:pt x="262" y="31"/>
                  </a:lnTo>
                  <a:lnTo>
                    <a:pt x="260" y="22"/>
                  </a:lnTo>
                  <a:lnTo>
                    <a:pt x="262" y="19"/>
                  </a:lnTo>
                  <a:lnTo>
                    <a:pt x="262" y="10"/>
                  </a:lnTo>
                  <a:lnTo>
                    <a:pt x="265" y="0"/>
                  </a:lnTo>
                  <a:lnTo>
                    <a:pt x="253" y="3"/>
                  </a:lnTo>
                  <a:lnTo>
                    <a:pt x="253" y="10"/>
                  </a:lnTo>
                  <a:lnTo>
                    <a:pt x="234" y="10"/>
                  </a:lnTo>
                  <a:lnTo>
                    <a:pt x="241" y="17"/>
                  </a:lnTo>
                  <a:lnTo>
                    <a:pt x="241" y="34"/>
                  </a:lnTo>
                  <a:lnTo>
                    <a:pt x="243" y="41"/>
                  </a:lnTo>
                  <a:lnTo>
                    <a:pt x="229" y="50"/>
                  </a:lnTo>
                  <a:lnTo>
                    <a:pt x="224" y="62"/>
                  </a:lnTo>
                  <a:lnTo>
                    <a:pt x="208" y="83"/>
                  </a:lnTo>
                  <a:lnTo>
                    <a:pt x="194" y="83"/>
                  </a:lnTo>
                  <a:lnTo>
                    <a:pt x="184" y="74"/>
                  </a:lnTo>
                  <a:lnTo>
                    <a:pt x="168" y="64"/>
                  </a:lnTo>
                  <a:lnTo>
                    <a:pt x="156" y="71"/>
                  </a:lnTo>
                  <a:lnTo>
                    <a:pt x="153" y="83"/>
                  </a:lnTo>
                  <a:lnTo>
                    <a:pt x="139" y="83"/>
                  </a:lnTo>
                  <a:lnTo>
                    <a:pt x="130" y="95"/>
                  </a:lnTo>
                  <a:lnTo>
                    <a:pt x="111" y="95"/>
                  </a:lnTo>
                  <a:lnTo>
                    <a:pt x="111" y="95"/>
                  </a:lnTo>
                  <a:lnTo>
                    <a:pt x="109" y="88"/>
                  </a:lnTo>
                  <a:lnTo>
                    <a:pt x="104" y="86"/>
                  </a:lnTo>
                  <a:lnTo>
                    <a:pt x="80" y="88"/>
                  </a:lnTo>
                  <a:lnTo>
                    <a:pt x="71" y="93"/>
                  </a:lnTo>
                  <a:lnTo>
                    <a:pt x="61" y="86"/>
                  </a:lnTo>
                  <a:lnTo>
                    <a:pt x="59" y="83"/>
                  </a:lnTo>
                  <a:lnTo>
                    <a:pt x="57" y="76"/>
                  </a:lnTo>
                  <a:lnTo>
                    <a:pt x="57" y="74"/>
                  </a:lnTo>
                  <a:lnTo>
                    <a:pt x="52" y="71"/>
                  </a:lnTo>
                  <a:lnTo>
                    <a:pt x="49" y="69"/>
                  </a:lnTo>
                  <a:lnTo>
                    <a:pt x="47" y="60"/>
                  </a:lnTo>
                  <a:lnTo>
                    <a:pt x="35" y="62"/>
                  </a:lnTo>
                  <a:lnTo>
                    <a:pt x="26" y="64"/>
                  </a:lnTo>
                  <a:lnTo>
                    <a:pt x="23" y="71"/>
                  </a:lnTo>
                  <a:lnTo>
                    <a:pt x="16" y="81"/>
                  </a:lnTo>
                  <a:lnTo>
                    <a:pt x="16" y="90"/>
                  </a:lnTo>
                  <a:lnTo>
                    <a:pt x="12" y="90"/>
                  </a:lnTo>
                  <a:lnTo>
                    <a:pt x="12" y="100"/>
                  </a:lnTo>
                  <a:lnTo>
                    <a:pt x="7" y="104"/>
                  </a:lnTo>
                  <a:lnTo>
                    <a:pt x="7" y="107"/>
                  </a:lnTo>
                  <a:lnTo>
                    <a:pt x="7" y="109"/>
                  </a:lnTo>
                  <a:lnTo>
                    <a:pt x="7" y="109"/>
                  </a:lnTo>
                  <a:lnTo>
                    <a:pt x="2" y="112"/>
                  </a:lnTo>
                  <a:lnTo>
                    <a:pt x="0" y="114"/>
                  </a:lnTo>
                  <a:lnTo>
                    <a:pt x="0" y="119"/>
                  </a:lnTo>
                  <a:lnTo>
                    <a:pt x="2" y="119"/>
                  </a:lnTo>
                  <a:lnTo>
                    <a:pt x="2" y="130"/>
                  </a:lnTo>
                  <a:lnTo>
                    <a:pt x="12" y="135"/>
                  </a:lnTo>
                  <a:lnTo>
                    <a:pt x="26" y="135"/>
                  </a:lnTo>
                  <a:lnTo>
                    <a:pt x="26" y="142"/>
                  </a:lnTo>
                  <a:lnTo>
                    <a:pt x="28" y="142"/>
                  </a:lnTo>
                  <a:lnTo>
                    <a:pt x="33" y="145"/>
                  </a:lnTo>
                  <a:lnTo>
                    <a:pt x="38" y="149"/>
                  </a:lnTo>
                  <a:lnTo>
                    <a:pt x="38" y="152"/>
                  </a:lnTo>
                  <a:lnTo>
                    <a:pt x="35" y="152"/>
                  </a:lnTo>
                  <a:lnTo>
                    <a:pt x="35" y="154"/>
                  </a:lnTo>
                  <a:lnTo>
                    <a:pt x="33" y="154"/>
                  </a:lnTo>
                  <a:lnTo>
                    <a:pt x="33" y="156"/>
                  </a:lnTo>
                  <a:lnTo>
                    <a:pt x="38" y="161"/>
                  </a:lnTo>
                  <a:lnTo>
                    <a:pt x="42" y="164"/>
                  </a:lnTo>
                  <a:lnTo>
                    <a:pt x="45" y="164"/>
                  </a:lnTo>
                  <a:lnTo>
                    <a:pt x="49" y="166"/>
                  </a:lnTo>
                  <a:lnTo>
                    <a:pt x="54" y="173"/>
                  </a:lnTo>
                  <a:lnTo>
                    <a:pt x="57" y="178"/>
                  </a:lnTo>
                  <a:lnTo>
                    <a:pt x="59" y="180"/>
                  </a:lnTo>
                  <a:lnTo>
                    <a:pt x="59" y="182"/>
                  </a:lnTo>
                  <a:lnTo>
                    <a:pt x="66" y="182"/>
                  </a:lnTo>
                  <a:lnTo>
                    <a:pt x="68" y="185"/>
                  </a:lnTo>
                  <a:lnTo>
                    <a:pt x="68" y="190"/>
                  </a:lnTo>
                  <a:lnTo>
                    <a:pt x="64" y="190"/>
                  </a:lnTo>
                  <a:lnTo>
                    <a:pt x="64" y="192"/>
                  </a:lnTo>
                  <a:lnTo>
                    <a:pt x="68" y="197"/>
                  </a:lnTo>
                  <a:lnTo>
                    <a:pt x="68" y="204"/>
                  </a:lnTo>
                  <a:lnTo>
                    <a:pt x="80" y="206"/>
                  </a:lnTo>
                  <a:lnTo>
                    <a:pt x="83" y="208"/>
                  </a:lnTo>
                  <a:lnTo>
                    <a:pt x="87" y="211"/>
                  </a:lnTo>
                  <a:lnTo>
                    <a:pt x="90" y="213"/>
                  </a:lnTo>
                  <a:lnTo>
                    <a:pt x="92" y="218"/>
                  </a:lnTo>
                  <a:lnTo>
                    <a:pt x="92" y="227"/>
                  </a:lnTo>
                  <a:lnTo>
                    <a:pt x="94" y="232"/>
                  </a:lnTo>
                  <a:lnTo>
                    <a:pt x="106" y="241"/>
                  </a:lnTo>
                  <a:lnTo>
                    <a:pt x="106" y="251"/>
                  </a:lnTo>
                  <a:lnTo>
                    <a:pt x="125" y="260"/>
                  </a:lnTo>
                  <a:lnTo>
                    <a:pt x="127" y="258"/>
                  </a:lnTo>
                  <a:lnTo>
                    <a:pt x="130" y="253"/>
                  </a:lnTo>
                  <a:lnTo>
                    <a:pt x="132" y="251"/>
                  </a:lnTo>
                  <a:lnTo>
                    <a:pt x="137" y="251"/>
                  </a:lnTo>
                  <a:lnTo>
                    <a:pt x="142" y="253"/>
                  </a:lnTo>
                  <a:lnTo>
                    <a:pt x="142" y="256"/>
                  </a:lnTo>
                  <a:lnTo>
                    <a:pt x="146" y="258"/>
                  </a:lnTo>
                  <a:lnTo>
                    <a:pt x="149" y="258"/>
                  </a:lnTo>
                  <a:lnTo>
                    <a:pt x="156" y="253"/>
                  </a:lnTo>
                  <a:lnTo>
                    <a:pt x="156" y="251"/>
                  </a:lnTo>
                  <a:lnTo>
                    <a:pt x="161" y="246"/>
                  </a:lnTo>
                  <a:lnTo>
                    <a:pt x="163" y="249"/>
                  </a:lnTo>
                  <a:lnTo>
                    <a:pt x="168" y="251"/>
                  </a:lnTo>
                  <a:lnTo>
                    <a:pt x="170" y="258"/>
                  </a:lnTo>
                  <a:lnTo>
                    <a:pt x="172" y="263"/>
                  </a:lnTo>
                  <a:lnTo>
                    <a:pt x="177" y="267"/>
                  </a:lnTo>
                  <a:lnTo>
                    <a:pt x="182" y="270"/>
                  </a:lnTo>
                  <a:lnTo>
                    <a:pt x="184" y="272"/>
                  </a:lnTo>
                  <a:lnTo>
                    <a:pt x="187" y="272"/>
                  </a:lnTo>
                  <a:lnTo>
                    <a:pt x="189" y="282"/>
                  </a:lnTo>
                  <a:lnTo>
                    <a:pt x="196" y="282"/>
                  </a:lnTo>
                  <a:lnTo>
                    <a:pt x="203" y="275"/>
                  </a:lnTo>
                  <a:lnTo>
                    <a:pt x="208" y="275"/>
                  </a:lnTo>
                  <a:lnTo>
                    <a:pt x="210" y="277"/>
                  </a:lnTo>
                  <a:lnTo>
                    <a:pt x="215" y="279"/>
                  </a:lnTo>
                  <a:lnTo>
                    <a:pt x="220" y="279"/>
                  </a:lnTo>
                  <a:lnTo>
                    <a:pt x="220" y="277"/>
                  </a:lnTo>
                  <a:lnTo>
                    <a:pt x="222" y="275"/>
                  </a:lnTo>
                  <a:lnTo>
                    <a:pt x="224" y="275"/>
                  </a:lnTo>
                  <a:lnTo>
                    <a:pt x="236" y="286"/>
                  </a:lnTo>
                  <a:lnTo>
                    <a:pt x="243" y="277"/>
                  </a:lnTo>
                  <a:lnTo>
                    <a:pt x="253" y="277"/>
                  </a:lnTo>
                  <a:lnTo>
                    <a:pt x="257" y="272"/>
                  </a:lnTo>
                  <a:lnTo>
                    <a:pt x="262" y="272"/>
                  </a:lnTo>
                  <a:lnTo>
                    <a:pt x="262" y="275"/>
                  </a:lnTo>
                  <a:lnTo>
                    <a:pt x="265" y="277"/>
                  </a:lnTo>
                  <a:lnTo>
                    <a:pt x="274" y="277"/>
                  </a:lnTo>
                  <a:lnTo>
                    <a:pt x="281" y="270"/>
                  </a:lnTo>
                  <a:lnTo>
                    <a:pt x="281" y="267"/>
                  </a:lnTo>
                  <a:lnTo>
                    <a:pt x="283" y="265"/>
                  </a:lnTo>
                  <a:lnTo>
                    <a:pt x="283" y="263"/>
                  </a:lnTo>
                  <a:lnTo>
                    <a:pt x="288" y="263"/>
                  </a:lnTo>
                  <a:lnTo>
                    <a:pt x="295" y="251"/>
                  </a:lnTo>
                  <a:lnTo>
                    <a:pt x="333" y="251"/>
                  </a:lnTo>
                  <a:lnTo>
                    <a:pt x="342" y="246"/>
                  </a:lnTo>
                  <a:lnTo>
                    <a:pt x="340" y="239"/>
                  </a:lnTo>
                  <a:lnTo>
                    <a:pt x="340" y="232"/>
                  </a:lnTo>
                  <a:lnTo>
                    <a:pt x="338" y="227"/>
                  </a:lnTo>
                  <a:lnTo>
                    <a:pt x="335" y="225"/>
                  </a:lnTo>
                  <a:lnTo>
                    <a:pt x="328" y="225"/>
                  </a:lnTo>
                  <a:lnTo>
                    <a:pt x="324" y="223"/>
                  </a:lnTo>
                  <a:lnTo>
                    <a:pt x="316" y="208"/>
                  </a:lnTo>
                  <a:lnTo>
                    <a:pt x="316" y="201"/>
                  </a:lnTo>
                  <a:lnTo>
                    <a:pt x="312" y="199"/>
                  </a:lnTo>
                  <a:lnTo>
                    <a:pt x="312" y="185"/>
                  </a:lnTo>
                  <a:lnTo>
                    <a:pt x="305" y="185"/>
                  </a:lnTo>
                  <a:lnTo>
                    <a:pt x="302" y="175"/>
                  </a:lnTo>
                  <a:lnTo>
                    <a:pt x="293" y="175"/>
                  </a:lnTo>
                  <a:lnTo>
                    <a:pt x="291" y="168"/>
                  </a:lnTo>
                  <a:lnTo>
                    <a:pt x="291" y="161"/>
                  </a:lnTo>
                  <a:lnTo>
                    <a:pt x="286" y="159"/>
                  </a:lnTo>
                  <a:lnTo>
                    <a:pt x="283" y="154"/>
                  </a:lnTo>
                  <a:lnTo>
                    <a:pt x="279" y="152"/>
                  </a:lnTo>
                  <a:lnTo>
                    <a:pt x="276" y="149"/>
                  </a:lnTo>
                  <a:lnTo>
                    <a:pt x="267" y="149"/>
                  </a:lnTo>
                  <a:lnTo>
                    <a:pt x="262" y="147"/>
                  </a:lnTo>
                  <a:lnTo>
                    <a:pt x="260" y="147"/>
                  </a:lnTo>
                  <a:lnTo>
                    <a:pt x="260" y="142"/>
                  </a:lnTo>
                  <a:lnTo>
                    <a:pt x="262" y="138"/>
                  </a:lnTo>
                  <a:lnTo>
                    <a:pt x="265" y="135"/>
                  </a:lnTo>
                  <a:lnTo>
                    <a:pt x="262" y="126"/>
                  </a:lnTo>
                  <a:lnTo>
                    <a:pt x="276" y="126"/>
                  </a:lnTo>
                  <a:lnTo>
                    <a:pt x="279" y="128"/>
                  </a:lnTo>
                  <a:lnTo>
                    <a:pt x="281" y="126"/>
                  </a:lnTo>
                  <a:lnTo>
                    <a:pt x="286" y="126"/>
                  </a:lnTo>
                  <a:lnTo>
                    <a:pt x="288" y="123"/>
                  </a:lnTo>
                  <a:lnTo>
                    <a:pt x="288" y="119"/>
                  </a:lnTo>
                  <a:lnTo>
                    <a:pt x="291" y="114"/>
                  </a:lnTo>
                  <a:lnTo>
                    <a:pt x="291" y="100"/>
                  </a:lnTo>
                  <a:lnTo>
                    <a:pt x="288" y="97"/>
                  </a:lnTo>
                  <a:lnTo>
                    <a:pt x="288" y="93"/>
                  </a:lnTo>
                  <a:lnTo>
                    <a:pt x="286" y="88"/>
                  </a:lnTo>
                  <a:lnTo>
                    <a:pt x="286" y="83"/>
                  </a:lnTo>
                  <a:lnTo>
                    <a:pt x="288" y="78"/>
                  </a:lnTo>
                  <a:lnTo>
                    <a:pt x="291" y="76"/>
                  </a:lnTo>
                  <a:lnTo>
                    <a:pt x="288" y="71"/>
                  </a:lnTo>
                  <a:lnTo>
                    <a:pt x="286" y="67"/>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54" name="Sri Lanka" descr="© INSCALE GmbH, 05.05.2010&#10;http://www.presentationload.com/">
              <a:extLst>
                <a:ext uri="{FF2B5EF4-FFF2-40B4-BE49-F238E27FC236}">
                  <a16:creationId xmlns:a16="http://schemas.microsoft.com/office/drawing/2014/main" id="{C5AAD584-A093-F73D-A057-D294D2B1B1EE}"/>
                </a:ext>
              </a:extLst>
            </p:cNvPr>
            <p:cNvSpPr>
              <a:spLocks/>
            </p:cNvSpPr>
            <p:nvPr/>
          </p:nvSpPr>
          <p:spPr bwMode="gray">
            <a:xfrm>
              <a:off x="6282004" y="3259607"/>
              <a:ext cx="61673" cy="96753"/>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55" name="Spain" descr="© INSCALE GmbH, 05.05.2010&#10;http://www.presentationload.com/">
              <a:extLst>
                <a:ext uri="{FF2B5EF4-FFF2-40B4-BE49-F238E27FC236}">
                  <a16:creationId xmlns:a16="http://schemas.microsoft.com/office/drawing/2014/main" id="{7EA561A7-22F5-E335-43FE-6F60DA8D3819}"/>
                </a:ext>
              </a:extLst>
            </p:cNvPr>
            <p:cNvSpPr>
              <a:spLocks noEditPoints="1"/>
            </p:cNvSpPr>
            <p:nvPr/>
          </p:nvSpPr>
          <p:spPr bwMode="gray">
            <a:xfrm>
              <a:off x="4061800" y="2387588"/>
              <a:ext cx="313968" cy="195988"/>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56" name="South Africa" descr="© INSCALE GmbH, 05.05.2010&#10;http://www.presentationload.com/">
              <a:extLst>
                <a:ext uri="{FF2B5EF4-FFF2-40B4-BE49-F238E27FC236}">
                  <a16:creationId xmlns:a16="http://schemas.microsoft.com/office/drawing/2014/main" id="{59020F65-EFA5-694C-9F86-E4FCECCF533D}"/>
                </a:ext>
              </a:extLst>
            </p:cNvPr>
            <p:cNvSpPr>
              <a:spLocks noEditPoints="1"/>
            </p:cNvSpPr>
            <p:nvPr/>
          </p:nvSpPr>
          <p:spPr bwMode="gray">
            <a:xfrm>
              <a:off x="4668716" y="4072087"/>
              <a:ext cx="406477" cy="323753"/>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57" name="Somalia" descr="© INSCALE GmbH, 05.05.2010&#10;http://www.presentationload.com/">
              <a:extLst>
                <a:ext uri="{FF2B5EF4-FFF2-40B4-BE49-F238E27FC236}">
                  <a16:creationId xmlns:a16="http://schemas.microsoft.com/office/drawing/2014/main" id="{E3A76DC0-95B8-DC03-7B71-964293575146}"/>
                </a:ext>
              </a:extLst>
            </p:cNvPr>
            <p:cNvSpPr>
              <a:spLocks/>
            </p:cNvSpPr>
            <p:nvPr/>
          </p:nvSpPr>
          <p:spPr bwMode="gray">
            <a:xfrm>
              <a:off x="5300854" y="3197586"/>
              <a:ext cx="256501" cy="351043"/>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58" name="Solomon Islands" descr="© INSCALE GmbH, 05.05.2010&#10;http://www.presentationload.com/">
              <a:extLst>
                <a:ext uri="{FF2B5EF4-FFF2-40B4-BE49-F238E27FC236}">
                  <a16:creationId xmlns:a16="http://schemas.microsoft.com/office/drawing/2014/main" id="{C61CEB2F-75C2-245B-A1E1-5C9EC10C366C}"/>
                </a:ext>
              </a:extLst>
            </p:cNvPr>
            <p:cNvSpPr>
              <a:spLocks noEditPoints="1"/>
            </p:cNvSpPr>
            <p:nvPr/>
          </p:nvSpPr>
          <p:spPr bwMode="gray">
            <a:xfrm>
              <a:off x="8242902" y="3676390"/>
              <a:ext cx="133157" cy="110398"/>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59" name="Slovenia" descr="© INSCALE GmbH, 05.05.2010&#10;http://www.presentationload.com/">
              <a:extLst>
                <a:ext uri="{FF2B5EF4-FFF2-40B4-BE49-F238E27FC236}">
                  <a16:creationId xmlns:a16="http://schemas.microsoft.com/office/drawing/2014/main" id="{7F75FE80-BCBB-9271-979F-78C93E7D376C}"/>
                </a:ext>
              </a:extLst>
            </p:cNvPr>
            <p:cNvSpPr>
              <a:spLocks/>
            </p:cNvSpPr>
            <p:nvPr/>
          </p:nvSpPr>
          <p:spPr bwMode="gray">
            <a:xfrm>
              <a:off x="4584615" y="2306958"/>
              <a:ext cx="75689" cy="38454"/>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60" name="Slovakia" descr="© INSCALE GmbH, 05.05.2010&#10;http://www.presentationload.com/">
              <a:extLst>
                <a:ext uri="{FF2B5EF4-FFF2-40B4-BE49-F238E27FC236}">
                  <a16:creationId xmlns:a16="http://schemas.microsoft.com/office/drawing/2014/main" id="{E693FCFA-87F8-3FF2-3021-04346E578921}"/>
                </a:ext>
              </a:extLst>
            </p:cNvPr>
            <p:cNvSpPr>
              <a:spLocks/>
            </p:cNvSpPr>
            <p:nvPr/>
          </p:nvSpPr>
          <p:spPr bwMode="gray">
            <a:xfrm>
              <a:off x="4661704" y="2242458"/>
              <a:ext cx="127551" cy="45896"/>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61" name="Sierra Leone" descr="© INSCALE GmbH, 05.05.2010&#10;http://www.presentationload.com/">
              <a:extLst>
                <a:ext uri="{FF2B5EF4-FFF2-40B4-BE49-F238E27FC236}">
                  <a16:creationId xmlns:a16="http://schemas.microsoft.com/office/drawing/2014/main" id="{7BD11B05-9034-585A-724B-52237B882488}"/>
                </a:ext>
              </a:extLst>
            </p:cNvPr>
            <p:cNvSpPr>
              <a:spLocks/>
            </p:cNvSpPr>
            <p:nvPr/>
          </p:nvSpPr>
          <p:spPr bwMode="gray">
            <a:xfrm>
              <a:off x="3918832" y="3247203"/>
              <a:ext cx="74288" cy="85590"/>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62" name="Serbia" descr="© INSCALE GmbH, 05.05.2010&#10;http://www.presentationload.com/">
              <a:extLst>
                <a:ext uri="{FF2B5EF4-FFF2-40B4-BE49-F238E27FC236}">
                  <a16:creationId xmlns:a16="http://schemas.microsoft.com/office/drawing/2014/main" id="{8EFCEE0B-44A3-22A9-3D1D-E09EC6D98073}"/>
                </a:ext>
              </a:extLst>
            </p:cNvPr>
            <p:cNvSpPr>
              <a:spLocks/>
            </p:cNvSpPr>
            <p:nvPr/>
          </p:nvSpPr>
          <p:spPr bwMode="gray">
            <a:xfrm>
              <a:off x="4710763" y="2326805"/>
              <a:ext cx="98115" cy="95200"/>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63" name="Senegal" descr="© INSCALE GmbH, 05.05.2010&#10;http://www.presentationload.com/">
              <a:extLst>
                <a:ext uri="{FF2B5EF4-FFF2-40B4-BE49-F238E27FC236}">
                  <a16:creationId xmlns:a16="http://schemas.microsoft.com/office/drawing/2014/main" id="{C1EFF6CA-9458-191F-F4A8-53FBFC53325B}"/>
                </a:ext>
              </a:extLst>
            </p:cNvPr>
            <p:cNvSpPr>
              <a:spLocks/>
            </p:cNvSpPr>
            <p:nvPr/>
          </p:nvSpPr>
          <p:spPr bwMode="gray">
            <a:xfrm>
              <a:off x="3844548" y="3074784"/>
              <a:ext cx="148576" cy="116599"/>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64" name="Saudi Arabia" descr="© INSCALE GmbH, 05.05.2010&#10;http://www.presentationload.com/">
              <a:extLst>
                <a:ext uri="{FF2B5EF4-FFF2-40B4-BE49-F238E27FC236}">
                  <a16:creationId xmlns:a16="http://schemas.microsoft.com/office/drawing/2014/main" id="{C92DA409-D9F9-2323-04DD-EAB300CC39A5}"/>
                </a:ext>
              </a:extLst>
            </p:cNvPr>
            <p:cNvSpPr>
              <a:spLocks/>
            </p:cNvSpPr>
            <p:nvPr/>
          </p:nvSpPr>
          <p:spPr bwMode="gray">
            <a:xfrm>
              <a:off x="5118641" y="2682809"/>
              <a:ext cx="532623" cy="404380"/>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solidFill>
              <a:schemeClr val="accent6"/>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65" name="Rwanda" descr="© INSCALE GmbH, 05.05.2010&#10;http://www.presentationload.com/">
              <a:extLst>
                <a:ext uri="{FF2B5EF4-FFF2-40B4-BE49-F238E27FC236}">
                  <a16:creationId xmlns:a16="http://schemas.microsoft.com/office/drawing/2014/main" id="{906E9897-4616-764A-07D1-8852A8513194}"/>
                </a:ext>
              </a:extLst>
            </p:cNvPr>
            <p:cNvSpPr>
              <a:spLocks/>
            </p:cNvSpPr>
            <p:nvPr/>
          </p:nvSpPr>
          <p:spPr bwMode="gray">
            <a:xfrm>
              <a:off x="4989688" y="3531261"/>
              <a:ext cx="53262" cy="47137"/>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66" name="Russia (Urup,Simushir)" descr="© INSCALE GmbH, 05.05.2010&#10;http://www.presentationload.com/">
              <a:extLst>
                <a:ext uri="{FF2B5EF4-FFF2-40B4-BE49-F238E27FC236}">
                  <a16:creationId xmlns:a16="http://schemas.microsoft.com/office/drawing/2014/main" id="{BF94B124-8A63-EA68-2CDE-9E31BDDEACD5}"/>
                </a:ext>
              </a:extLst>
            </p:cNvPr>
            <p:cNvSpPr>
              <a:spLocks noEditPoints="1"/>
            </p:cNvSpPr>
            <p:nvPr/>
          </p:nvSpPr>
          <p:spPr bwMode="gray">
            <a:xfrm>
              <a:off x="7630383" y="2008016"/>
              <a:ext cx="107927" cy="379572"/>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solidFill>
              <a:schemeClr val="bg2"/>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67" name="Russia" descr="© INSCALE GmbH, 05.05.2010&#10;http://www.presentationload.com/">
              <a:extLst>
                <a:ext uri="{FF2B5EF4-FFF2-40B4-BE49-F238E27FC236}">
                  <a16:creationId xmlns:a16="http://schemas.microsoft.com/office/drawing/2014/main" id="{7D9468F9-AFF4-291D-7AF2-9F344182DB60}"/>
                </a:ext>
              </a:extLst>
            </p:cNvPr>
            <p:cNvSpPr>
              <a:spLocks noEditPoints="1"/>
            </p:cNvSpPr>
            <p:nvPr/>
          </p:nvSpPr>
          <p:spPr bwMode="gray">
            <a:xfrm>
              <a:off x="4720575" y="1537894"/>
              <a:ext cx="3243400" cy="914195"/>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68" name="Romania" descr="© INSCALE GmbH, 05.05.2010&#10;http://www.presentationload.com/">
              <a:extLst>
                <a:ext uri="{FF2B5EF4-FFF2-40B4-BE49-F238E27FC236}">
                  <a16:creationId xmlns:a16="http://schemas.microsoft.com/office/drawing/2014/main" id="{FB8A9D4F-3576-0431-9678-6353A0515C1D}"/>
                </a:ext>
              </a:extLst>
            </p:cNvPr>
            <p:cNvSpPr>
              <a:spLocks/>
            </p:cNvSpPr>
            <p:nvPr/>
          </p:nvSpPr>
          <p:spPr bwMode="gray">
            <a:xfrm>
              <a:off x="4741600" y="2274709"/>
              <a:ext cx="220059" cy="116599"/>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69" name="Qatar" descr="© INSCALE GmbH, 05.05.2010&#10;http://www.presentationload.com/">
              <a:extLst>
                <a:ext uri="{FF2B5EF4-FFF2-40B4-BE49-F238E27FC236}">
                  <a16:creationId xmlns:a16="http://schemas.microsoft.com/office/drawing/2014/main" id="{CE70B8AB-676C-30E6-98AB-B969A38C18ED}"/>
                </a:ext>
              </a:extLst>
            </p:cNvPr>
            <p:cNvSpPr>
              <a:spLocks/>
            </p:cNvSpPr>
            <p:nvPr/>
          </p:nvSpPr>
          <p:spPr bwMode="gray">
            <a:xfrm>
              <a:off x="5526519" y="2834141"/>
              <a:ext cx="23828" cy="45896"/>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70" name="Puerto Rico" descr="© INSCALE GmbH, 05.05.2010&#10;http://www.presentationload.com/">
              <a:extLst>
                <a:ext uri="{FF2B5EF4-FFF2-40B4-BE49-F238E27FC236}">
                  <a16:creationId xmlns:a16="http://schemas.microsoft.com/office/drawing/2014/main" id="{3AF595CB-9F5D-FB44-21CE-7B7A68A6DAFF}"/>
                </a:ext>
              </a:extLst>
            </p:cNvPr>
            <p:cNvSpPr>
              <a:spLocks/>
            </p:cNvSpPr>
            <p:nvPr/>
          </p:nvSpPr>
          <p:spPr bwMode="gray">
            <a:xfrm>
              <a:off x="2570455" y="3035091"/>
              <a:ext cx="49058" cy="18607"/>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71" name="Portugal" descr="© INSCALE GmbH, 05.05.2010&#10;http://www.presentationload.com/">
              <a:extLst>
                <a:ext uri="{FF2B5EF4-FFF2-40B4-BE49-F238E27FC236}">
                  <a16:creationId xmlns:a16="http://schemas.microsoft.com/office/drawing/2014/main" id="{8045F5D4-9123-1AEF-01FD-BC4E3B42D3D1}"/>
                </a:ext>
              </a:extLst>
            </p:cNvPr>
            <p:cNvSpPr>
              <a:spLocks/>
            </p:cNvSpPr>
            <p:nvPr/>
          </p:nvSpPr>
          <p:spPr bwMode="gray">
            <a:xfrm>
              <a:off x="4049187" y="2429760"/>
              <a:ext cx="81296" cy="130246"/>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72" name="Poland" descr="© INSCALE GmbH, 05.05.2010&#10;http://www.presentationload.com/">
              <a:extLst>
                <a:ext uri="{FF2B5EF4-FFF2-40B4-BE49-F238E27FC236}">
                  <a16:creationId xmlns:a16="http://schemas.microsoft.com/office/drawing/2014/main" id="{F81C0847-7DDF-65E4-7A12-2D44EBCE08EC}"/>
                </a:ext>
              </a:extLst>
            </p:cNvPr>
            <p:cNvSpPr>
              <a:spLocks/>
            </p:cNvSpPr>
            <p:nvPr/>
          </p:nvSpPr>
          <p:spPr bwMode="gray">
            <a:xfrm>
              <a:off x="4600033" y="2113451"/>
              <a:ext cx="224263" cy="142650"/>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73" name="Philippines" descr="© INSCALE GmbH, 05.05.2010&#10;http://www.presentationload.com/">
              <a:extLst>
                <a:ext uri="{FF2B5EF4-FFF2-40B4-BE49-F238E27FC236}">
                  <a16:creationId xmlns:a16="http://schemas.microsoft.com/office/drawing/2014/main" id="{9E504EF6-F43C-0A4B-4726-0089775F2EB0}"/>
                </a:ext>
              </a:extLst>
            </p:cNvPr>
            <p:cNvSpPr>
              <a:spLocks noEditPoints="1"/>
            </p:cNvSpPr>
            <p:nvPr/>
          </p:nvSpPr>
          <p:spPr bwMode="gray">
            <a:xfrm>
              <a:off x="7236525" y="3026407"/>
              <a:ext cx="256501" cy="380812"/>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74" name="Peru" descr="© INSCALE GmbH, 05.05.2010&#10;http://www.presentationload.com/">
              <a:extLst>
                <a:ext uri="{FF2B5EF4-FFF2-40B4-BE49-F238E27FC236}">
                  <a16:creationId xmlns:a16="http://schemas.microsoft.com/office/drawing/2014/main" id="{88E26B96-4894-3DC3-0C10-FF7A29801E28}"/>
                </a:ext>
              </a:extLst>
            </p:cNvPr>
            <p:cNvSpPr>
              <a:spLocks/>
            </p:cNvSpPr>
            <p:nvPr/>
          </p:nvSpPr>
          <p:spPr bwMode="gray">
            <a:xfrm>
              <a:off x="2180797" y="3503972"/>
              <a:ext cx="337796" cy="472604"/>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75" name="Paraguay" descr="© INSCALE GmbH, 05.05.2010&#10;http://www.presentationload.com/">
              <a:extLst>
                <a:ext uri="{FF2B5EF4-FFF2-40B4-BE49-F238E27FC236}">
                  <a16:creationId xmlns:a16="http://schemas.microsoft.com/office/drawing/2014/main" id="{39BBFFCB-1466-444D-F884-BE3EFB3BF729}"/>
                </a:ext>
              </a:extLst>
            </p:cNvPr>
            <p:cNvSpPr>
              <a:spLocks/>
            </p:cNvSpPr>
            <p:nvPr/>
          </p:nvSpPr>
          <p:spPr bwMode="gray">
            <a:xfrm>
              <a:off x="2696603" y="3997663"/>
              <a:ext cx="214451" cy="214593"/>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76" name="Papua New Guinea" descr="© INSCALE GmbH, 05.05.2010&#10;http://www.presentationload.com/">
              <a:extLst>
                <a:ext uri="{FF2B5EF4-FFF2-40B4-BE49-F238E27FC236}">
                  <a16:creationId xmlns:a16="http://schemas.microsoft.com/office/drawing/2014/main" id="{22DE3DFC-5548-CFA3-D966-1B7FF5CF150C}"/>
                </a:ext>
              </a:extLst>
            </p:cNvPr>
            <p:cNvSpPr>
              <a:spLocks noEditPoints="1"/>
            </p:cNvSpPr>
            <p:nvPr/>
          </p:nvSpPr>
          <p:spPr bwMode="gray">
            <a:xfrm>
              <a:off x="7836426" y="3552349"/>
              <a:ext cx="389656" cy="230720"/>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77" name="Panama" descr="© INSCALE GmbH, 05.05.2010&#10;http://www.presentationload.com/">
              <a:extLst>
                <a:ext uri="{FF2B5EF4-FFF2-40B4-BE49-F238E27FC236}">
                  <a16:creationId xmlns:a16="http://schemas.microsoft.com/office/drawing/2014/main" id="{F1CCC622-70C1-5ABA-D1FA-4D9E68EFC5CC}"/>
                </a:ext>
              </a:extLst>
            </p:cNvPr>
            <p:cNvSpPr>
              <a:spLocks/>
            </p:cNvSpPr>
            <p:nvPr/>
          </p:nvSpPr>
          <p:spPr bwMode="gray">
            <a:xfrm>
              <a:off x="2144356" y="3259607"/>
              <a:ext cx="145772" cy="62022"/>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78" name="Pakistan" descr="© INSCALE GmbH, 05.05.2010&#10;http://www.presentationload.com/">
              <a:extLst>
                <a:ext uri="{FF2B5EF4-FFF2-40B4-BE49-F238E27FC236}">
                  <a16:creationId xmlns:a16="http://schemas.microsoft.com/office/drawing/2014/main" id="{3FD3B368-A548-A25A-AF55-3E95F8771F3D}"/>
                </a:ext>
              </a:extLst>
            </p:cNvPr>
            <p:cNvSpPr>
              <a:spLocks/>
            </p:cNvSpPr>
            <p:nvPr/>
          </p:nvSpPr>
          <p:spPr bwMode="gray">
            <a:xfrm>
              <a:off x="5759191" y="2558766"/>
              <a:ext cx="377043" cy="334915"/>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79" name="Parcel Islands" descr="© INSCALE GmbH, 05.05.2010&#10;http://www.presentationload.com/">
              <a:extLst>
                <a:ext uri="{FF2B5EF4-FFF2-40B4-BE49-F238E27FC236}">
                  <a16:creationId xmlns:a16="http://schemas.microsoft.com/office/drawing/2014/main" id="{E5DF37A3-F1FF-9E8A-BA6D-BAE9B47E3ED3}"/>
                </a:ext>
              </a:extLst>
            </p:cNvPr>
            <p:cNvSpPr>
              <a:spLocks noEditPoints="1"/>
            </p:cNvSpPr>
            <p:nvPr/>
          </p:nvSpPr>
          <p:spPr bwMode="gray">
            <a:xfrm>
              <a:off x="7062719" y="3063620"/>
              <a:ext cx="33639" cy="19846"/>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80" name="Oman" descr="© INSCALE GmbH, 05.05.2010&#10;http://www.presentationload.com/">
              <a:extLst>
                <a:ext uri="{FF2B5EF4-FFF2-40B4-BE49-F238E27FC236}">
                  <a16:creationId xmlns:a16="http://schemas.microsoft.com/office/drawing/2014/main" id="{BD098A99-E61C-A55E-9C94-1CDC6C4E5865}"/>
                </a:ext>
              </a:extLst>
            </p:cNvPr>
            <p:cNvSpPr>
              <a:spLocks/>
            </p:cNvSpPr>
            <p:nvPr/>
          </p:nvSpPr>
          <p:spPr bwMode="gray">
            <a:xfrm>
              <a:off x="5565765" y="2865151"/>
              <a:ext cx="193427" cy="213353"/>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solidFill>
              <a:schemeClr val="accent6"/>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81" name="Norway" descr="© INSCALE GmbH, 05.05.2010&#10;http://www.presentationload.com/">
              <a:extLst>
                <a:ext uri="{FF2B5EF4-FFF2-40B4-BE49-F238E27FC236}">
                  <a16:creationId xmlns:a16="http://schemas.microsoft.com/office/drawing/2014/main" id="{0EA66187-9E2C-9904-4219-5938C63643CD}"/>
                </a:ext>
              </a:extLst>
            </p:cNvPr>
            <p:cNvSpPr>
              <a:spLocks noEditPoints="1"/>
            </p:cNvSpPr>
            <p:nvPr/>
          </p:nvSpPr>
          <p:spPr bwMode="gray">
            <a:xfrm>
              <a:off x="4410812" y="1561463"/>
              <a:ext cx="487771" cy="475083"/>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82" name="Nigeria" descr="© INSCALE GmbH, 05.05.2010&#10;http://www.presentationload.com/">
              <a:extLst>
                <a:ext uri="{FF2B5EF4-FFF2-40B4-BE49-F238E27FC236}">
                  <a16:creationId xmlns:a16="http://schemas.microsoft.com/office/drawing/2014/main" id="{334CA9DA-9431-B569-DE19-8B72CBBAEAC5}"/>
                </a:ext>
              </a:extLst>
            </p:cNvPr>
            <p:cNvSpPr>
              <a:spLocks/>
            </p:cNvSpPr>
            <p:nvPr/>
          </p:nvSpPr>
          <p:spPr bwMode="gray">
            <a:xfrm>
              <a:off x="4325313" y="3150449"/>
              <a:ext cx="299951" cy="244365"/>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83" name="Niger" descr="© INSCALE GmbH, 05.05.2010&#10;http://www.presentationload.com/">
              <a:extLst>
                <a:ext uri="{FF2B5EF4-FFF2-40B4-BE49-F238E27FC236}">
                  <a16:creationId xmlns:a16="http://schemas.microsoft.com/office/drawing/2014/main" id="{B1F396B3-F85F-F351-21D9-C31E305C3C41}"/>
                </a:ext>
              </a:extLst>
            </p:cNvPr>
            <p:cNvSpPr>
              <a:spLocks/>
            </p:cNvSpPr>
            <p:nvPr/>
          </p:nvSpPr>
          <p:spPr bwMode="gray">
            <a:xfrm>
              <a:off x="4262237" y="2904845"/>
              <a:ext cx="398065" cy="298944"/>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84" name="Nicaragua" descr="© INSCALE GmbH, 05.05.2010&#10;http://www.presentationload.com/">
              <a:extLst>
                <a:ext uri="{FF2B5EF4-FFF2-40B4-BE49-F238E27FC236}">
                  <a16:creationId xmlns:a16="http://schemas.microsoft.com/office/drawing/2014/main" id="{6806F550-E212-6BCD-A7EA-EB3011A57A98}"/>
                </a:ext>
              </a:extLst>
            </p:cNvPr>
            <p:cNvSpPr>
              <a:spLocks/>
            </p:cNvSpPr>
            <p:nvPr/>
          </p:nvSpPr>
          <p:spPr bwMode="gray">
            <a:xfrm>
              <a:off x="2036429" y="3125641"/>
              <a:ext cx="116337" cy="105437"/>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85" name="New Zealand" descr="© INSCALE GmbH, 05.05.2010&#10;http://www.presentationload.com/">
              <a:extLst>
                <a:ext uri="{FF2B5EF4-FFF2-40B4-BE49-F238E27FC236}">
                  <a16:creationId xmlns:a16="http://schemas.microsoft.com/office/drawing/2014/main" id="{5E8BA49A-306D-9BBF-3A0A-C784AC8D01FD}"/>
                </a:ext>
              </a:extLst>
            </p:cNvPr>
            <p:cNvSpPr>
              <a:spLocks noEditPoints="1"/>
            </p:cNvSpPr>
            <p:nvPr/>
          </p:nvSpPr>
          <p:spPr bwMode="gray">
            <a:xfrm>
              <a:off x="8060691" y="4382194"/>
              <a:ext cx="455534" cy="311348"/>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86" name="Newfoundland" descr="© INSCALE GmbH, 05.05.2010&#10;http://www.presentationload.com/">
              <a:extLst>
                <a:ext uri="{FF2B5EF4-FFF2-40B4-BE49-F238E27FC236}">
                  <a16:creationId xmlns:a16="http://schemas.microsoft.com/office/drawing/2014/main" id="{380ABD02-7000-BE3F-17E8-F0C179DF26C7}"/>
                </a:ext>
              </a:extLst>
            </p:cNvPr>
            <p:cNvSpPr>
              <a:spLocks/>
            </p:cNvSpPr>
            <p:nvPr/>
          </p:nvSpPr>
          <p:spPr bwMode="gray">
            <a:xfrm>
              <a:off x="2950300" y="2195322"/>
              <a:ext cx="152780" cy="121561"/>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solidFill>
              <a:schemeClr val="bg2"/>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87" name="Netherlands" descr="© INSCALE GmbH, 05.05.2010&#10;http://www.presentationload.com/">
              <a:extLst>
                <a:ext uri="{FF2B5EF4-FFF2-40B4-BE49-F238E27FC236}">
                  <a16:creationId xmlns:a16="http://schemas.microsoft.com/office/drawing/2014/main" id="{3D11D854-2353-1ACC-C37C-1A7629455E57}"/>
                </a:ext>
              </a:extLst>
            </p:cNvPr>
            <p:cNvSpPr>
              <a:spLocks/>
            </p:cNvSpPr>
            <p:nvPr/>
          </p:nvSpPr>
          <p:spPr bwMode="gray">
            <a:xfrm>
              <a:off x="4354746" y="2146945"/>
              <a:ext cx="96714" cy="66983"/>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chemeClr val="accent3"/>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88" name="Nepal" descr="© INSCALE GmbH, 05.05.2010&#10;http://www.presentationload.com/">
              <a:extLst>
                <a:ext uri="{FF2B5EF4-FFF2-40B4-BE49-F238E27FC236}">
                  <a16:creationId xmlns:a16="http://schemas.microsoft.com/office/drawing/2014/main" id="{4D7234D6-2144-A25D-9725-0246A9B44017}"/>
                </a:ext>
              </a:extLst>
            </p:cNvPr>
            <p:cNvSpPr>
              <a:spLocks/>
            </p:cNvSpPr>
            <p:nvPr/>
          </p:nvSpPr>
          <p:spPr bwMode="gray">
            <a:xfrm>
              <a:off x="6232946" y="2726223"/>
              <a:ext cx="210246" cy="104197"/>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89" name="Namibia" descr="© INSCALE GmbH, 05.05.2010&#10;http://www.presentationload.com/">
              <a:extLst>
                <a:ext uri="{FF2B5EF4-FFF2-40B4-BE49-F238E27FC236}">
                  <a16:creationId xmlns:a16="http://schemas.microsoft.com/office/drawing/2014/main" id="{9B4F9B38-5BE7-F142-16F3-7FAA981C6CED}"/>
                </a:ext>
              </a:extLst>
            </p:cNvPr>
            <p:cNvSpPr>
              <a:spLocks/>
            </p:cNvSpPr>
            <p:nvPr/>
          </p:nvSpPr>
          <p:spPr bwMode="gray">
            <a:xfrm>
              <a:off x="4550974" y="3938121"/>
              <a:ext cx="342000" cy="308868"/>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90" name="Myanmar" descr="© INSCALE GmbH, 05.05.2010&#10;http://www.presentationload.com/">
              <a:extLst>
                <a:ext uri="{FF2B5EF4-FFF2-40B4-BE49-F238E27FC236}">
                  <a16:creationId xmlns:a16="http://schemas.microsoft.com/office/drawing/2014/main" id="{AC8F45F6-A982-DB2E-1246-B5E1C9BDB615}"/>
                </a:ext>
              </a:extLst>
            </p:cNvPr>
            <p:cNvSpPr>
              <a:spLocks/>
            </p:cNvSpPr>
            <p:nvPr/>
          </p:nvSpPr>
          <p:spPr bwMode="gray">
            <a:xfrm>
              <a:off x="6563734" y="2775842"/>
              <a:ext cx="228468" cy="475083"/>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91" name="Mozambique" descr="© INSCALE GmbH, 05.05.2010&#10;http://www.presentationload.com/">
              <a:extLst>
                <a:ext uri="{FF2B5EF4-FFF2-40B4-BE49-F238E27FC236}">
                  <a16:creationId xmlns:a16="http://schemas.microsoft.com/office/drawing/2014/main" id="{EF8AA5A6-D768-571F-801B-AECC01498127}"/>
                </a:ext>
              </a:extLst>
            </p:cNvPr>
            <p:cNvSpPr>
              <a:spLocks/>
            </p:cNvSpPr>
            <p:nvPr/>
          </p:nvSpPr>
          <p:spPr bwMode="gray">
            <a:xfrm>
              <a:off x="5017722" y="3773146"/>
              <a:ext cx="273322" cy="424227"/>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92" name="Morocco" descr="© INSCALE GmbH, 05.05.2010&#10;http://www.presentationload.com/">
              <a:extLst>
                <a:ext uri="{FF2B5EF4-FFF2-40B4-BE49-F238E27FC236}">
                  <a16:creationId xmlns:a16="http://schemas.microsoft.com/office/drawing/2014/main" id="{E8A78E8B-B7DE-D027-2B25-AA0D83C56014}"/>
                </a:ext>
              </a:extLst>
            </p:cNvPr>
            <p:cNvSpPr>
              <a:spLocks/>
            </p:cNvSpPr>
            <p:nvPr/>
          </p:nvSpPr>
          <p:spPr bwMode="gray">
            <a:xfrm>
              <a:off x="3937055" y="2588536"/>
              <a:ext cx="304158" cy="209633"/>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solidFill>
              <a:schemeClr val="accent6"/>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93" name="Montenegro" descr="© INSCALE GmbH, 05.05.2010&#10;http://www.presentationload.com/">
              <a:extLst>
                <a:ext uri="{FF2B5EF4-FFF2-40B4-BE49-F238E27FC236}">
                  <a16:creationId xmlns:a16="http://schemas.microsoft.com/office/drawing/2014/main" id="{4D9E515C-9B6A-3F49-1C0B-A2EBB1F7BFA7}"/>
                </a:ext>
              </a:extLst>
            </p:cNvPr>
            <p:cNvSpPr>
              <a:spLocks/>
            </p:cNvSpPr>
            <p:nvPr/>
          </p:nvSpPr>
          <p:spPr bwMode="gray">
            <a:xfrm>
              <a:off x="4703756" y="2391308"/>
              <a:ext cx="40649" cy="43415"/>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94" name="Mongolia" descr="© INSCALE GmbH, 05.05.2010&#10;http://www.presentationload.com/">
              <a:extLst>
                <a:ext uri="{FF2B5EF4-FFF2-40B4-BE49-F238E27FC236}">
                  <a16:creationId xmlns:a16="http://schemas.microsoft.com/office/drawing/2014/main" id="{6FC0E3B8-4611-B677-6E06-F3E9DE12197A}"/>
                </a:ext>
              </a:extLst>
            </p:cNvPr>
            <p:cNvSpPr>
              <a:spLocks/>
            </p:cNvSpPr>
            <p:nvPr/>
          </p:nvSpPr>
          <p:spPr bwMode="gray">
            <a:xfrm>
              <a:off x="6245562" y="2177955"/>
              <a:ext cx="752683" cy="264211"/>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95" name="Moldova" descr="© INSCALE GmbH, 05.05.2010&#10;http://www.presentationload.com/">
              <a:extLst>
                <a:ext uri="{FF2B5EF4-FFF2-40B4-BE49-F238E27FC236}">
                  <a16:creationId xmlns:a16="http://schemas.microsoft.com/office/drawing/2014/main" id="{A32E6C39-D363-85C7-4FCB-7B9D270A4B78}"/>
                </a:ext>
              </a:extLst>
            </p:cNvPr>
            <p:cNvSpPr>
              <a:spLocks/>
            </p:cNvSpPr>
            <p:nvPr/>
          </p:nvSpPr>
          <p:spPr bwMode="gray">
            <a:xfrm>
              <a:off x="4884567" y="2269745"/>
              <a:ext cx="77092" cy="75666"/>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96" name="Mexico" descr="© INSCALE GmbH, 05.05.2010&#10;http://www.presentationload.com/">
              <a:extLst>
                <a:ext uri="{FF2B5EF4-FFF2-40B4-BE49-F238E27FC236}">
                  <a16:creationId xmlns:a16="http://schemas.microsoft.com/office/drawing/2014/main" id="{C8246339-64E0-6678-3F67-06DC26D84BE0}"/>
                </a:ext>
              </a:extLst>
            </p:cNvPr>
            <p:cNvSpPr>
              <a:spLocks/>
            </p:cNvSpPr>
            <p:nvPr/>
          </p:nvSpPr>
          <p:spPr bwMode="gray">
            <a:xfrm>
              <a:off x="1421109" y="2670404"/>
              <a:ext cx="667181" cy="462680"/>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97" name="Malta" descr="© INSCALE GmbH, 05.05.2010&#10;http://www.presentationload.com/">
              <a:extLst>
                <a:ext uri="{FF2B5EF4-FFF2-40B4-BE49-F238E27FC236}">
                  <a16:creationId xmlns:a16="http://schemas.microsoft.com/office/drawing/2014/main" id="{8777BF99-1239-F38A-C439-18843DD81B84}"/>
                </a:ext>
              </a:extLst>
            </p:cNvPr>
            <p:cNvSpPr>
              <a:spLocks/>
            </p:cNvSpPr>
            <p:nvPr/>
          </p:nvSpPr>
          <p:spPr bwMode="gray">
            <a:xfrm>
              <a:off x="4608441" y="2579853"/>
              <a:ext cx="11212" cy="8683"/>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solidFill>
              <a:schemeClr val="accent6"/>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98" name="Mauritania" descr="© INSCALE GmbH, 05.05.2010&#10;http://www.presentationload.com/">
              <a:extLst>
                <a:ext uri="{FF2B5EF4-FFF2-40B4-BE49-F238E27FC236}">
                  <a16:creationId xmlns:a16="http://schemas.microsoft.com/office/drawing/2014/main" id="{0C173CFD-8166-3133-80BC-B3D3E4593672}"/>
                </a:ext>
              </a:extLst>
            </p:cNvPr>
            <p:cNvSpPr>
              <a:spLocks/>
            </p:cNvSpPr>
            <p:nvPr/>
          </p:nvSpPr>
          <p:spPr bwMode="gray">
            <a:xfrm>
              <a:off x="3834736" y="2809333"/>
              <a:ext cx="306961" cy="318791"/>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solidFill>
              <a:schemeClr val="accent6"/>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99" name="Mali" descr="© INSCALE GmbH, 05.05.2010&#10;http://www.presentationload.com/">
              <a:extLst>
                <a:ext uri="{FF2B5EF4-FFF2-40B4-BE49-F238E27FC236}">
                  <a16:creationId xmlns:a16="http://schemas.microsoft.com/office/drawing/2014/main" id="{CEF58591-0684-58A4-F730-A05F46A8E1E9}"/>
                </a:ext>
              </a:extLst>
            </p:cNvPr>
            <p:cNvSpPr>
              <a:spLocks/>
            </p:cNvSpPr>
            <p:nvPr/>
          </p:nvSpPr>
          <p:spPr bwMode="gray">
            <a:xfrm>
              <a:off x="3946868" y="2865150"/>
              <a:ext cx="416289" cy="380812"/>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00" name="Malaysia" descr="© INSCALE GmbH, 05.05.2010&#10;http://www.presentationload.com/">
              <a:extLst>
                <a:ext uri="{FF2B5EF4-FFF2-40B4-BE49-F238E27FC236}">
                  <a16:creationId xmlns:a16="http://schemas.microsoft.com/office/drawing/2014/main" id="{D6C5C796-D9D0-05DE-F004-081A6B4F246D}"/>
                </a:ext>
              </a:extLst>
            </p:cNvPr>
            <p:cNvSpPr>
              <a:spLocks/>
            </p:cNvSpPr>
            <p:nvPr/>
          </p:nvSpPr>
          <p:spPr bwMode="gray">
            <a:xfrm>
              <a:off x="6802015" y="3332793"/>
              <a:ext cx="109328" cy="138928"/>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solidFill>
              <a:srgbClr val="B3E7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01" name="Malaysia" descr="© INSCALE GmbH, 05.05.2010&#10;http://www.presentationload.com/">
              <a:extLst>
                <a:ext uri="{FF2B5EF4-FFF2-40B4-BE49-F238E27FC236}">
                  <a16:creationId xmlns:a16="http://schemas.microsoft.com/office/drawing/2014/main" id="{50007223-2722-3961-61D2-29E25F4B53BE}"/>
                </a:ext>
              </a:extLst>
            </p:cNvPr>
            <p:cNvSpPr>
              <a:spLocks/>
            </p:cNvSpPr>
            <p:nvPr/>
          </p:nvSpPr>
          <p:spPr bwMode="gray">
            <a:xfrm>
              <a:off x="7058515" y="3316669"/>
              <a:ext cx="246689" cy="167458"/>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solidFill>
              <a:schemeClr val="accent1"/>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02" name="Malawi" descr="© INSCALE GmbH, 05.05.2010&#10;http://www.presentationload.com/">
              <a:extLst>
                <a:ext uri="{FF2B5EF4-FFF2-40B4-BE49-F238E27FC236}">
                  <a16:creationId xmlns:a16="http://schemas.microsoft.com/office/drawing/2014/main" id="{0F0CDCE4-38D9-A2A1-3C4F-041C366876C2}"/>
                </a:ext>
              </a:extLst>
            </p:cNvPr>
            <p:cNvSpPr>
              <a:spLocks/>
            </p:cNvSpPr>
            <p:nvPr/>
          </p:nvSpPr>
          <p:spPr bwMode="gray">
            <a:xfrm>
              <a:off x="5083601" y="3745855"/>
              <a:ext cx="84097" cy="198469"/>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03" name="Madagascar" descr="© INSCALE GmbH, 05.05.2010&#10;http://www.presentationload.com/">
              <a:extLst>
                <a:ext uri="{FF2B5EF4-FFF2-40B4-BE49-F238E27FC236}">
                  <a16:creationId xmlns:a16="http://schemas.microsoft.com/office/drawing/2014/main" id="{803CC383-D52F-E733-2AE3-DEB2E487C53C}"/>
                </a:ext>
              </a:extLst>
            </p:cNvPr>
            <p:cNvSpPr>
              <a:spLocks/>
            </p:cNvSpPr>
            <p:nvPr/>
          </p:nvSpPr>
          <p:spPr bwMode="gray">
            <a:xfrm>
              <a:off x="5328888" y="3819040"/>
              <a:ext cx="213049" cy="346079"/>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04" name="Macedonia" descr="© INSCALE GmbH, 05.05.2010&#10;http://www.presentationload.com/">
              <a:extLst>
                <a:ext uri="{FF2B5EF4-FFF2-40B4-BE49-F238E27FC236}">
                  <a16:creationId xmlns:a16="http://schemas.microsoft.com/office/drawing/2014/main" id="{FB8984BE-9276-9EC0-BEFE-07E7AE5DC430}"/>
                </a:ext>
              </a:extLst>
            </p:cNvPr>
            <p:cNvSpPr>
              <a:spLocks/>
            </p:cNvSpPr>
            <p:nvPr/>
          </p:nvSpPr>
          <p:spPr bwMode="gray">
            <a:xfrm>
              <a:off x="4754213" y="2421079"/>
              <a:ext cx="58870" cy="40935"/>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05" name="Luxembourg" descr="© INSCALE GmbH, 05.05.2010&#10;http://www.presentationload.com/">
              <a:extLst>
                <a:ext uri="{FF2B5EF4-FFF2-40B4-BE49-F238E27FC236}">
                  <a16:creationId xmlns:a16="http://schemas.microsoft.com/office/drawing/2014/main" id="{913EC1F7-27E2-CFB0-232B-E5D4A1E66BE5}"/>
                </a:ext>
              </a:extLst>
            </p:cNvPr>
            <p:cNvSpPr>
              <a:spLocks/>
            </p:cNvSpPr>
            <p:nvPr/>
          </p:nvSpPr>
          <p:spPr bwMode="gray">
            <a:xfrm>
              <a:off x="4413615" y="2228812"/>
              <a:ext cx="18222" cy="13645"/>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06" name="Lithuania" descr="© INSCALE GmbH, 05.05.2010&#10;http://www.presentationload.com/">
              <a:extLst>
                <a:ext uri="{FF2B5EF4-FFF2-40B4-BE49-F238E27FC236}">
                  <a16:creationId xmlns:a16="http://schemas.microsoft.com/office/drawing/2014/main" id="{4C4F360D-9D6E-BA3C-5F73-8DE6EA139DED}"/>
                </a:ext>
              </a:extLst>
            </p:cNvPr>
            <p:cNvSpPr>
              <a:spLocks/>
            </p:cNvSpPr>
            <p:nvPr/>
          </p:nvSpPr>
          <p:spPr bwMode="gray">
            <a:xfrm>
              <a:off x="4744404" y="2073758"/>
              <a:ext cx="121943" cy="62022"/>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07" name="Liechtenstein" descr="© INSCALE GmbH, 05.05.2010&#10;http://www.presentationload.com/">
              <a:extLst>
                <a:ext uri="{FF2B5EF4-FFF2-40B4-BE49-F238E27FC236}">
                  <a16:creationId xmlns:a16="http://schemas.microsoft.com/office/drawing/2014/main" id="{47274B8E-1666-2C40-0DB1-3291EE35A693}"/>
                </a:ext>
              </a:extLst>
            </p:cNvPr>
            <p:cNvSpPr>
              <a:spLocks/>
            </p:cNvSpPr>
            <p:nvPr/>
          </p:nvSpPr>
          <p:spPr bwMode="gray">
            <a:xfrm>
              <a:off x="4494910" y="2298276"/>
              <a:ext cx="5607" cy="7443"/>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08" name="Libya" descr="© INSCALE GmbH, 05.05.2010&#10;http://www.presentationload.com/">
              <a:extLst>
                <a:ext uri="{FF2B5EF4-FFF2-40B4-BE49-F238E27FC236}">
                  <a16:creationId xmlns:a16="http://schemas.microsoft.com/office/drawing/2014/main" id="{1134BE65-2A48-810E-E05A-422E3BF5034F}"/>
                </a:ext>
              </a:extLst>
            </p:cNvPr>
            <p:cNvSpPr>
              <a:spLocks/>
            </p:cNvSpPr>
            <p:nvPr/>
          </p:nvSpPr>
          <p:spPr bwMode="gray">
            <a:xfrm>
              <a:off x="4492107" y="2655520"/>
              <a:ext cx="393862" cy="352281"/>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09" name="Liberia" descr="© INSCALE GmbH, 05.05.2010&#10;http://www.presentationload.com/">
              <a:extLst>
                <a:ext uri="{FF2B5EF4-FFF2-40B4-BE49-F238E27FC236}">
                  <a16:creationId xmlns:a16="http://schemas.microsoft.com/office/drawing/2014/main" id="{DE9FC91C-9F3E-279D-B4DF-49E3CB169E70}"/>
                </a:ext>
              </a:extLst>
            </p:cNvPr>
            <p:cNvSpPr>
              <a:spLocks/>
            </p:cNvSpPr>
            <p:nvPr/>
          </p:nvSpPr>
          <p:spPr bwMode="gray">
            <a:xfrm>
              <a:off x="3955278" y="3285658"/>
              <a:ext cx="110731" cy="109157"/>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10" name="Lesotho" descr="© INSCALE GmbH, 05.05.2010&#10;http://www.presentationload.com/">
              <a:extLst>
                <a:ext uri="{FF2B5EF4-FFF2-40B4-BE49-F238E27FC236}">
                  <a16:creationId xmlns:a16="http://schemas.microsoft.com/office/drawing/2014/main" id="{CA251496-3E46-9C38-A49D-36C9FE107E6B}"/>
                </a:ext>
              </a:extLst>
            </p:cNvPr>
            <p:cNvSpPr>
              <a:spLocks/>
            </p:cNvSpPr>
            <p:nvPr/>
          </p:nvSpPr>
          <p:spPr bwMode="gray">
            <a:xfrm>
              <a:off x="4926616" y="4237064"/>
              <a:ext cx="60272" cy="52098"/>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11" name="Lebanon" descr="© INSCALE GmbH, 05.05.2010&#10;http://www.presentationload.com/">
              <a:extLst>
                <a:ext uri="{FF2B5EF4-FFF2-40B4-BE49-F238E27FC236}">
                  <a16:creationId xmlns:a16="http://schemas.microsoft.com/office/drawing/2014/main" id="{BB23EA06-25C4-D2F1-A5E7-175473D5C068}"/>
                </a:ext>
              </a:extLst>
            </p:cNvPr>
            <p:cNvSpPr>
              <a:spLocks/>
            </p:cNvSpPr>
            <p:nvPr/>
          </p:nvSpPr>
          <p:spPr bwMode="gray">
            <a:xfrm>
              <a:off x="5111633" y="2619547"/>
              <a:ext cx="39246" cy="49616"/>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12" name="Latvia" descr="© INSCALE GmbH, 05.05.2010&#10;http://www.presentationload.com/">
              <a:extLst>
                <a:ext uri="{FF2B5EF4-FFF2-40B4-BE49-F238E27FC236}">
                  <a16:creationId xmlns:a16="http://schemas.microsoft.com/office/drawing/2014/main" id="{1B332C8A-B65E-CB67-D27E-C29B4136CD31}"/>
                </a:ext>
              </a:extLst>
            </p:cNvPr>
            <p:cNvSpPr>
              <a:spLocks/>
            </p:cNvSpPr>
            <p:nvPr/>
          </p:nvSpPr>
          <p:spPr bwMode="gray">
            <a:xfrm>
              <a:off x="4741600" y="2035306"/>
              <a:ext cx="152780" cy="57059"/>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13" name="Laos" descr="© INSCALE GmbH, 05.05.2010&#10;http://www.presentationload.com/">
              <a:extLst>
                <a:ext uri="{FF2B5EF4-FFF2-40B4-BE49-F238E27FC236}">
                  <a16:creationId xmlns:a16="http://schemas.microsoft.com/office/drawing/2014/main" id="{DDE61C18-5532-B3B7-B556-CAE1CD9D0D9B}"/>
                </a:ext>
              </a:extLst>
            </p:cNvPr>
            <p:cNvSpPr>
              <a:spLocks/>
            </p:cNvSpPr>
            <p:nvPr/>
          </p:nvSpPr>
          <p:spPr bwMode="gray">
            <a:xfrm>
              <a:off x="6765572" y="2929654"/>
              <a:ext cx="215853" cy="220796"/>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14" name="Kyrgyzstan" descr="© INSCALE GmbH, 05.05.2010&#10;http://www.presentationload.com/">
              <a:extLst>
                <a:ext uri="{FF2B5EF4-FFF2-40B4-BE49-F238E27FC236}">
                  <a16:creationId xmlns:a16="http://schemas.microsoft.com/office/drawing/2014/main" id="{43500C1B-C2FA-DFF8-FB38-2BD1D2F2CFAE}"/>
                </a:ext>
              </a:extLst>
            </p:cNvPr>
            <p:cNvSpPr>
              <a:spLocks/>
            </p:cNvSpPr>
            <p:nvPr/>
          </p:nvSpPr>
          <p:spPr bwMode="gray">
            <a:xfrm>
              <a:off x="5904963" y="2402472"/>
              <a:ext cx="241081" cy="99234"/>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15" name="Kuwait" descr="© INSCALE GmbH, 05.05.2010&#10;http://www.presentationload.com/">
              <a:extLst>
                <a:ext uri="{FF2B5EF4-FFF2-40B4-BE49-F238E27FC236}">
                  <a16:creationId xmlns:a16="http://schemas.microsoft.com/office/drawing/2014/main" id="{7D121BF9-9B15-BFEE-8BF3-7F55379C8A27}"/>
                </a:ext>
              </a:extLst>
            </p:cNvPr>
            <p:cNvSpPr>
              <a:spLocks/>
            </p:cNvSpPr>
            <p:nvPr/>
          </p:nvSpPr>
          <p:spPr bwMode="gray">
            <a:xfrm>
              <a:off x="5408782" y="2737388"/>
              <a:ext cx="49058" cy="38454"/>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16" name="Kosovo" descr="© INSCALE GmbH, 05.05.2010&#10;http://www.presentationload.com/">
              <a:extLst>
                <a:ext uri="{FF2B5EF4-FFF2-40B4-BE49-F238E27FC236}">
                  <a16:creationId xmlns:a16="http://schemas.microsoft.com/office/drawing/2014/main" id="{D955F30B-3543-8AE3-1ABF-97305080AC0C}"/>
                </a:ext>
              </a:extLst>
            </p:cNvPr>
            <p:cNvSpPr>
              <a:spLocks noEditPoints="1"/>
            </p:cNvSpPr>
            <p:nvPr/>
          </p:nvSpPr>
          <p:spPr bwMode="gray">
            <a:xfrm>
              <a:off x="4742833" y="2392297"/>
              <a:ext cx="46195" cy="41186"/>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solidFill>
              <a:srgbClr val="8CCCF7"/>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17" name="Korea, South" descr="© INSCALE GmbH, 05.05.2010&#10;http://www.presentationload.com/">
              <a:extLst>
                <a:ext uri="{FF2B5EF4-FFF2-40B4-BE49-F238E27FC236}">
                  <a16:creationId xmlns:a16="http://schemas.microsoft.com/office/drawing/2014/main" id="{61524526-D9F0-CC1C-A6E1-6DC147CD96BE}"/>
                </a:ext>
              </a:extLst>
            </p:cNvPr>
            <p:cNvSpPr>
              <a:spLocks noEditPoints="1"/>
            </p:cNvSpPr>
            <p:nvPr/>
          </p:nvSpPr>
          <p:spPr bwMode="gray">
            <a:xfrm>
              <a:off x="7279973" y="2520312"/>
              <a:ext cx="98115" cy="135207"/>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solidFill>
              <a:schemeClr val="accent3"/>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18" name="Korea, North" descr="© INSCALE GmbH, 05.05.2010&#10;http://www.presentationload.com/">
              <a:extLst>
                <a:ext uri="{FF2B5EF4-FFF2-40B4-BE49-F238E27FC236}">
                  <a16:creationId xmlns:a16="http://schemas.microsoft.com/office/drawing/2014/main" id="{105BC8F9-FD79-C3A8-992D-475F7D7D5CA3}"/>
                </a:ext>
              </a:extLst>
            </p:cNvPr>
            <p:cNvSpPr>
              <a:spLocks/>
            </p:cNvSpPr>
            <p:nvPr/>
          </p:nvSpPr>
          <p:spPr bwMode="gray">
            <a:xfrm>
              <a:off x="7198677" y="2408673"/>
              <a:ext cx="117738" cy="132726"/>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19" name="Kenya" descr="© INSCALE GmbH, 05.05.2010&#10;http://www.presentationload.com/">
              <a:extLst>
                <a:ext uri="{FF2B5EF4-FFF2-40B4-BE49-F238E27FC236}">
                  <a16:creationId xmlns:a16="http://schemas.microsoft.com/office/drawing/2014/main" id="{0F919439-E155-773C-50CC-FD4715DF79EF}"/>
                </a:ext>
              </a:extLst>
            </p:cNvPr>
            <p:cNvSpPr>
              <a:spLocks/>
            </p:cNvSpPr>
            <p:nvPr/>
          </p:nvSpPr>
          <p:spPr bwMode="gray">
            <a:xfrm>
              <a:off x="5122845" y="3384894"/>
              <a:ext cx="201838" cy="241885"/>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20" name="Kazakhstan" descr="© INSCALE GmbH, 05.05.2010&#10;http://www.presentationload.com/">
              <a:extLst>
                <a:ext uri="{FF2B5EF4-FFF2-40B4-BE49-F238E27FC236}">
                  <a16:creationId xmlns:a16="http://schemas.microsoft.com/office/drawing/2014/main" id="{CD1C6289-1951-BC75-274A-69E1C95135CC}"/>
                </a:ext>
              </a:extLst>
            </p:cNvPr>
            <p:cNvSpPr>
              <a:spLocks noEditPoints="1"/>
            </p:cNvSpPr>
            <p:nvPr/>
          </p:nvSpPr>
          <p:spPr bwMode="gray">
            <a:xfrm>
              <a:off x="5328887" y="2099807"/>
              <a:ext cx="901257" cy="369647"/>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solidFill>
              <a:srgbClr val="B4B4B4"/>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21" name="Jordan" descr="© INSCALE GmbH, 05.05.2010&#10;http://www.presentationload.com/">
              <a:extLst>
                <a:ext uri="{FF2B5EF4-FFF2-40B4-BE49-F238E27FC236}">
                  <a16:creationId xmlns:a16="http://schemas.microsoft.com/office/drawing/2014/main" id="{1A9C334A-56F4-5016-F2E8-E6B2C4B27930}"/>
                </a:ext>
              </a:extLst>
            </p:cNvPr>
            <p:cNvSpPr>
              <a:spLocks/>
            </p:cNvSpPr>
            <p:nvPr/>
          </p:nvSpPr>
          <p:spPr bwMode="gray">
            <a:xfrm>
              <a:off x="5122845" y="2654278"/>
              <a:ext cx="100918" cy="106677"/>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22" name="Jamaica" descr="© INSCALE GmbH, 05.05.2010&#10;http://www.presentationload.com/">
              <a:extLst>
                <a:ext uri="{FF2B5EF4-FFF2-40B4-BE49-F238E27FC236}">
                  <a16:creationId xmlns:a16="http://schemas.microsoft.com/office/drawing/2014/main" id="{19DA008E-6957-F342-6FAF-4782E8B62C75}"/>
                </a:ext>
              </a:extLst>
            </p:cNvPr>
            <p:cNvSpPr>
              <a:spLocks/>
            </p:cNvSpPr>
            <p:nvPr/>
          </p:nvSpPr>
          <p:spPr bwMode="gray">
            <a:xfrm>
              <a:off x="2283118" y="3035090"/>
              <a:ext cx="56066" cy="16125"/>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23" name="Japan" descr="© INSCALE GmbH, 05.05.2010&#10;http://www.presentationload.com/">
              <a:extLst>
                <a:ext uri="{FF2B5EF4-FFF2-40B4-BE49-F238E27FC236}">
                  <a16:creationId xmlns:a16="http://schemas.microsoft.com/office/drawing/2014/main" id="{D628F34D-EBF3-FF7B-706C-2232973C3391}"/>
                </a:ext>
              </a:extLst>
            </p:cNvPr>
            <p:cNvSpPr>
              <a:spLocks noEditPoints="1"/>
            </p:cNvSpPr>
            <p:nvPr/>
          </p:nvSpPr>
          <p:spPr bwMode="gray">
            <a:xfrm>
              <a:off x="7336040" y="2344173"/>
              <a:ext cx="313968" cy="542066"/>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chemeClr val="accent3"/>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24" name="Italy" descr="© INSCALE GmbH, 05.05.2010&#10;http://www.presentationload.com/">
              <a:extLst>
                <a:ext uri="{FF2B5EF4-FFF2-40B4-BE49-F238E27FC236}">
                  <a16:creationId xmlns:a16="http://schemas.microsoft.com/office/drawing/2014/main" id="{83C59313-6AFC-A07B-0F9B-1923AE4CCF31}"/>
                </a:ext>
              </a:extLst>
            </p:cNvPr>
            <p:cNvSpPr>
              <a:spLocks noEditPoints="1"/>
            </p:cNvSpPr>
            <p:nvPr/>
          </p:nvSpPr>
          <p:spPr bwMode="gray">
            <a:xfrm>
              <a:off x="4430434" y="2303238"/>
              <a:ext cx="278928" cy="262970"/>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chemeClr val="accent3"/>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25" name="Israel" descr="© INSCALE GmbH, 05.05.2010&#10;http://www.presentationload.com/">
              <a:extLst>
                <a:ext uri="{FF2B5EF4-FFF2-40B4-BE49-F238E27FC236}">
                  <a16:creationId xmlns:a16="http://schemas.microsoft.com/office/drawing/2014/main" id="{5988A9B5-D0AA-2447-523B-1C1B6D4B8315}"/>
                </a:ext>
              </a:extLst>
            </p:cNvPr>
            <p:cNvSpPr>
              <a:spLocks/>
            </p:cNvSpPr>
            <p:nvPr/>
          </p:nvSpPr>
          <p:spPr bwMode="gray">
            <a:xfrm>
              <a:off x="5101821" y="2650558"/>
              <a:ext cx="36443" cy="101716"/>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26" name="Ireland" descr="© INSCALE GmbH, 05.05.2010&#10;http://www.presentationload.com/">
              <a:extLst>
                <a:ext uri="{FF2B5EF4-FFF2-40B4-BE49-F238E27FC236}">
                  <a16:creationId xmlns:a16="http://schemas.microsoft.com/office/drawing/2014/main" id="{AB4E0527-1BF4-F4C3-68BA-BBFBDC7129AD}"/>
                </a:ext>
              </a:extLst>
            </p:cNvPr>
            <p:cNvSpPr>
              <a:spLocks/>
            </p:cNvSpPr>
            <p:nvPr/>
          </p:nvSpPr>
          <p:spPr bwMode="gray">
            <a:xfrm>
              <a:off x="4064606" y="2102288"/>
              <a:ext cx="100918" cy="94272"/>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chemeClr val="accent3"/>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27" name="Iraq" descr="© INSCALE GmbH, 05.05.2010&#10;http://www.presentationload.com/">
              <a:extLst>
                <a:ext uri="{FF2B5EF4-FFF2-40B4-BE49-F238E27FC236}">
                  <a16:creationId xmlns:a16="http://schemas.microsoft.com/office/drawing/2014/main" id="{47B6B364-7866-2C55-6C9B-1BD9551CEB03}"/>
                </a:ext>
              </a:extLst>
            </p:cNvPr>
            <p:cNvSpPr>
              <a:spLocks/>
            </p:cNvSpPr>
            <p:nvPr/>
          </p:nvSpPr>
          <p:spPr bwMode="gray">
            <a:xfrm>
              <a:off x="5206945" y="2551324"/>
              <a:ext cx="245288" cy="209633"/>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solidFill>
              <a:schemeClr val="bg2"/>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28" name="Iran" descr="© INSCALE GmbH, 05.05.2010&#10;http://www.presentationload.com/">
              <a:extLst>
                <a:ext uri="{FF2B5EF4-FFF2-40B4-BE49-F238E27FC236}">
                  <a16:creationId xmlns:a16="http://schemas.microsoft.com/office/drawing/2014/main" id="{5440A6BE-6857-DD57-8E55-C5895F25A656}"/>
                </a:ext>
              </a:extLst>
            </p:cNvPr>
            <p:cNvSpPr>
              <a:spLocks/>
            </p:cNvSpPr>
            <p:nvPr/>
          </p:nvSpPr>
          <p:spPr bwMode="gray">
            <a:xfrm>
              <a:off x="5312068" y="2488062"/>
              <a:ext cx="515804" cy="374608"/>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29" name="Indonesia" descr="© INSCALE GmbH, 05.05.2010&#10;http://www.presentationload.com/">
              <a:extLst>
                <a:ext uri="{FF2B5EF4-FFF2-40B4-BE49-F238E27FC236}">
                  <a16:creationId xmlns:a16="http://schemas.microsoft.com/office/drawing/2014/main" id="{5860AD99-C50C-C64C-A709-AC467F9FB2CC}"/>
                </a:ext>
              </a:extLst>
            </p:cNvPr>
            <p:cNvSpPr>
              <a:spLocks noEditPoints="1"/>
            </p:cNvSpPr>
            <p:nvPr/>
          </p:nvSpPr>
          <p:spPr bwMode="gray">
            <a:xfrm>
              <a:off x="6681473" y="3360082"/>
              <a:ext cx="1170373" cy="413062"/>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chemeClr val="accent1"/>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30" name="India" descr="© INSCALE GmbH, 05.05.2010&#10;http://www.presentationload.com/">
              <a:extLst>
                <a:ext uri="{FF2B5EF4-FFF2-40B4-BE49-F238E27FC236}">
                  <a16:creationId xmlns:a16="http://schemas.microsoft.com/office/drawing/2014/main" id="{AB8CFAF8-3716-F823-F6F2-8B957F3A831F}"/>
                </a:ext>
              </a:extLst>
            </p:cNvPr>
            <p:cNvSpPr>
              <a:spLocks noEditPoints="1"/>
            </p:cNvSpPr>
            <p:nvPr/>
          </p:nvSpPr>
          <p:spPr bwMode="gray">
            <a:xfrm>
              <a:off x="5963831" y="2584815"/>
              <a:ext cx="700821" cy="747979"/>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chemeClr val="accent1"/>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31" name="Iceland" descr="© INSCALE GmbH, 05.05.2010&#10;http://www.presentationload.com/">
              <a:extLst>
                <a:ext uri="{FF2B5EF4-FFF2-40B4-BE49-F238E27FC236}">
                  <a16:creationId xmlns:a16="http://schemas.microsoft.com/office/drawing/2014/main" id="{68B1CA32-4B83-A844-63AA-7C29051CFD0D}"/>
                </a:ext>
              </a:extLst>
            </p:cNvPr>
            <p:cNvSpPr>
              <a:spLocks/>
            </p:cNvSpPr>
            <p:nvPr/>
          </p:nvSpPr>
          <p:spPr bwMode="gray">
            <a:xfrm>
              <a:off x="3848753" y="1840558"/>
              <a:ext cx="204641" cy="70705"/>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32" name="Hungary" descr="© INSCALE GmbH, 05.05.2010&#10;http://www.presentationload.com/">
              <a:extLst>
                <a:ext uri="{FF2B5EF4-FFF2-40B4-BE49-F238E27FC236}">
                  <a16:creationId xmlns:a16="http://schemas.microsoft.com/office/drawing/2014/main" id="{675DA534-AE09-0558-4972-2BA26116338B}"/>
                </a:ext>
              </a:extLst>
            </p:cNvPr>
            <p:cNvSpPr>
              <a:spLocks/>
            </p:cNvSpPr>
            <p:nvPr/>
          </p:nvSpPr>
          <p:spPr bwMode="gray">
            <a:xfrm>
              <a:off x="4649091" y="2267265"/>
              <a:ext cx="152780" cy="70705"/>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33" name="Honduras" descr="© INSCALE GmbH, 05.05.2010&#10;http://www.presentationload.com/">
              <a:extLst>
                <a:ext uri="{FF2B5EF4-FFF2-40B4-BE49-F238E27FC236}">
                  <a16:creationId xmlns:a16="http://schemas.microsoft.com/office/drawing/2014/main" id="{A1CBE206-6C85-9B7E-21D9-38EF9891ACC4}"/>
                </a:ext>
              </a:extLst>
            </p:cNvPr>
            <p:cNvSpPr>
              <a:spLocks/>
            </p:cNvSpPr>
            <p:nvPr/>
          </p:nvSpPr>
          <p:spPr bwMode="gray">
            <a:xfrm>
              <a:off x="1997182" y="3095872"/>
              <a:ext cx="159788" cy="78147"/>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34" name="Haiti" descr="© INSCALE GmbH, 05.05.2010&#10;http://www.presentationload.com/">
              <a:extLst>
                <a:ext uri="{FF2B5EF4-FFF2-40B4-BE49-F238E27FC236}">
                  <a16:creationId xmlns:a16="http://schemas.microsoft.com/office/drawing/2014/main" id="{4F0D7565-2BBC-3D4F-8801-B533EDB0EB9E}"/>
                </a:ext>
              </a:extLst>
            </p:cNvPr>
            <p:cNvSpPr>
              <a:spLocks/>
            </p:cNvSpPr>
            <p:nvPr/>
          </p:nvSpPr>
          <p:spPr bwMode="gray">
            <a:xfrm>
              <a:off x="2389645" y="2996637"/>
              <a:ext cx="70082" cy="49616"/>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35" name="Guyane (French Guiana)" descr="© INSCALE GmbH, 05.05.2010&#10;http://www.presentationload.com/">
              <a:extLst>
                <a:ext uri="{FF2B5EF4-FFF2-40B4-BE49-F238E27FC236}">
                  <a16:creationId xmlns:a16="http://schemas.microsoft.com/office/drawing/2014/main" id="{B684207A-F3AF-CEA4-CB91-2FB8496BA595}"/>
                </a:ext>
              </a:extLst>
            </p:cNvPr>
            <p:cNvSpPr>
              <a:spLocks/>
            </p:cNvSpPr>
            <p:nvPr/>
          </p:nvSpPr>
          <p:spPr bwMode="gray">
            <a:xfrm>
              <a:off x="2860595" y="3357602"/>
              <a:ext cx="72885" cy="94272"/>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36" name="Guyana" descr="© INSCALE GmbH, 05.05.2010&#10;http://www.presentationload.com/">
              <a:extLst>
                <a:ext uri="{FF2B5EF4-FFF2-40B4-BE49-F238E27FC236}">
                  <a16:creationId xmlns:a16="http://schemas.microsoft.com/office/drawing/2014/main" id="{9D349457-A05C-6BC5-19B4-0100CF0FEE57}"/>
                </a:ext>
              </a:extLst>
            </p:cNvPr>
            <p:cNvSpPr>
              <a:spLocks/>
            </p:cNvSpPr>
            <p:nvPr/>
          </p:nvSpPr>
          <p:spPr bwMode="gray">
            <a:xfrm>
              <a:off x="2689595" y="3289376"/>
              <a:ext cx="116337" cy="184824"/>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37" name="Guinea-Bissau" descr="© INSCALE GmbH, 05.05.2010&#10;http://www.presentationload.com/">
              <a:extLst>
                <a:ext uri="{FF2B5EF4-FFF2-40B4-BE49-F238E27FC236}">
                  <a16:creationId xmlns:a16="http://schemas.microsoft.com/office/drawing/2014/main" id="{9D698E92-6FC3-D04E-D614-54F361B5EEEA}"/>
                </a:ext>
              </a:extLst>
            </p:cNvPr>
            <p:cNvSpPr>
              <a:spLocks/>
            </p:cNvSpPr>
            <p:nvPr/>
          </p:nvSpPr>
          <p:spPr bwMode="gray">
            <a:xfrm>
              <a:off x="3843146" y="3178981"/>
              <a:ext cx="65877" cy="49616"/>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38" name="Guinea" descr="© INSCALE GmbH, 05.05.2010&#10;http://www.presentationload.com/">
              <a:extLst>
                <a:ext uri="{FF2B5EF4-FFF2-40B4-BE49-F238E27FC236}">
                  <a16:creationId xmlns:a16="http://schemas.microsoft.com/office/drawing/2014/main" id="{2F431851-0A2C-3537-EC80-22E9B6686A73}"/>
                </a:ext>
              </a:extLst>
            </p:cNvPr>
            <p:cNvSpPr>
              <a:spLocks/>
            </p:cNvSpPr>
            <p:nvPr/>
          </p:nvSpPr>
          <p:spPr bwMode="gray">
            <a:xfrm>
              <a:off x="3875384" y="3181460"/>
              <a:ext cx="186419" cy="140168"/>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39" name="Guatemala" descr="© INSCALE GmbH, 05.05.2010&#10;http://www.presentationload.com/">
              <a:extLst>
                <a:ext uri="{FF2B5EF4-FFF2-40B4-BE49-F238E27FC236}">
                  <a16:creationId xmlns:a16="http://schemas.microsoft.com/office/drawing/2014/main" id="{68BB45D7-8B41-75CE-A858-80B2D187F545}"/>
                </a:ext>
              </a:extLst>
            </p:cNvPr>
            <p:cNvSpPr>
              <a:spLocks/>
            </p:cNvSpPr>
            <p:nvPr/>
          </p:nvSpPr>
          <p:spPr bwMode="gray">
            <a:xfrm>
              <a:off x="1922895" y="3047495"/>
              <a:ext cx="106524" cy="106677"/>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40" name="Greenland" descr="© INSCALE GmbH, 05.05.2010&#10;http://www.presentationload.com/">
              <a:extLst>
                <a:ext uri="{FF2B5EF4-FFF2-40B4-BE49-F238E27FC236}">
                  <a16:creationId xmlns:a16="http://schemas.microsoft.com/office/drawing/2014/main" id="{9F9A932A-F286-B31C-461C-C5464021985E}"/>
                </a:ext>
              </a:extLst>
            </p:cNvPr>
            <p:cNvSpPr>
              <a:spLocks noEditPoints="1"/>
            </p:cNvSpPr>
            <p:nvPr/>
          </p:nvSpPr>
          <p:spPr bwMode="gray">
            <a:xfrm>
              <a:off x="3159144" y="1510605"/>
              <a:ext cx="1004977" cy="483766"/>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41" name="Greece" descr="© INSCALE GmbH, 05.05.2010&#10;http://www.presentationload.com/">
              <a:extLst>
                <a:ext uri="{FF2B5EF4-FFF2-40B4-BE49-F238E27FC236}">
                  <a16:creationId xmlns:a16="http://schemas.microsoft.com/office/drawing/2014/main" id="{06F21C7D-C4FB-F360-6429-EF8304732884}"/>
                </a:ext>
              </a:extLst>
            </p:cNvPr>
            <p:cNvSpPr>
              <a:spLocks noEditPoints="1"/>
            </p:cNvSpPr>
            <p:nvPr/>
          </p:nvSpPr>
          <p:spPr bwMode="gray">
            <a:xfrm>
              <a:off x="4752812" y="2438445"/>
              <a:ext cx="190623" cy="174901"/>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42" name="Ghana" descr="© INSCALE GmbH, 05.05.2010&#10;http://www.presentationload.com/">
              <a:extLst>
                <a:ext uri="{FF2B5EF4-FFF2-40B4-BE49-F238E27FC236}">
                  <a16:creationId xmlns:a16="http://schemas.microsoft.com/office/drawing/2014/main" id="{9AC43DCC-F72D-62AD-B235-1118BCA82361}"/>
                </a:ext>
              </a:extLst>
            </p:cNvPr>
            <p:cNvSpPr>
              <a:spLocks/>
            </p:cNvSpPr>
            <p:nvPr/>
          </p:nvSpPr>
          <p:spPr bwMode="gray">
            <a:xfrm>
              <a:off x="4169729" y="3221153"/>
              <a:ext cx="116337" cy="163736"/>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43" name="Germany" descr="© INSCALE GmbH, 05.05.2010&#10;http://www.presentationload.com/">
              <a:extLst>
                <a:ext uri="{FF2B5EF4-FFF2-40B4-BE49-F238E27FC236}">
                  <a16:creationId xmlns:a16="http://schemas.microsoft.com/office/drawing/2014/main" id="{A8624B12-7E32-6309-A71E-8CF21C1EAB64}"/>
                </a:ext>
              </a:extLst>
            </p:cNvPr>
            <p:cNvSpPr>
              <a:spLocks/>
            </p:cNvSpPr>
            <p:nvPr/>
          </p:nvSpPr>
          <p:spPr bwMode="gray">
            <a:xfrm>
              <a:off x="4419221" y="2110972"/>
              <a:ext cx="201838" cy="187305"/>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chemeClr val="accent3"/>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44" name="Georgia" descr="© INSCALE GmbH, 05.05.2010&#10;http://www.presentationload.com/">
              <a:extLst>
                <a:ext uri="{FF2B5EF4-FFF2-40B4-BE49-F238E27FC236}">
                  <a16:creationId xmlns:a16="http://schemas.microsoft.com/office/drawing/2014/main" id="{EEE47148-F284-3057-F64D-2E66D57E3704}"/>
                </a:ext>
              </a:extLst>
            </p:cNvPr>
            <p:cNvSpPr>
              <a:spLocks/>
            </p:cNvSpPr>
            <p:nvPr/>
          </p:nvSpPr>
          <p:spPr bwMode="gray">
            <a:xfrm>
              <a:off x="5202739" y="2391308"/>
              <a:ext cx="165392" cy="66983"/>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45" name="The Gambia" descr="© INSCALE GmbH, 05.05.2010&#10;http://www.presentationload.com/">
              <a:extLst>
                <a:ext uri="{FF2B5EF4-FFF2-40B4-BE49-F238E27FC236}">
                  <a16:creationId xmlns:a16="http://schemas.microsoft.com/office/drawing/2014/main" id="{3B7CB972-4D4F-B86B-0464-518F91B764D6}"/>
                </a:ext>
              </a:extLst>
            </p:cNvPr>
            <p:cNvSpPr>
              <a:spLocks/>
            </p:cNvSpPr>
            <p:nvPr/>
          </p:nvSpPr>
          <p:spPr bwMode="gray">
            <a:xfrm>
              <a:off x="3830532" y="3152931"/>
              <a:ext cx="77092" cy="16125"/>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46" name="Gabon" descr="© INSCALE GmbH, 05.05.2010&#10;http://www.presentationload.com/">
              <a:extLst>
                <a:ext uri="{FF2B5EF4-FFF2-40B4-BE49-F238E27FC236}">
                  <a16:creationId xmlns:a16="http://schemas.microsoft.com/office/drawing/2014/main" id="{24FCABD5-C284-49CA-35A7-35A9FECAD1F5}"/>
                </a:ext>
              </a:extLst>
            </p:cNvPr>
            <p:cNvSpPr>
              <a:spLocks/>
            </p:cNvSpPr>
            <p:nvPr/>
          </p:nvSpPr>
          <p:spPr bwMode="gray">
            <a:xfrm>
              <a:off x="4475287" y="3443191"/>
              <a:ext cx="149977" cy="162497"/>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47" name="France" descr="© INSCALE GmbH, 05.05.2010&#10;http://www.presentationload.com/">
              <a:extLst>
                <a:ext uri="{FF2B5EF4-FFF2-40B4-BE49-F238E27FC236}">
                  <a16:creationId xmlns:a16="http://schemas.microsoft.com/office/drawing/2014/main" id="{6CED1F72-4CEC-E8AA-140C-6AAA1F5572FC}"/>
                </a:ext>
              </a:extLst>
            </p:cNvPr>
            <p:cNvSpPr>
              <a:spLocks noEditPoints="1"/>
            </p:cNvSpPr>
            <p:nvPr/>
          </p:nvSpPr>
          <p:spPr bwMode="gray">
            <a:xfrm>
              <a:off x="4173933" y="2201523"/>
              <a:ext cx="326584" cy="249326"/>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chemeClr val="accent3"/>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48" name="Finland" descr="© INSCALE GmbH, 05.05.2010&#10;http://www.presentationload.com/">
              <a:extLst>
                <a:ext uri="{FF2B5EF4-FFF2-40B4-BE49-F238E27FC236}">
                  <a16:creationId xmlns:a16="http://schemas.microsoft.com/office/drawing/2014/main" id="{7095B624-3D18-4ABE-5832-D9CB03FBCC55}"/>
                </a:ext>
              </a:extLst>
            </p:cNvPr>
            <p:cNvSpPr>
              <a:spLocks/>
            </p:cNvSpPr>
            <p:nvPr/>
          </p:nvSpPr>
          <p:spPr bwMode="gray">
            <a:xfrm>
              <a:off x="4709360" y="1764892"/>
              <a:ext cx="225666" cy="227000"/>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49" name="Ethiopia" descr="© INSCALE GmbH, 05.05.2010&#10;http://www.presentationload.com/">
              <a:extLst>
                <a:ext uri="{FF2B5EF4-FFF2-40B4-BE49-F238E27FC236}">
                  <a16:creationId xmlns:a16="http://schemas.microsoft.com/office/drawing/2014/main" id="{9E31809E-A838-9E10-FEC6-576985F5FA77}"/>
                </a:ext>
              </a:extLst>
            </p:cNvPr>
            <p:cNvSpPr>
              <a:spLocks/>
            </p:cNvSpPr>
            <p:nvPr/>
          </p:nvSpPr>
          <p:spPr bwMode="gray">
            <a:xfrm>
              <a:off x="5096215" y="3124401"/>
              <a:ext cx="378445" cy="292741"/>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50" name="Estonia" descr="© INSCALE GmbH, 05.05.2010&#10;http://www.presentationload.com/">
              <a:extLst>
                <a:ext uri="{FF2B5EF4-FFF2-40B4-BE49-F238E27FC236}">
                  <a16:creationId xmlns:a16="http://schemas.microsoft.com/office/drawing/2014/main" id="{D3B2967E-40F2-5567-1873-FAFDDC5EF58D}"/>
                </a:ext>
              </a:extLst>
            </p:cNvPr>
            <p:cNvSpPr>
              <a:spLocks noEditPoints="1"/>
            </p:cNvSpPr>
            <p:nvPr/>
          </p:nvSpPr>
          <p:spPr bwMode="gray">
            <a:xfrm>
              <a:off x="4754213" y="1999334"/>
              <a:ext cx="124747" cy="49616"/>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51" name="Eritrea" descr="© INSCALE GmbH, 05.05.2010&#10;http://www.presentationload.com/">
              <a:extLst>
                <a:ext uri="{FF2B5EF4-FFF2-40B4-BE49-F238E27FC236}">
                  <a16:creationId xmlns:a16="http://schemas.microsoft.com/office/drawing/2014/main" id="{E20E8099-5DA1-4B2D-14B6-6D7C41C90690}"/>
                </a:ext>
              </a:extLst>
            </p:cNvPr>
            <p:cNvSpPr>
              <a:spLocks/>
            </p:cNvSpPr>
            <p:nvPr/>
          </p:nvSpPr>
          <p:spPr bwMode="gray">
            <a:xfrm>
              <a:off x="5176107" y="3043772"/>
              <a:ext cx="172404" cy="145130"/>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52" name="Equatorial Guinea" descr="© INSCALE GmbH, 05.05.2010&#10;http://www.presentationload.com/">
              <a:extLst>
                <a:ext uri="{FF2B5EF4-FFF2-40B4-BE49-F238E27FC236}">
                  <a16:creationId xmlns:a16="http://schemas.microsoft.com/office/drawing/2014/main" id="{66F36231-24E1-FCE5-5DB1-74DC5A65063F}"/>
                </a:ext>
              </a:extLst>
            </p:cNvPr>
            <p:cNvSpPr>
              <a:spLocks/>
            </p:cNvSpPr>
            <p:nvPr/>
          </p:nvSpPr>
          <p:spPr bwMode="gray">
            <a:xfrm>
              <a:off x="4492108" y="3445672"/>
              <a:ext cx="51861" cy="34731"/>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53" name="El Salvador" descr="© INSCALE GmbH, 05.05.2010&#10;http://www.presentationload.com/">
              <a:extLst>
                <a:ext uri="{FF2B5EF4-FFF2-40B4-BE49-F238E27FC236}">
                  <a16:creationId xmlns:a16="http://schemas.microsoft.com/office/drawing/2014/main" id="{8AFBEE89-60EF-7B27-79C9-5AED35F49855}"/>
                </a:ext>
              </a:extLst>
            </p:cNvPr>
            <p:cNvSpPr>
              <a:spLocks/>
            </p:cNvSpPr>
            <p:nvPr/>
          </p:nvSpPr>
          <p:spPr bwMode="gray">
            <a:xfrm>
              <a:off x="1971955" y="3135565"/>
              <a:ext cx="61673" cy="35973"/>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54" name="Egypt" descr="© INSCALE GmbH, 05.05.2010&#10;http://www.presentationload.com/">
              <a:extLst>
                <a:ext uri="{FF2B5EF4-FFF2-40B4-BE49-F238E27FC236}">
                  <a16:creationId xmlns:a16="http://schemas.microsoft.com/office/drawing/2014/main" id="{97260023-02DF-6C9E-3A9D-99E516129FF7}"/>
                </a:ext>
              </a:extLst>
            </p:cNvPr>
            <p:cNvSpPr>
              <a:spLocks/>
            </p:cNvSpPr>
            <p:nvPr/>
          </p:nvSpPr>
          <p:spPr bwMode="gray">
            <a:xfrm>
              <a:off x="4869150" y="2695213"/>
              <a:ext cx="283132" cy="255529"/>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solidFill>
              <a:schemeClr val="accent6"/>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55" name="Ecuador" descr="© INSCALE GmbH, 05.05.2010&#10;http://www.presentationload.com/">
              <a:extLst>
                <a:ext uri="{FF2B5EF4-FFF2-40B4-BE49-F238E27FC236}">
                  <a16:creationId xmlns:a16="http://schemas.microsoft.com/office/drawing/2014/main" id="{E3E50D82-D393-191D-460E-F59C2F0DD23D}"/>
                </a:ext>
              </a:extLst>
            </p:cNvPr>
            <p:cNvSpPr>
              <a:spLocks noEditPoints="1"/>
            </p:cNvSpPr>
            <p:nvPr/>
          </p:nvSpPr>
          <p:spPr bwMode="gray">
            <a:xfrm>
              <a:off x="2185002" y="3464279"/>
              <a:ext cx="148576" cy="167458"/>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56" name="East Timor" descr="© INSCALE GmbH, 05.05.2010&#10;http://www.presentationload.com/">
              <a:extLst>
                <a:ext uri="{FF2B5EF4-FFF2-40B4-BE49-F238E27FC236}">
                  <a16:creationId xmlns:a16="http://schemas.microsoft.com/office/drawing/2014/main" id="{4E96B28B-F0AB-7559-DEFB-77C5838F36FC}"/>
                </a:ext>
              </a:extLst>
            </p:cNvPr>
            <p:cNvSpPr>
              <a:spLocks noEditPoints="1"/>
            </p:cNvSpPr>
            <p:nvPr/>
          </p:nvSpPr>
          <p:spPr bwMode="gray">
            <a:xfrm>
              <a:off x="7408925" y="3716083"/>
              <a:ext cx="89705" cy="37213"/>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57" name="Dominican Republic" descr="© INSCALE GmbH, 05.05.2010&#10;http://www.presentationload.com/">
              <a:extLst>
                <a:ext uri="{FF2B5EF4-FFF2-40B4-BE49-F238E27FC236}">
                  <a16:creationId xmlns:a16="http://schemas.microsoft.com/office/drawing/2014/main" id="{E443D088-9178-0CAB-6D1C-7EE922C28FE5}"/>
                </a:ext>
              </a:extLst>
            </p:cNvPr>
            <p:cNvSpPr>
              <a:spLocks/>
            </p:cNvSpPr>
            <p:nvPr/>
          </p:nvSpPr>
          <p:spPr bwMode="gray">
            <a:xfrm>
              <a:off x="2449914" y="2996637"/>
              <a:ext cx="89705" cy="53338"/>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58" name="Djibouti" descr="© INSCALE GmbH, 05.05.2010&#10;http://www.presentationload.com/">
              <a:extLst>
                <a:ext uri="{FF2B5EF4-FFF2-40B4-BE49-F238E27FC236}">
                  <a16:creationId xmlns:a16="http://schemas.microsoft.com/office/drawing/2014/main" id="{3B672C1A-C3C4-1228-E65C-CAF4B6DF073F}"/>
                </a:ext>
              </a:extLst>
            </p:cNvPr>
            <p:cNvSpPr>
              <a:spLocks/>
            </p:cNvSpPr>
            <p:nvPr/>
          </p:nvSpPr>
          <p:spPr bwMode="gray">
            <a:xfrm>
              <a:off x="5313471" y="3181462"/>
              <a:ext cx="42049" cy="43415"/>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solidFill>
              <a:srgbClr val="000050"/>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59" name="Denmark" descr="© INSCALE GmbH, 05.05.2010&#10;http://www.presentationload.com/">
              <a:extLst>
                <a:ext uri="{FF2B5EF4-FFF2-40B4-BE49-F238E27FC236}">
                  <a16:creationId xmlns:a16="http://schemas.microsoft.com/office/drawing/2014/main" id="{AED84C86-0A3E-3E55-F6A4-4FBEDDCA9C13}"/>
                </a:ext>
              </a:extLst>
            </p:cNvPr>
            <p:cNvSpPr>
              <a:spLocks noEditPoints="1"/>
            </p:cNvSpPr>
            <p:nvPr/>
          </p:nvSpPr>
          <p:spPr bwMode="gray">
            <a:xfrm>
              <a:off x="4468278" y="2046470"/>
              <a:ext cx="99517" cy="74424"/>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60" name="Czech Republic" descr="© INSCALE GmbH, 05.05.2010&#10;http://www.presentationload.com/">
              <a:extLst>
                <a:ext uri="{FF2B5EF4-FFF2-40B4-BE49-F238E27FC236}">
                  <a16:creationId xmlns:a16="http://schemas.microsoft.com/office/drawing/2014/main" id="{D3F70748-DA42-F973-BC54-D28D9FAD7189}"/>
                </a:ext>
              </a:extLst>
            </p:cNvPr>
            <p:cNvSpPr>
              <a:spLocks/>
            </p:cNvSpPr>
            <p:nvPr/>
          </p:nvSpPr>
          <p:spPr bwMode="gray">
            <a:xfrm>
              <a:off x="4556581" y="2206485"/>
              <a:ext cx="151377" cy="60781"/>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61" name="Cyprus" descr="© INSCALE GmbH, 05.05.2010&#10;http://www.presentationload.com/">
              <a:extLst>
                <a:ext uri="{FF2B5EF4-FFF2-40B4-BE49-F238E27FC236}">
                  <a16:creationId xmlns:a16="http://schemas.microsoft.com/office/drawing/2014/main" id="{D3535662-6FCA-C726-B4C4-8BE0D5CFC55D}"/>
                </a:ext>
              </a:extLst>
            </p:cNvPr>
            <p:cNvSpPr>
              <a:spLocks/>
            </p:cNvSpPr>
            <p:nvPr/>
          </p:nvSpPr>
          <p:spPr bwMode="gray">
            <a:xfrm>
              <a:off x="5042950" y="2594739"/>
              <a:ext cx="53262" cy="27289"/>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62" name="Cuba" descr="© INSCALE GmbH, 05.05.2010&#10;http://www.presentationload.com/">
              <a:extLst>
                <a:ext uri="{FF2B5EF4-FFF2-40B4-BE49-F238E27FC236}">
                  <a16:creationId xmlns:a16="http://schemas.microsoft.com/office/drawing/2014/main" id="{BCEC6EC8-197A-8B3E-6F32-461E38A09E6C}"/>
                </a:ext>
              </a:extLst>
            </p:cNvPr>
            <p:cNvSpPr>
              <a:spLocks noEditPoints="1"/>
            </p:cNvSpPr>
            <p:nvPr/>
          </p:nvSpPr>
          <p:spPr bwMode="gray">
            <a:xfrm>
              <a:off x="2137349" y="2911047"/>
              <a:ext cx="264910" cy="85590"/>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63" name="Croatia" descr="© INSCALE GmbH, 05.05.2010&#10;http://www.presentationload.com/">
              <a:extLst>
                <a:ext uri="{FF2B5EF4-FFF2-40B4-BE49-F238E27FC236}">
                  <a16:creationId xmlns:a16="http://schemas.microsoft.com/office/drawing/2014/main" id="{0A5168D4-48B2-25FA-D401-14B2FF052882}"/>
                </a:ext>
              </a:extLst>
            </p:cNvPr>
            <p:cNvSpPr>
              <a:spLocks/>
            </p:cNvSpPr>
            <p:nvPr/>
          </p:nvSpPr>
          <p:spPr bwMode="gray">
            <a:xfrm>
              <a:off x="4593025" y="2319363"/>
              <a:ext cx="131754" cy="86830"/>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64" name="Côte d'Ivoire" descr="© INSCALE GmbH, 05.05.2010&#10;http://www.presentationload.com/">
              <a:extLst>
                <a:ext uri="{FF2B5EF4-FFF2-40B4-BE49-F238E27FC236}">
                  <a16:creationId xmlns:a16="http://schemas.microsoft.com/office/drawing/2014/main" id="{9E6905AE-6FFE-76B9-C12B-80870AAE32E2}"/>
                </a:ext>
              </a:extLst>
            </p:cNvPr>
            <p:cNvSpPr>
              <a:spLocks/>
            </p:cNvSpPr>
            <p:nvPr/>
          </p:nvSpPr>
          <p:spPr bwMode="gray">
            <a:xfrm>
              <a:off x="4033770" y="3231077"/>
              <a:ext cx="156984" cy="163736"/>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65" name="Costa Rica" descr="© INSCALE GmbH, 05.05.2010&#10;http://www.presentationload.com/">
              <a:extLst>
                <a:ext uri="{FF2B5EF4-FFF2-40B4-BE49-F238E27FC236}">
                  <a16:creationId xmlns:a16="http://schemas.microsoft.com/office/drawing/2014/main" id="{336C14A8-72FB-FF59-8BB0-D0BB0AA74109}"/>
                </a:ext>
              </a:extLst>
            </p:cNvPr>
            <p:cNvSpPr>
              <a:spLocks/>
            </p:cNvSpPr>
            <p:nvPr/>
          </p:nvSpPr>
          <p:spPr bwMode="gray">
            <a:xfrm>
              <a:off x="2071469" y="3218674"/>
              <a:ext cx="85500" cy="73185"/>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66" name="Congo" descr="© INSCALE GmbH, 05.05.2010&#10;http://www.presentationload.com/">
              <a:extLst>
                <a:ext uri="{FF2B5EF4-FFF2-40B4-BE49-F238E27FC236}">
                  <a16:creationId xmlns:a16="http://schemas.microsoft.com/office/drawing/2014/main" id="{E740BDB6-5EB1-133C-1992-6EAFD1A548BE}"/>
                </a:ext>
              </a:extLst>
            </p:cNvPr>
            <p:cNvSpPr>
              <a:spLocks/>
            </p:cNvSpPr>
            <p:nvPr/>
          </p:nvSpPr>
          <p:spPr bwMode="gray">
            <a:xfrm>
              <a:off x="4567796" y="3367526"/>
              <a:ext cx="483568" cy="481286"/>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67" name="Congo (Brazzaville)" descr="© INSCALE GmbH, 05.05.2010&#10;http://www.presentationload.com/">
              <a:extLst>
                <a:ext uri="{FF2B5EF4-FFF2-40B4-BE49-F238E27FC236}">
                  <a16:creationId xmlns:a16="http://schemas.microsoft.com/office/drawing/2014/main" id="{B749E987-8C40-7FAB-FC88-6063D8A32447}"/>
                </a:ext>
              </a:extLst>
            </p:cNvPr>
            <p:cNvSpPr>
              <a:spLocks/>
            </p:cNvSpPr>
            <p:nvPr/>
          </p:nvSpPr>
          <p:spPr bwMode="gray">
            <a:xfrm>
              <a:off x="4536960" y="3409700"/>
              <a:ext cx="192026" cy="222038"/>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68" name="Colombia" descr="© INSCALE GmbH, 05.05.2010&#10;http://www.presentationload.com/">
              <a:extLst>
                <a:ext uri="{FF2B5EF4-FFF2-40B4-BE49-F238E27FC236}">
                  <a16:creationId xmlns:a16="http://schemas.microsoft.com/office/drawing/2014/main" id="{5A8F3F53-B208-E645-C7F2-FC8572DF1C65}"/>
                </a:ext>
              </a:extLst>
            </p:cNvPr>
            <p:cNvSpPr>
              <a:spLocks/>
            </p:cNvSpPr>
            <p:nvPr/>
          </p:nvSpPr>
          <p:spPr bwMode="gray">
            <a:xfrm>
              <a:off x="2236864" y="3186423"/>
              <a:ext cx="311165" cy="426706"/>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69" name="Chile" descr="© INSCALE GmbH, 05.05.2010&#10;http://www.presentationload.com/">
              <a:extLst>
                <a:ext uri="{FF2B5EF4-FFF2-40B4-BE49-F238E27FC236}">
                  <a16:creationId xmlns:a16="http://schemas.microsoft.com/office/drawing/2014/main" id="{469C348B-FD75-8F21-1C93-5B5C6177E42D}"/>
                </a:ext>
              </a:extLst>
            </p:cNvPr>
            <p:cNvSpPr>
              <a:spLocks noEditPoints="1"/>
            </p:cNvSpPr>
            <p:nvPr/>
          </p:nvSpPr>
          <p:spPr bwMode="gray">
            <a:xfrm>
              <a:off x="2487758" y="3955489"/>
              <a:ext cx="414887" cy="961331"/>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chemeClr val="accent6"/>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70" name="China" descr="© INSCALE GmbH, 05.05.2010&#10;http://www.presentationload.com/">
              <a:extLst>
                <a:ext uri="{FF2B5EF4-FFF2-40B4-BE49-F238E27FC236}">
                  <a16:creationId xmlns:a16="http://schemas.microsoft.com/office/drawing/2014/main" id="{DCE68264-D078-88F8-B45F-16C434E77827}"/>
                </a:ext>
              </a:extLst>
            </p:cNvPr>
            <p:cNvSpPr>
              <a:spLocks noEditPoints="1"/>
            </p:cNvSpPr>
            <p:nvPr/>
          </p:nvSpPr>
          <p:spPr bwMode="gray">
            <a:xfrm>
              <a:off x="6012890" y="2141982"/>
              <a:ext cx="1311937" cy="896830"/>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chemeClr val="accent1"/>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71" name="Chad" descr="© INSCALE GmbH, 05.05.2010&#10;http://www.presentationload.com/">
              <a:extLst>
                <a:ext uri="{FF2B5EF4-FFF2-40B4-BE49-F238E27FC236}">
                  <a16:creationId xmlns:a16="http://schemas.microsoft.com/office/drawing/2014/main" id="{765DF13C-21A3-8885-2785-9787258E53B6}"/>
                </a:ext>
              </a:extLst>
            </p:cNvPr>
            <p:cNvSpPr>
              <a:spLocks/>
            </p:cNvSpPr>
            <p:nvPr/>
          </p:nvSpPr>
          <p:spPr bwMode="gray">
            <a:xfrm>
              <a:off x="4595829" y="2904845"/>
              <a:ext cx="266311" cy="409341"/>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72" name="Central African Republic" descr="© INSCALE GmbH, 05.05.2010&#10;http://www.presentationload.com/">
              <a:extLst>
                <a:ext uri="{FF2B5EF4-FFF2-40B4-BE49-F238E27FC236}">
                  <a16:creationId xmlns:a16="http://schemas.microsoft.com/office/drawing/2014/main" id="{C012AF15-CD44-ECB4-4A38-29D250EF7D41}"/>
                </a:ext>
              </a:extLst>
            </p:cNvPr>
            <p:cNvSpPr>
              <a:spLocks/>
            </p:cNvSpPr>
            <p:nvPr/>
          </p:nvSpPr>
          <p:spPr bwMode="gray">
            <a:xfrm>
              <a:off x="4621058" y="3224876"/>
              <a:ext cx="327985" cy="222038"/>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73" name="Canada" descr="© INSCALE GmbH, 05.05.2010&#10;http://www.presentationload.com/">
              <a:extLst>
                <a:ext uri="{FF2B5EF4-FFF2-40B4-BE49-F238E27FC236}">
                  <a16:creationId xmlns:a16="http://schemas.microsoft.com/office/drawing/2014/main" id="{D3E37C6C-4AFC-D904-D850-A219BE082E05}"/>
                </a:ext>
              </a:extLst>
            </p:cNvPr>
            <p:cNvSpPr>
              <a:spLocks noEditPoints="1"/>
            </p:cNvSpPr>
            <p:nvPr/>
          </p:nvSpPr>
          <p:spPr bwMode="gray">
            <a:xfrm>
              <a:off x="1423913" y="1518048"/>
              <a:ext cx="1997341" cy="915434"/>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74" name="Cameroon" descr="© INSCALE GmbH, 05.05.2010&#10;http://www.presentationload.com/">
              <a:extLst>
                <a:ext uri="{FF2B5EF4-FFF2-40B4-BE49-F238E27FC236}">
                  <a16:creationId xmlns:a16="http://schemas.microsoft.com/office/drawing/2014/main" id="{3C42B496-742F-0878-8EEB-9014AFFA2A05}"/>
                </a:ext>
              </a:extLst>
            </p:cNvPr>
            <p:cNvSpPr>
              <a:spLocks/>
            </p:cNvSpPr>
            <p:nvPr/>
          </p:nvSpPr>
          <p:spPr bwMode="gray">
            <a:xfrm>
              <a:off x="4472484" y="3169056"/>
              <a:ext cx="196230" cy="293982"/>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75" name="Cambodia" descr="© INSCALE GmbH, 05.05.2010&#10;http://www.presentationload.com/">
              <a:extLst>
                <a:ext uri="{FF2B5EF4-FFF2-40B4-BE49-F238E27FC236}">
                  <a16:creationId xmlns:a16="http://schemas.microsoft.com/office/drawing/2014/main" id="{93EA36C0-D108-9954-F156-666514A060D3}"/>
                </a:ext>
              </a:extLst>
            </p:cNvPr>
            <p:cNvSpPr>
              <a:spLocks/>
            </p:cNvSpPr>
            <p:nvPr/>
          </p:nvSpPr>
          <p:spPr bwMode="gray">
            <a:xfrm>
              <a:off x="6849671" y="3133085"/>
              <a:ext cx="135959" cy="106677"/>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76" name="Burundi" descr="© INSCALE GmbH, 05.05.2010&#10;http://www.presentationload.com/">
              <a:extLst>
                <a:ext uri="{FF2B5EF4-FFF2-40B4-BE49-F238E27FC236}">
                  <a16:creationId xmlns:a16="http://schemas.microsoft.com/office/drawing/2014/main" id="{E9287A08-5A14-2284-23C3-2333CC5F0ECA}"/>
                </a:ext>
              </a:extLst>
            </p:cNvPr>
            <p:cNvSpPr>
              <a:spLocks/>
            </p:cNvSpPr>
            <p:nvPr/>
          </p:nvSpPr>
          <p:spPr bwMode="gray">
            <a:xfrm>
              <a:off x="4993895" y="3567233"/>
              <a:ext cx="47655" cy="53338"/>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77" name="Burkina Faso" descr="© INSCALE GmbH, 05.05.2010&#10;http://www.presentationload.com/">
              <a:extLst>
                <a:ext uri="{FF2B5EF4-FFF2-40B4-BE49-F238E27FC236}">
                  <a16:creationId xmlns:a16="http://schemas.microsoft.com/office/drawing/2014/main" id="{0C995854-9269-8B14-A61F-E4729492727C}"/>
                </a:ext>
              </a:extLst>
            </p:cNvPr>
            <p:cNvSpPr>
              <a:spLocks/>
            </p:cNvSpPr>
            <p:nvPr/>
          </p:nvSpPr>
          <p:spPr bwMode="gray">
            <a:xfrm>
              <a:off x="4113665" y="3120680"/>
              <a:ext cx="204641" cy="142650"/>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78" name="Bulgaria" descr="© INSCALE GmbH, 05.05.2010&#10;http://www.presentationload.com/">
              <a:extLst>
                <a:ext uri="{FF2B5EF4-FFF2-40B4-BE49-F238E27FC236}">
                  <a16:creationId xmlns:a16="http://schemas.microsoft.com/office/drawing/2014/main" id="{F8F86E34-8CA4-D2EE-7990-8D3DED3DF850}"/>
                </a:ext>
              </a:extLst>
            </p:cNvPr>
            <p:cNvSpPr>
              <a:spLocks/>
            </p:cNvSpPr>
            <p:nvPr/>
          </p:nvSpPr>
          <p:spPr bwMode="gray">
            <a:xfrm>
              <a:off x="4796263" y="2377663"/>
              <a:ext cx="141566" cy="71945"/>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79" name="Brazil" descr="© INSCALE GmbH, 05.05.2010&#10;http://www.presentationload.com/">
              <a:extLst>
                <a:ext uri="{FF2B5EF4-FFF2-40B4-BE49-F238E27FC236}">
                  <a16:creationId xmlns:a16="http://schemas.microsoft.com/office/drawing/2014/main" id="{681A5C9E-3627-F97E-7F03-4D6B089D7F32}"/>
                </a:ext>
              </a:extLst>
            </p:cNvPr>
            <p:cNvSpPr>
              <a:spLocks noEditPoints="1"/>
            </p:cNvSpPr>
            <p:nvPr/>
          </p:nvSpPr>
          <p:spPr bwMode="gray">
            <a:xfrm>
              <a:off x="2371422" y="3370005"/>
              <a:ext cx="997970" cy="998544"/>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80" name="Botswana" descr="© INSCALE GmbH, 05.05.2010&#10;http://www.presentationload.com/">
              <a:extLst>
                <a:ext uri="{FF2B5EF4-FFF2-40B4-BE49-F238E27FC236}">
                  <a16:creationId xmlns:a16="http://schemas.microsoft.com/office/drawing/2014/main" id="{CA9BCD00-0DBC-7306-297B-7B4873274E99}"/>
                </a:ext>
              </a:extLst>
            </p:cNvPr>
            <p:cNvSpPr>
              <a:spLocks/>
            </p:cNvSpPr>
            <p:nvPr/>
          </p:nvSpPr>
          <p:spPr bwMode="gray">
            <a:xfrm>
              <a:off x="4757018" y="3959209"/>
              <a:ext cx="232673" cy="231959"/>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81" name="Bosnia and Herzegovina" descr="© INSCALE GmbH, 05.05.2010&#10;http://www.presentationload.com/">
              <a:extLst>
                <a:ext uri="{FF2B5EF4-FFF2-40B4-BE49-F238E27FC236}">
                  <a16:creationId xmlns:a16="http://schemas.microsoft.com/office/drawing/2014/main" id="{52A1540E-F0E4-C2E9-70D1-46CA11804B20}"/>
                </a:ext>
              </a:extLst>
            </p:cNvPr>
            <p:cNvSpPr>
              <a:spLocks/>
            </p:cNvSpPr>
            <p:nvPr/>
          </p:nvSpPr>
          <p:spPr bwMode="gray">
            <a:xfrm>
              <a:off x="4636477" y="2349132"/>
              <a:ext cx="95311" cy="74424"/>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82" name="Bolivia" descr="© INSCALE GmbH, 05.05.2010&#10;http://www.presentationload.com/">
              <a:extLst>
                <a:ext uri="{FF2B5EF4-FFF2-40B4-BE49-F238E27FC236}">
                  <a16:creationId xmlns:a16="http://schemas.microsoft.com/office/drawing/2014/main" id="{18A43DE5-3511-4E3E-8491-EB2DDA982ABC}"/>
                </a:ext>
              </a:extLst>
            </p:cNvPr>
            <p:cNvSpPr>
              <a:spLocks/>
            </p:cNvSpPr>
            <p:nvPr/>
          </p:nvSpPr>
          <p:spPr bwMode="gray">
            <a:xfrm>
              <a:off x="2490562" y="3753299"/>
              <a:ext cx="319573" cy="336156"/>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83" name="Bhutan" descr="© INSCALE GmbH, 05.05.2010&#10;http://www.presentationload.com/">
              <a:extLst>
                <a:ext uri="{FF2B5EF4-FFF2-40B4-BE49-F238E27FC236}">
                  <a16:creationId xmlns:a16="http://schemas.microsoft.com/office/drawing/2014/main" id="{E113BECC-5747-D31A-65EE-A03861611F6D}"/>
                </a:ext>
              </a:extLst>
            </p:cNvPr>
            <p:cNvSpPr>
              <a:spLocks/>
            </p:cNvSpPr>
            <p:nvPr/>
          </p:nvSpPr>
          <p:spPr bwMode="gray">
            <a:xfrm>
              <a:off x="6455811" y="2780803"/>
              <a:ext cx="84097" cy="42175"/>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84" name="Benin" descr="© INSCALE GmbH, 05.05.2010&#10;http://www.presentationload.com/">
              <a:extLst>
                <a:ext uri="{FF2B5EF4-FFF2-40B4-BE49-F238E27FC236}">
                  <a16:creationId xmlns:a16="http://schemas.microsoft.com/office/drawing/2014/main" id="{79E93294-907A-0785-F3C5-8871A26120E3}"/>
                </a:ext>
              </a:extLst>
            </p:cNvPr>
            <p:cNvSpPr>
              <a:spLocks/>
            </p:cNvSpPr>
            <p:nvPr/>
          </p:nvSpPr>
          <p:spPr bwMode="gray">
            <a:xfrm>
              <a:off x="4274852" y="3188906"/>
              <a:ext cx="79893" cy="157534"/>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85" name="Belize" descr="© INSCALE GmbH, 05.05.2010&#10;http://www.presentationload.com/">
              <a:extLst>
                <a:ext uri="{FF2B5EF4-FFF2-40B4-BE49-F238E27FC236}">
                  <a16:creationId xmlns:a16="http://schemas.microsoft.com/office/drawing/2014/main" id="{1ACD96D6-903E-284F-85A6-8EEED4346DA0}"/>
                </a:ext>
              </a:extLst>
            </p:cNvPr>
            <p:cNvSpPr>
              <a:spLocks/>
            </p:cNvSpPr>
            <p:nvPr/>
          </p:nvSpPr>
          <p:spPr bwMode="gray">
            <a:xfrm>
              <a:off x="2004193" y="3032611"/>
              <a:ext cx="39246" cy="66983"/>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86" name="Belgium" descr="© INSCALE GmbH, 05.05.2010&#10;http://www.presentationload.com/">
              <a:extLst>
                <a:ext uri="{FF2B5EF4-FFF2-40B4-BE49-F238E27FC236}">
                  <a16:creationId xmlns:a16="http://schemas.microsoft.com/office/drawing/2014/main" id="{39F8100E-4167-748F-517C-9A71D58C6D8C}"/>
                </a:ext>
              </a:extLst>
            </p:cNvPr>
            <p:cNvSpPr>
              <a:spLocks/>
            </p:cNvSpPr>
            <p:nvPr/>
          </p:nvSpPr>
          <p:spPr bwMode="gray">
            <a:xfrm>
              <a:off x="4350541" y="2196562"/>
              <a:ext cx="79893" cy="48377"/>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chemeClr val="accent3"/>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87" name="Bangladesh" descr="© INSCALE GmbH, 05.05.2010&#10;http://www.presentationload.com/">
              <a:extLst>
                <a:ext uri="{FF2B5EF4-FFF2-40B4-BE49-F238E27FC236}">
                  <a16:creationId xmlns:a16="http://schemas.microsoft.com/office/drawing/2014/main" id="{3E76FCD5-A7BA-C276-B7BF-208AC4526081}"/>
                </a:ext>
              </a:extLst>
            </p:cNvPr>
            <p:cNvSpPr>
              <a:spLocks/>
            </p:cNvSpPr>
            <p:nvPr/>
          </p:nvSpPr>
          <p:spPr bwMode="gray">
            <a:xfrm>
              <a:off x="6444597" y="2826698"/>
              <a:ext cx="134558" cy="135207"/>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88" name="Bahrain" descr="© INSCALE GmbH, 05.05.2010&#10;http://www.presentationload.com/">
              <a:extLst>
                <a:ext uri="{FF2B5EF4-FFF2-40B4-BE49-F238E27FC236}">
                  <a16:creationId xmlns:a16="http://schemas.microsoft.com/office/drawing/2014/main" id="{8F0D146B-4B4F-043B-DD52-05408275D296}"/>
                </a:ext>
              </a:extLst>
            </p:cNvPr>
            <p:cNvSpPr>
              <a:spLocks/>
            </p:cNvSpPr>
            <p:nvPr/>
          </p:nvSpPr>
          <p:spPr bwMode="gray">
            <a:xfrm>
              <a:off x="5516709" y="2831662"/>
              <a:ext cx="9812" cy="17366"/>
            </a:xfrm>
            <a:custGeom>
              <a:avLst/>
              <a:gdLst>
                <a:gd name="T0" fmla="*/ 2147483647 w 15"/>
                <a:gd name="T1" fmla="*/ 0 h 28"/>
                <a:gd name="T2" fmla="*/ 2147483647 w 15"/>
                <a:gd name="T3" fmla="*/ 2147483647 h 28"/>
                <a:gd name="T4" fmla="*/ 2147483647 w 15"/>
                <a:gd name="T5" fmla="*/ 2147483647 h 28"/>
                <a:gd name="T6" fmla="*/ 2032697641 w 15"/>
                <a:gd name="T7" fmla="*/ 2147483647 h 28"/>
                <a:gd name="T8" fmla="*/ 813299296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89" name="Belarus" descr="© INSCALE GmbH, 05.05.2010&#10;http://www.presentationload.com/">
              <a:extLst>
                <a:ext uri="{FF2B5EF4-FFF2-40B4-BE49-F238E27FC236}">
                  <a16:creationId xmlns:a16="http://schemas.microsoft.com/office/drawing/2014/main" id="{E077CB97-4BBD-2A4D-705F-F0EFCE00D522}"/>
                </a:ext>
              </a:extLst>
            </p:cNvPr>
            <p:cNvSpPr>
              <a:spLocks/>
            </p:cNvSpPr>
            <p:nvPr/>
          </p:nvSpPr>
          <p:spPr bwMode="gray">
            <a:xfrm>
              <a:off x="4797667" y="2081202"/>
              <a:ext cx="204641" cy="117841"/>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90" name="Azerbaijan" descr="© INSCALE GmbH, 05.05.2010&#10;http://www.presentationload.com/">
              <a:extLst>
                <a:ext uri="{FF2B5EF4-FFF2-40B4-BE49-F238E27FC236}">
                  <a16:creationId xmlns:a16="http://schemas.microsoft.com/office/drawing/2014/main" id="{90FF3EAD-7FC5-6268-06B6-4F77A096BC71}"/>
                </a:ext>
              </a:extLst>
            </p:cNvPr>
            <p:cNvSpPr>
              <a:spLocks noEditPoints="1"/>
            </p:cNvSpPr>
            <p:nvPr/>
          </p:nvSpPr>
          <p:spPr bwMode="gray">
            <a:xfrm>
              <a:off x="5328890" y="2434725"/>
              <a:ext cx="128951" cy="91791"/>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91" name="Austria" descr="© INSCALE GmbH, 05.05.2010&#10;http://www.presentationload.com/">
              <a:extLst>
                <a:ext uri="{FF2B5EF4-FFF2-40B4-BE49-F238E27FC236}">
                  <a16:creationId xmlns:a16="http://schemas.microsoft.com/office/drawing/2014/main" id="{CCA86092-844F-0B02-C78B-5E3ECBAC2456}"/>
                </a:ext>
              </a:extLst>
            </p:cNvPr>
            <p:cNvSpPr>
              <a:spLocks/>
            </p:cNvSpPr>
            <p:nvPr/>
          </p:nvSpPr>
          <p:spPr bwMode="gray">
            <a:xfrm>
              <a:off x="4500518" y="2256102"/>
              <a:ext cx="163992" cy="64501"/>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92" name="Australia" descr="© INSCALE GmbH, 05.05.2010&#10;http://www.presentationload.com/">
              <a:extLst>
                <a:ext uri="{FF2B5EF4-FFF2-40B4-BE49-F238E27FC236}">
                  <a16:creationId xmlns:a16="http://schemas.microsoft.com/office/drawing/2014/main" id="{A36DAC86-850E-2E23-C63B-EA0DAE4D7591}"/>
                </a:ext>
              </a:extLst>
            </p:cNvPr>
            <p:cNvSpPr>
              <a:spLocks noEditPoints="1"/>
            </p:cNvSpPr>
            <p:nvPr/>
          </p:nvSpPr>
          <p:spPr bwMode="gray">
            <a:xfrm>
              <a:off x="7030484" y="3776865"/>
              <a:ext cx="1017593" cy="844732"/>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solidFill>
              <a:schemeClr val="accent6"/>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93" name="Armenia" descr="© INSCALE GmbH, 05.05.2010&#10;http://www.presentationload.com/">
              <a:extLst>
                <a:ext uri="{FF2B5EF4-FFF2-40B4-BE49-F238E27FC236}">
                  <a16:creationId xmlns:a16="http://schemas.microsoft.com/office/drawing/2014/main" id="{E2C295D2-C67A-2D97-650C-D0EB620D9E2A}"/>
                </a:ext>
              </a:extLst>
            </p:cNvPr>
            <p:cNvSpPr>
              <a:spLocks/>
            </p:cNvSpPr>
            <p:nvPr/>
          </p:nvSpPr>
          <p:spPr bwMode="gray">
            <a:xfrm>
              <a:off x="5292446" y="2448367"/>
              <a:ext cx="79893" cy="66983"/>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94" name="Argentina" descr="© INSCALE GmbH, 05.05.2010&#10;http://www.presentationload.com/">
              <a:extLst>
                <a:ext uri="{FF2B5EF4-FFF2-40B4-BE49-F238E27FC236}">
                  <a16:creationId xmlns:a16="http://schemas.microsoft.com/office/drawing/2014/main" id="{8E09C27C-B74D-C0C2-619F-4195DB97AB37}"/>
                </a:ext>
              </a:extLst>
            </p:cNvPr>
            <p:cNvSpPr>
              <a:spLocks noEditPoints="1"/>
            </p:cNvSpPr>
            <p:nvPr/>
          </p:nvSpPr>
          <p:spPr bwMode="gray">
            <a:xfrm>
              <a:off x="2542423" y="4064643"/>
              <a:ext cx="391058" cy="774027"/>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chemeClr val="accent5"/>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95" name="Angola" descr="© INSCALE GmbH, 05.05.2010&#10;http://www.presentationload.com/">
              <a:extLst>
                <a:ext uri="{FF2B5EF4-FFF2-40B4-BE49-F238E27FC236}">
                  <a16:creationId xmlns:a16="http://schemas.microsoft.com/office/drawing/2014/main" id="{515679CB-99F5-F245-3FA6-72CB849C5DBD}"/>
                </a:ext>
              </a:extLst>
            </p:cNvPr>
            <p:cNvSpPr>
              <a:spLocks noEditPoints="1"/>
            </p:cNvSpPr>
            <p:nvPr/>
          </p:nvSpPr>
          <p:spPr bwMode="gray">
            <a:xfrm>
              <a:off x="4550976" y="3614370"/>
              <a:ext cx="318172" cy="351043"/>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mj-lt"/>
                <a:ea typeface="Microsoft YaHei"/>
                <a:cs typeface="Segoe UI"/>
              </a:endParaRPr>
            </a:p>
          </p:txBody>
        </p:sp>
        <p:sp>
          <p:nvSpPr>
            <p:cNvPr id="196" name="Andorra" descr="© INSCALE GmbH, 05.05.2010&#10;http://www.presentationload.com/">
              <a:extLst>
                <a:ext uri="{FF2B5EF4-FFF2-40B4-BE49-F238E27FC236}">
                  <a16:creationId xmlns:a16="http://schemas.microsoft.com/office/drawing/2014/main" id="{597E5255-A946-B04D-160E-46D264FBD263}"/>
                </a:ext>
              </a:extLst>
            </p:cNvPr>
            <p:cNvSpPr>
              <a:spLocks/>
            </p:cNvSpPr>
            <p:nvPr/>
          </p:nvSpPr>
          <p:spPr bwMode="gray">
            <a:xfrm>
              <a:off x="4309895" y="2416115"/>
              <a:ext cx="11212" cy="4962"/>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solidFill>
              <a:schemeClr val="bg2"/>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97" name="Algeria" descr="© INSCALE GmbH, 05.05.2010&#10;http://www.presentationload.com/">
              <a:extLst>
                <a:ext uri="{FF2B5EF4-FFF2-40B4-BE49-F238E27FC236}">
                  <a16:creationId xmlns:a16="http://schemas.microsoft.com/office/drawing/2014/main" id="{0DA2C4B6-BC6B-25ED-46E6-9FE8900EFE2E}"/>
                </a:ext>
              </a:extLst>
            </p:cNvPr>
            <p:cNvSpPr>
              <a:spLocks/>
            </p:cNvSpPr>
            <p:nvPr/>
          </p:nvSpPr>
          <p:spPr bwMode="gray">
            <a:xfrm>
              <a:off x="4029569" y="2555043"/>
              <a:ext cx="529822" cy="463918"/>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solidFill>
              <a:schemeClr val="accent6"/>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98" name="Albania" descr="© INSCALE GmbH, 05.05.2010&#10;http://www.presentationload.com/">
              <a:extLst>
                <a:ext uri="{FF2B5EF4-FFF2-40B4-BE49-F238E27FC236}">
                  <a16:creationId xmlns:a16="http://schemas.microsoft.com/office/drawing/2014/main" id="{55FC74EE-36D8-89B3-865F-EA94B8CF6DD3}"/>
                </a:ext>
              </a:extLst>
            </p:cNvPr>
            <p:cNvSpPr>
              <a:spLocks/>
            </p:cNvSpPr>
            <p:nvPr/>
          </p:nvSpPr>
          <p:spPr bwMode="gray">
            <a:xfrm>
              <a:off x="4717775" y="2416116"/>
              <a:ext cx="51861" cy="78147"/>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199" name="Afghanistan" descr="© INSCALE GmbH, 05.05.2010&#10;http://www.presentationload.com/">
              <a:extLst>
                <a:ext uri="{FF2B5EF4-FFF2-40B4-BE49-F238E27FC236}">
                  <a16:creationId xmlns:a16="http://schemas.microsoft.com/office/drawing/2014/main" id="{42086F89-0837-9A63-2F87-2FF383A573D4}"/>
                </a:ext>
              </a:extLst>
            </p:cNvPr>
            <p:cNvSpPr>
              <a:spLocks/>
            </p:cNvSpPr>
            <p:nvPr/>
          </p:nvSpPr>
          <p:spPr bwMode="gray">
            <a:xfrm>
              <a:off x="5726960" y="2520308"/>
              <a:ext cx="325182" cy="234440"/>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solidFill>
              <a:schemeClr val="bg2">
                <a:lumMod val="90000"/>
              </a:schemeClr>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750" b="1">
                <a:solidFill>
                  <a:srgbClr val="FFFFFF"/>
                </a:solidFill>
                <a:latin typeface="RB Office"/>
                <a:ea typeface="Microsoft YaHei"/>
                <a:cs typeface="Segoe UI"/>
              </a:endParaRPr>
            </a:p>
          </p:txBody>
        </p:sp>
        <p:sp>
          <p:nvSpPr>
            <p:cNvPr id="200" name="Freeform 161">
              <a:extLst>
                <a:ext uri="{FF2B5EF4-FFF2-40B4-BE49-F238E27FC236}">
                  <a16:creationId xmlns:a16="http://schemas.microsoft.com/office/drawing/2014/main" id="{6D4DE6FB-E493-4B7D-8D73-C3D0D4A24613}"/>
                </a:ext>
              </a:extLst>
            </p:cNvPr>
            <p:cNvSpPr>
              <a:spLocks/>
            </p:cNvSpPr>
            <p:nvPr/>
          </p:nvSpPr>
          <p:spPr bwMode="auto">
            <a:xfrm>
              <a:off x="4718375" y="2101896"/>
              <a:ext cx="57567" cy="24580"/>
            </a:xfrm>
            <a:custGeom>
              <a:avLst/>
              <a:gdLst>
                <a:gd name="T0" fmla="*/ 0 w 32"/>
                <a:gd name="T1" fmla="*/ 8 h 16"/>
                <a:gd name="T2" fmla="*/ 32 w 32"/>
                <a:gd name="T3" fmla="*/ 16 h 16"/>
                <a:gd name="T4" fmla="*/ 32 w 32"/>
                <a:gd name="T5" fmla="*/ 0 h 16"/>
                <a:gd name="T6" fmla="*/ 8 w 32"/>
                <a:gd name="T7" fmla="*/ 0 h 16"/>
                <a:gd name="T8" fmla="*/ 0 w 32"/>
                <a:gd name="T9" fmla="*/ 8 h 16"/>
                <a:gd name="T10" fmla="*/ 0 60000 65536"/>
                <a:gd name="T11" fmla="*/ 0 60000 65536"/>
                <a:gd name="T12" fmla="*/ 0 60000 65536"/>
                <a:gd name="T13" fmla="*/ 0 60000 65536"/>
                <a:gd name="T14" fmla="*/ 0 60000 65536"/>
                <a:gd name="T15" fmla="*/ 0 w 32"/>
                <a:gd name="T16" fmla="*/ 0 h 16"/>
                <a:gd name="T17" fmla="*/ 32 w 32"/>
                <a:gd name="T18" fmla="*/ 16 h 16"/>
              </a:gdLst>
              <a:ahLst/>
              <a:cxnLst>
                <a:cxn ang="T10">
                  <a:pos x="T0" y="T1"/>
                </a:cxn>
                <a:cxn ang="T11">
                  <a:pos x="T2" y="T3"/>
                </a:cxn>
                <a:cxn ang="T12">
                  <a:pos x="T4" y="T5"/>
                </a:cxn>
                <a:cxn ang="T13">
                  <a:pos x="T6" y="T7"/>
                </a:cxn>
                <a:cxn ang="T14">
                  <a:pos x="T8" y="T9"/>
                </a:cxn>
              </a:cxnLst>
              <a:rect l="T15" t="T16" r="T17" b="T18"/>
              <a:pathLst>
                <a:path w="32" h="16">
                  <a:moveTo>
                    <a:pt x="0" y="8"/>
                  </a:moveTo>
                  <a:lnTo>
                    <a:pt x="32" y="16"/>
                  </a:lnTo>
                  <a:lnTo>
                    <a:pt x="32" y="0"/>
                  </a:lnTo>
                  <a:lnTo>
                    <a:pt x="8" y="0"/>
                  </a:lnTo>
                  <a:lnTo>
                    <a:pt x="0" y="8"/>
                  </a:lnTo>
                  <a:close/>
                </a:path>
              </a:pathLst>
            </a:custGeom>
            <a:solidFill>
              <a:srgbClr val="77CDFF"/>
            </a:solid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721" tIns="27861" rIns="55721" bIns="27861"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de-DE" sz="750" b="1">
                <a:solidFill>
                  <a:srgbClr val="FFFFFF"/>
                </a:solidFill>
                <a:latin typeface="RB Office"/>
                <a:ea typeface="Microsoft YaHei"/>
                <a:cs typeface="Segoe UI"/>
              </a:endParaRPr>
            </a:p>
          </p:txBody>
        </p:sp>
        <p:sp>
          <p:nvSpPr>
            <p:cNvPr id="201" name="Freeform: Shape 219">
              <a:extLst>
                <a:ext uri="{FF2B5EF4-FFF2-40B4-BE49-F238E27FC236}">
                  <a16:creationId xmlns:a16="http://schemas.microsoft.com/office/drawing/2014/main" id="{2AE36949-5C93-D90F-6330-EE039ABB1D7E}"/>
                </a:ext>
              </a:extLst>
            </p:cNvPr>
            <p:cNvSpPr/>
            <p:nvPr/>
          </p:nvSpPr>
          <p:spPr>
            <a:xfrm>
              <a:off x="3279381" y="1885574"/>
              <a:ext cx="1100008" cy="1692824"/>
            </a:xfrm>
            <a:custGeom>
              <a:avLst/>
              <a:gdLst>
                <a:gd name="connsiteX0" fmla="*/ 0 w 2320462"/>
                <a:gd name="connsiteY0" fmla="*/ 2531831 h 2531831"/>
                <a:gd name="connsiteX1" fmla="*/ 2320462 w 2320462"/>
                <a:gd name="connsiteY1" fmla="*/ 0 h 2531831"/>
                <a:gd name="connsiteX0" fmla="*/ 0 w 2320462"/>
                <a:gd name="connsiteY0" fmla="*/ 2535042 h 2535042"/>
                <a:gd name="connsiteX1" fmla="*/ 2320462 w 2320462"/>
                <a:gd name="connsiteY1" fmla="*/ 3211 h 2535042"/>
              </a:gdLst>
              <a:ahLst/>
              <a:cxnLst>
                <a:cxn ang="0">
                  <a:pos x="connsiteX0" y="connsiteY0"/>
                </a:cxn>
                <a:cxn ang="0">
                  <a:pos x="connsiteX1" y="connsiteY1"/>
                </a:cxn>
              </a:cxnLst>
              <a:rect l="l" t="t" r="r" b="b"/>
              <a:pathLst>
                <a:path w="2320462" h="2535042">
                  <a:moveTo>
                    <a:pt x="0" y="2535042"/>
                  </a:moveTo>
                  <a:cubicBezTo>
                    <a:pt x="773487" y="1691098"/>
                    <a:pt x="480941" y="-85624"/>
                    <a:pt x="2320462" y="3211"/>
                  </a:cubicBezTo>
                </a:path>
              </a:pathLst>
            </a:custGeom>
            <a:noFill/>
            <a:ln w="38100" cap="rnd">
              <a:solidFill>
                <a:schemeClr val="accent5"/>
              </a:solidFill>
              <a:tailEnd type="stealth"/>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1050" b="1">
                <a:solidFill>
                  <a:srgbClr val="000000"/>
                </a:solidFill>
                <a:latin typeface="RB Office"/>
                <a:ea typeface="Microsoft YaHei"/>
                <a:cs typeface="Segoe UI"/>
              </a:endParaRPr>
            </a:p>
          </p:txBody>
        </p:sp>
        <p:sp>
          <p:nvSpPr>
            <p:cNvPr id="202" name="Freeform: Shape 220">
              <a:extLst>
                <a:ext uri="{FF2B5EF4-FFF2-40B4-BE49-F238E27FC236}">
                  <a16:creationId xmlns:a16="http://schemas.microsoft.com/office/drawing/2014/main" id="{6C640F01-687B-1824-DDB7-543479970D7E}"/>
                </a:ext>
              </a:extLst>
            </p:cNvPr>
            <p:cNvSpPr/>
            <p:nvPr/>
          </p:nvSpPr>
          <p:spPr>
            <a:xfrm>
              <a:off x="5714643" y="2704424"/>
              <a:ext cx="1628020" cy="474414"/>
            </a:xfrm>
            <a:custGeom>
              <a:avLst/>
              <a:gdLst>
                <a:gd name="connsiteX0" fmla="*/ 0 w 2283702"/>
                <a:gd name="connsiteY0" fmla="*/ 450307 h 450307"/>
                <a:gd name="connsiteX1" fmla="*/ 2283702 w 2283702"/>
                <a:gd name="connsiteY1" fmla="*/ 0 h 450307"/>
                <a:gd name="connsiteX0" fmla="*/ 0 w 2283702"/>
                <a:gd name="connsiteY0" fmla="*/ 450307 h 626977"/>
                <a:gd name="connsiteX1" fmla="*/ 2283702 w 2283702"/>
                <a:gd name="connsiteY1" fmla="*/ 0 h 626977"/>
              </a:gdLst>
              <a:ahLst/>
              <a:cxnLst>
                <a:cxn ang="0">
                  <a:pos x="connsiteX0" y="connsiteY0"/>
                </a:cxn>
                <a:cxn ang="0">
                  <a:pos x="connsiteX1" y="connsiteY1"/>
                </a:cxn>
              </a:cxnLst>
              <a:rect l="l" t="t" r="r" b="b"/>
              <a:pathLst>
                <a:path w="2283702" h="626977">
                  <a:moveTo>
                    <a:pt x="0" y="450307"/>
                  </a:moveTo>
                  <a:cubicBezTo>
                    <a:pt x="1542380" y="984856"/>
                    <a:pt x="1522468" y="150102"/>
                    <a:pt x="2283702" y="0"/>
                  </a:cubicBezTo>
                </a:path>
              </a:pathLst>
            </a:custGeom>
            <a:noFill/>
            <a:ln w="19050" cap="rnd">
              <a:solidFill>
                <a:schemeClr val="accent5"/>
              </a:solidFill>
              <a:tailEnd type="stealth"/>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1050" b="1">
                <a:solidFill>
                  <a:srgbClr val="000000"/>
                </a:solidFill>
                <a:latin typeface="RB Office"/>
                <a:ea typeface="Microsoft YaHei"/>
                <a:cs typeface="Segoe UI"/>
              </a:endParaRPr>
            </a:p>
          </p:txBody>
        </p:sp>
        <p:sp>
          <p:nvSpPr>
            <p:cNvPr id="203" name="Freeform: Shape 221">
              <a:extLst>
                <a:ext uri="{FF2B5EF4-FFF2-40B4-BE49-F238E27FC236}">
                  <a16:creationId xmlns:a16="http://schemas.microsoft.com/office/drawing/2014/main" id="{3C390908-E253-7E90-8B3D-2834948CDDCC}"/>
                </a:ext>
              </a:extLst>
            </p:cNvPr>
            <p:cNvSpPr/>
            <p:nvPr/>
          </p:nvSpPr>
          <p:spPr>
            <a:xfrm>
              <a:off x="7454036" y="2749623"/>
              <a:ext cx="389253" cy="1003673"/>
            </a:xfrm>
            <a:custGeom>
              <a:avLst/>
              <a:gdLst>
                <a:gd name="connsiteX0" fmla="*/ 358408 w 358408"/>
                <a:gd name="connsiteY0" fmla="*/ 1801231 h 1801231"/>
                <a:gd name="connsiteX1" fmla="*/ 0 w 358408"/>
                <a:gd name="connsiteY1" fmla="*/ 0 h 1801231"/>
                <a:gd name="connsiteX0" fmla="*/ 358408 w 546024"/>
                <a:gd name="connsiteY0" fmla="*/ 1801231 h 1801231"/>
                <a:gd name="connsiteX1" fmla="*/ 0 w 546024"/>
                <a:gd name="connsiteY1" fmla="*/ 0 h 1801231"/>
              </a:gdLst>
              <a:ahLst/>
              <a:cxnLst>
                <a:cxn ang="0">
                  <a:pos x="connsiteX0" y="connsiteY0"/>
                </a:cxn>
                <a:cxn ang="0">
                  <a:pos x="connsiteX1" y="connsiteY1"/>
                </a:cxn>
              </a:cxnLst>
              <a:rect l="l" t="t" r="r" b="b"/>
              <a:pathLst>
                <a:path w="546024" h="1801231">
                  <a:moveTo>
                    <a:pt x="358408" y="1801231"/>
                  </a:moveTo>
                  <a:cubicBezTo>
                    <a:pt x="896020" y="520765"/>
                    <a:pt x="119469" y="600410"/>
                    <a:pt x="0" y="0"/>
                  </a:cubicBezTo>
                </a:path>
              </a:pathLst>
            </a:custGeom>
            <a:noFill/>
            <a:ln w="57150" cap="rnd">
              <a:solidFill>
                <a:schemeClr val="accent5"/>
              </a:solidFill>
              <a:tailEnd type="stealth"/>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1050" b="1">
                <a:solidFill>
                  <a:srgbClr val="000000"/>
                </a:solidFill>
                <a:latin typeface="+mj-lt"/>
                <a:ea typeface="Microsoft YaHei"/>
                <a:cs typeface="Segoe UI"/>
              </a:endParaRPr>
            </a:p>
          </p:txBody>
        </p:sp>
        <p:sp>
          <p:nvSpPr>
            <p:cNvPr id="204" name="Freeform: Shape 222">
              <a:extLst>
                <a:ext uri="{FF2B5EF4-FFF2-40B4-BE49-F238E27FC236}">
                  <a16:creationId xmlns:a16="http://schemas.microsoft.com/office/drawing/2014/main" id="{7876ED5E-74D9-0BB9-4B2E-CEF4EDE79DB8}"/>
                </a:ext>
              </a:extLst>
            </p:cNvPr>
            <p:cNvSpPr/>
            <p:nvPr/>
          </p:nvSpPr>
          <p:spPr>
            <a:xfrm>
              <a:off x="3554368" y="2308063"/>
              <a:ext cx="1068653" cy="2016587"/>
            </a:xfrm>
            <a:custGeom>
              <a:avLst/>
              <a:gdLst>
                <a:gd name="connsiteX0" fmla="*/ 808715 w 808715"/>
                <a:gd name="connsiteY0" fmla="*/ 2665085 h 2665085"/>
                <a:gd name="connsiteX1" fmla="*/ 0 w 808715"/>
                <a:gd name="connsiteY1" fmla="*/ 0 h 2665085"/>
                <a:gd name="connsiteX0" fmla="*/ 953187 w 953187"/>
                <a:gd name="connsiteY0" fmla="*/ 2665085 h 2665085"/>
                <a:gd name="connsiteX1" fmla="*/ 144472 w 953187"/>
                <a:gd name="connsiteY1" fmla="*/ 0 h 2665085"/>
                <a:gd name="connsiteX0" fmla="*/ 1647236 w 1647236"/>
                <a:gd name="connsiteY0" fmla="*/ 2665085 h 2665085"/>
                <a:gd name="connsiteX1" fmla="*/ 838521 w 1647236"/>
                <a:gd name="connsiteY1" fmla="*/ 0 h 2665085"/>
              </a:gdLst>
              <a:ahLst/>
              <a:cxnLst>
                <a:cxn ang="0">
                  <a:pos x="connsiteX0" y="connsiteY0"/>
                </a:cxn>
                <a:cxn ang="0">
                  <a:pos x="connsiteX1" y="connsiteY1"/>
                </a:cxn>
              </a:cxnLst>
              <a:rect l="l" t="t" r="r" b="b"/>
              <a:pathLst>
                <a:path w="1647236" h="2665085">
                  <a:moveTo>
                    <a:pt x="1647236" y="2665085"/>
                  </a:moveTo>
                  <a:cubicBezTo>
                    <a:pt x="-65158" y="2415425"/>
                    <a:pt x="-619618" y="617258"/>
                    <a:pt x="838521" y="0"/>
                  </a:cubicBezTo>
                </a:path>
              </a:pathLst>
            </a:custGeom>
            <a:noFill/>
            <a:ln w="19050" cap="rnd">
              <a:solidFill>
                <a:schemeClr val="accent5"/>
              </a:solidFill>
              <a:tailEnd type="stealth"/>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1050" b="1">
                <a:solidFill>
                  <a:srgbClr val="000000"/>
                </a:solidFill>
                <a:latin typeface="RB Office"/>
                <a:ea typeface="Microsoft YaHei"/>
                <a:cs typeface="Segoe UI"/>
              </a:endParaRPr>
            </a:p>
          </p:txBody>
        </p:sp>
        <p:sp>
          <p:nvSpPr>
            <p:cNvPr id="205" name="Freeform: Shape 223">
              <a:extLst>
                <a:ext uri="{FF2B5EF4-FFF2-40B4-BE49-F238E27FC236}">
                  <a16:creationId xmlns:a16="http://schemas.microsoft.com/office/drawing/2014/main" id="{B0349B44-24F0-7B09-4613-B4199BD9FC48}"/>
                </a:ext>
              </a:extLst>
            </p:cNvPr>
            <p:cNvSpPr/>
            <p:nvPr/>
          </p:nvSpPr>
          <p:spPr>
            <a:xfrm>
              <a:off x="4262260" y="2300273"/>
              <a:ext cx="239771" cy="257952"/>
            </a:xfrm>
            <a:custGeom>
              <a:avLst/>
              <a:gdLst>
                <a:gd name="connsiteX0" fmla="*/ 0 w 165419"/>
                <a:gd name="connsiteY0" fmla="*/ 266509 h 266509"/>
                <a:gd name="connsiteX1" fmla="*/ 165419 w 165419"/>
                <a:gd name="connsiteY1" fmla="*/ 0 h 266509"/>
                <a:gd name="connsiteX0" fmla="*/ 0 w 165419"/>
                <a:gd name="connsiteY0" fmla="*/ 266509 h 266509"/>
                <a:gd name="connsiteX1" fmla="*/ 165419 w 165419"/>
                <a:gd name="connsiteY1" fmla="*/ 0 h 266509"/>
              </a:gdLst>
              <a:ahLst/>
              <a:cxnLst>
                <a:cxn ang="0">
                  <a:pos x="connsiteX0" y="connsiteY0"/>
                </a:cxn>
                <a:cxn ang="0">
                  <a:pos x="connsiteX1" y="connsiteY1"/>
                </a:cxn>
              </a:cxnLst>
              <a:rect l="l" t="t" r="r" b="b"/>
              <a:pathLst>
                <a:path w="165419" h="266509">
                  <a:moveTo>
                    <a:pt x="0" y="266509"/>
                  </a:moveTo>
                  <a:cubicBezTo>
                    <a:pt x="192989" y="246597"/>
                    <a:pt x="110279" y="88836"/>
                    <a:pt x="165419" y="0"/>
                  </a:cubicBezTo>
                </a:path>
              </a:pathLst>
            </a:custGeom>
            <a:noFill/>
            <a:ln w="57150" cap="rnd">
              <a:solidFill>
                <a:srgbClr val="E62933"/>
              </a:solidFill>
              <a:tailEnd type="stealth"/>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1050" b="1">
                <a:solidFill>
                  <a:srgbClr val="000000"/>
                </a:solidFill>
                <a:latin typeface="RB Office"/>
                <a:ea typeface="Microsoft YaHei"/>
                <a:cs typeface="Segoe UI"/>
              </a:endParaRPr>
            </a:p>
          </p:txBody>
        </p:sp>
        <p:sp>
          <p:nvSpPr>
            <p:cNvPr id="206" name="Freeform: Shape 224">
              <a:extLst>
                <a:ext uri="{FF2B5EF4-FFF2-40B4-BE49-F238E27FC236}">
                  <a16:creationId xmlns:a16="http://schemas.microsoft.com/office/drawing/2014/main" id="{C66D500E-DE61-7EBE-1036-22B3C45F8DEB}"/>
                </a:ext>
              </a:extLst>
            </p:cNvPr>
            <p:cNvSpPr/>
            <p:nvPr/>
          </p:nvSpPr>
          <p:spPr>
            <a:xfrm>
              <a:off x="4515740" y="2426275"/>
              <a:ext cx="445915" cy="278150"/>
            </a:xfrm>
            <a:custGeom>
              <a:avLst/>
              <a:gdLst>
                <a:gd name="connsiteX0" fmla="*/ 248128 w 248128"/>
                <a:gd name="connsiteY0" fmla="*/ 500852 h 500852"/>
                <a:gd name="connsiteX1" fmla="*/ 0 w 248128"/>
                <a:gd name="connsiteY1" fmla="*/ 0 h 500852"/>
                <a:gd name="connsiteX0" fmla="*/ 248128 w 266214"/>
                <a:gd name="connsiteY0" fmla="*/ 500852 h 500852"/>
                <a:gd name="connsiteX1" fmla="*/ 0 w 266214"/>
                <a:gd name="connsiteY1" fmla="*/ 0 h 500852"/>
                <a:gd name="connsiteX0" fmla="*/ 248128 w 263665"/>
                <a:gd name="connsiteY0" fmla="*/ 500852 h 500852"/>
                <a:gd name="connsiteX1" fmla="*/ 0 w 263665"/>
                <a:gd name="connsiteY1" fmla="*/ 0 h 500852"/>
              </a:gdLst>
              <a:ahLst/>
              <a:cxnLst>
                <a:cxn ang="0">
                  <a:pos x="connsiteX0" y="connsiteY0"/>
                </a:cxn>
                <a:cxn ang="0">
                  <a:pos x="connsiteX1" y="connsiteY1"/>
                </a:cxn>
              </a:cxnLst>
              <a:rect l="l" t="t" r="r" b="b"/>
              <a:pathLst>
                <a:path w="263665" h="500852">
                  <a:moveTo>
                    <a:pt x="248128" y="500852"/>
                  </a:moveTo>
                  <a:cubicBezTo>
                    <a:pt x="335433" y="186862"/>
                    <a:pt x="27570" y="291015"/>
                    <a:pt x="0" y="0"/>
                  </a:cubicBezTo>
                </a:path>
              </a:pathLst>
            </a:custGeom>
            <a:noFill/>
            <a:ln w="57150" cap="rnd">
              <a:solidFill>
                <a:schemeClr val="accent5"/>
              </a:solidFill>
              <a:tailEnd type="stealth"/>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1050" b="1">
                <a:solidFill>
                  <a:srgbClr val="000000"/>
                </a:solidFill>
                <a:latin typeface="RB Office"/>
                <a:ea typeface="Microsoft YaHei"/>
                <a:cs typeface="Segoe UI"/>
              </a:endParaRPr>
            </a:p>
          </p:txBody>
        </p:sp>
        <p:sp>
          <p:nvSpPr>
            <p:cNvPr id="207" name="Freeform: Shape 225">
              <a:extLst>
                <a:ext uri="{FF2B5EF4-FFF2-40B4-BE49-F238E27FC236}">
                  <a16:creationId xmlns:a16="http://schemas.microsoft.com/office/drawing/2014/main" id="{E980DEB6-1B41-8A3D-6E3D-3437727B17C4}"/>
                </a:ext>
              </a:extLst>
            </p:cNvPr>
            <p:cNvSpPr/>
            <p:nvPr/>
          </p:nvSpPr>
          <p:spPr>
            <a:xfrm>
              <a:off x="4482980" y="2266339"/>
              <a:ext cx="773064" cy="535438"/>
            </a:xfrm>
            <a:custGeom>
              <a:avLst/>
              <a:gdLst>
                <a:gd name="connsiteX0" fmla="*/ 997109 w 997109"/>
                <a:gd name="connsiteY0" fmla="*/ 748981 h 748981"/>
                <a:gd name="connsiteX1" fmla="*/ 0 w 997109"/>
                <a:gd name="connsiteY1" fmla="*/ 0 h 748981"/>
                <a:gd name="connsiteX0" fmla="*/ 997109 w 997109"/>
                <a:gd name="connsiteY0" fmla="*/ 748981 h 748981"/>
                <a:gd name="connsiteX1" fmla="*/ 0 w 997109"/>
                <a:gd name="connsiteY1" fmla="*/ 0 h 748981"/>
                <a:gd name="connsiteX0" fmla="*/ 1084414 w 1084414"/>
                <a:gd name="connsiteY0" fmla="*/ 707626 h 707626"/>
                <a:gd name="connsiteX1" fmla="*/ 0 w 1084414"/>
                <a:gd name="connsiteY1" fmla="*/ 0 h 707626"/>
                <a:gd name="connsiteX0" fmla="*/ 1084414 w 1084414"/>
                <a:gd name="connsiteY0" fmla="*/ 707626 h 707626"/>
                <a:gd name="connsiteX1" fmla="*/ 0 w 1084414"/>
                <a:gd name="connsiteY1" fmla="*/ 0 h 707626"/>
              </a:gdLst>
              <a:ahLst/>
              <a:cxnLst>
                <a:cxn ang="0">
                  <a:pos x="connsiteX0" y="connsiteY0"/>
                </a:cxn>
                <a:cxn ang="0">
                  <a:pos x="connsiteX1" y="connsiteY1"/>
                </a:cxn>
              </a:cxnLst>
              <a:rect l="l" t="t" r="r" b="b"/>
              <a:pathLst>
                <a:path w="1084414" h="707626">
                  <a:moveTo>
                    <a:pt x="1084414" y="707626"/>
                  </a:moveTo>
                  <a:cubicBezTo>
                    <a:pt x="1055312" y="-231281"/>
                    <a:pt x="364535" y="249660"/>
                    <a:pt x="0" y="0"/>
                  </a:cubicBezTo>
                </a:path>
              </a:pathLst>
            </a:custGeom>
            <a:noFill/>
            <a:ln w="57150" cap="rnd">
              <a:solidFill>
                <a:schemeClr val="accent5"/>
              </a:solidFill>
              <a:tailEnd type="stealth"/>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1050" b="1">
                <a:solidFill>
                  <a:srgbClr val="000000"/>
                </a:solidFill>
                <a:latin typeface="RB Office"/>
                <a:ea typeface="Microsoft YaHei"/>
                <a:cs typeface="Segoe UI"/>
              </a:endParaRPr>
            </a:p>
          </p:txBody>
        </p:sp>
        <p:sp>
          <p:nvSpPr>
            <p:cNvPr id="208" name="Freeform: Shape 226">
              <a:extLst>
                <a:ext uri="{FF2B5EF4-FFF2-40B4-BE49-F238E27FC236}">
                  <a16:creationId xmlns:a16="http://schemas.microsoft.com/office/drawing/2014/main" id="{7AFE4884-44BC-44F6-3202-CEC5B9D966C0}"/>
                </a:ext>
              </a:extLst>
            </p:cNvPr>
            <p:cNvSpPr/>
            <p:nvPr/>
          </p:nvSpPr>
          <p:spPr>
            <a:xfrm rot="18710363">
              <a:off x="692988" y="2132771"/>
              <a:ext cx="630486" cy="486948"/>
            </a:xfrm>
            <a:custGeom>
              <a:avLst/>
              <a:gdLst>
                <a:gd name="connsiteX0" fmla="*/ 1777783 w 1777783"/>
                <a:gd name="connsiteY0" fmla="*/ 2592593 h 2592593"/>
                <a:gd name="connsiteX1" fmla="*/ 992475 w 1777783"/>
                <a:gd name="connsiteY1" fmla="*/ 2130014 h 2592593"/>
                <a:gd name="connsiteX2" fmla="*/ 78075 w 1777783"/>
                <a:gd name="connsiteY2" fmla="*/ 602428 h 2592593"/>
                <a:gd name="connsiteX3" fmla="*/ 110347 w 1777783"/>
                <a:gd name="connsiteY3" fmla="*/ 0 h 2592593"/>
                <a:gd name="connsiteX0" fmla="*/ 2187036 w 2187036"/>
                <a:gd name="connsiteY0" fmla="*/ 2592593 h 2592593"/>
                <a:gd name="connsiteX1" fmla="*/ 1401728 w 2187036"/>
                <a:gd name="connsiteY1" fmla="*/ 2130014 h 2592593"/>
                <a:gd name="connsiteX2" fmla="*/ 24749 w 2187036"/>
                <a:gd name="connsiteY2" fmla="*/ 1226372 h 2592593"/>
                <a:gd name="connsiteX3" fmla="*/ 519600 w 2187036"/>
                <a:gd name="connsiteY3" fmla="*/ 0 h 2592593"/>
                <a:gd name="connsiteX0" fmla="*/ 2187036 w 2187036"/>
                <a:gd name="connsiteY0" fmla="*/ 2592593 h 2592593"/>
                <a:gd name="connsiteX1" fmla="*/ 24749 w 2187036"/>
                <a:gd name="connsiteY1" fmla="*/ 1226372 h 2592593"/>
                <a:gd name="connsiteX2" fmla="*/ 519600 w 2187036"/>
                <a:gd name="connsiteY2" fmla="*/ 0 h 2592593"/>
                <a:gd name="connsiteX0" fmla="*/ 1934913 w 1934913"/>
                <a:gd name="connsiteY0" fmla="*/ 2592593 h 2592593"/>
                <a:gd name="connsiteX1" fmla="*/ 41568 w 1934913"/>
                <a:gd name="connsiteY1" fmla="*/ 1473798 h 2592593"/>
                <a:gd name="connsiteX2" fmla="*/ 267477 w 1934913"/>
                <a:gd name="connsiteY2" fmla="*/ 0 h 2592593"/>
                <a:gd name="connsiteX0" fmla="*/ 2136318 w 2136318"/>
                <a:gd name="connsiteY0" fmla="*/ 2592593 h 2592593"/>
                <a:gd name="connsiteX1" fmla="*/ 242973 w 2136318"/>
                <a:gd name="connsiteY1" fmla="*/ 1473798 h 2592593"/>
                <a:gd name="connsiteX2" fmla="*/ 468882 w 2136318"/>
                <a:gd name="connsiteY2" fmla="*/ 0 h 2592593"/>
                <a:gd name="connsiteX0" fmla="*/ 2136318 w 2136318"/>
                <a:gd name="connsiteY0" fmla="*/ 2592593 h 2592593"/>
                <a:gd name="connsiteX1" fmla="*/ 242973 w 2136318"/>
                <a:gd name="connsiteY1" fmla="*/ 1473798 h 2592593"/>
                <a:gd name="connsiteX2" fmla="*/ 468882 w 2136318"/>
                <a:gd name="connsiteY2" fmla="*/ 0 h 2592593"/>
                <a:gd name="connsiteX0" fmla="*/ 1816477 w 1816477"/>
                <a:gd name="connsiteY0" fmla="*/ 2592593 h 2592593"/>
                <a:gd name="connsiteX1" fmla="*/ 385711 w 1816477"/>
                <a:gd name="connsiteY1" fmla="*/ 1355463 h 2592593"/>
                <a:gd name="connsiteX2" fmla="*/ 149041 w 1816477"/>
                <a:gd name="connsiteY2" fmla="*/ 0 h 2592593"/>
                <a:gd name="connsiteX0" fmla="*/ 1769306 w 1769306"/>
                <a:gd name="connsiteY0" fmla="*/ 2595247 h 2595247"/>
                <a:gd name="connsiteX1" fmla="*/ 338540 w 1769306"/>
                <a:gd name="connsiteY1" fmla="*/ 1358117 h 2595247"/>
                <a:gd name="connsiteX2" fmla="*/ 101870 w 1769306"/>
                <a:gd name="connsiteY2" fmla="*/ 2654 h 2595247"/>
                <a:gd name="connsiteX0" fmla="*/ 1677308 w 1677308"/>
                <a:gd name="connsiteY0" fmla="*/ 2596034 h 2596034"/>
                <a:gd name="connsiteX1" fmla="*/ 429422 w 1677308"/>
                <a:gd name="connsiteY1" fmla="*/ 1262086 h 2596034"/>
                <a:gd name="connsiteX2" fmla="*/ 9872 w 1677308"/>
                <a:gd name="connsiteY2" fmla="*/ 3441 h 2596034"/>
                <a:gd name="connsiteX0" fmla="*/ 1667436 w 1667436"/>
                <a:gd name="connsiteY0" fmla="*/ 2594316 h 2594316"/>
                <a:gd name="connsiteX1" fmla="*/ 419550 w 1667436"/>
                <a:gd name="connsiteY1" fmla="*/ 1260368 h 2594316"/>
                <a:gd name="connsiteX2" fmla="*/ 0 w 1667436"/>
                <a:gd name="connsiteY2" fmla="*/ 1723 h 2594316"/>
                <a:gd name="connsiteX0" fmla="*/ 1678193 w 1678193"/>
                <a:gd name="connsiteY0" fmla="*/ 2550804 h 2550804"/>
                <a:gd name="connsiteX1" fmla="*/ 430307 w 1678193"/>
                <a:gd name="connsiteY1" fmla="*/ 1216856 h 2550804"/>
                <a:gd name="connsiteX2" fmla="*/ 0 w 1678193"/>
                <a:gd name="connsiteY2" fmla="*/ 1242 h 2550804"/>
                <a:gd name="connsiteX0" fmla="*/ 1678193 w 1678193"/>
                <a:gd name="connsiteY0" fmla="*/ 2550804 h 2550804"/>
                <a:gd name="connsiteX1" fmla="*/ 430307 w 1678193"/>
                <a:gd name="connsiteY1" fmla="*/ 1216856 h 2550804"/>
                <a:gd name="connsiteX2" fmla="*/ 0 w 1678193"/>
                <a:gd name="connsiteY2" fmla="*/ 1242 h 2550804"/>
                <a:gd name="connsiteX0" fmla="*/ 1683049 w 1683049"/>
                <a:gd name="connsiteY0" fmla="*/ 2549562 h 2549562"/>
                <a:gd name="connsiteX1" fmla="*/ 435163 w 1683049"/>
                <a:gd name="connsiteY1" fmla="*/ 1215614 h 2549562"/>
                <a:gd name="connsiteX2" fmla="*/ 4856 w 1683049"/>
                <a:gd name="connsiteY2" fmla="*/ 0 h 2549562"/>
                <a:gd name="connsiteX0" fmla="*/ 1678193 w 1678193"/>
                <a:gd name="connsiteY0" fmla="*/ 2549562 h 2549562"/>
                <a:gd name="connsiteX1" fmla="*/ 0 w 1678193"/>
                <a:gd name="connsiteY1" fmla="*/ 0 h 2549562"/>
                <a:gd name="connsiteX0" fmla="*/ 1700120 w 1700120"/>
                <a:gd name="connsiteY0" fmla="*/ 2549562 h 2549562"/>
                <a:gd name="connsiteX1" fmla="*/ 21927 w 1700120"/>
                <a:gd name="connsiteY1" fmla="*/ 0 h 2549562"/>
              </a:gdLst>
              <a:ahLst/>
              <a:cxnLst>
                <a:cxn ang="0">
                  <a:pos x="connsiteX0" y="connsiteY0"/>
                </a:cxn>
                <a:cxn ang="0">
                  <a:pos x="connsiteX1" y="connsiteY1"/>
                </a:cxn>
              </a:cxnLst>
              <a:rect l="l" t="t" r="r" b="b"/>
              <a:pathLst>
                <a:path w="1700120" h="2549562">
                  <a:moveTo>
                    <a:pt x="1700120" y="2549562"/>
                  </a:moveTo>
                  <a:cubicBezTo>
                    <a:pt x="1140722" y="1699708"/>
                    <a:pt x="-186118" y="1542185"/>
                    <a:pt x="21927" y="0"/>
                  </a:cubicBezTo>
                </a:path>
              </a:pathLst>
            </a:custGeom>
            <a:noFill/>
            <a:ln w="19050" cap="rnd">
              <a:solidFill>
                <a:schemeClr val="accent5"/>
              </a:solidFill>
              <a:tailEnd type="stealth"/>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1050" b="1">
                <a:solidFill>
                  <a:srgbClr val="000000"/>
                </a:solidFill>
                <a:latin typeface="RB Office"/>
                <a:ea typeface="Microsoft YaHei"/>
                <a:cs typeface="Segoe UI"/>
              </a:endParaRPr>
            </a:p>
          </p:txBody>
        </p:sp>
        <p:sp>
          <p:nvSpPr>
            <p:cNvPr id="209" name="Freeform: Shape 227">
              <a:extLst>
                <a:ext uri="{FF2B5EF4-FFF2-40B4-BE49-F238E27FC236}">
                  <a16:creationId xmlns:a16="http://schemas.microsoft.com/office/drawing/2014/main" id="{FD9B3A5F-C655-95B6-A9A4-ADCEDFEBC368}"/>
                </a:ext>
              </a:extLst>
            </p:cNvPr>
            <p:cNvSpPr/>
            <p:nvPr/>
          </p:nvSpPr>
          <p:spPr>
            <a:xfrm rot="18710363">
              <a:off x="7823863" y="2431892"/>
              <a:ext cx="630486" cy="486948"/>
            </a:xfrm>
            <a:custGeom>
              <a:avLst/>
              <a:gdLst>
                <a:gd name="connsiteX0" fmla="*/ 1777783 w 1777783"/>
                <a:gd name="connsiteY0" fmla="*/ 2592593 h 2592593"/>
                <a:gd name="connsiteX1" fmla="*/ 992475 w 1777783"/>
                <a:gd name="connsiteY1" fmla="*/ 2130014 h 2592593"/>
                <a:gd name="connsiteX2" fmla="*/ 78075 w 1777783"/>
                <a:gd name="connsiteY2" fmla="*/ 602428 h 2592593"/>
                <a:gd name="connsiteX3" fmla="*/ 110347 w 1777783"/>
                <a:gd name="connsiteY3" fmla="*/ 0 h 2592593"/>
                <a:gd name="connsiteX0" fmla="*/ 2187036 w 2187036"/>
                <a:gd name="connsiteY0" fmla="*/ 2592593 h 2592593"/>
                <a:gd name="connsiteX1" fmla="*/ 1401728 w 2187036"/>
                <a:gd name="connsiteY1" fmla="*/ 2130014 h 2592593"/>
                <a:gd name="connsiteX2" fmla="*/ 24749 w 2187036"/>
                <a:gd name="connsiteY2" fmla="*/ 1226372 h 2592593"/>
                <a:gd name="connsiteX3" fmla="*/ 519600 w 2187036"/>
                <a:gd name="connsiteY3" fmla="*/ 0 h 2592593"/>
                <a:gd name="connsiteX0" fmla="*/ 2187036 w 2187036"/>
                <a:gd name="connsiteY0" fmla="*/ 2592593 h 2592593"/>
                <a:gd name="connsiteX1" fmla="*/ 24749 w 2187036"/>
                <a:gd name="connsiteY1" fmla="*/ 1226372 h 2592593"/>
                <a:gd name="connsiteX2" fmla="*/ 519600 w 2187036"/>
                <a:gd name="connsiteY2" fmla="*/ 0 h 2592593"/>
                <a:gd name="connsiteX0" fmla="*/ 1934913 w 1934913"/>
                <a:gd name="connsiteY0" fmla="*/ 2592593 h 2592593"/>
                <a:gd name="connsiteX1" fmla="*/ 41568 w 1934913"/>
                <a:gd name="connsiteY1" fmla="*/ 1473798 h 2592593"/>
                <a:gd name="connsiteX2" fmla="*/ 267477 w 1934913"/>
                <a:gd name="connsiteY2" fmla="*/ 0 h 2592593"/>
                <a:gd name="connsiteX0" fmla="*/ 2136318 w 2136318"/>
                <a:gd name="connsiteY0" fmla="*/ 2592593 h 2592593"/>
                <a:gd name="connsiteX1" fmla="*/ 242973 w 2136318"/>
                <a:gd name="connsiteY1" fmla="*/ 1473798 h 2592593"/>
                <a:gd name="connsiteX2" fmla="*/ 468882 w 2136318"/>
                <a:gd name="connsiteY2" fmla="*/ 0 h 2592593"/>
                <a:gd name="connsiteX0" fmla="*/ 2136318 w 2136318"/>
                <a:gd name="connsiteY0" fmla="*/ 2592593 h 2592593"/>
                <a:gd name="connsiteX1" fmla="*/ 242973 w 2136318"/>
                <a:gd name="connsiteY1" fmla="*/ 1473798 h 2592593"/>
                <a:gd name="connsiteX2" fmla="*/ 468882 w 2136318"/>
                <a:gd name="connsiteY2" fmla="*/ 0 h 2592593"/>
                <a:gd name="connsiteX0" fmla="*/ 1816477 w 1816477"/>
                <a:gd name="connsiteY0" fmla="*/ 2592593 h 2592593"/>
                <a:gd name="connsiteX1" fmla="*/ 385711 w 1816477"/>
                <a:gd name="connsiteY1" fmla="*/ 1355463 h 2592593"/>
                <a:gd name="connsiteX2" fmla="*/ 149041 w 1816477"/>
                <a:gd name="connsiteY2" fmla="*/ 0 h 2592593"/>
                <a:gd name="connsiteX0" fmla="*/ 1769306 w 1769306"/>
                <a:gd name="connsiteY0" fmla="*/ 2595247 h 2595247"/>
                <a:gd name="connsiteX1" fmla="*/ 338540 w 1769306"/>
                <a:gd name="connsiteY1" fmla="*/ 1358117 h 2595247"/>
                <a:gd name="connsiteX2" fmla="*/ 101870 w 1769306"/>
                <a:gd name="connsiteY2" fmla="*/ 2654 h 2595247"/>
                <a:gd name="connsiteX0" fmla="*/ 1677308 w 1677308"/>
                <a:gd name="connsiteY0" fmla="*/ 2596034 h 2596034"/>
                <a:gd name="connsiteX1" fmla="*/ 429422 w 1677308"/>
                <a:gd name="connsiteY1" fmla="*/ 1262086 h 2596034"/>
                <a:gd name="connsiteX2" fmla="*/ 9872 w 1677308"/>
                <a:gd name="connsiteY2" fmla="*/ 3441 h 2596034"/>
                <a:gd name="connsiteX0" fmla="*/ 1667436 w 1667436"/>
                <a:gd name="connsiteY0" fmla="*/ 2594316 h 2594316"/>
                <a:gd name="connsiteX1" fmla="*/ 419550 w 1667436"/>
                <a:gd name="connsiteY1" fmla="*/ 1260368 h 2594316"/>
                <a:gd name="connsiteX2" fmla="*/ 0 w 1667436"/>
                <a:gd name="connsiteY2" fmla="*/ 1723 h 2594316"/>
                <a:gd name="connsiteX0" fmla="*/ 1678193 w 1678193"/>
                <a:gd name="connsiteY0" fmla="*/ 2550804 h 2550804"/>
                <a:gd name="connsiteX1" fmla="*/ 430307 w 1678193"/>
                <a:gd name="connsiteY1" fmla="*/ 1216856 h 2550804"/>
                <a:gd name="connsiteX2" fmla="*/ 0 w 1678193"/>
                <a:gd name="connsiteY2" fmla="*/ 1242 h 2550804"/>
                <a:gd name="connsiteX0" fmla="*/ 1678193 w 1678193"/>
                <a:gd name="connsiteY0" fmla="*/ 2550804 h 2550804"/>
                <a:gd name="connsiteX1" fmla="*/ 430307 w 1678193"/>
                <a:gd name="connsiteY1" fmla="*/ 1216856 h 2550804"/>
                <a:gd name="connsiteX2" fmla="*/ 0 w 1678193"/>
                <a:gd name="connsiteY2" fmla="*/ 1242 h 2550804"/>
                <a:gd name="connsiteX0" fmla="*/ 1683049 w 1683049"/>
                <a:gd name="connsiteY0" fmla="*/ 2549562 h 2549562"/>
                <a:gd name="connsiteX1" fmla="*/ 435163 w 1683049"/>
                <a:gd name="connsiteY1" fmla="*/ 1215614 h 2549562"/>
                <a:gd name="connsiteX2" fmla="*/ 4856 w 1683049"/>
                <a:gd name="connsiteY2" fmla="*/ 0 h 2549562"/>
                <a:gd name="connsiteX0" fmla="*/ 1678193 w 1678193"/>
                <a:gd name="connsiteY0" fmla="*/ 2549562 h 2549562"/>
                <a:gd name="connsiteX1" fmla="*/ 0 w 1678193"/>
                <a:gd name="connsiteY1" fmla="*/ 0 h 2549562"/>
                <a:gd name="connsiteX0" fmla="*/ 1700120 w 1700120"/>
                <a:gd name="connsiteY0" fmla="*/ 2549562 h 2549562"/>
                <a:gd name="connsiteX1" fmla="*/ 21927 w 1700120"/>
                <a:gd name="connsiteY1" fmla="*/ 0 h 2549562"/>
              </a:gdLst>
              <a:ahLst/>
              <a:cxnLst>
                <a:cxn ang="0">
                  <a:pos x="connsiteX0" y="connsiteY0"/>
                </a:cxn>
                <a:cxn ang="0">
                  <a:pos x="connsiteX1" y="connsiteY1"/>
                </a:cxn>
              </a:cxnLst>
              <a:rect l="l" t="t" r="r" b="b"/>
              <a:pathLst>
                <a:path w="1700120" h="2549562">
                  <a:moveTo>
                    <a:pt x="1700120" y="2549562"/>
                  </a:moveTo>
                  <a:cubicBezTo>
                    <a:pt x="1140722" y="1699708"/>
                    <a:pt x="-186118" y="1542185"/>
                    <a:pt x="21927" y="0"/>
                  </a:cubicBezTo>
                </a:path>
              </a:pathLst>
            </a:custGeom>
            <a:noFill/>
            <a:ln w="57150" cap="rnd">
              <a:solidFill>
                <a:schemeClr val="accent5"/>
              </a:solidFill>
              <a:tailEnd type="stealth"/>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1050" b="1">
                <a:solidFill>
                  <a:srgbClr val="000000"/>
                </a:solidFill>
                <a:latin typeface="RB Office"/>
                <a:ea typeface="Microsoft YaHei"/>
                <a:cs typeface="Segoe UI"/>
              </a:endParaRPr>
            </a:p>
          </p:txBody>
        </p:sp>
        <p:sp>
          <p:nvSpPr>
            <p:cNvPr id="210" name="Freeform: Shape 228">
              <a:extLst>
                <a:ext uri="{FF2B5EF4-FFF2-40B4-BE49-F238E27FC236}">
                  <a16:creationId xmlns:a16="http://schemas.microsoft.com/office/drawing/2014/main" id="{7F5CB0B5-C4C9-25C6-F860-238C1ADD741E}"/>
                </a:ext>
              </a:extLst>
            </p:cNvPr>
            <p:cNvSpPr/>
            <p:nvPr/>
          </p:nvSpPr>
          <p:spPr>
            <a:xfrm rot="18710363">
              <a:off x="7823862" y="2259023"/>
              <a:ext cx="630486" cy="486948"/>
            </a:xfrm>
            <a:custGeom>
              <a:avLst/>
              <a:gdLst>
                <a:gd name="connsiteX0" fmla="*/ 1777783 w 1777783"/>
                <a:gd name="connsiteY0" fmla="*/ 2592593 h 2592593"/>
                <a:gd name="connsiteX1" fmla="*/ 992475 w 1777783"/>
                <a:gd name="connsiteY1" fmla="*/ 2130014 h 2592593"/>
                <a:gd name="connsiteX2" fmla="*/ 78075 w 1777783"/>
                <a:gd name="connsiteY2" fmla="*/ 602428 h 2592593"/>
                <a:gd name="connsiteX3" fmla="*/ 110347 w 1777783"/>
                <a:gd name="connsiteY3" fmla="*/ 0 h 2592593"/>
                <a:gd name="connsiteX0" fmla="*/ 2187036 w 2187036"/>
                <a:gd name="connsiteY0" fmla="*/ 2592593 h 2592593"/>
                <a:gd name="connsiteX1" fmla="*/ 1401728 w 2187036"/>
                <a:gd name="connsiteY1" fmla="*/ 2130014 h 2592593"/>
                <a:gd name="connsiteX2" fmla="*/ 24749 w 2187036"/>
                <a:gd name="connsiteY2" fmla="*/ 1226372 h 2592593"/>
                <a:gd name="connsiteX3" fmla="*/ 519600 w 2187036"/>
                <a:gd name="connsiteY3" fmla="*/ 0 h 2592593"/>
                <a:gd name="connsiteX0" fmla="*/ 2187036 w 2187036"/>
                <a:gd name="connsiteY0" fmla="*/ 2592593 h 2592593"/>
                <a:gd name="connsiteX1" fmla="*/ 24749 w 2187036"/>
                <a:gd name="connsiteY1" fmla="*/ 1226372 h 2592593"/>
                <a:gd name="connsiteX2" fmla="*/ 519600 w 2187036"/>
                <a:gd name="connsiteY2" fmla="*/ 0 h 2592593"/>
                <a:gd name="connsiteX0" fmla="*/ 1934913 w 1934913"/>
                <a:gd name="connsiteY0" fmla="*/ 2592593 h 2592593"/>
                <a:gd name="connsiteX1" fmla="*/ 41568 w 1934913"/>
                <a:gd name="connsiteY1" fmla="*/ 1473798 h 2592593"/>
                <a:gd name="connsiteX2" fmla="*/ 267477 w 1934913"/>
                <a:gd name="connsiteY2" fmla="*/ 0 h 2592593"/>
                <a:gd name="connsiteX0" fmla="*/ 2136318 w 2136318"/>
                <a:gd name="connsiteY0" fmla="*/ 2592593 h 2592593"/>
                <a:gd name="connsiteX1" fmla="*/ 242973 w 2136318"/>
                <a:gd name="connsiteY1" fmla="*/ 1473798 h 2592593"/>
                <a:gd name="connsiteX2" fmla="*/ 468882 w 2136318"/>
                <a:gd name="connsiteY2" fmla="*/ 0 h 2592593"/>
                <a:gd name="connsiteX0" fmla="*/ 2136318 w 2136318"/>
                <a:gd name="connsiteY0" fmla="*/ 2592593 h 2592593"/>
                <a:gd name="connsiteX1" fmla="*/ 242973 w 2136318"/>
                <a:gd name="connsiteY1" fmla="*/ 1473798 h 2592593"/>
                <a:gd name="connsiteX2" fmla="*/ 468882 w 2136318"/>
                <a:gd name="connsiteY2" fmla="*/ 0 h 2592593"/>
                <a:gd name="connsiteX0" fmla="*/ 1816477 w 1816477"/>
                <a:gd name="connsiteY0" fmla="*/ 2592593 h 2592593"/>
                <a:gd name="connsiteX1" fmla="*/ 385711 w 1816477"/>
                <a:gd name="connsiteY1" fmla="*/ 1355463 h 2592593"/>
                <a:gd name="connsiteX2" fmla="*/ 149041 w 1816477"/>
                <a:gd name="connsiteY2" fmla="*/ 0 h 2592593"/>
                <a:gd name="connsiteX0" fmla="*/ 1769306 w 1769306"/>
                <a:gd name="connsiteY0" fmla="*/ 2595247 h 2595247"/>
                <a:gd name="connsiteX1" fmla="*/ 338540 w 1769306"/>
                <a:gd name="connsiteY1" fmla="*/ 1358117 h 2595247"/>
                <a:gd name="connsiteX2" fmla="*/ 101870 w 1769306"/>
                <a:gd name="connsiteY2" fmla="*/ 2654 h 2595247"/>
                <a:gd name="connsiteX0" fmla="*/ 1677308 w 1677308"/>
                <a:gd name="connsiteY0" fmla="*/ 2596034 h 2596034"/>
                <a:gd name="connsiteX1" fmla="*/ 429422 w 1677308"/>
                <a:gd name="connsiteY1" fmla="*/ 1262086 h 2596034"/>
                <a:gd name="connsiteX2" fmla="*/ 9872 w 1677308"/>
                <a:gd name="connsiteY2" fmla="*/ 3441 h 2596034"/>
                <a:gd name="connsiteX0" fmla="*/ 1667436 w 1667436"/>
                <a:gd name="connsiteY0" fmla="*/ 2594316 h 2594316"/>
                <a:gd name="connsiteX1" fmla="*/ 419550 w 1667436"/>
                <a:gd name="connsiteY1" fmla="*/ 1260368 h 2594316"/>
                <a:gd name="connsiteX2" fmla="*/ 0 w 1667436"/>
                <a:gd name="connsiteY2" fmla="*/ 1723 h 2594316"/>
                <a:gd name="connsiteX0" fmla="*/ 1678193 w 1678193"/>
                <a:gd name="connsiteY0" fmla="*/ 2550804 h 2550804"/>
                <a:gd name="connsiteX1" fmla="*/ 430307 w 1678193"/>
                <a:gd name="connsiteY1" fmla="*/ 1216856 h 2550804"/>
                <a:gd name="connsiteX2" fmla="*/ 0 w 1678193"/>
                <a:gd name="connsiteY2" fmla="*/ 1242 h 2550804"/>
                <a:gd name="connsiteX0" fmla="*/ 1678193 w 1678193"/>
                <a:gd name="connsiteY0" fmla="*/ 2550804 h 2550804"/>
                <a:gd name="connsiteX1" fmla="*/ 430307 w 1678193"/>
                <a:gd name="connsiteY1" fmla="*/ 1216856 h 2550804"/>
                <a:gd name="connsiteX2" fmla="*/ 0 w 1678193"/>
                <a:gd name="connsiteY2" fmla="*/ 1242 h 2550804"/>
                <a:gd name="connsiteX0" fmla="*/ 1683049 w 1683049"/>
                <a:gd name="connsiteY0" fmla="*/ 2549562 h 2549562"/>
                <a:gd name="connsiteX1" fmla="*/ 435163 w 1683049"/>
                <a:gd name="connsiteY1" fmla="*/ 1215614 h 2549562"/>
                <a:gd name="connsiteX2" fmla="*/ 4856 w 1683049"/>
                <a:gd name="connsiteY2" fmla="*/ 0 h 2549562"/>
                <a:gd name="connsiteX0" fmla="*/ 1678193 w 1678193"/>
                <a:gd name="connsiteY0" fmla="*/ 2549562 h 2549562"/>
                <a:gd name="connsiteX1" fmla="*/ 0 w 1678193"/>
                <a:gd name="connsiteY1" fmla="*/ 0 h 2549562"/>
                <a:gd name="connsiteX0" fmla="*/ 1700120 w 1700120"/>
                <a:gd name="connsiteY0" fmla="*/ 2549562 h 2549562"/>
                <a:gd name="connsiteX1" fmla="*/ 21927 w 1700120"/>
                <a:gd name="connsiteY1" fmla="*/ 0 h 2549562"/>
              </a:gdLst>
              <a:ahLst/>
              <a:cxnLst>
                <a:cxn ang="0">
                  <a:pos x="connsiteX0" y="connsiteY0"/>
                </a:cxn>
                <a:cxn ang="0">
                  <a:pos x="connsiteX1" y="connsiteY1"/>
                </a:cxn>
              </a:cxnLst>
              <a:rect l="l" t="t" r="r" b="b"/>
              <a:pathLst>
                <a:path w="1700120" h="2549562">
                  <a:moveTo>
                    <a:pt x="1700120" y="2549562"/>
                  </a:moveTo>
                  <a:cubicBezTo>
                    <a:pt x="1140722" y="1699708"/>
                    <a:pt x="-186118" y="1542185"/>
                    <a:pt x="21927" y="0"/>
                  </a:cubicBezTo>
                </a:path>
              </a:pathLst>
            </a:custGeom>
            <a:noFill/>
            <a:ln w="19050" cap="rnd">
              <a:solidFill>
                <a:schemeClr val="accent5"/>
              </a:solidFill>
              <a:tailEnd type="stealth"/>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1050" b="1">
                <a:solidFill>
                  <a:srgbClr val="000000"/>
                </a:solidFill>
                <a:latin typeface="RB Office"/>
                <a:ea typeface="Microsoft YaHei"/>
                <a:cs typeface="Segoe UI"/>
              </a:endParaRPr>
            </a:p>
          </p:txBody>
        </p:sp>
        <p:sp>
          <p:nvSpPr>
            <p:cNvPr id="211" name="Freeform: Shape 229">
              <a:extLst>
                <a:ext uri="{FF2B5EF4-FFF2-40B4-BE49-F238E27FC236}">
                  <a16:creationId xmlns:a16="http://schemas.microsoft.com/office/drawing/2014/main" id="{BE861E8F-6B4B-B755-7A03-B1FEB4C93CB2}"/>
                </a:ext>
              </a:extLst>
            </p:cNvPr>
            <p:cNvSpPr/>
            <p:nvPr/>
          </p:nvSpPr>
          <p:spPr>
            <a:xfrm rot="4118964">
              <a:off x="3130895" y="1694244"/>
              <a:ext cx="256912" cy="1449660"/>
            </a:xfrm>
            <a:custGeom>
              <a:avLst/>
              <a:gdLst>
                <a:gd name="connsiteX0" fmla="*/ 0 w 753576"/>
                <a:gd name="connsiteY0" fmla="*/ 767361 h 767361"/>
                <a:gd name="connsiteX1" fmla="*/ 753576 w 753576"/>
                <a:gd name="connsiteY1" fmla="*/ 0 h 767361"/>
                <a:gd name="connsiteX0" fmla="*/ 0 w 774249"/>
                <a:gd name="connsiteY0" fmla="*/ 767361 h 767361"/>
                <a:gd name="connsiteX1" fmla="*/ 753576 w 774249"/>
                <a:gd name="connsiteY1" fmla="*/ 0 h 767361"/>
              </a:gdLst>
              <a:ahLst/>
              <a:cxnLst>
                <a:cxn ang="0">
                  <a:pos x="connsiteX0" y="connsiteY0"/>
                </a:cxn>
                <a:cxn ang="0">
                  <a:pos x="connsiteX1" y="connsiteY1"/>
                </a:cxn>
              </a:cxnLst>
              <a:rect l="l" t="t" r="r" b="b"/>
              <a:pathLst>
                <a:path w="774249" h="767361">
                  <a:moveTo>
                    <a:pt x="0" y="767361"/>
                  </a:moveTo>
                  <a:cubicBezTo>
                    <a:pt x="251192" y="511574"/>
                    <a:pt x="897552" y="586626"/>
                    <a:pt x="753576" y="0"/>
                  </a:cubicBezTo>
                </a:path>
              </a:pathLst>
            </a:custGeom>
            <a:noFill/>
            <a:ln w="19050" cap="rnd">
              <a:solidFill>
                <a:schemeClr val="accent5"/>
              </a:solidFill>
              <a:tailEnd type="stealth"/>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1050" b="1">
                <a:solidFill>
                  <a:srgbClr val="000000"/>
                </a:solidFill>
                <a:latin typeface="RB Office"/>
                <a:ea typeface="Microsoft YaHei"/>
                <a:cs typeface="Segoe UI"/>
              </a:endParaRPr>
            </a:p>
          </p:txBody>
        </p:sp>
        <p:sp>
          <p:nvSpPr>
            <p:cNvPr id="212" name="Freeform: Shape 230">
              <a:extLst>
                <a:ext uri="{FF2B5EF4-FFF2-40B4-BE49-F238E27FC236}">
                  <a16:creationId xmlns:a16="http://schemas.microsoft.com/office/drawing/2014/main" id="{1062DDF0-DCEE-CADB-F473-8F6671A04007}"/>
                </a:ext>
              </a:extLst>
            </p:cNvPr>
            <p:cNvSpPr/>
            <p:nvPr/>
          </p:nvSpPr>
          <p:spPr>
            <a:xfrm rot="5025941" flipH="1">
              <a:off x="3596677" y="1347587"/>
              <a:ext cx="317792" cy="1244420"/>
            </a:xfrm>
            <a:custGeom>
              <a:avLst/>
              <a:gdLst>
                <a:gd name="connsiteX0" fmla="*/ 0 w 753576"/>
                <a:gd name="connsiteY0" fmla="*/ 767361 h 767361"/>
                <a:gd name="connsiteX1" fmla="*/ 753576 w 753576"/>
                <a:gd name="connsiteY1" fmla="*/ 0 h 767361"/>
                <a:gd name="connsiteX0" fmla="*/ 0 w 774249"/>
                <a:gd name="connsiteY0" fmla="*/ 767361 h 767361"/>
                <a:gd name="connsiteX1" fmla="*/ 753576 w 774249"/>
                <a:gd name="connsiteY1" fmla="*/ 0 h 767361"/>
              </a:gdLst>
              <a:ahLst/>
              <a:cxnLst>
                <a:cxn ang="0">
                  <a:pos x="connsiteX0" y="connsiteY0"/>
                </a:cxn>
                <a:cxn ang="0">
                  <a:pos x="connsiteX1" y="connsiteY1"/>
                </a:cxn>
              </a:cxnLst>
              <a:rect l="l" t="t" r="r" b="b"/>
              <a:pathLst>
                <a:path w="774249" h="767361">
                  <a:moveTo>
                    <a:pt x="0" y="767361"/>
                  </a:moveTo>
                  <a:cubicBezTo>
                    <a:pt x="251192" y="511574"/>
                    <a:pt x="897552" y="586626"/>
                    <a:pt x="753576" y="0"/>
                  </a:cubicBezTo>
                </a:path>
              </a:pathLst>
            </a:custGeom>
            <a:noFill/>
            <a:ln w="19050" cap="rnd">
              <a:solidFill>
                <a:schemeClr val="accent5"/>
              </a:solidFill>
              <a:tailEnd type="stealth"/>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1050" b="1">
                <a:solidFill>
                  <a:srgbClr val="000000"/>
                </a:solidFill>
                <a:latin typeface="RB Office"/>
                <a:ea typeface="Microsoft YaHei"/>
                <a:cs typeface="Segoe UI"/>
              </a:endParaRPr>
            </a:p>
          </p:txBody>
        </p:sp>
        <p:sp>
          <p:nvSpPr>
            <p:cNvPr id="213" name="Freeform: Shape 231">
              <a:extLst>
                <a:ext uri="{FF2B5EF4-FFF2-40B4-BE49-F238E27FC236}">
                  <a16:creationId xmlns:a16="http://schemas.microsoft.com/office/drawing/2014/main" id="{C3928152-A816-E172-D837-B3113408E32D}"/>
                </a:ext>
              </a:extLst>
            </p:cNvPr>
            <p:cNvSpPr/>
            <p:nvPr/>
          </p:nvSpPr>
          <p:spPr>
            <a:xfrm rot="18463245">
              <a:off x="1397859" y="2200873"/>
              <a:ext cx="257488" cy="2589410"/>
            </a:xfrm>
            <a:custGeom>
              <a:avLst/>
              <a:gdLst>
                <a:gd name="connsiteX0" fmla="*/ 0 w 753576"/>
                <a:gd name="connsiteY0" fmla="*/ 767361 h 767361"/>
                <a:gd name="connsiteX1" fmla="*/ 753576 w 753576"/>
                <a:gd name="connsiteY1" fmla="*/ 0 h 767361"/>
                <a:gd name="connsiteX0" fmla="*/ 0 w 774249"/>
                <a:gd name="connsiteY0" fmla="*/ 767361 h 767361"/>
                <a:gd name="connsiteX1" fmla="*/ 753576 w 774249"/>
                <a:gd name="connsiteY1" fmla="*/ 0 h 767361"/>
              </a:gdLst>
              <a:ahLst/>
              <a:cxnLst>
                <a:cxn ang="0">
                  <a:pos x="connsiteX0" y="connsiteY0"/>
                </a:cxn>
                <a:cxn ang="0">
                  <a:pos x="connsiteX1" y="connsiteY1"/>
                </a:cxn>
              </a:cxnLst>
              <a:rect l="l" t="t" r="r" b="b"/>
              <a:pathLst>
                <a:path w="774249" h="767361">
                  <a:moveTo>
                    <a:pt x="0" y="767361"/>
                  </a:moveTo>
                  <a:cubicBezTo>
                    <a:pt x="251192" y="511574"/>
                    <a:pt x="897552" y="586626"/>
                    <a:pt x="753576" y="0"/>
                  </a:cubicBezTo>
                </a:path>
              </a:pathLst>
            </a:custGeom>
            <a:noFill/>
            <a:ln w="57150" cap="rnd">
              <a:solidFill>
                <a:schemeClr val="accent5"/>
              </a:solidFill>
              <a:tailEnd type="stealth"/>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1050" b="1">
                <a:solidFill>
                  <a:srgbClr val="000000"/>
                </a:solidFill>
                <a:latin typeface="RB Office"/>
                <a:ea typeface="Microsoft YaHei"/>
                <a:cs typeface="Segoe UI"/>
              </a:endParaRPr>
            </a:p>
          </p:txBody>
        </p:sp>
        <p:sp>
          <p:nvSpPr>
            <p:cNvPr id="214" name="Oval 232">
              <a:extLst>
                <a:ext uri="{FF2B5EF4-FFF2-40B4-BE49-F238E27FC236}">
                  <a16:creationId xmlns:a16="http://schemas.microsoft.com/office/drawing/2014/main" id="{4D7EFBC1-1EA4-68A4-613D-341080E27B1B}"/>
                </a:ext>
              </a:extLst>
            </p:cNvPr>
            <p:cNvSpPr/>
            <p:nvPr/>
          </p:nvSpPr>
          <p:spPr>
            <a:xfrm flipH="1">
              <a:off x="6893636" y="3457529"/>
              <a:ext cx="13500" cy="13500"/>
            </a:xfrm>
            <a:prstGeom prst="ellipse">
              <a:avLst/>
            </a:prstGeom>
            <a:solidFill>
              <a:srgbClr val="0096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defTabSz="685800" fontAlgn="base">
                <a:spcBef>
                  <a:spcPts val="300"/>
                </a:spcBef>
                <a:spcAft>
                  <a:spcPct val="0"/>
                </a:spcAft>
                <a:buSzPct val="100000"/>
                <a:defRPr/>
              </a:pPr>
              <a:endParaRPr lang="en-US" sz="900">
                <a:solidFill>
                  <a:srgbClr val="000000"/>
                </a:solidFill>
                <a:latin typeface="+mj-lt"/>
                <a:ea typeface="Microsoft YaHei"/>
                <a:cs typeface="Segoe UI"/>
                <a:sym typeface="+mn-lt"/>
              </a:endParaRPr>
            </a:p>
          </p:txBody>
        </p:sp>
        <p:sp>
          <p:nvSpPr>
            <p:cNvPr id="215" name="Freeform: Shape 233">
              <a:extLst>
                <a:ext uri="{FF2B5EF4-FFF2-40B4-BE49-F238E27FC236}">
                  <a16:creationId xmlns:a16="http://schemas.microsoft.com/office/drawing/2014/main" id="{F133FDEC-1691-84FC-E1A4-71250737436E}"/>
                </a:ext>
              </a:extLst>
            </p:cNvPr>
            <p:cNvSpPr/>
            <p:nvPr/>
          </p:nvSpPr>
          <p:spPr>
            <a:xfrm rot="1133384">
              <a:off x="6756772" y="3528294"/>
              <a:ext cx="410560" cy="690952"/>
            </a:xfrm>
            <a:custGeom>
              <a:avLst/>
              <a:gdLst>
                <a:gd name="connsiteX0" fmla="*/ 1777783 w 1777783"/>
                <a:gd name="connsiteY0" fmla="*/ 2592593 h 2592593"/>
                <a:gd name="connsiteX1" fmla="*/ 992475 w 1777783"/>
                <a:gd name="connsiteY1" fmla="*/ 2130014 h 2592593"/>
                <a:gd name="connsiteX2" fmla="*/ 78075 w 1777783"/>
                <a:gd name="connsiteY2" fmla="*/ 602428 h 2592593"/>
                <a:gd name="connsiteX3" fmla="*/ 110347 w 1777783"/>
                <a:gd name="connsiteY3" fmla="*/ 0 h 2592593"/>
                <a:gd name="connsiteX0" fmla="*/ 2187036 w 2187036"/>
                <a:gd name="connsiteY0" fmla="*/ 2592593 h 2592593"/>
                <a:gd name="connsiteX1" fmla="*/ 1401728 w 2187036"/>
                <a:gd name="connsiteY1" fmla="*/ 2130014 h 2592593"/>
                <a:gd name="connsiteX2" fmla="*/ 24749 w 2187036"/>
                <a:gd name="connsiteY2" fmla="*/ 1226372 h 2592593"/>
                <a:gd name="connsiteX3" fmla="*/ 519600 w 2187036"/>
                <a:gd name="connsiteY3" fmla="*/ 0 h 2592593"/>
                <a:gd name="connsiteX0" fmla="*/ 2187036 w 2187036"/>
                <a:gd name="connsiteY0" fmla="*/ 2592593 h 2592593"/>
                <a:gd name="connsiteX1" fmla="*/ 24749 w 2187036"/>
                <a:gd name="connsiteY1" fmla="*/ 1226372 h 2592593"/>
                <a:gd name="connsiteX2" fmla="*/ 519600 w 2187036"/>
                <a:gd name="connsiteY2" fmla="*/ 0 h 2592593"/>
                <a:gd name="connsiteX0" fmla="*/ 1934913 w 1934913"/>
                <a:gd name="connsiteY0" fmla="*/ 2592593 h 2592593"/>
                <a:gd name="connsiteX1" fmla="*/ 41568 w 1934913"/>
                <a:gd name="connsiteY1" fmla="*/ 1473798 h 2592593"/>
                <a:gd name="connsiteX2" fmla="*/ 267477 w 1934913"/>
                <a:gd name="connsiteY2" fmla="*/ 0 h 2592593"/>
                <a:gd name="connsiteX0" fmla="*/ 2136318 w 2136318"/>
                <a:gd name="connsiteY0" fmla="*/ 2592593 h 2592593"/>
                <a:gd name="connsiteX1" fmla="*/ 242973 w 2136318"/>
                <a:gd name="connsiteY1" fmla="*/ 1473798 h 2592593"/>
                <a:gd name="connsiteX2" fmla="*/ 468882 w 2136318"/>
                <a:gd name="connsiteY2" fmla="*/ 0 h 2592593"/>
                <a:gd name="connsiteX0" fmla="*/ 2136318 w 2136318"/>
                <a:gd name="connsiteY0" fmla="*/ 2592593 h 2592593"/>
                <a:gd name="connsiteX1" fmla="*/ 242973 w 2136318"/>
                <a:gd name="connsiteY1" fmla="*/ 1473798 h 2592593"/>
                <a:gd name="connsiteX2" fmla="*/ 468882 w 2136318"/>
                <a:gd name="connsiteY2" fmla="*/ 0 h 2592593"/>
                <a:gd name="connsiteX0" fmla="*/ 1816477 w 1816477"/>
                <a:gd name="connsiteY0" fmla="*/ 2592593 h 2592593"/>
                <a:gd name="connsiteX1" fmla="*/ 385711 w 1816477"/>
                <a:gd name="connsiteY1" fmla="*/ 1355463 h 2592593"/>
                <a:gd name="connsiteX2" fmla="*/ 149041 w 1816477"/>
                <a:gd name="connsiteY2" fmla="*/ 0 h 2592593"/>
                <a:gd name="connsiteX0" fmla="*/ 1769306 w 1769306"/>
                <a:gd name="connsiteY0" fmla="*/ 2595247 h 2595247"/>
                <a:gd name="connsiteX1" fmla="*/ 338540 w 1769306"/>
                <a:gd name="connsiteY1" fmla="*/ 1358117 h 2595247"/>
                <a:gd name="connsiteX2" fmla="*/ 101870 w 1769306"/>
                <a:gd name="connsiteY2" fmla="*/ 2654 h 2595247"/>
                <a:gd name="connsiteX0" fmla="*/ 1677308 w 1677308"/>
                <a:gd name="connsiteY0" fmla="*/ 2596034 h 2596034"/>
                <a:gd name="connsiteX1" fmla="*/ 429422 w 1677308"/>
                <a:gd name="connsiteY1" fmla="*/ 1262086 h 2596034"/>
                <a:gd name="connsiteX2" fmla="*/ 9872 w 1677308"/>
                <a:gd name="connsiteY2" fmla="*/ 3441 h 2596034"/>
                <a:gd name="connsiteX0" fmla="*/ 1667436 w 1667436"/>
                <a:gd name="connsiteY0" fmla="*/ 2594316 h 2594316"/>
                <a:gd name="connsiteX1" fmla="*/ 419550 w 1667436"/>
                <a:gd name="connsiteY1" fmla="*/ 1260368 h 2594316"/>
                <a:gd name="connsiteX2" fmla="*/ 0 w 1667436"/>
                <a:gd name="connsiteY2" fmla="*/ 1723 h 2594316"/>
                <a:gd name="connsiteX0" fmla="*/ 1678193 w 1678193"/>
                <a:gd name="connsiteY0" fmla="*/ 2550804 h 2550804"/>
                <a:gd name="connsiteX1" fmla="*/ 430307 w 1678193"/>
                <a:gd name="connsiteY1" fmla="*/ 1216856 h 2550804"/>
                <a:gd name="connsiteX2" fmla="*/ 0 w 1678193"/>
                <a:gd name="connsiteY2" fmla="*/ 1242 h 2550804"/>
                <a:gd name="connsiteX0" fmla="*/ 1678193 w 1678193"/>
                <a:gd name="connsiteY0" fmla="*/ 2550804 h 2550804"/>
                <a:gd name="connsiteX1" fmla="*/ 430307 w 1678193"/>
                <a:gd name="connsiteY1" fmla="*/ 1216856 h 2550804"/>
                <a:gd name="connsiteX2" fmla="*/ 0 w 1678193"/>
                <a:gd name="connsiteY2" fmla="*/ 1242 h 2550804"/>
                <a:gd name="connsiteX0" fmla="*/ 1683049 w 1683049"/>
                <a:gd name="connsiteY0" fmla="*/ 2549562 h 2549562"/>
                <a:gd name="connsiteX1" fmla="*/ 435163 w 1683049"/>
                <a:gd name="connsiteY1" fmla="*/ 1215614 h 2549562"/>
                <a:gd name="connsiteX2" fmla="*/ 4856 w 1683049"/>
                <a:gd name="connsiteY2" fmla="*/ 0 h 2549562"/>
                <a:gd name="connsiteX0" fmla="*/ 1678193 w 1678193"/>
                <a:gd name="connsiteY0" fmla="*/ 2549562 h 2549562"/>
                <a:gd name="connsiteX1" fmla="*/ 0 w 1678193"/>
                <a:gd name="connsiteY1" fmla="*/ 0 h 2549562"/>
                <a:gd name="connsiteX0" fmla="*/ 1700120 w 1700120"/>
                <a:gd name="connsiteY0" fmla="*/ 2549562 h 2549562"/>
                <a:gd name="connsiteX1" fmla="*/ 21927 w 1700120"/>
                <a:gd name="connsiteY1" fmla="*/ 0 h 2549562"/>
              </a:gdLst>
              <a:ahLst/>
              <a:cxnLst>
                <a:cxn ang="0">
                  <a:pos x="connsiteX0" y="connsiteY0"/>
                </a:cxn>
                <a:cxn ang="0">
                  <a:pos x="connsiteX1" y="connsiteY1"/>
                </a:cxn>
              </a:cxnLst>
              <a:rect l="l" t="t" r="r" b="b"/>
              <a:pathLst>
                <a:path w="1700120" h="2549562">
                  <a:moveTo>
                    <a:pt x="1700120" y="2549562"/>
                  </a:moveTo>
                  <a:cubicBezTo>
                    <a:pt x="1140722" y="1699708"/>
                    <a:pt x="-186118" y="1542185"/>
                    <a:pt x="21927" y="0"/>
                  </a:cubicBezTo>
                </a:path>
              </a:pathLst>
            </a:custGeom>
            <a:noFill/>
            <a:ln w="57150" cap="rnd">
              <a:solidFill>
                <a:schemeClr val="accent5"/>
              </a:solidFill>
              <a:tailEnd type="stealth"/>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1050" b="1">
                <a:solidFill>
                  <a:srgbClr val="000000"/>
                </a:solidFill>
                <a:latin typeface="+mj-lt"/>
                <a:ea typeface="Microsoft YaHei"/>
                <a:cs typeface="Segoe UI"/>
              </a:endParaRPr>
            </a:p>
          </p:txBody>
        </p:sp>
        <p:sp>
          <p:nvSpPr>
            <p:cNvPr id="216" name="Freeform: Shape 234">
              <a:extLst>
                <a:ext uri="{FF2B5EF4-FFF2-40B4-BE49-F238E27FC236}">
                  <a16:creationId xmlns:a16="http://schemas.microsoft.com/office/drawing/2014/main" id="{3A4F3366-9B5B-0540-502A-DA10BFE50539}"/>
                </a:ext>
              </a:extLst>
            </p:cNvPr>
            <p:cNvSpPr/>
            <p:nvPr/>
          </p:nvSpPr>
          <p:spPr>
            <a:xfrm rot="4500000" flipH="1">
              <a:off x="3901666" y="2437000"/>
              <a:ext cx="319439" cy="231263"/>
            </a:xfrm>
            <a:custGeom>
              <a:avLst/>
              <a:gdLst>
                <a:gd name="connsiteX0" fmla="*/ 0 w 165419"/>
                <a:gd name="connsiteY0" fmla="*/ 266509 h 266509"/>
                <a:gd name="connsiteX1" fmla="*/ 165419 w 165419"/>
                <a:gd name="connsiteY1" fmla="*/ 0 h 266509"/>
                <a:gd name="connsiteX0" fmla="*/ 0 w 165419"/>
                <a:gd name="connsiteY0" fmla="*/ 266509 h 266509"/>
                <a:gd name="connsiteX1" fmla="*/ 165419 w 165419"/>
                <a:gd name="connsiteY1" fmla="*/ 0 h 266509"/>
              </a:gdLst>
              <a:ahLst/>
              <a:cxnLst>
                <a:cxn ang="0">
                  <a:pos x="connsiteX0" y="connsiteY0"/>
                </a:cxn>
                <a:cxn ang="0">
                  <a:pos x="connsiteX1" y="connsiteY1"/>
                </a:cxn>
              </a:cxnLst>
              <a:rect l="l" t="t" r="r" b="b"/>
              <a:pathLst>
                <a:path w="165419" h="266509">
                  <a:moveTo>
                    <a:pt x="0" y="266509"/>
                  </a:moveTo>
                  <a:cubicBezTo>
                    <a:pt x="192989" y="246597"/>
                    <a:pt x="110279" y="88836"/>
                    <a:pt x="165419" y="0"/>
                  </a:cubicBezTo>
                </a:path>
              </a:pathLst>
            </a:custGeom>
            <a:noFill/>
            <a:ln w="57150" cap="rnd">
              <a:solidFill>
                <a:srgbClr val="E62933"/>
              </a:solidFill>
              <a:tailEnd type="stealth"/>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1050" b="1">
                <a:solidFill>
                  <a:srgbClr val="000000"/>
                </a:solidFill>
                <a:latin typeface="RB Office"/>
                <a:ea typeface="Microsoft YaHei"/>
                <a:cs typeface="Segoe UI"/>
              </a:endParaRPr>
            </a:p>
          </p:txBody>
        </p:sp>
        <p:sp>
          <p:nvSpPr>
            <p:cNvPr id="217" name="Freeform: Shape 235">
              <a:extLst>
                <a:ext uri="{FF2B5EF4-FFF2-40B4-BE49-F238E27FC236}">
                  <a16:creationId xmlns:a16="http://schemas.microsoft.com/office/drawing/2014/main" id="{C6ABB8AC-E7AA-912E-DA7B-1F77E1A4474D}"/>
                </a:ext>
              </a:extLst>
            </p:cNvPr>
            <p:cNvSpPr/>
            <p:nvPr/>
          </p:nvSpPr>
          <p:spPr>
            <a:xfrm rot="9900000">
              <a:off x="4402721" y="1981753"/>
              <a:ext cx="239771" cy="257952"/>
            </a:xfrm>
            <a:custGeom>
              <a:avLst/>
              <a:gdLst>
                <a:gd name="connsiteX0" fmla="*/ 0 w 165419"/>
                <a:gd name="connsiteY0" fmla="*/ 266509 h 266509"/>
                <a:gd name="connsiteX1" fmla="*/ 165419 w 165419"/>
                <a:gd name="connsiteY1" fmla="*/ 0 h 266509"/>
                <a:gd name="connsiteX0" fmla="*/ 0 w 165419"/>
                <a:gd name="connsiteY0" fmla="*/ 266509 h 266509"/>
                <a:gd name="connsiteX1" fmla="*/ 165419 w 165419"/>
                <a:gd name="connsiteY1" fmla="*/ 0 h 266509"/>
              </a:gdLst>
              <a:ahLst/>
              <a:cxnLst>
                <a:cxn ang="0">
                  <a:pos x="connsiteX0" y="connsiteY0"/>
                </a:cxn>
                <a:cxn ang="0">
                  <a:pos x="connsiteX1" y="connsiteY1"/>
                </a:cxn>
              </a:cxnLst>
              <a:rect l="l" t="t" r="r" b="b"/>
              <a:pathLst>
                <a:path w="165419" h="266509">
                  <a:moveTo>
                    <a:pt x="0" y="266509"/>
                  </a:moveTo>
                  <a:cubicBezTo>
                    <a:pt x="192989" y="246597"/>
                    <a:pt x="110279" y="88836"/>
                    <a:pt x="165419" y="0"/>
                  </a:cubicBezTo>
                </a:path>
              </a:pathLst>
            </a:custGeom>
            <a:noFill/>
            <a:ln w="57150" cap="rnd">
              <a:solidFill>
                <a:srgbClr val="E62933"/>
              </a:solidFill>
              <a:tailEnd type="stealth"/>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1050" b="1">
                <a:solidFill>
                  <a:srgbClr val="000000"/>
                </a:solidFill>
                <a:latin typeface="RB Office"/>
                <a:ea typeface="Microsoft YaHei"/>
                <a:cs typeface="Segoe UI"/>
              </a:endParaRPr>
            </a:p>
          </p:txBody>
        </p:sp>
      </p:grpSp>
      <p:grpSp>
        <p:nvGrpSpPr>
          <p:cNvPr id="218" name="Group 242">
            <a:extLst>
              <a:ext uri="{FF2B5EF4-FFF2-40B4-BE49-F238E27FC236}">
                <a16:creationId xmlns:a16="http://schemas.microsoft.com/office/drawing/2014/main" id="{E2D06C75-24DF-97CA-3213-25DC6240A667}"/>
              </a:ext>
            </a:extLst>
          </p:cNvPr>
          <p:cNvGrpSpPr/>
          <p:nvPr/>
        </p:nvGrpSpPr>
        <p:grpSpPr>
          <a:xfrm>
            <a:off x="267604" y="-985"/>
            <a:ext cx="1821103" cy="246221"/>
            <a:chOff x="267604" y="3778"/>
            <a:chExt cx="1821103" cy="246221"/>
          </a:xfrm>
        </p:grpSpPr>
        <p:sp>
          <p:nvSpPr>
            <p:cNvPr id="219" name="Oval 243">
              <a:extLst>
                <a:ext uri="{FF2B5EF4-FFF2-40B4-BE49-F238E27FC236}">
                  <a16:creationId xmlns:a16="http://schemas.microsoft.com/office/drawing/2014/main" id="{D546DB2B-AEA6-3518-6F07-A8F5C52D6006}"/>
                </a:ext>
              </a:extLst>
            </p:cNvPr>
            <p:cNvSpPr/>
            <p:nvPr/>
          </p:nvSpPr>
          <p:spPr>
            <a:xfrm>
              <a:off x="267604" y="45746"/>
              <a:ext cx="162285" cy="162285"/>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RB Office"/>
                  <a:ea typeface="Microsoft YaHei"/>
                  <a:cs typeface="Calibri"/>
                </a:rPr>
                <a:t>B</a:t>
              </a:r>
            </a:p>
          </p:txBody>
        </p:sp>
        <p:sp>
          <p:nvSpPr>
            <p:cNvPr id="220" name="TextBox 244">
              <a:extLst>
                <a:ext uri="{FF2B5EF4-FFF2-40B4-BE49-F238E27FC236}">
                  <a16:creationId xmlns:a16="http://schemas.microsoft.com/office/drawing/2014/main" id="{8DBBF9FE-4625-2DB0-0D0F-AD730DB9C16C}"/>
                </a:ext>
              </a:extLst>
            </p:cNvPr>
            <p:cNvSpPr txBox="1"/>
            <p:nvPr/>
          </p:nvSpPr>
          <p:spPr>
            <a:xfrm>
              <a:off x="362201" y="3778"/>
              <a:ext cx="1726506" cy="246221"/>
            </a:xfrm>
            <a:prstGeom prst="rect">
              <a:avLst/>
            </a:prstGeom>
            <a:noFill/>
          </p:spPr>
          <p:txBody>
            <a:bodyPr wrap="square" rtlCol="0" anchor="ctr">
              <a:spAutoFit/>
            </a:bodyPr>
            <a:lstStyle/>
            <a:p>
              <a:r>
                <a:rPr lang="en-GB" sz="1000" dirty="0"/>
                <a:t>Hydrogen infrastructure</a:t>
              </a:r>
            </a:p>
          </p:txBody>
        </p:sp>
      </p:grpSp>
    </p:spTree>
    <p:extLst>
      <p:ext uri="{BB962C8B-B14F-4D97-AF65-F5344CB8AC3E}">
        <p14:creationId xmlns:p14="http://schemas.microsoft.com/office/powerpoint/2010/main" val="14896754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rmatted_text">
            <a:extLst>
              <a:ext uri="{FF2B5EF4-FFF2-40B4-BE49-F238E27FC236}">
                <a16:creationId xmlns:a16="http://schemas.microsoft.com/office/drawing/2014/main" id="{6F16D83E-3D4C-157F-1C78-1B51BB90CDEA}"/>
              </a:ext>
            </a:extLst>
          </p:cNvPr>
          <p:cNvSpPr txBox="1">
            <a:spLocks/>
          </p:cNvSpPr>
          <p:nvPr/>
        </p:nvSpPr>
        <p:spPr>
          <a:xfrm>
            <a:off x="267604" y="1764046"/>
            <a:ext cx="1018508" cy="498598"/>
          </a:xfrm>
          <a:prstGeom prst="rect">
            <a:avLst/>
          </a:prstGeom>
          <a:noFill/>
          <a:ln w="9525">
            <a:noFill/>
          </a:ln>
        </p:spPr>
        <p:txBody>
          <a:bodyPr vert="horz" wrap="square" lIns="0" tIns="0" rIns="0" bIns="0" rtlCol="0">
            <a:spAutoFit/>
          </a:bodyP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pPr>
              <a:lnSpc>
                <a:spcPct val="90000"/>
              </a:lnSpc>
              <a:spcBef>
                <a:spcPts val="300"/>
              </a:spcBef>
              <a:buSzPct val="100000"/>
            </a:pPr>
            <a:r>
              <a:rPr lang="en-US" sz="900" dirty="0">
                <a:latin typeface="+mn-lt"/>
                <a:sym typeface="+mn-lt"/>
              </a:rPr>
              <a:t>Centers of production Hydrogen Valleys</a:t>
            </a:r>
            <a:r>
              <a:rPr lang="en-US" sz="900" b="0" dirty="0">
                <a:latin typeface="+mn-lt"/>
                <a:sym typeface="+mn-lt"/>
              </a:rPr>
              <a:t> (</a:t>
            </a:r>
            <a:r>
              <a:rPr lang="en-US" sz="900" b="0" dirty="0" err="1">
                <a:latin typeface="+mn-lt"/>
                <a:sym typeface="+mn-lt"/>
              </a:rPr>
              <a:t>H2T</a:t>
            </a:r>
            <a:r>
              <a:rPr lang="en-US" sz="900" b="0" dirty="0">
                <a:latin typeface="+mn-lt"/>
                <a:sym typeface="+mn-lt"/>
              </a:rPr>
              <a:t>/day)</a:t>
            </a:r>
            <a:endParaRPr lang="en-US" sz="900" dirty="0">
              <a:latin typeface="+mn-lt"/>
              <a:sym typeface="+mn-lt"/>
            </a:endParaRPr>
          </a:p>
        </p:txBody>
      </p:sp>
      <p:cxnSp>
        <p:nvCxnSpPr>
          <p:cNvPr id="3" name="Straight Connector 190">
            <a:extLst>
              <a:ext uri="{FF2B5EF4-FFF2-40B4-BE49-F238E27FC236}">
                <a16:creationId xmlns:a16="http://schemas.microsoft.com/office/drawing/2014/main" id="{AA451919-848C-2D51-069C-F4CADA72DAE4}"/>
              </a:ext>
            </a:extLst>
          </p:cNvPr>
          <p:cNvCxnSpPr>
            <a:cxnSpLocks/>
          </p:cNvCxnSpPr>
          <p:nvPr/>
        </p:nvCxnSpPr>
        <p:spPr>
          <a:xfrm>
            <a:off x="433046" y="2319472"/>
            <a:ext cx="0" cy="1434438"/>
          </a:xfrm>
          <a:prstGeom prst="line">
            <a:avLst/>
          </a:prstGeom>
          <a:ln w="6350" cmpd="sng">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Oval 191">
            <a:extLst>
              <a:ext uri="{FF2B5EF4-FFF2-40B4-BE49-F238E27FC236}">
                <a16:creationId xmlns:a16="http://schemas.microsoft.com/office/drawing/2014/main" id="{F3EB2190-C9C7-717F-8AFA-4F12CE02561C}"/>
              </a:ext>
            </a:extLst>
          </p:cNvPr>
          <p:cNvSpPr/>
          <p:nvPr/>
        </p:nvSpPr>
        <p:spPr>
          <a:xfrm>
            <a:off x="401878" y="2347269"/>
            <a:ext cx="62336" cy="62336"/>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a:solidFill>
                <a:schemeClr val="tx1"/>
              </a:solidFill>
              <a:sym typeface="+mn-lt"/>
            </a:endParaRPr>
          </a:p>
        </p:txBody>
      </p:sp>
      <p:sp>
        <p:nvSpPr>
          <p:cNvPr id="5" name="Oval 192">
            <a:extLst>
              <a:ext uri="{FF2B5EF4-FFF2-40B4-BE49-F238E27FC236}">
                <a16:creationId xmlns:a16="http://schemas.microsoft.com/office/drawing/2014/main" id="{2D58525F-B8BD-271A-F0A7-893C272572B4}"/>
              </a:ext>
            </a:extLst>
          </p:cNvPr>
          <p:cNvSpPr/>
          <p:nvPr/>
        </p:nvSpPr>
        <p:spPr>
          <a:xfrm>
            <a:off x="382792" y="2666069"/>
            <a:ext cx="100511" cy="100511"/>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a:solidFill>
                <a:schemeClr val="tx1"/>
              </a:solidFill>
              <a:sym typeface="+mn-lt"/>
            </a:endParaRPr>
          </a:p>
        </p:txBody>
      </p:sp>
      <p:sp>
        <p:nvSpPr>
          <p:cNvPr id="6" name="Oval 193">
            <a:extLst>
              <a:ext uri="{FF2B5EF4-FFF2-40B4-BE49-F238E27FC236}">
                <a16:creationId xmlns:a16="http://schemas.microsoft.com/office/drawing/2014/main" id="{BF78A578-DBF1-2C57-077C-550AEEC45B99}"/>
              </a:ext>
            </a:extLst>
          </p:cNvPr>
          <p:cNvSpPr/>
          <p:nvPr/>
        </p:nvSpPr>
        <p:spPr>
          <a:xfrm>
            <a:off x="366438" y="2986457"/>
            <a:ext cx="133217" cy="133217"/>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a:solidFill>
                <a:schemeClr val="tx1"/>
              </a:solidFill>
              <a:sym typeface="+mn-lt"/>
            </a:endParaRPr>
          </a:p>
        </p:txBody>
      </p:sp>
      <p:sp>
        <p:nvSpPr>
          <p:cNvPr id="7" name="Oval 194">
            <a:extLst>
              <a:ext uri="{FF2B5EF4-FFF2-40B4-BE49-F238E27FC236}">
                <a16:creationId xmlns:a16="http://schemas.microsoft.com/office/drawing/2014/main" id="{6DC3F734-5097-E714-A537-F66BD69AF12E}"/>
              </a:ext>
            </a:extLst>
          </p:cNvPr>
          <p:cNvSpPr/>
          <p:nvPr/>
        </p:nvSpPr>
        <p:spPr>
          <a:xfrm>
            <a:off x="392566" y="3656302"/>
            <a:ext cx="80962" cy="80962"/>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a:solidFill>
                <a:schemeClr val="tx1"/>
              </a:solidFill>
              <a:sym typeface="+mn-lt"/>
            </a:endParaRPr>
          </a:p>
        </p:txBody>
      </p:sp>
      <p:sp>
        <p:nvSpPr>
          <p:cNvPr id="8" name="Formatted_text">
            <a:extLst>
              <a:ext uri="{FF2B5EF4-FFF2-40B4-BE49-F238E27FC236}">
                <a16:creationId xmlns:a16="http://schemas.microsoft.com/office/drawing/2014/main" id="{170A3D67-9756-71CF-CB07-03E60870A8EC}"/>
              </a:ext>
            </a:extLst>
          </p:cNvPr>
          <p:cNvSpPr txBox="1">
            <a:spLocks/>
          </p:cNvSpPr>
          <p:nvPr/>
        </p:nvSpPr>
        <p:spPr>
          <a:xfrm>
            <a:off x="639339" y="2339068"/>
            <a:ext cx="848192" cy="2206758"/>
          </a:xfrm>
          <a:prstGeom prst="rect">
            <a:avLst/>
          </a:prstGeom>
          <a:noFill/>
          <a:ln w="9525">
            <a:noFill/>
          </a:ln>
        </p:spPr>
        <p:txBody>
          <a:bodyPr vert="horz" wrap="square" lIns="0" tIns="0" rIns="0" bIns="0" rtlCol="0">
            <a:spAutoFit/>
          </a:bodyP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pPr>
              <a:lnSpc>
                <a:spcPct val="90000"/>
              </a:lnSpc>
              <a:spcBef>
                <a:spcPts val="300"/>
              </a:spcBef>
              <a:buSzPct val="100000"/>
            </a:pPr>
            <a:r>
              <a:rPr lang="en-US" sz="900" b="0" dirty="0">
                <a:latin typeface="+mn-lt"/>
                <a:sym typeface="+mn-lt"/>
              </a:rPr>
              <a:t>&lt;15</a:t>
            </a:r>
          </a:p>
          <a:p>
            <a:pPr>
              <a:lnSpc>
                <a:spcPct val="90000"/>
              </a:lnSpc>
              <a:spcBef>
                <a:spcPts val="300"/>
              </a:spcBef>
              <a:buSzPct val="100000"/>
            </a:pPr>
            <a:endParaRPr lang="en-US" sz="900" b="0" dirty="0">
              <a:latin typeface="+mn-lt"/>
              <a:sym typeface="+mn-lt"/>
            </a:endParaRPr>
          </a:p>
          <a:p>
            <a:pPr>
              <a:lnSpc>
                <a:spcPct val="90000"/>
              </a:lnSpc>
              <a:spcBef>
                <a:spcPts val="300"/>
              </a:spcBef>
              <a:buSzPct val="100000"/>
            </a:pPr>
            <a:r>
              <a:rPr lang="en-US" sz="900" b="0" dirty="0">
                <a:latin typeface="+mn-lt"/>
                <a:sym typeface="+mn-lt"/>
              </a:rPr>
              <a:t>15-100</a:t>
            </a:r>
          </a:p>
          <a:p>
            <a:pPr>
              <a:lnSpc>
                <a:spcPct val="90000"/>
              </a:lnSpc>
              <a:spcBef>
                <a:spcPts val="300"/>
              </a:spcBef>
              <a:buSzPct val="100000"/>
            </a:pPr>
            <a:endParaRPr lang="en-US" sz="900" b="0" dirty="0">
              <a:latin typeface="+mn-lt"/>
              <a:sym typeface="+mn-lt"/>
            </a:endParaRPr>
          </a:p>
          <a:p>
            <a:pPr>
              <a:lnSpc>
                <a:spcPct val="90000"/>
              </a:lnSpc>
              <a:spcBef>
                <a:spcPts val="300"/>
              </a:spcBef>
              <a:buSzPct val="100000"/>
            </a:pPr>
            <a:r>
              <a:rPr lang="en-US" sz="900" b="0" dirty="0">
                <a:latin typeface="+mn-lt"/>
                <a:sym typeface="+mn-lt"/>
              </a:rPr>
              <a:t>100-500</a:t>
            </a:r>
          </a:p>
          <a:p>
            <a:pPr>
              <a:lnSpc>
                <a:spcPct val="90000"/>
              </a:lnSpc>
              <a:spcBef>
                <a:spcPts val="300"/>
              </a:spcBef>
              <a:buSzPct val="100000"/>
            </a:pPr>
            <a:endParaRPr lang="en-US" sz="900" b="0" dirty="0">
              <a:latin typeface="+mn-lt"/>
              <a:sym typeface="+mn-lt"/>
            </a:endParaRPr>
          </a:p>
          <a:p>
            <a:pPr>
              <a:lnSpc>
                <a:spcPct val="90000"/>
              </a:lnSpc>
              <a:spcBef>
                <a:spcPts val="300"/>
              </a:spcBef>
              <a:buSzPct val="100000"/>
            </a:pPr>
            <a:r>
              <a:rPr lang="en-US" sz="900" b="0" dirty="0">
                <a:latin typeface="+mn-lt"/>
                <a:sym typeface="+mn-lt"/>
              </a:rPr>
              <a:t>&gt;500</a:t>
            </a:r>
          </a:p>
          <a:p>
            <a:pPr>
              <a:lnSpc>
                <a:spcPct val="90000"/>
              </a:lnSpc>
              <a:spcBef>
                <a:spcPts val="300"/>
              </a:spcBef>
              <a:buSzPct val="100000"/>
            </a:pPr>
            <a:endParaRPr lang="en-US" sz="900" b="0" dirty="0">
              <a:latin typeface="+mn-lt"/>
              <a:sym typeface="+mn-lt"/>
            </a:endParaRPr>
          </a:p>
          <a:p>
            <a:pPr>
              <a:lnSpc>
                <a:spcPct val="90000"/>
              </a:lnSpc>
              <a:spcBef>
                <a:spcPts val="300"/>
              </a:spcBef>
              <a:buSzPct val="100000"/>
            </a:pPr>
            <a:r>
              <a:rPr lang="en-US" sz="900" b="0" dirty="0" err="1">
                <a:latin typeface="+mn-lt"/>
                <a:sym typeface="+mn-lt"/>
              </a:rPr>
              <a:t>n.a.</a:t>
            </a:r>
            <a:r>
              <a:rPr lang="en-US" sz="900" b="0" dirty="0">
                <a:latin typeface="+mn-lt"/>
                <a:sym typeface="+mn-lt"/>
              </a:rPr>
              <a:t> / confidential</a:t>
            </a:r>
          </a:p>
          <a:p>
            <a:pPr>
              <a:lnSpc>
                <a:spcPct val="90000"/>
              </a:lnSpc>
              <a:spcBef>
                <a:spcPts val="300"/>
              </a:spcBef>
              <a:buSzPct val="100000"/>
            </a:pPr>
            <a:endParaRPr lang="en-US" sz="900" b="0" dirty="0">
              <a:latin typeface="+mn-lt"/>
              <a:sym typeface="+mn-lt"/>
            </a:endParaRPr>
          </a:p>
          <a:p>
            <a:pPr>
              <a:lnSpc>
                <a:spcPct val="90000"/>
              </a:lnSpc>
              <a:spcBef>
                <a:spcPts val="300"/>
              </a:spcBef>
              <a:buSzPct val="100000"/>
            </a:pPr>
            <a:r>
              <a:rPr lang="en-US" sz="900" b="0" dirty="0">
                <a:latin typeface="+mn-lt"/>
                <a:sym typeface="+mn-lt"/>
              </a:rPr>
              <a:t>Cluster</a:t>
            </a:r>
          </a:p>
          <a:p>
            <a:pPr>
              <a:lnSpc>
                <a:spcPct val="90000"/>
              </a:lnSpc>
              <a:spcBef>
                <a:spcPts val="300"/>
              </a:spcBef>
              <a:buSzPct val="100000"/>
            </a:pPr>
            <a:endParaRPr lang="en-US" sz="900" b="0" dirty="0">
              <a:latin typeface="+mn-lt"/>
              <a:sym typeface="+mn-lt"/>
            </a:endParaRPr>
          </a:p>
          <a:p>
            <a:pPr>
              <a:lnSpc>
                <a:spcPct val="90000"/>
              </a:lnSpc>
              <a:spcBef>
                <a:spcPts val="300"/>
              </a:spcBef>
              <a:buSzPct val="100000"/>
            </a:pPr>
            <a:r>
              <a:rPr lang="en-US" sz="900" b="0" dirty="0">
                <a:latin typeface="+mn-lt"/>
                <a:sym typeface="+mn-lt"/>
              </a:rPr>
              <a:t>EHB</a:t>
            </a:r>
          </a:p>
        </p:txBody>
      </p:sp>
      <p:sp>
        <p:nvSpPr>
          <p:cNvPr id="9" name="Oval 196">
            <a:extLst>
              <a:ext uri="{FF2B5EF4-FFF2-40B4-BE49-F238E27FC236}">
                <a16:creationId xmlns:a16="http://schemas.microsoft.com/office/drawing/2014/main" id="{997C9EC0-490A-5F11-2DE0-BC4B1CE24FE2}"/>
              </a:ext>
            </a:extLst>
          </p:cNvPr>
          <p:cNvSpPr/>
          <p:nvPr/>
        </p:nvSpPr>
        <p:spPr>
          <a:xfrm>
            <a:off x="320500" y="3254859"/>
            <a:ext cx="225092" cy="225092"/>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a:solidFill>
                <a:schemeClr val="tx1"/>
              </a:solidFill>
              <a:sym typeface="+mn-lt"/>
            </a:endParaRPr>
          </a:p>
        </p:txBody>
      </p:sp>
      <p:grpSp>
        <p:nvGrpSpPr>
          <p:cNvPr id="10" name="Group 203">
            <a:extLst>
              <a:ext uri="{FF2B5EF4-FFF2-40B4-BE49-F238E27FC236}">
                <a16:creationId xmlns:a16="http://schemas.microsoft.com/office/drawing/2014/main" id="{1815ACEC-C912-57FE-A521-DBCA28B3B4FA}"/>
              </a:ext>
            </a:extLst>
          </p:cNvPr>
          <p:cNvGrpSpPr/>
          <p:nvPr/>
        </p:nvGrpSpPr>
        <p:grpSpPr>
          <a:xfrm>
            <a:off x="1258471" y="1345670"/>
            <a:ext cx="4201438" cy="3206307"/>
            <a:chOff x="3827656" y="2054659"/>
            <a:chExt cx="4521971" cy="3796013"/>
          </a:xfrm>
        </p:grpSpPr>
        <p:grpSp>
          <p:nvGrpSpPr>
            <p:cNvPr id="11" name="Group 2">
              <a:extLst>
                <a:ext uri="{FF2B5EF4-FFF2-40B4-BE49-F238E27FC236}">
                  <a16:creationId xmlns:a16="http://schemas.microsoft.com/office/drawing/2014/main" id="{E591124B-D392-A072-3565-0B9FFDAEE25E}"/>
                </a:ext>
              </a:extLst>
            </p:cNvPr>
            <p:cNvGrpSpPr/>
            <p:nvPr/>
          </p:nvGrpSpPr>
          <p:grpSpPr>
            <a:xfrm>
              <a:off x="3842372" y="2054659"/>
              <a:ext cx="4507255" cy="3796013"/>
              <a:chOff x="550520" y="1548484"/>
              <a:chExt cx="4507255" cy="3796013"/>
            </a:xfrm>
          </p:grpSpPr>
          <p:sp>
            <p:nvSpPr>
              <p:cNvPr id="16" name="Oval 7">
                <a:extLst>
                  <a:ext uri="{FF2B5EF4-FFF2-40B4-BE49-F238E27FC236}">
                    <a16:creationId xmlns:a16="http://schemas.microsoft.com/office/drawing/2014/main" id="{54D67070-B9DA-6940-DA45-080FF24B0E05}"/>
                  </a:ext>
                </a:extLst>
              </p:cNvPr>
              <p:cNvSpPr/>
              <p:nvPr/>
            </p:nvSpPr>
            <p:spPr>
              <a:xfrm>
                <a:off x="1718477" y="3430678"/>
                <a:ext cx="219378" cy="219378"/>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17" name="Freeform 2577">
                <a:extLst>
                  <a:ext uri="{FF2B5EF4-FFF2-40B4-BE49-F238E27FC236}">
                    <a16:creationId xmlns:a16="http://schemas.microsoft.com/office/drawing/2014/main" id="{CCB8ABF5-8D27-8824-4593-4D3B7E797634}"/>
                  </a:ext>
                </a:extLst>
              </p:cNvPr>
              <p:cNvSpPr>
                <a:spLocks/>
              </p:cNvSpPr>
              <p:nvPr/>
            </p:nvSpPr>
            <p:spPr bwMode="auto">
              <a:xfrm>
                <a:off x="2853544" y="4203836"/>
                <a:ext cx="345482" cy="388296"/>
              </a:xfrm>
              <a:custGeom>
                <a:avLst/>
                <a:gdLst>
                  <a:gd name="T0" fmla="*/ 100 w 242"/>
                  <a:gd name="T1" fmla="*/ 238 h 306"/>
                  <a:gd name="T2" fmla="*/ 91 w 242"/>
                  <a:gd name="T3" fmla="*/ 242 h 306"/>
                  <a:gd name="T4" fmla="*/ 95 w 242"/>
                  <a:gd name="T5" fmla="*/ 249 h 306"/>
                  <a:gd name="T6" fmla="*/ 95 w 242"/>
                  <a:gd name="T7" fmla="*/ 256 h 306"/>
                  <a:gd name="T8" fmla="*/ 98 w 242"/>
                  <a:gd name="T9" fmla="*/ 264 h 306"/>
                  <a:gd name="T10" fmla="*/ 104 w 242"/>
                  <a:gd name="T11" fmla="*/ 270 h 306"/>
                  <a:gd name="T12" fmla="*/ 122 w 242"/>
                  <a:gd name="T13" fmla="*/ 278 h 306"/>
                  <a:gd name="T14" fmla="*/ 126 w 242"/>
                  <a:gd name="T15" fmla="*/ 290 h 306"/>
                  <a:gd name="T16" fmla="*/ 136 w 242"/>
                  <a:gd name="T17" fmla="*/ 297 h 306"/>
                  <a:gd name="T18" fmla="*/ 164 w 242"/>
                  <a:gd name="T19" fmla="*/ 276 h 306"/>
                  <a:gd name="T20" fmla="*/ 178 w 242"/>
                  <a:gd name="T21" fmla="*/ 269 h 306"/>
                  <a:gd name="T22" fmla="*/ 221 w 242"/>
                  <a:gd name="T23" fmla="*/ 257 h 306"/>
                  <a:gd name="T24" fmla="*/ 224 w 242"/>
                  <a:gd name="T25" fmla="*/ 228 h 306"/>
                  <a:gd name="T26" fmla="*/ 224 w 242"/>
                  <a:gd name="T27" fmla="*/ 216 h 306"/>
                  <a:gd name="T28" fmla="*/ 233 w 242"/>
                  <a:gd name="T29" fmla="*/ 209 h 306"/>
                  <a:gd name="T30" fmla="*/ 240 w 242"/>
                  <a:gd name="T31" fmla="*/ 201 h 306"/>
                  <a:gd name="T32" fmla="*/ 242 w 242"/>
                  <a:gd name="T33" fmla="*/ 195 h 306"/>
                  <a:gd name="T34" fmla="*/ 236 w 242"/>
                  <a:gd name="T35" fmla="*/ 185 h 306"/>
                  <a:gd name="T36" fmla="*/ 215 w 242"/>
                  <a:gd name="T37" fmla="*/ 176 h 306"/>
                  <a:gd name="T38" fmla="*/ 209 w 242"/>
                  <a:gd name="T39" fmla="*/ 159 h 306"/>
                  <a:gd name="T40" fmla="*/ 209 w 242"/>
                  <a:gd name="T41" fmla="*/ 134 h 306"/>
                  <a:gd name="T42" fmla="*/ 210 w 242"/>
                  <a:gd name="T43" fmla="*/ 110 h 306"/>
                  <a:gd name="T44" fmla="*/ 199 w 242"/>
                  <a:gd name="T45" fmla="*/ 87 h 306"/>
                  <a:gd name="T46" fmla="*/ 185 w 242"/>
                  <a:gd name="T47" fmla="*/ 93 h 306"/>
                  <a:gd name="T48" fmla="*/ 157 w 242"/>
                  <a:gd name="T49" fmla="*/ 92 h 306"/>
                  <a:gd name="T50" fmla="*/ 139 w 242"/>
                  <a:gd name="T51" fmla="*/ 90 h 306"/>
                  <a:gd name="T52" fmla="*/ 138 w 242"/>
                  <a:gd name="T53" fmla="*/ 62 h 306"/>
                  <a:gd name="T54" fmla="*/ 116 w 242"/>
                  <a:gd name="T55" fmla="*/ 54 h 306"/>
                  <a:gd name="T56" fmla="*/ 103 w 242"/>
                  <a:gd name="T57" fmla="*/ 38 h 306"/>
                  <a:gd name="T58" fmla="*/ 91 w 242"/>
                  <a:gd name="T59" fmla="*/ 24 h 306"/>
                  <a:gd name="T60" fmla="*/ 83 w 242"/>
                  <a:gd name="T61" fmla="*/ 15 h 306"/>
                  <a:gd name="T62" fmla="*/ 73 w 242"/>
                  <a:gd name="T63" fmla="*/ 12 h 306"/>
                  <a:gd name="T64" fmla="*/ 63 w 242"/>
                  <a:gd name="T65" fmla="*/ 1 h 306"/>
                  <a:gd name="T66" fmla="*/ 32 w 242"/>
                  <a:gd name="T67" fmla="*/ 0 h 306"/>
                  <a:gd name="T68" fmla="*/ 18 w 242"/>
                  <a:gd name="T69" fmla="*/ 14 h 306"/>
                  <a:gd name="T70" fmla="*/ 12 w 242"/>
                  <a:gd name="T71" fmla="*/ 13 h 306"/>
                  <a:gd name="T72" fmla="*/ 8 w 242"/>
                  <a:gd name="T73" fmla="*/ 16 h 306"/>
                  <a:gd name="T74" fmla="*/ 0 w 242"/>
                  <a:gd name="T75" fmla="*/ 25 h 306"/>
                  <a:gd name="T76" fmla="*/ 6 w 242"/>
                  <a:gd name="T77" fmla="*/ 46 h 306"/>
                  <a:gd name="T78" fmla="*/ 7 w 242"/>
                  <a:gd name="T79" fmla="*/ 55 h 306"/>
                  <a:gd name="T80" fmla="*/ 13 w 242"/>
                  <a:gd name="T81" fmla="*/ 60 h 306"/>
                  <a:gd name="T82" fmla="*/ 24 w 242"/>
                  <a:gd name="T83" fmla="*/ 67 h 306"/>
                  <a:gd name="T84" fmla="*/ 32 w 242"/>
                  <a:gd name="T85" fmla="*/ 73 h 306"/>
                  <a:gd name="T86" fmla="*/ 21 w 242"/>
                  <a:gd name="T87" fmla="*/ 80 h 306"/>
                  <a:gd name="T88" fmla="*/ 24 w 242"/>
                  <a:gd name="T89" fmla="*/ 91 h 306"/>
                  <a:gd name="T90" fmla="*/ 29 w 242"/>
                  <a:gd name="T91" fmla="*/ 100 h 306"/>
                  <a:gd name="T92" fmla="*/ 33 w 242"/>
                  <a:gd name="T93" fmla="*/ 141 h 306"/>
                  <a:gd name="T94" fmla="*/ 51 w 242"/>
                  <a:gd name="T95" fmla="*/ 152 h 306"/>
                  <a:gd name="T96" fmla="*/ 36 w 242"/>
                  <a:gd name="T97" fmla="*/ 163 h 306"/>
                  <a:gd name="T98" fmla="*/ 49 w 242"/>
                  <a:gd name="T99" fmla="*/ 176 h 306"/>
                  <a:gd name="T100" fmla="*/ 39 w 242"/>
                  <a:gd name="T101" fmla="*/ 194 h 306"/>
                  <a:gd name="T102" fmla="*/ 54 w 242"/>
                  <a:gd name="T103" fmla="*/ 202 h 306"/>
                  <a:gd name="T104" fmla="*/ 58 w 242"/>
                  <a:gd name="T105" fmla="*/ 208 h 306"/>
                  <a:gd name="T106" fmla="*/ 76 w 242"/>
                  <a:gd name="T107" fmla="*/ 220 h 306"/>
                  <a:gd name="T108" fmla="*/ 89 w 242"/>
                  <a:gd name="T109" fmla="*/ 221 h 306"/>
                  <a:gd name="T110" fmla="*/ 107 w 242"/>
                  <a:gd name="T111" fmla="*/ 229 h 306"/>
                  <a:gd name="T112" fmla="*/ 100 w 242"/>
                  <a:gd name="T113" fmla="*/ 238 h 30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2"/>
                  <a:gd name="T172" fmla="*/ 0 h 306"/>
                  <a:gd name="T173" fmla="*/ 242 w 242"/>
                  <a:gd name="T174" fmla="*/ 306 h 306"/>
                  <a:gd name="connsiteX0" fmla="*/ 4132 w 10000"/>
                  <a:gd name="connsiteY0" fmla="*/ 7778 h 10000"/>
                  <a:gd name="connsiteX1" fmla="*/ 3760 w 10000"/>
                  <a:gd name="connsiteY1" fmla="*/ 7908 h 10000"/>
                  <a:gd name="connsiteX2" fmla="*/ 3926 w 10000"/>
                  <a:gd name="connsiteY2" fmla="*/ 8137 h 10000"/>
                  <a:gd name="connsiteX3" fmla="*/ 3926 w 10000"/>
                  <a:gd name="connsiteY3" fmla="*/ 8366 h 10000"/>
                  <a:gd name="connsiteX4" fmla="*/ 4050 w 10000"/>
                  <a:gd name="connsiteY4" fmla="*/ 8627 h 10000"/>
                  <a:gd name="connsiteX5" fmla="*/ 4298 w 10000"/>
                  <a:gd name="connsiteY5" fmla="*/ 8824 h 10000"/>
                  <a:gd name="connsiteX6" fmla="*/ 5041 w 10000"/>
                  <a:gd name="connsiteY6" fmla="*/ 9085 h 10000"/>
                  <a:gd name="connsiteX7" fmla="*/ 5207 w 10000"/>
                  <a:gd name="connsiteY7" fmla="*/ 9477 h 10000"/>
                  <a:gd name="connsiteX8" fmla="*/ 5620 w 10000"/>
                  <a:gd name="connsiteY8" fmla="*/ 9706 h 10000"/>
                  <a:gd name="connsiteX9" fmla="*/ 7211 w 10000"/>
                  <a:gd name="connsiteY9" fmla="*/ 8089 h 10000"/>
                  <a:gd name="connsiteX10" fmla="*/ 7355 w 10000"/>
                  <a:gd name="connsiteY10" fmla="*/ 8791 h 10000"/>
                  <a:gd name="connsiteX11" fmla="*/ 9132 w 10000"/>
                  <a:gd name="connsiteY11" fmla="*/ 8399 h 10000"/>
                  <a:gd name="connsiteX12" fmla="*/ 9256 w 10000"/>
                  <a:gd name="connsiteY12" fmla="*/ 7451 h 10000"/>
                  <a:gd name="connsiteX13" fmla="*/ 9256 w 10000"/>
                  <a:gd name="connsiteY13" fmla="*/ 7059 h 10000"/>
                  <a:gd name="connsiteX14" fmla="*/ 9628 w 10000"/>
                  <a:gd name="connsiteY14" fmla="*/ 6830 h 10000"/>
                  <a:gd name="connsiteX15" fmla="*/ 9917 w 10000"/>
                  <a:gd name="connsiteY15" fmla="*/ 6569 h 10000"/>
                  <a:gd name="connsiteX16" fmla="*/ 10000 w 10000"/>
                  <a:gd name="connsiteY16" fmla="*/ 6373 h 10000"/>
                  <a:gd name="connsiteX17" fmla="*/ 9752 w 10000"/>
                  <a:gd name="connsiteY17" fmla="*/ 6046 h 10000"/>
                  <a:gd name="connsiteX18" fmla="*/ 8884 w 10000"/>
                  <a:gd name="connsiteY18" fmla="*/ 5752 h 10000"/>
                  <a:gd name="connsiteX19" fmla="*/ 8636 w 10000"/>
                  <a:gd name="connsiteY19" fmla="*/ 5196 h 10000"/>
                  <a:gd name="connsiteX20" fmla="*/ 8636 w 10000"/>
                  <a:gd name="connsiteY20" fmla="*/ 4379 h 10000"/>
                  <a:gd name="connsiteX21" fmla="*/ 8678 w 10000"/>
                  <a:gd name="connsiteY21" fmla="*/ 3595 h 10000"/>
                  <a:gd name="connsiteX22" fmla="*/ 8223 w 10000"/>
                  <a:gd name="connsiteY22" fmla="*/ 2843 h 10000"/>
                  <a:gd name="connsiteX23" fmla="*/ 7645 w 10000"/>
                  <a:gd name="connsiteY23" fmla="*/ 3039 h 10000"/>
                  <a:gd name="connsiteX24" fmla="*/ 6488 w 10000"/>
                  <a:gd name="connsiteY24" fmla="*/ 3007 h 10000"/>
                  <a:gd name="connsiteX25" fmla="*/ 5744 w 10000"/>
                  <a:gd name="connsiteY25" fmla="*/ 2941 h 10000"/>
                  <a:gd name="connsiteX26" fmla="*/ 5702 w 10000"/>
                  <a:gd name="connsiteY26" fmla="*/ 2026 h 10000"/>
                  <a:gd name="connsiteX27" fmla="*/ 4793 w 10000"/>
                  <a:gd name="connsiteY27" fmla="*/ 1765 h 10000"/>
                  <a:gd name="connsiteX28" fmla="*/ 4256 w 10000"/>
                  <a:gd name="connsiteY28" fmla="*/ 1242 h 10000"/>
                  <a:gd name="connsiteX29" fmla="*/ 3760 w 10000"/>
                  <a:gd name="connsiteY29" fmla="*/ 784 h 10000"/>
                  <a:gd name="connsiteX30" fmla="*/ 3430 w 10000"/>
                  <a:gd name="connsiteY30" fmla="*/ 490 h 10000"/>
                  <a:gd name="connsiteX31" fmla="*/ 3017 w 10000"/>
                  <a:gd name="connsiteY31" fmla="*/ 392 h 10000"/>
                  <a:gd name="connsiteX32" fmla="*/ 2603 w 10000"/>
                  <a:gd name="connsiteY32" fmla="*/ 33 h 10000"/>
                  <a:gd name="connsiteX33" fmla="*/ 1322 w 10000"/>
                  <a:gd name="connsiteY33" fmla="*/ 0 h 10000"/>
                  <a:gd name="connsiteX34" fmla="*/ 744 w 10000"/>
                  <a:gd name="connsiteY34" fmla="*/ 458 h 10000"/>
                  <a:gd name="connsiteX35" fmla="*/ 496 w 10000"/>
                  <a:gd name="connsiteY35" fmla="*/ 425 h 10000"/>
                  <a:gd name="connsiteX36" fmla="*/ 331 w 10000"/>
                  <a:gd name="connsiteY36" fmla="*/ 523 h 10000"/>
                  <a:gd name="connsiteX37" fmla="*/ 0 w 10000"/>
                  <a:gd name="connsiteY37" fmla="*/ 817 h 10000"/>
                  <a:gd name="connsiteX38" fmla="*/ 248 w 10000"/>
                  <a:gd name="connsiteY38" fmla="*/ 1503 h 10000"/>
                  <a:gd name="connsiteX39" fmla="*/ 289 w 10000"/>
                  <a:gd name="connsiteY39" fmla="*/ 1797 h 10000"/>
                  <a:gd name="connsiteX40" fmla="*/ 537 w 10000"/>
                  <a:gd name="connsiteY40" fmla="*/ 1961 h 10000"/>
                  <a:gd name="connsiteX41" fmla="*/ 992 w 10000"/>
                  <a:gd name="connsiteY41" fmla="*/ 2190 h 10000"/>
                  <a:gd name="connsiteX42" fmla="*/ 1322 w 10000"/>
                  <a:gd name="connsiteY42" fmla="*/ 2386 h 10000"/>
                  <a:gd name="connsiteX43" fmla="*/ 868 w 10000"/>
                  <a:gd name="connsiteY43" fmla="*/ 2614 h 10000"/>
                  <a:gd name="connsiteX44" fmla="*/ 992 w 10000"/>
                  <a:gd name="connsiteY44" fmla="*/ 2974 h 10000"/>
                  <a:gd name="connsiteX45" fmla="*/ 1198 w 10000"/>
                  <a:gd name="connsiteY45" fmla="*/ 3268 h 10000"/>
                  <a:gd name="connsiteX46" fmla="*/ 1364 w 10000"/>
                  <a:gd name="connsiteY46" fmla="*/ 4608 h 10000"/>
                  <a:gd name="connsiteX47" fmla="*/ 2107 w 10000"/>
                  <a:gd name="connsiteY47" fmla="*/ 4967 h 10000"/>
                  <a:gd name="connsiteX48" fmla="*/ 1488 w 10000"/>
                  <a:gd name="connsiteY48" fmla="*/ 5327 h 10000"/>
                  <a:gd name="connsiteX49" fmla="*/ 2025 w 10000"/>
                  <a:gd name="connsiteY49" fmla="*/ 5752 h 10000"/>
                  <a:gd name="connsiteX50" fmla="*/ 1612 w 10000"/>
                  <a:gd name="connsiteY50" fmla="*/ 6340 h 10000"/>
                  <a:gd name="connsiteX51" fmla="*/ 2231 w 10000"/>
                  <a:gd name="connsiteY51" fmla="*/ 6601 h 10000"/>
                  <a:gd name="connsiteX52" fmla="*/ 2397 w 10000"/>
                  <a:gd name="connsiteY52" fmla="*/ 6797 h 10000"/>
                  <a:gd name="connsiteX53" fmla="*/ 3140 w 10000"/>
                  <a:gd name="connsiteY53" fmla="*/ 7190 h 10000"/>
                  <a:gd name="connsiteX54" fmla="*/ 3678 w 10000"/>
                  <a:gd name="connsiteY54" fmla="*/ 7222 h 10000"/>
                  <a:gd name="connsiteX55" fmla="*/ 4421 w 10000"/>
                  <a:gd name="connsiteY55" fmla="*/ 7484 h 10000"/>
                  <a:gd name="connsiteX56" fmla="*/ 4132 w 10000"/>
                  <a:gd name="connsiteY56" fmla="*/ 7778 h 10000"/>
                  <a:gd name="connsiteX0" fmla="*/ 4132 w 10000"/>
                  <a:gd name="connsiteY0" fmla="*/ 7778 h 10000"/>
                  <a:gd name="connsiteX1" fmla="*/ 3760 w 10000"/>
                  <a:gd name="connsiteY1" fmla="*/ 7908 h 10000"/>
                  <a:gd name="connsiteX2" fmla="*/ 3926 w 10000"/>
                  <a:gd name="connsiteY2" fmla="*/ 8137 h 10000"/>
                  <a:gd name="connsiteX3" fmla="*/ 3926 w 10000"/>
                  <a:gd name="connsiteY3" fmla="*/ 8366 h 10000"/>
                  <a:gd name="connsiteX4" fmla="*/ 4050 w 10000"/>
                  <a:gd name="connsiteY4" fmla="*/ 8627 h 10000"/>
                  <a:gd name="connsiteX5" fmla="*/ 4298 w 10000"/>
                  <a:gd name="connsiteY5" fmla="*/ 8824 h 10000"/>
                  <a:gd name="connsiteX6" fmla="*/ 5041 w 10000"/>
                  <a:gd name="connsiteY6" fmla="*/ 9085 h 10000"/>
                  <a:gd name="connsiteX7" fmla="*/ 5207 w 10000"/>
                  <a:gd name="connsiteY7" fmla="*/ 9477 h 10000"/>
                  <a:gd name="connsiteX8" fmla="*/ 6364 w 10000"/>
                  <a:gd name="connsiteY8" fmla="*/ 7745 h 10000"/>
                  <a:gd name="connsiteX9" fmla="*/ 7211 w 10000"/>
                  <a:gd name="connsiteY9" fmla="*/ 8089 h 10000"/>
                  <a:gd name="connsiteX10" fmla="*/ 7355 w 10000"/>
                  <a:gd name="connsiteY10" fmla="*/ 8791 h 10000"/>
                  <a:gd name="connsiteX11" fmla="*/ 9132 w 10000"/>
                  <a:gd name="connsiteY11" fmla="*/ 8399 h 10000"/>
                  <a:gd name="connsiteX12" fmla="*/ 9256 w 10000"/>
                  <a:gd name="connsiteY12" fmla="*/ 7451 h 10000"/>
                  <a:gd name="connsiteX13" fmla="*/ 9256 w 10000"/>
                  <a:gd name="connsiteY13" fmla="*/ 7059 h 10000"/>
                  <a:gd name="connsiteX14" fmla="*/ 9628 w 10000"/>
                  <a:gd name="connsiteY14" fmla="*/ 6830 h 10000"/>
                  <a:gd name="connsiteX15" fmla="*/ 9917 w 10000"/>
                  <a:gd name="connsiteY15" fmla="*/ 6569 h 10000"/>
                  <a:gd name="connsiteX16" fmla="*/ 10000 w 10000"/>
                  <a:gd name="connsiteY16" fmla="*/ 6373 h 10000"/>
                  <a:gd name="connsiteX17" fmla="*/ 9752 w 10000"/>
                  <a:gd name="connsiteY17" fmla="*/ 6046 h 10000"/>
                  <a:gd name="connsiteX18" fmla="*/ 8884 w 10000"/>
                  <a:gd name="connsiteY18" fmla="*/ 5752 h 10000"/>
                  <a:gd name="connsiteX19" fmla="*/ 8636 w 10000"/>
                  <a:gd name="connsiteY19" fmla="*/ 5196 h 10000"/>
                  <a:gd name="connsiteX20" fmla="*/ 8636 w 10000"/>
                  <a:gd name="connsiteY20" fmla="*/ 4379 h 10000"/>
                  <a:gd name="connsiteX21" fmla="*/ 8678 w 10000"/>
                  <a:gd name="connsiteY21" fmla="*/ 3595 h 10000"/>
                  <a:gd name="connsiteX22" fmla="*/ 8223 w 10000"/>
                  <a:gd name="connsiteY22" fmla="*/ 2843 h 10000"/>
                  <a:gd name="connsiteX23" fmla="*/ 7645 w 10000"/>
                  <a:gd name="connsiteY23" fmla="*/ 3039 h 10000"/>
                  <a:gd name="connsiteX24" fmla="*/ 6488 w 10000"/>
                  <a:gd name="connsiteY24" fmla="*/ 3007 h 10000"/>
                  <a:gd name="connsiteX25" fmla="*/ 5744 w 10000"/>
                  <a:gd name="connsiteY25" fmla="*/ 2941 h 10000"/>
                  <a:gd name="connsiteX26" fmla="*/ 5702 w 10000"/>
                  <a:gd name="connsiteY26" fmla="*/ 2026 h 10000"/>
                  <a:gd name="connsiteX27" fmla="*/ 4793 w 10000"/>
                  <a:gd name="connsiteY27" fmla="*/ 1765 h 10000"/>
                  <a:gd name="connsiteX28" fmla="*/ 4256 w 10000"/>
                  <a:gd name="connsiteY28" fmla="*/ 1242 h 10000"/>
                  <a:gd name="connsiteX29" fmla="*/ 3760 w 10000"/>
                  <a:gd name="connsiteY29" fmla="*/ 784 h 10000"/>
                  <a:gd name="connsiteX30" fmla="*/ 3430 w 10000"/>
                  <a:gd name="connsiteY30" fmla="*/ 490 h 10000"/>
                  <a:gd name="connsiteX31" fmla="*/ 3017 w 10000"/>
                  <a:gd name="connsiteY31" fmla="*/ 392 h 10000"/>
                  <a:gd name="connsiteX32" fmla="*/ 2603 w 10000"/>
                  <a:gd name="connsiteY32" fmla="*/ 33 h 10000"/>
                  <a:gd name="connsiteX33" fmla="*/ 1322 w 10000"/>
                  <a:gd name="connsiteY33" fmla="*/ 0 h 10000"/>
                  <a:gd name="connsiteX34" fmla="*/ 744 w 10000"/>
                  <a:gd name="connsiteY34" fmla="*/ 458 h 10000"/>
                  <a:gd name="connsiteX35" fmla="*/ 496 w 10000"/>
                  <a:gd name="connsiteY35" fmla="*/ 425 h 10000"/>
                  <a:gd name="connsiteX36" fmla="*/ 331 w 10000"/>
                  <a:gd name="connsiteY36" fmla="*/ 523 h 10000"/>
                  <a:gd name="connsiteX37" fmla="*/ 0 w 10000"/>
                  <a:gd name="connsiteY37" fmla="*/ 817 h 10000"/>
                  <a:gd name="connsiteX38" fmla="*/ 248 w 10000"/>
                  <a:gd name="connsiteY38" fmla="*/ 1503 h 10000"/>
                  <a:gd name="connsiteX39" fmla="*/ 289 w 10000"/>
                  <a:gd name="connsiteY39" fmla="*/ 1797 h 10000"/>
                  <a:gd name="connsiteX40" fmla="*/ 537 w 10000"/>
                  <a:gd name="connsiteY40" fmla="*/ 1961 h 10000"/>
                  <a:gd name="connsiteX41" fmla="*/ 992 w 10000"/>
                  <a:gd name="connsiteY41" fmla="*/ 2190 h 10000"/>
                  <a:gd name="connsiteX42" fmla="*/ 1322 w 10000"/>
                  <a:gd name="connsiteY42" fmla="*/ 2386 h 10000"/>
                  <a:gd name="connsiteX43" fmla="*/ 868 w 10000"/>
                  <a:gd name="connsiteY43" fmla="*/ 2614 h 10000"/>
                  <a:gd name="connsiteX44" fmla="*/ 992 w 10000"/>
                  <a:gd name="connsiteY44" fmla="*/ 2974 h 10000"/>
                  <a:gd name="connsiteX45" fmla="*/ 1198 w 10000"/>
                  <a:gd name="connsiteY45" fmla="*/ 3268 h 10000"/>
                  <a:gd name="connsiteX46" fmla="*/ 1364 w 10000"/>
                  <a:gd name="connsiteY46" fmla="*/ 4608 h 10000"/>
                  <a:gd name="connsiteX47" fmla="*/ 2107 w 10000"/>
                  <a:gd name="connsiteY47" fmla="*/ 4967 h 10000"/>
                  <a:gd name="connsiteX48" fmla="*/ 1488 w 10000"/>
                  <a:gd name="connsiteY48" fmla="*/ 5327 h 10000"/>
                  <a:gd name="connsiteX49" fmla="*/ 2025 w 10000"/>
                  <a:gd name="connsiteY49" fmla="*/ 5752 h 10000"/>
                  <a:gd name="connsiteX50" fmla="*/ 1612 w 10000"/>
                  <a:gd name="connsiteY50" fmla="*/ 6340 h 10000"/>
                  <a:gd name="connsiteX51" fmla="*/ 2231 w 10000"/>
                  <a:gd name="connsiteY51" fmla="*/ 6601 h 10000"/>
                  <a:gd name="connsiteX52" fmla="*/ 2397 w 10000"/>
                  <a:gd name="connsiteY52" fmla="*/ 6797 h 10000"/>
                  <a:gd name="connsiteX53" fmla="*/ 3140 w 10000"/>
                  <a:gd name="connsiteY53" fmla="*/ 7190 h 10000"/>
                  <a:gd name="connsiteX54" fmla="*/ 3678 w 10000"/>
                  <a:gd name="connsiteY54" fmla="*/ 7222 h 10000"/>
                  <a:gd name="connsiteX55" fmla="*/ 4421 w 10000"/>
                  <a:gd name="connsiteY55" fmla="*/ 7484 h 10000"/>
                  <a:gd name="connsiteX56" fmla="*/ 4132 w 10000"/>
                  <a:gd name="connsiteY56" fmla="*/ 7778 h 10000"/>
                  <a:gd name="connsiteX0" fmla="*/ 4132 w 10000"/>
                  <a:gd name="connsiteY0" fmla="*/ 7778 h 9216"/>
                  <a:gd name="connsiteX1" fmla="*/ 3760 w 10000"/>
                  <a:gd name="connsiteY1" fmla="*/ 7908 h 9216"/>
                  <a:gd name="connsiteX2" fmla="*/ 3926 w 10000"/>
                  <a:gd name="connsiteY2" fmla="*/ 8137 h 9216"/>
                  <a:gd name="connsiteX3" fmla="*/ 3926 w 10000"/>
                  <a:gd name="connsiteY3" fmla="*/ 8366 h 9216"/>
                  <a:gd name="connsiteX4" fmla="*/ 4050 w 10000"/>
                  <a:gd name="connsiteY4" fmla="*/ 8627 h 9216"/>
                  <a:gd name="connsiteX5" fmla="*/ 4298 w 10000"/>
                  <a:gd name="connsiteY5" fmla="*/ 8824 h 9216"/>
                  <a:gd name="connsiteX6" fmla="*/ 5041 w 10000"/>
                  <a:gd name="connsiteY6" fmla="*/ 9085 h 9216"/>
                  <a:gd name="connsiteX7" fmla="*/ 5765 w 10000"/>
                  <a:gd name="connsiteY7" fmla="*/ 7075 h 9216"/>
                  <a:gd name="connsiteX8" fmla="*/ 6364 w 10000"/>
                  <a:gd name="connsiteY8" fmla="*/ 7745 h 9216"/>
                  <a:gd name="connsiteX9" fmla="*/ 7211 w 10000"/>
                  <a:gd name="connsiteY9" fmla="*/ 8089 h 9216"/>
                  <a:gd name="connsiteX10" fmla="*/ 7355 w 10000"/>
                  <a:gd name="connsiteY10" fmla="*/ 8791 h 9216"/>
                  <a:gd name="connsiteX11" fmla="*/ 9132 w 10000"/>
                  <a:gd name="connsiteY11" fmla="*/ 8399 h 9216"/>
                  <a:gd name="connsiteX12" fmla="*/ 9256 w 10000"/>
                  <a:gd name="connsiteY12" fmla="*/ 7451 h 9216"/>
                  <a:gd name="connsiteX13" fmla="*/ 9256 w 10000"/>
                  <a:gd name="connsiteY13" fmla="*/ 7059 h 9216"/>
                  <a:gd name="connsiteX14" fmla="*/ 9628 w 10000"/>
                  <a:gd name="connsiteY14" fmla="*/ 6830 h 9216"/>
                  <a:gd name="connsiteX15" fmla="*/ 9917 w 10000"/>
                  <a:gd name="connsiteY15" fmla="*/ 6569 h 9216"/>
                  <a:gd name="connsiteX16" fmla="*/ 10000 w 10000"/>
                  <a:gd name="connsiteY16" fmla="*/ 6373 h 9216"/>
                  <a:gd name="connsiteX17" fmla="*/ 9752 w 10000"/>
                  <a:gd name="connsiteY17" fmla="*/ 6046 h 9216"/>
                  <a:gd name="connsiteX18" fmla="*/ 8884 w 10000"/>
                  <a:gd name="connsiteY18" fmla="*/ 5752 h 9216"/>
                  <a:gd name="connsiteX19" fmla="*/ 8636 w 10000"/>
                  <a:gd name="connsiteY19" fmla="*/ 5196 h 9216"/>
                  <a:gd name="connsiteX20" fmla="*/ 8636 w 10000"/>
                  <a:gd name="connsiteY20" fmla="*/ 4379 h 9216"/>
                  <a:gd name="connsiteX21" fmla="*/ 8678 w 10000"/>
                  <a:gd name="connsiteY21" fmla="*/ 3595 h 9216"/>
                  <a:gd name="connsiteX22" fmla="*/ 8223 w 10000"/>
                  <a:gd name="connsiteY22" fmla="*/ 2843 h 9216"/>
                  <a:gd name="connsiteX23" fmla="*/ 7645 w 10000"/>
                  <a:gd name="connsiteY23" fmla="*/ 3039 h 9216"/>
                  <a:gd name="connsiteX24" fmla="*/ 6488 w 10000"/>
                  <a:gd name="connsiteY24" fmla="*/ 3007 h 9216"/>
                  <a:gd name="connsiteX25" fmla="*/ 5744 w 10000"/>
                  <a:gd name="connsiteY25" fmla="*/ 2941 h 9216"/>
                  <a:gd name="connsiteX26" fmla="*/ 5702 w 10000"/>
                  <a:gd name="connsiteY26" fmla="*/ 2026 h 9216"/>
                  <a:gd name="connsiteX27" fmla="*/ 4793 w 10000"/>
                  <a:gd name="connsiteY27" fmla="*/ 1765 h 9216"/>
                  <a:gd name="connsiteX28" fmla="*/ 4256 w 10000"/>
                  <a:gd name="connsiteY28" fmla="*/ 1242 h 9216"/>
                  <a:gd name="connsiteX29" fmla="*/ 3760 w 10000"/>
                  <a:gd name="connsiteY29" fmla="*/ 784 h 9216"/>
                  <a:gd name="connsiteX30" fmla="*/ 3430 w 10000"/>
                  <a:gd name="connsiteY30" fmla="*/ 490 h 9216"/>
                  <a:gd name="connsiteX31" fmla="*/ 3017 w 10000"/>
                  <a:gd name="connsiteY31" fmla="*/ 392 h 9216"/>
                  <a:gd name="connsiteX32" fmla="*/ 2603 w 10000"/>
                  <a:gd name="connsiteY32" fmla="*/ 33 h 9216"/>
                  <a:gd name="connsiteX33" fmla="*/ 1322 w 10000"/>
                  <a:gd name="connsiteY33" fmla="*/ 0 h 9216"/>
                  <a:gd name="connsiteX34" fmla="*/ 744 w 10000"/>
                  <a:gd name="connsiteY34" fmla="*/ 458 h 9216"/>
                  <a:gd name="connsiteX35" fmla="*/ 496 w 10000"/>
                  <a:gd name="connsiteY35" fmla="*/ 425 h 9216"/>
                  <a:gd name="connsiteX36" fmla="*/ 331 w 10000"/>
                  <a:gd name="connsiteY36" fmla="*/ 523 h 9216"/>
                  <a:gd name="connsiteX37" fmla="*/ 0 w 10000"/>
                  <a:gd name="connsiteY37" fmla="*/ 817 h 9216"/>
                  <a:gd name="connsiteX38" fmla="*/ 248 w 10000"/>
                  <a:gd name="connsiteY38" fmla="*/ 1503 h 9216"/>
                  <a:gd name="connsiteX39" fmla="*/ 289 w 10000"/>
                  <a:gd name="connsiteY39" fmla="*/ 1797 h 9216"/>
                  <a:gd name="connsiteX40" fmla="*/ 537 w 10000"/>
                  <a:gd name="connsiteY40" fmla="*/ 1961 h 9216"/>
                  <a:gd name="connsiteX41" fmla="*/ 992 w 10000"/>
                  <a:gd name="connsiteY41" fmla="*/ 2190 h 9216"/>
                  <a:gd name="connsiteX42" fmla="*/ 1322 w 10000"/>
                  <a:gd name="connsiteY42" fmla="*/ 2386 h 9216"/>
                  <a:gd name="connsiteX43" fmla="*/ 868 w 10000"/>
                  <a:gd name="connsiteY43" fmla="*/ 2614 h 9216"/>
                  <a:gd name="connsiteX44" fmla="*/ 992 w 10000"/>
                  <a:gd name="connsiteY44" fmla="*/ 2974 h 9216"/>
                  <a:gd name="connsiteX45" fmla="*/ 1198 w 10000"/>
                  <a:gd name="connsiteY45" fmla="*/ 3268 h 9216"/>
                  <a:gd name="connsiteX46" fmla="*/ 1364 w 10000"/>
                  <a:gd name="connsiteY46" fmla="*/ 4608 h 9216"/>
                  <a:gd name="connsiteX47" fmla="*/ 2107 w 10000"/>
                  <a:gd name="connsiteY47" fmla="*/ 4967 h 9216"/>
                  <a:gd name="connsiteX48" fmla="*/ 1488 w 10000"/>
                  <a:gd name="connsiteY48" fmla="*/ 5327 h 9216"/>
                  <a:gd name="connsiteX49" fmla="*/ 2025 w 10000"/>
                  <a:gd name="connsiteY49" fmla="*/ 5752 h 9216"/>
                  <a:gd name="connsiteX50" fmla="*/ 1612 w 10000"/>
                  <a:gd name="connsiteY50" fmla="*/ 6340 h 9216"/>
                  <a:gd name="connsiteX51" fmla="*/ 2231 w 10000"/>
                  <a:gd name="connsiteY51" fmla="*/ 6601 h 9216"/>
                  <a:gd name="connsiteX52" fmla="*/ 2397 w 10000"/>
                  <a:gd name="connsiteY52" fmla="*/ 6797 h 9216"/>
                  <a:gd name="connsiteX53" fmla="*/ 3140 w 10000"/>
                  <a:gd name="connsiteY53" fmla="*/ 7190 h 9216"/>
                  <a:gd name="connsiteX54" fmla="*/ 3678 w 10000"/>
                  <a:gd name="connsiteY54" fmla="*/ 7222 h 9216"/>
                  <a:gd name="connsiteX55" fmla="*/ 4421 w 10000"/>
                  <a:gd name="connsiteY55" fmla="*/ 7484 h 9216"/>
                  <a:gd name="connsiteX56" fmla="*/ 4132 w 10000"/>
                  <a:gd name="connsiteY56" fmla="*/ 7778 h 9216"/>
                  <a:gd name="connsiteX0" fmla="*/ 4132 w 10000"/>
                  <a:gd name="connsiteY0" fmla="*/ 8440 h 9752"/>
                  <a:gd name="connsiteX1" fmla="*/ 3760 w 10000"/>
                  <a:gd name="connsiteY1" fmla="*/ 8581 h 9752"/>
                  <a:gd name="connsiteX2" fmla="*/ 3926 w 10000"/>
                  <a:gd name="connsiteY2" fmla="*/ 8829 h 9752"/>
                  <a:gd name="connsiteX3" fmla="*/ 3926 w 10000"/>
                  <a:gd name="connsiteY3" fmla="*/ 9078 h 9752"/>
                  <a:gd name="connsiteX4" fmla="*/ 4050 w 10000"/>
                  <a:gd name="connsiteY4" fmla="*/ 9361 h 9752"/>
                  <a:gd name="connsiteX5" fmla="*/ 4298 w 10000"/>
                  <a:gd name="connsiteY5" fmla="*/ 9575 h 9752"/>
                  <a:gd name="connsiteX6" fmla="*/ 5413 w 10000"/>
                  <a:gd name="connsiteY6" fmla="*/ 7784 h 9752"/>
                  <a:gd name="connsiteX7" fmla="*/ 5765 w 10000"/>
                  <a:gd name="connsiteY7" fmla="*/ 7677 h 9752"/>
                  <a:gd name="connsiteX8" fmla="*/ 6364 w 10000"/>
                  <a:gd name="connsiteY8" fmla="*/ 8404 h 9752"/>
                  <a:gd name="connsiteX9" fmla="*/ 7211 w 10000"/>
                  <a:gd name="connsiteY9" fmla="*/ 8777 h 9752"/>
                  <a:gd name="connsiteX10" fmla="*/ 7355 w 10000"/>
                  <a:gd name="connsiteY10" fmla="*/ 9539 h 9752"/>
                  <a:gd name="connsiteX11" fmla="*/ 9132 w 10000"/>
                  <a:gd name="connsiteY11" fmla="*/ 9113 h 9752"/>
                  <a:gd name="connsiteX12" fmla="*/ 9256 w 10000"/>
                  <a:gd name="connsiteY12" fmla="*/ 8085 h 9752"/>
                  <a:gd name="connsiteX13" fmla="*/ 9256 w 10000"/>
                  <a:gd name="connsiteY13" fmla="*/ 7660 h 9752"/>
                  <a:gd name="connsiteX14" fmla="*/ 9628 w 10000"/>
                  <a:gd name="connsiteY14" fmla="*/ 7411 h 9752"/>
                  <a:gd name="connsiteX15" fmla="*/ 9917 w 10000"/>
                  <a:gd name="connsiteY15" fmla="*/ 7128 h 9752"/>
                  <a:gd name="connsiteX16" fmla="*/ 10000 w 10000"/>
                  <a:gd name="connsiteY16" fmla="*/ 6915 h 9752"/>
                  <a:gd name="connsiteX17" fmla="*/ 9752 w 10000"/>
                  <a:gd name="connsiteY17" fmla="*/ 6560 h 9752"/>
                  <a:gd name="connsiteX18" fmla="*/ 8884 w 10000"/>
                  <a:gd name="connsiteY18" fmla="*/ 6241 h 9752"/>
                  <a:gd name="connsiteX19" fmla="*/ 8636 w 10000"/>
                  <a:gd name="connsiteY19" fmla="*/ 5638 h 9752"/>
                  <a:gd name="connsiteX20" fmla="*/ 8636 w 10000"/>
                  <a:gd name="connsiteY20" fmla="*/ 4752 h 9752"/>
                  <a:gd name="connsiteX21" fmla="*/ 8678 w 10000"/>
                  <a:gd name="connsiteY21" fmla="*/ 3901 h 9752"/>
                  <a:gd name="connsiteX22" fmla="*/ 8223 w 10000"/>
                  <a:gd name="connsiteY22" fmla="*/ 3085 h 9752"/>
                  <a:gd name="connsiteX23" fmla="*/ 7645 w 10000"/>
                  <a:gd name="connsiteY23" fmla="*/ 3298 h 9752"/>
                  <a:gd name="connsiteX24" fmla="*/ 6488 w 10000"/>
                  <a:gd name="connsiteY24" fmla="*/ 3263 h 9752"/>
                  <a:gd name="connsiteX25" fmla="*/ 5744 w 10000"/>
                  <a:gd name="connsiteY25" fmla="*/ 3191 h 9752"/>
                  <a:gd name="connsiteX26" fmla="*/ 5702 w 10000"/>
                  <a:gd name="connsiteY26" fmla="*/ 2198 h 9752"/>
                  <a:gd name="connsiteX27" fmla="*/ 4793 w 10000"/>
                  <a:gd name="connsiteY27" fmla="*/ 1915 h 9752"/>
                  <a:gd name="connsiteX28" fmla="*/ 4256 w 10000"/>
                  <a:gd name="connsiteY28" fmla="*/ 1348 h 9752"/>
                  <a:gd name="connsiteX29" fmla="*/ 3760 w 10000"/>
                  <a:gd name="connsiteY29" fmla="*/ 851 h 9752"/>
                  <a:gd name="connsiteX30" fmla="*/ 3430 w 10000"/>
                  <a:gd name="connsiteY30" fmla="*/ 532 h 9752"/>
                  <a:gd name="connsiteX31" fmla="*/ 3017 w 10000"/>
                  <a:gd name="connsiteY31" fmla="*/ 425 h 9752"/>
                  <a:gd name="connsiteX32" fmla="*/ 2603 w 10000"/>
                  <a:gd name="connsiteY32" fmla="*/ 36 h 9752"/>
                  <a:gd name="connsiteX33" fmla="*/ 1322 w 10000"/>
                  <a:gd name="connsiteY33" fmla="*/ 0 h 9752"/>
                  <a:gd name="connsiteX34" fmla="*/ 744 w 10000"/>
                  <a:gd name="connsiteY34" fmla="*/ 497 h 9752"/>
                  <a:gd name="connsiteX35" fmla="*/ 496 w 10000"/>
                  <a:gd name="connsiteY35" fmla="*/ 461 h 9752"/>
                  <a:gd name="connsiteX36" fmla="*/ 331 w 10000"/>
                  <a:gd name="connsiteY36" fmla="*/ 567 h 9752"/>
                  <a:gd name="connsiteX37" fmla="*/ 0 w 10000"/>
                  <a:gd name="connsiteY37" fmla="*/ 887 h 9752"/>
                  <a:gd name="connsiteX38" fmla="*/ 248 w 10000"/>
                  <a:gd name="connsiteY38" fmla="*/ 1631 h 9752"/>
                  <a:gd name="connsiteX39" fmla="*/ 289 w 10000"/>
                  <a:gd name="connsiteY39" fmla="*/ 1950 h 9752"/>
                  <a:gd name="connsiteX40" fmla="*/ 537 w 10000"/>
                  <a:gd name="connsiteY40" fmla="*/ 2128 h 9752"/>
                  <a:gd name="connsiteX41" fmla="*/ 992 w 10000"/>
                  <a:gd name="connsiteY41" fmla="*/ 2376 h 9752"/>
                  <a:gd name="connsiteX42" fmla="*/ 1322 w 10000"/>
                  <a:gd name="connsiteY42" fmla="*/ 2589 h 9752"/>
                  <a:gd name="connsiteX43" fmla="*/ 868 w 10000"/>
                  <a:gd name="connsiteY43" fmla="*/ 2836 h 9752"/>
                  <a:gd name="connsiteX44" fmla="*/ 992 w 10000"/>
                  <a:gd name="connsiteY44" fmla="*/ 3227 h 9752"/>
                  <a:gd name="connsiteX45" fmla="*/ 1198 w 10000"/>
                  <a:gd name="connsiteY45" fmla="*/ 3546 h 9752"/>
                  <a:gd name="connsiteX46" fmla="*/ 1364 w 10000"/>
                  <a:gd name="connsiteY46" fmla="*/ 5000 h 9752"/>
                  <a:gd name="connsiteX47" fmla="*/ 2107 w 10000"/>
                  <a:gd name="connsiteY47" fmla="*/ 5390 h 9752"/>
                  <a:gd name="connsiteX48" fmla="*/ 1488 w 10000"/>
                  <a:gd name="connsiteY48" fmla="*/ 5780 h 9752"/>
                  <a:gd name="connsiteX49" fmla="*/ 2025 w 10000"/>
                  <a:gd name="connsiteY49" fmla="*/ 6241 h 9752"/>
                  <a:gd name="connsiteX50" fmla="*/ 1612 w 10000"/>
                  <a:gd name="connsiteY50" fmla="*/ 6879 h 9752"/>
                  <a:gd name="connsiteX51" fmla="*/ 2231 w 10000"/>
                  <a:gd name="connsiteY51" fmla="*/ 7163 h 9752"/>
                  <a:gd name="connsiteX52" fmla="*/ 2397 w 10000"/>
                  <a:gd name="connsiteY52" fmla="*/ 7375 h 9752"/>
                  <a:gd name="connsiteX53" fmla="*/ 3140 w 10000"/>
                  <a:gd name="connsiteY53" fmla="*/ 7802 h 9752"/>
                  <a:gd name="connsiteX54" fmla="*/ 3678 w 10000"/>
                  <a:gd name="connsiteY54" fmla="*/ 7836 h 9752"/>
                  <a:gd name="connsiteX55" fmla="*/ 4421 w 10000"/>
                  <a:gd name="connsiteY55" fmla="*/ 8121 h 9752"/>
                  <a:gd name="connsiteX56" fmla="*/ 4132 w 10000"/>
                  <a:gd name="connsiteY56" fmla="*/ 8440 h 9752"/>
                  <a:gd name="connsiteX0" fmla="*/ 4132 w 10000"/>
                  <a:gd name="connsiteY0" fmla="*/ 8655 h 9890"/>
                  <a:gd name="connsiteX1" fmla="*/ 3760 w 10000"/>
                  <a:gd name="connsiteY1" fmla="*/ 8799 h 9890"/>
                  <a:gd name="connsiteX2" fmla="*/ 3926 w 10000"/>
                  <a:gd name="connsiteY2" fmla="*/ 9054 h 9890"/>
                  <a:gd name="connsiteX3" fmla="*/ 3926 w 10000"/>
                  <a:gd name="connsiteY3" fmla="*/ 9309 h 9890"/>
                  <a:gd name="connsiteX4" fmla="*/ 4050 w 10000"/>
                  <a:gd name="connsiteY4" fmla="*/ 9599 h 9890"/>
                  <a:gd name="connsiteX5" fmla="*/ 5042 w 10000"/>
                  <a:gd name="connsiteY5" fmla="*/ 7636 h 9890"/>
                  <a:gd name="connsiteX6" fmla="*/ 5413 w 10000"/>
                  <a:gd name="connsiteY6" fmla="*/ 7982 h 9890"/>
                  <a:gd name="connsiteX7" fmla="*/ 5765 w 10000"/>
                  <a:gd name="connsiteY7" fmla="*/ 7872 h 9890"/>
                  <a:gd name="connsiteX8" fmla="*/ 6364 w 10000"/>
                  <a:gd name="connsiteY8" fmla="*/ 8618 h 9890"/>
                  <a:gd name="connsiteX9" fmla="*/ 7211 w 10000"/>
                  <a:gd name="connsiteY9" fmla="*/ 9000 h 9890"/>
                  <a:gd name="connsiteX10" fmla="*/ 7355 w 10000"/>
                  <a:gd name="connsiteY10" fmla="*/ 9782 h 9890"/>
                  <a:gd name="connsiteX11" fmla="*/ 9132 w 10000"/>
                  <a:gd name="connsiteY11" fmla="*/ 9345 h 9890"/>
                  <a:gd name="connsiteX12" fmla="*/ 9256 w 10000"/>
                  <a:gd name="connsiteY12" fmla="*/ 8291 h 9890"/>
                  <a:gd name="connsiteX13" fmla="*/ 9256 w 10000"/>
                  <a:gd name="connsiteY13" fmla="*/ 7855 h 9890"/>
                  <a:gd name="connsiteX14" fmla="*/ 9628 w 10000"/>
                  <a:gd name="connsiteY14" fmla="*/ 7599 h 9890"/>
                  <a:gd name="connsiteX15" fmla="*/ 9917 w 10000"/>
                  <a:gd name="connsiteY15" fmla="*/ 7309 h 9890"/>
                  <a:gd name="connsiteX16" fmla="*/ 10000 w 10000"/>
                  <a:gd name="connsiteY16" fmla="*/ 7091 h 9890"/>
                  <a:gd name="connsiteX17" fmla="*/ 9752 w 10000"/>
                  <a:gd name="connsiteY17" fmla="*/ 6727 h 9890"/>
                  <a:gd name="connsiteX18" fmla="*/ 8884 w 10000"/>
                  <a:gd name="connsiteY18" fmla="*/ 6400 h 9890"/>
                  <a:gd name="connsiteX19" fmla="*/ 8636 w 10000"/>
                  <a:gd name="connsiteY19" fmla="*/ 5781 h 9890"/>
                  <a:gd name="connsiteX20" fmla="*/ 8636 w 10000"/>
                  <a:gd name="connsiteY20" fmla="*/ 4873 h 9890"/>
                  <a:gd name="connsiteX21" fmla="*/ 8678 w 10000"/>
                  <a:gd name="connsiteY21" fmla="*/ 4000 h 9890"/>
                  <a:gd name="connsiteX22" fmla="*/ 8223 w 10000"/>
                  <a:gd name="connsiteY22" fmla="*/ 3163 h 9890"/>
                  <a:gd name="connsiteX23" fmla="*/ 7645 w 10000"/>
                  <a:gd name="connsiteY23" fmla="*/ 3382 h 9890"/>
                  <a:gd name="connsiteX24" fmla="*/ 6488 w 10000"/>
                  <a:gd name="connsiteY24" fmla="*/ 3346 h 9890"/>
                  <a:gd name="connsiteX25" fmla="*/ 5744 w 10000"/>
                  <a:gd name="connsiteY25" fmla="*/ 3272 h 9890"/>
                  <a:gd name="connsiteX26" fmla="*/ 5702 w 10000"/>
                  <a:gd name="connsiteY26" fmla="*/ 2254 h 9890"/>
                  <a:gd name="connsiteX27" fmla="*/ 4793 w 10000"/>
                  <a:gd name="connsiteY27" fmla="*/ 1964 h 9890"/>
                  <a:gd name="connsiteX28" fmla="*/ 4256 w 10000"/>
                  <a:gd name="connsiteY28" fmla="*/ 1382 h 9890"/>
                  <a:gd name="connsiteX29" fmla="*/ 3760 w 10000"/>
                  <a:gd name="connsiteY29" fmla="*/ 873 h 9890"/>
                  <a:gd name="connsiteX30" fmla="*/ 3430 w 10000"/>
                  <a:gd name="connsiteY30" fmla="*/ 546 h 9890"/>
                  <a:gd name="connsiteX31" fmla="*/ 3017 w 10000"/>
                  <a:gd name="connsiteY31" fmla="*/ 436 h 9890"/>
                  <a:gd name="connsiteX32" fmla="*/ 2603 w 10000"/>
                  <a:gd name="connsiteY32" fmla="*/ 37 h 9890"/>
                  <a:gd name="connsiteX33" fmla="*/ 1322 w 10000"/>
                  <a:gd name="connsiteY33" fmla="*/ 0 h 9890"/>
                  <a:gd name="connsiteX34" fmla="*/ 744 w 10000"/>
                  <a:gd name="connsiteY34" fmla="*/ 510 h 9890"/>
                  <a:gd name="connsiteX35" fmla="*/ 496 w 10000"/>
                  <a:gd name="connsiteY35" fmla="*/ 473 h 9890"/>
                  <a:gd name="connsiteX36" fmla="*/ 331 w 10000"/>
                  <a:gd name="connsiteY36" fmla="*/ 581 h 9890"/>
                  <a:gd name="connsiteX37" fmla="*/ 0 w 10000"/>
                  <a:gd name="connsiteY37" fmla="*/ 910 h 9890"/>
                  <a:gd name="connsiteX38" fmla="*/ 248 w 10000"/>
                  <a:gd name="connsiteY38" fmla="*/ 1672 h 9890"/>
                  <a:gd name="connsiteX39" fmla="*/ 289 w 10000"/>
                  <a:gd name="connsiteY39" fmla="*/ 2000 h 9890"/>
                  <a:gd name="connsiteX40" fmla="*/ 537 w 10000"/>
                  <a:gd name="connsiteY40" fmla="*/ 2182 h 9890"/>
                  <a:gd name="connsiteX41" fmla="*/ 992 w 10000"/>
                  <a:gd name="connsiteY41" fmla="*/ 2436 h 9890"/>
                  <a:gd name="connsiteX42" fmla="*/ 1322 w 10000"/>
                  <a:gd name="connsiteY42" fmla="*/ 2655 h 9890"/>
                  <a:gd name="connsiteX43" fmla="*/ 868 w 10000"/>
                  <a:gd name="connsiteY43" fmla="*/ 2908 h 9890"/>
                  <a:gd name="connsiteX44" fmla="*/ 992 w 10000"/>
                  <a:gd name="connsiteY44" fmla="*/ 3309 h 9890"/>
                  <a:gd name="connsiteX45" fmla="*/ 1198 w 10000"/>
                  <a:gd name="connsiteY45" fmla="*/ 3636 h 9890"/>
                  <a:gd name="connsiteX46" fmla="*/ 1364 w 10000"/>
                  <a:gd name="connsiteY46" fmla="*/ 5127 h 9890"/>
                  <a:gd name="connsiteX47" fmla="*/ 2107 w 10000"/>
                  <a:gd name="connsiteY47" fmla="*/ 5527 h 9890"/>
                  <a:gd name="connsiteX48" fmla="*/ 1488 w 10000"/>
                  <a:gd name="connsiteY48" fmla="*/ 5927 h 9890"/>
                  <a:gd name="connsiteX49" fmla="*/ 2025 w 10000"/>
                  <a:gd name="connsiteY49" fmla="*/ 6400 h 9890"/>
                  <a:gd name="connsiteX50" fmla="*/ 1612 w 10000"/>
                  <a:gd name="connsiteY50" fmla="*/ 7054 h 9890"/>
                  <a:gd name="connsiteX51" fmla="*/ 2231 w 10000"/>
                  <a:gd name="connsiteY51" fmla="*/ 7345 h 9890"/>
                  <a:gd name="connsiteX52" fmla="*/ 2397 w 10000"/>
                  <a:gd name="connsiteY52" fmla="*/ 7563 h 9890"/>
                  <a:gd name="connsiteX53" fmla="*/ 3140 w 10000"/>
                  <a:gd name="connsiteY53" fmla="*/ 8000 h 9890"/>
                  <a:gd name="connsiteX54" fmla="*/ 3678 w 10000"/>
                  <a:gd name="connsiteY54" fmla="*/ 8035 h 9890"/>
                  <a:gd name="connsiteX55" fmla="*/ 4421 w 10000"/>
                  <a:gd name="connsiteY55" fmla="*/ 8328 h 9890"/>
                  <a:gd name="connsiteX56" fmla="*/ 4132 w 10000"/>
                  <a:gd name="connsiteY56" fmla="*/ 8655 h 9890"/>
                  <a:gd name="connsiteX0" fmla="*/ 4132 w 10000"/>
                  <a:gd name="connsiteY0" fmla="*/ 8751 h 10000"/>
                  <a:gd name="connsiteX1" fmla="*/ 3760 w 10000"/>
                  <a:gd name="connsiteY1" fmla="*/ 8897 h 10000"/>
                  <a:gd name="connsiteX2" fmla="*/ 3926 w 10000"/>
                  <a:gd name="connsiteY2" fmla="*/ 9155 h 10000"/>
                  <a:gd name="connsiteX3" fmla="*/ 3926 w 10000"/>
                  <a:gd name="connsiteY3" fmla="*/ 9413 h 10000"/>
                  <a:gd name="connsiteX4" fmla="*/ 4608 w 10000"/>
                  <a:gd name="connsiteY4" fmla="*/ 7886 h 10000"/>
                  <a:gd name="connsiteX5" fmla="*/ 5042 w 10000"/>
                  <a:gd name="connsiteY5" fmla="*/ 7721 h 10000"/>
                  <a:gd name="connsiteX6" fmla="*/ 5413 w 10000"/>
                  <a:gd name="connsiteY6" fmla="*/ 8071 h 10000"/>
                  <a:gd name="connsiteX7" fmla="*/ 5765 w 10000"/>
                  <a:gd name="connsiteY7" fmla="*/ 7960 h 10000"/>
                  <a:gd name="connsiteX8" fmla="*/ 6364 w 10000"/>
                  <a:gd name="connsiteY8" fmla="*/ 8714 h 10000"/>
                  <a:gd name="connsiteX9" fmla="*/ 7211 w 10000"/>
                  <a:gd name="connsiteY9" fmla="*/ 9100 h 10000"/>
                  <a:gd name="connsiteX10" fmla="*/ 7355 w 10000"/>
                  <a:gd name="connsiteY10" fmla="*/ 9891 h 10000"/>
                  <a:gd name="connsiteX11" fmla="*/ 9132 w 10000"/>
                  <a:gd name="connsiteY11" fmla="*/ 9449 h 10000"/>
                  <a:gd name="connsiteX12" fmla="*/ 9256 w 10000"/>
                  <a:gd name="connsiteY12" fmla="*/ 8383 h 10000"/>
                  <a:gd name="connsiteX13" fmla="*/ 9256 w 10000"/>
                  <a:gd name="connsiteY13" fmla="*/ 7942 h 10000"/>
                  <a:gd name="connsiteX14" fmla="*/ 9628 w 10000"/>
                  <a:gd name="connsiteY14" fmla="*/ 7684 h 10000"/>
                  <a:gd name="connsiteX15" fmla="*/ 9917 w 10000"/>
                  <a:gd name="connsiteY15" fmla="*/ 7390 h 10000"/>
                  <a:gd name="connsiteX16" fmla="*/ 10000 w 10000"/>
                  <a:gd name="connsiteY16" fmla="*/ 7170 h 10000"/>
                  <a:gd name="connsiteX17" fmla="*/ 9752 w 10000"/>
                  <a:gd name="connsiteY17" fmla="*/ 6802 h 10000"/>
                  <a:gd name="connsiteX18" fmla="*/ 8884 w 10000"/>
                  <a:gd name="connsiteY18" fmla="*/ 6471 h 10000"/>
                  <a:gd name="connsiteX19" fmla="*/ 8636 w 10000"/>
                  <a:gd name="connsiteY19" fmla="*/ 5845 h 10000"/>
                  <a:gd name="connsiteX20" fmla="*/ 8636 w 10000"/>
                  <a:gd name="connsiteY20" fmla="*/ 4927 h 10000"/>
                  <a:gd name="connsiteX21" fmla="*/ 8678 w 10000"/>
                  <a:gd name="connsiteY21" fmla="*/ 4044 h 10000"/>
                  <a:gd name="connsiteX22" fmla="*/ 8223 w 10000"/>
                  <a:gd name="connsiteY22" fmla="*/ 3198 h 10000"/>
                  <a:gd name="connsiteX23" fmla="*/ 7645 w 10000"/>
                  <a:gd name="connsiteY23" fmla="*/ 3420 h 10000"/>
                  <a:gd name="connsiteX24" fmla="*/ 6488 w 10000"/>
                  <a:gd name="connsiteY24" fmla="*/ 3383 h 10000"/>
                  <a:gd name="connsiteX25" fmla="*/ 5744 w 10000"/>
                  <a:gd name="connsiteY25" fmla="*/ 3308 h 10000"/>
                  <a:gd name="connsiteX26" fmla="*/ 5702 w 10000"/>
                  <a:gd name="connsiteY26" fmla="*/ 2279 h 10000"/>
                  <a:gd name="connsiteX27" fmla="*/ 4793 w 10000"/>
                  <a:gd name="connsiteY27" fmla="*/ 1986 h 10000"/>
                  <a:gd name="connsiteX28" fmla="*/ 4256 w 10000"/>
                  <a:gd name="connsiteY28" fmla="*/ 1397 h 10000"/>
                  <a:gd name="connsiteX29" fmla="*/ 3760 w 10000"/>
                  <a:gd name="connsiteY29" fmla="*/ 883 h 10000"/>
                  <a:gd name="connsiteX30" fmla="*/ 3430 w 10000"/>
                  <a:gd name="connsiteY30" fmla="*/ 552 h 10000"/>
                  <a:gd name="connsiteX31" fmla="*/ 3017 w 10000"/>
                  <a:gd name="connsiteY31" fmla="*/ 441 h 10000"/>
                  <a:gd name="connsiteX32" fmla="*/ 2603 w 10000"/>
                  <a:gd name="connsiteY32" fmla="*/ 37 h 10000"/>
                  <a:gd name="connsiteX33" fmla="*/ 1322 w 10000"/>
                  <a:gd name="connsiteY33" fmla="*/ 0 h 10000"/>
                  <a:gd name="connsiteX34" fmla="*/ 744 w 10000"/>
                  <a:gd name="connsiteY34" fmla="*/ 516 h 10000"/>
                  <a:gd name="connsiteX35" fmla="*/ 496 w 10000"/>
                  <a:gd name="connsiteY35" fmla="*/ 478 h 10000"/>
                  <a:gd name="connsiteX36" fmla="*/ 331 w 10000"/>
                  <a:gd name="connsiteY36" fmla="*/ 587 h 10000"/>
                  <a:gd name="connsiteX37" fmla="*/ 0 w 10000"/>
                  <a:gd name="connsiteY37" fmla="*/ 920 h 10000"/>
                  <a:gd name="connsiteX38" fmla="*/ 248 w 10000"/>
                  <a:gd name="connsiteY38" fmla="*/ 1691 h 10000"/>
                  <a:gd name="connsiteX39" fmla="*/ 289 w 10000"/>
                  <a:gd name="connsiteY39" fmla="*/ 2022 h 10000"/>
                  <a:gd name="connsiteX40" fmla="*/ 537 w 10000"/>
                  <a:gd name="connsiteY40" fmla="*/ 2206 h 10000"/>
                  <a:gd name="connsiteX41" fmla="*/ 992 w 10000"/>
                  <a:gd name="connsiteY41" fmla="*/ 2463 h 10000"/>
                  <a:gd name="connsiteX42" fmla="*/ 1322 w 10000"/>
                  <a:gd name="connsiteY42" fmla="*/ 2685 h 10000"/>
                  <a:gd name="connsiteX43" fmla="*/ 868 w 10000"/>
                  <a:gd name="connsiteY43" fmla="*/ 2940 h 10000"/>
                  <a:gd name="connsiteX44" fmla="*/ 992 w 10000"/>
                  <a:gd name="connsiteY44" fmla="*/ 3346 h 10000"/>
                  <a:gd name="connsiteX45" fmla="*/ 1198 w 10000"/>
                  <a:gd name="connsiteY45" fmla="*/ 3676 h 10000"/>
                  <a:gd name="connsiteX46" fmla="*/ 1364 w 10000"/>
                  <a:gd name="connsiteY46" fmla="*/ 5184 h 10000"/>
                  <a:gd name="connsiteX47" fmla="*/ 2107 w 10000"/>
                  <a:gd name="connsiteY47" fmla="*/ 5588 h 10000"/>
                  <a:gd name="connsiteX48" fmla="*/ 1488 w 10000"/>
                  <a:gd name="connsiteY48" fmla="*/ 5993 h 10000"/>
                  <a:gd name="connsiteX49" fmla="*/ 2025 w 10000"/>
                  <a:gd name="connsiteY49" fmla="*/ 6471 h 10000"/>
                  <a:gd name="connsiteX50" fmla="*/ 1612 w 10000"/>
                  <a:gd name="connsiteY50" fmla="*/ 7132 h 10000"/>
                  <a:gd name="connsiteX51" fmla="*/ 2231 w 10000"/>
                  <a:gd name="connsiteY51" fmla="*/ 7427 h 10000"/>
                  <a:gd name="connsiteX52" fmla="*/ 2397 w 10000"/>
                  <a:gd name="connsiteY52" fmla="*/ 7647 h 10000"/>
                  <a:gd name="connsiteX53" fmla="*/ 3140 w 10000"/>
                  <a:gd name="connsiteY53" fmla="*/ 8089 h 10000"/>
                  <a:gd name="connsiteX54" fmla="*/ 3678 w 10000"/>
                  <a:gd name="connsiteY54" fmla="*/ 8124 h 10000"/>
                  <a:gd name="connsiteX55" fmla="*/ 4421 w 10000"/>
                  <a:gd name="connsiteY55" fmla="*/ 8421 h 10000"/>
                  <a:gd name="connsiteX56" fmla="*/ 4132 w 10000"/>
                  <a:gd name="connsiteY56" fmla="*/ 8751 h 10000"/>
                  <a:gd name="connsiteX0" fmla="*/ 4132 w 10000"/>
                  <a:gd name="connsiteY0" fmla="*/ 8751 h 10000"/>
                  <a:gd name="connsiteX1" fmla="*/ 3760 w 10000"/>
                  <a:gd name="connsiteY1" fmla="*/ 8897 h 10000"/>
                  <a:gd name="connsiteX2" fmla="*/ 3926 w 10000"/>
                  <a:gd name="connsiteY2" fmla="*/ 9155 h 10000"/>
                  <a:gd name="connsiteX3" fmla="*/ 4732 w 10000"/>
                  <a:gd name="connsiteY3" fmla="*/ 8255 h 10000"/>
                  <a:gd name="connsiteX4" fmla="*/ 4608 w 10000"/>
                  <a:gd name="connsiteY4" fmla="*/ 7886 h 10000"/>
                  <a:gd name="connsiteX5" fmla="*/ 5042 w 10000"/>
                  <a:gd name="connsiteY5" fmla="*/ 7721 h 10000"/>
                  <a:gd name="connsiteX6" fmla="*/ 5413 w 10000"/>
                  <a:gd name="connsiteY6" fmla="*/ 8071 h 10000"/>
                  <a:gd name="connsiteX7" fmla="*/ 5765 w 10000"/>
                  <a:gd name="connsiteY7" fmla="*/ 7960 h 10000"/>
                  <a:gd name="connsiteX8" fmla="*/ 6364 w 10000"/>
                  <a:gd name="connsiteY8" fmla="*/ 8714 h 10000"/>
                  <a:gd name="connsiteX9" fmla="*/ 7211 w 10000"/>
                  <a:gd name="connsiteY9" fmla="*/ 9100 h 10000"/>
                  <a:gd name="connsiteX10" fmla="*/ 7355 w 10000"/>
                  <a:gd name="connsiteY10" fmla="*/ 9891 h 10000"/>
                  <a:gd name="connsiteX11" fmla="*/ 9132 w 10000"/>
                  <a:gd name="connsiteY11" fmla="*/ 9449 h 10000"/>
                  <a:gd name="connsiteX12" fmla="*/ 9256 w 10000"/>
                  <a:gd name="connsiteY12" fmla="*/ 8383 h 10000"/>
                  <a:gd name="connsiteX13" fmla="*/ 9256 w 10000"/>
                  <a:gd name="connsiteY13" fmla="*/ 7942 h 10000"/>
                  <a:gd name="connsiteX14" fmla="*/ 9628 w 10000"/>
                  <a:gd name="connsiteY14" fmla="*/ 7684 h 10000"/>
                  <a:gd name="connsiteX15" fmla="*/ 9917 w 10000"/>
                  <a:gd name="connsiteY15" fmla="*/ 7390 h 10000"/>
                  <a:gd name="connsiteX16" fmla="*/ 10000 w 10000"/>
                  <a:gd name="connsiteY16" fmla="*/ 7170 h 10000"/>
                  <a:gd name="connsiteX17" fmla="*/ 9752 w 10000"/>
                  <a:gd name="connsiteY17" fmla="*/ 6802 h 10000"/>
                  <a:gd name="connsiteX18" fmla="*/ 8884 w 10000"/>
                  <a:gd name="connsiteY18" fmla="*/ 6471 h 10000"/>
                  <a:gd name="connsiteX19" fmla="*/ 8636 w 10000"/>
                  <a:gd name="connsiteY19" fmla="*/ 5845 h 10000"/>
                  <a:gd name="connsiteX20" fmla="*/ 8636 w 10000"/>
                  <a:gd name="connsiteY20" fmla="*/ 4927 h 10000"/>
                  <a:gd name="connsiteX21" fmla="*/ 8678 w 10000"/>
                  <a:gd name="connsiteY21" fmla="*/ 4044 h 10000"/>
                  <a:gd name="connsiteX22" fmla="*/ 8223 w 10000"/>
                  <a:gd name="connsiteY22" fmla="*/ 3198 h 10000"/>
                  <a:gd name="connsiteX23" fmla="*/ 7645 w 10000"/>
                  <a:gd name="connsiteY23" fmla="*/ 3420 h 10000"/>
                  <a:gd name="connsiteX24" fmla="*/ 6488 w 10000"/>
                  <a:gd name="connsiteY24" fmla="*/ 3383 h 10000"/>
                  <a:gd name="connsiteX25" fmla="*/ 5744 w 10000"/>
                  <a:gd name="connsiteY25" fmla="*/ 3308 h 10000"/>
                  <a:gd name="connsiteX26" fmla="*/ 5702 w 10000"/>
                  <a:gd name="connsiteY26" fmla="*/ 2279 h 10000"/>
                  <a:gd name="connsiteX27" fmla="*/ 4793 w 10000"/>
                  <a:gd name="connsiteY27" fmla="*/ 1986 h 10000"/>
                  <a:gd name="connsiteX28" fmla="*/ 4256 w 10000"/>
                  <a:gd name="connsiteY28" fmla="*/ 1397 h 10000"/>
                  <a:gd name="connsiteX29" fmla="*/ 3760 w 10000"/>
                  <a:gd name="connsiteY29" fmla="*/ 883 h 10000"/>
                  <a:gd name="connsiteX30" fmla="*/ 3430 w 10000"/>
                  <a:gd name="connsiteY30" fmla="*/ 552 h 10000"/>
                  <a:gd name="connsiteX31" fmla="*/ 3017 w 10000"/>
                  <a:gd name="connsiteY31" fmla="*/ 441 h 10000"/>
                  <a:gd name="connsiteX32" fmla="*/ 2603 w 10000"/>
                  <a:gd name="connsiteY32" fmla="*/ 37 h 10000"/>
                  <a:gd name="connsiteX33" fmla="*/ 1322 w 10000"/>
                  <a:gd name="connsiteY33" fmla="*/ 0 h 10000"/>
                  <a:gd name="connsiteX34" fmla="*/ 744 w 10000"/>
                  <a:gd name="connsiteY34" fmla="*/ 516 h 10000"/>
                  <a:gd name="connsiteX35" fmla="*/ 496 w 10000"/>
                  <a:gd name="connsiteY35" fmla="*/ 478 h 10000"/>
                  <a:gd name="connsiteX36" fmla="*/ 331 w 10000"/>
                  <a:gd name="connsiteY36" fmla="*/ 587 h 10000"/>
                  <a:gd name="connsiteX37" fmla="*/ 0 w 10000"/>
                  <a:gd name="connsiteY37" fmla="*/ 920 h 10000"/>
                  <a:gd name="connsiteX38" fmla="*/ 248 w 10000"/>
                  <a:gd name="connsiteY38" fmla="*/ 1691 h 10000"/>
                  <a:gd name="connsiteX39" fmla="*/ 289 w 10000"/>
                  <a:gd name="connsiteY39" fmla="*/ 2022 h 10000"/>
                  <a:gd name="connsiteX40" fmla="*/ 537 w 10000"/>
                  <a:gd name="connsiteY40" fmla="*/ 2206 h 10000"/>
                  <a:gd name="connsiteX41" fmla="*/ 992 w 10000"/>
                  <a:gd name="connsiteY41" fmla="*/ 2463 h 10000"/>
                  <a:gd name="connsiteX42" fmla="*/ 1322 w 10000"/>
                  <a:gd name="connsiteY42" fmla="*/ 2685 h 10000"/>
                  <a:gd name="connsiteX43" fmla="*/ 868 w 10000"/>
                  <a:gd name="connsiteY43" fmla="*/ 2940 h 10000"/>
                  <a:gd name="connsiteX44" fmla="*/ 992 w 10000"/>
                  <a:gd name="connsiteY44" fmla="*/ 3346 h 10000"/>
                  <a:gd name="connsiteX45" fmla="*/ 1198 w 10000"/>
                  <a:gd name="connsiteY45" fmla="*/ 3676 h 10000"/>
                  <a:gd name="connsiteX46" fmla="*/ 1364 w 10000"/>
                  <a:gd name="connsiteY46" fmla="*/ 5184 h 10000"/>
                  <a:gd name="connsiteX47" fmla="*/ 2107 w 10000"/>
                  <a:gd name="connsiteY47" fmla="*/ 5588 h 10000"/>
                  <a:gd name="connsiteX48" fmla="*/ 1488 w 10000"/>
                  <a:gd name="connsiteY48" fmla="*/ 5993 h 10000"/>
                  <a:gd name="connsiteX49" fmla="*/ 2025 w 10000"/>
                  <a:gd name="connsiteY49" fmla="*/ 6471 h 10000"/>
                  <a:gd name="connsiteX50" fmla="*/ 1612 w 10000"/>
                  <a:gd name="connsiteY50" fmla="*/ 7132 h 10000"/>
                  <a:gd name="connsiteX51" fmla="*/ 2231 w 10000"/>
                  <a:gd name="connsiteY51" fmla="*/ 7427 h 10000"/>
                  <a:gd name="connsiteX52" fmla="*/ 2397 w 10000"/>
                  <a:gd name="connsiteY52" fmla="*/ 7647 h 10000"/>
                  <a:gd name="connsiteX53" fmla="*/ 3140 w 10000"/>
                  <a:gd name="connsiteY53" fmla="*/ 8089 h 10000"/>
                  <a:gd name="connsiteX54" fmla="*/ 3678 w 10000"/>
                  <a:gd name="connsiteY54" fmla="*/ 8124 h 10000"/>
                  <a:gd name="connsiteX55" fmla="*/ 4421 w 10000"/>
                  <a:gd name="connsiteY55" fmla="*/ 8421 h 10000"/>
                  <a:gd name="connsiteX56" fmla="*/ 4132 w 10000"/>
                  <a:gd name="connsiteY56" fmla="*/ 8751 h 10000"/>
                  <a:gd name="connsiteX0" fmla="*/ 4132 w 10000"/>
                  <a:gd name="connsiteY0" fmla="*/ 8751 h 10000"/>
                  <a:gd name="connsiteX1" fmla="*/ 3760 w 10000"/>
                  <a:gd name="connsiteY1" fmla="*/ 8897 h 10000"/>
                  <a:gd name="connsiteX2" fmla="*/ 4732 w 10000"/>
                  <a:gd name="connsiteY2" fmla="*/ 8255 h 10000"/>
                  <a:gd name="connsiteX3" fmla="*/ 4608 w 10000"/>
                  <a:gd name="connsiteY3" fmla="*/ 7886 h 10000"/>
                  <a:gd name="connsiteX4" fmla="*/ 5042 w 10000"/>
                  <a:gd name="connsiteY4" fmla="*/ 7721 h 10000"/>
                  <a:gd name="connsiteX5" fmla="*/ 5413 w 10000"/>
                  <a:gd name="connsiteY5" fmla="*/ 8071 h 10000"/>
                  <a:gd name="connsiteX6" fmla="*/ 5765 w 10000"/>
                  <a:gd name="connsiteY6" fmla="*/ 7960 h 10000"/>
                  <a:gd name="connsiteX7" fmla="*/ 6364 w 10000"/>
                  <a:gd name="connsiteY7" fmla="*/ 8714 h 10000"/>
                  <a:gd name="connsiteX8" fmla="*/ 7211 w 10000"/>
                  <a:gd name="connsiteY8" fmla="*/ 9100 h 10000"/>
                  <a:gd name="connsiteX9" fmla="*/ 7355 w 10000"/>
                  <a:gd name="connsiteY9" fmla="*/ 9891 h 10000"/>
                  <a:gd name="connsiteX10" fmla="*/ 9132 w 10000"/>
                  <a:gd name="connsiteY10" fmla="*/ 9449 h 10000"/>
                  <a:gd name="connsiteX11" fmla="*/ 9256 w 10000"/>
                  <a:gd name="connsiteY11" fmla="*/ 8383 h 10000"/>
                  <a:gd name="connsiteX12" fmla="*/ 9256 w 10000"/>
                  <a:gd name="connsiteY12" fmla="*/ 7942 h 10000"/>
                  <a:gd name="connsiteX13" fmla="*/ 9628 w 10000"/>
                  <a:gd name="connsiteY13" fmla="*/ 7684 h 10000"/>
                  <a:gd name="connsiteX14" fmla="*/ 9917 w 10000"/>
                  <a:gd name="connsiteY14" fmla="*/ 7390 h 10000"/>
                  <a:gd name="connsiteX15" fmla="*/ 10000 w 10000"/>
                  <a:gd name="connsiteY15" fmla="*/ 7170 h 10000"/>
                  <a:gd name="connsiteX16" fmla="*/ 9752 w 10000"/>
                  <a:gd name="connsiteY16" fmla="*/ 6802 h 10000"/>
                  <a:gd name="connsiteX17" fmla="*/ 8884 w 10000"/>
                  <a:gd name="connsiteY17" fmla="*/ 6471 h 10000"/>
                  <a:gd name="connsiteX18" fmla="*/ 8636 w 10000"/>
                  <a:gd name="connsiteY18" fmla="*/ 5845 h 10000"/>
                  <a:gd name="connsiteX19" fmla="*/ 8636 w 10000"/>
                  <a:gd name="connsiteY19" fmla="*/ 4927 h 10000"/>
                  <a:gd name="connsiteX20" fmla="*/ 8678 w 10000"/>
                  <a:gd name="connsiteY20" fmla="*/ 4044 h 10000"/>
                  <a:gd name="connsiteX21" fmla="*/ 8223 w 10000"/>
                  <a:gd name="connsiteY21" fmla="*/ 3198 h 10000"/>
                  <a:gd name="connsiteX22" fmla="*/ 7645 w 10000"/>
                  <a:gd name="connsiteY22" fmla="*/ 3420 h 10000"/>
                  <a:gd name="connsiteX23" fmla="*/ 6488 w 10000"/>
                  <a:gd name="connsiteY23" fmla="*/ 3383 h 10000"/>
                  <a:gd name="connsiteX24" fmla="*/ 5744 w 10000"/>
                  <a:gd name="connsiteY24" fmla="*/ 3308 h 10000"/>
                  <a:gd name="connsiteX25" fmla="*/ 5702 w 10000"/>
                  <a:gd name="connsiteY25" fmla="*/ 2279 h 10000"/>
                  <a:gd name="connsiteX26" fmla="*/ 4793 w 10000"/>
                  <a:gd name="connsiteY26" fmla="*/ 1986 h 10000"/>
                  <a:gd name="connsiteX27" fmla="*/ 4256 w 10000"/>
                  <a:gd name="connsiteY27" fmla="*/ 1397 h 10000"/>
                  <a:gd name="connsiteX28" fmla="*/ 3760 w 10000"/>
                  <a:gd name="connsiteY28" fmla="*/ 883 h 10000"/>
                  <a:gd name="connsiteX29" fmla="*/ 3430 w 10000"/>
                  <a:gd name="connsiteY29" fmla="*/ 552 h 10000"/>
                  <a:gd name="connsiteX30" fmla="*/ 3017 w 10000"/>
                  <a:gd name="connsiteY30" fmla="*/ 441 h 10000"/>
                  <a:gd name="connsiteX31" fmla="*/ 2603 w 10000"/>
                  <a:gd name="connsiteY31" fmla="*/ 37 h 10000"/>
                  <a:gd name="connsiteX32" fmla="*/ 1322 w 10000"/>
                  <a:gd name="connsiteY32" fmla="*/ 0 h 10000"/>
                  <a:gd name="connsiteX33" fmla="*/ 744 w 10000"/>
                  <a:gd name="connsiteY33" fmla="*/ 516 h 10000"/>
                  <a:gd name="connsiteX34" fmla="*/ 496 w 10000"/>
                  <a:gd name="connsiteY34" fmla="*/ 478 h 10000"/>
                  <a:gd name="connsiteX35" fmla="*/ 331 w 10000"/>
                  <a:gd name="connsiteY35" fmla="*/ 587 h 10000"/>
                  <a:gd name="connsiteX36" fmla="*/ 0 w 10000"/>
                  <a:gd name="connsiteY36" fmla="*/ 920 h 10000"/>
                  <a:gd name="connsiteX37" fmla="*/ 248 w 10000"/>
                  <a:gd name="connsiteY37" fmla="*/ 1691 h 10000"/>
                  <a:gd name="connsiteX38" fmla="*/ 289 w 10000"/>
                  <a:gd name="connsiteY38" fmla="*/ 2022 h 10000"/>
                  <a:gd name="connsiteX39" fmla="*/ 537 w 10000"/>
                  <a:gd name="connsiteY39" fmla="*/ 2206 h 10000"/>
                  <a:gd name="connsiteX40" fmla="*/ 992 w 10000"/>
                  <a:gd name="connsiteY40" fmla="*/ 2463 h 10000"/>
                  <a:gd name="connsiteX41" fmla="*/ 1322 w 10000"/>
                  <a:gd name="connsiteY41" fmla="*/ 2685 h 10000"/>
                  <a:gd name="connsiteX42" fmla="*/ 868 w 10000"/>
                  <a:gd name="connsiteY42" fmla="*/ 2940 h 10000"/>
                  <a:gd name="connsiteX43" fmla="*/ 992 w 10000"/>
                  <a:gd name="connsiteY43" fmla="*/ 3346 h 10000"/>
                  <a:gd name="connsiteX44" fmla="*/ 1198 w 10000"/>
                  <a:gd name="connsiteY44" fmla="*/ 3676 h 10000"/>
                  <a:gd name="connsiteX45" fmla="*/ 1364 w 10000"/>
                  <a:gd name="connsiteY45" fmla="*/ 5184 h 10000"/>
                  <a:gd name="connsiteX46" fmla="*/ 2107 w 10000"/>
                  <a:gd name="connsiteY46" fmla="*/ 5588 h 10000"/>
                  <a:gd name="connsiteX47" fmla="*/ 1488 w 10000"/>
                  <a:gd name="connsiteY47" fmla="*/ 5993 h 10000"/>
                  <a:gd name="connsiteX48" fmla="*/ 2025 w 10000"/>
                  <a:gd name="connsiteY48" fmla="*/ 6471 h 10000"/>
                  <a:gd name="connsiteX49" fmla="*/ 1612 w 10000"/>
                  <a:gd name="connsiteY49" fmla="*/ 7132 h 10000"/>
                  <a:gd name="connsiteX50" fmla="*/ 2231 w 10000"/>
                  <a:gd name="connsiteY50" fmla="*/ 7427 h 10000"/>
                  <a:gd name="connsiteX51" fmla="*/ 2397 w 10000"/>
                  <a:gd name="connsiteY51" fmla="*/ 7647 h 10000"/>
                  <a:gd name="connsiteX52" fmla="*/ 3140 w 10000"/>
                  <a:gd name="connsiteY52" fmla="*/ 8089 h 10000"/>
                  <a:gd name="connsiteX53" fmla="*/ 3678 w 10000"/>
                  <a:gd name="connsiteY53" fmla="*/ 8124 h 10000"/>
                  <a:gd name="connsiteX54" fmla="*/ 4421 w 10000"/>
                  <a:gd name="connsiteY54" fmla="*/ 8421 h 10000"/>
                  <a:gd name="connsiteX55" fmla="*/ 4132 w 10000"/>
                  <a:gd name="connsiteY55" fmla="*/ 8751 h 10000"/>
                  <a:gd name="connsiteX0" fmla="*/ 4132 w 10000"/>
                  <a:gd name="connsiteY0" fmla="*/ 8751 h 10000"/>
                  <a:gd name="connsiteX1" fmla="*/ 4732 w 10000"/>
                  <a:gd name="connsiteY1" fmla="*/ 8255 h 10000"/>
                  <a:gd name="connsiteX2" fmla="*/ 4608 w 10000"/>
                  <a:gd name="connsiteY2" fmla="*/ 7886 h 10000"/>
                  <a:gd name="connsiteX3" fmla="*/ 5042 w 10000"/>
                  <a:gd name="connsiteY3" fmla="*/ 7721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53" fmla="*/ 4421 w 10000"/>
                  <a:gd name="connsiteY53" fmla="*/ 8421 h 10000"/>
                  <a:gd name="connsiteX54" fmla="*/ 4132 w 10000"/>
                  <a:gd name="connsiteY54" fmla="*/ 8751 h 10000"/>
                  <a:gd name="connsiteX0" fmla="*/ 4421 w 10000"/>
                  <a:gd name="connsiteY0" fmla="*/ 8421 h 10000"/>
                  <a:gd name="connsiteX1" fmla="*/ 4732 w 10000"/>
                  <a:gd name="connsiteY1" fmla="*/ 8255 h 10000"/>
                  <a:gd name="connsiteX2" fmla="*/ 4608 w 10000"/>
                  <a:gd name="connsiteY2" fmla="*/ 7886 h 10000"/>
                  <a:gd name="connsiteX3" fmla="*/ 5042 w 10000"/>
                  <a:gd name="connsiteY3" fmla="*/ 7721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53" fmla="*/ 4421 w 10000"/>
                  <a:gd name="connsiteY53" fmla="*/ 8421 h 10000"/>
                  <a:gd name="connsiteX0" fmla="*/ 3678 w 10000"/>
                  <a:gd name="connsiteY0" fmla="*/ 8124 h 10000"/>
                  <a:gd name="connsiteX1" fmla="*/ 4732 w 10000"/>
                  <a:gd name="connsiteY1" fmla="*/ 8255 h 10000"/>
                  <a:gd name="connsiteX2" fmla="*/ 4608 w 10000"/>
                  <a:gd name="connsiteY2" fmla="*/ 7886 h 10000"/>
                  <a:gd name="connsiteX3" fmla="*/ 5042 w 10000"/>
                  <a:gd name="connsiteY3" fmla="*/ 7721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0" fmla="*/ 3678 w 10000"/>
                  <a:gd name="connsiteY0" fmla="*/ 8124 h 10000"/>
                  <a:gd name="connsiteX1" fmla="*/ 4732 w 10000"/>
                  <a:gd name="connsiteY1" fmla="*/ 8255 h 10000"/>
                  <a:gd name="connsiteX2" fmla="*/ 4608 w 10000"/>
                  <a:gd name="connsiteY2" fmla="*/ 7886 h 10000"/>
                  <a:gd name="connsiteX3" fmla="*/ 4608 w 10000"/>
                  <a:gd name="connsiteY3" fmla="*/ 8328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0" fmla="*/ 3678 w 10000"/>
                  <a:gd name="connsiteY0" fmla="*/ 8124 h 10000"/>
                  <a:gd name="connsiteX1" fmla="*/ 4732 w 10000"/>
                  <a:gd name="connsiteY1" fmla="*/ 8255 h 10000"/>
                  <a:gd name="connsiteX2" fmla="*/ 4608 w 10000"/>
                  <a:gd name="connsiteY2" fmla="*/ 7886 h 10000"/>
                  <a:gd name="connsiteX3" fmla="*/ 5413 w 10000"/>
                  <a:gd name="connsiteY3" fmla="*/ 8071 h 10000"/>
                  <a:gd name="connsiteX4" fmla="*/ 5765 w 10000"/>
                  <a:gd name="connsiteY4" fmla="*/ 7960 h 10000"/>
                  <a:gd name="connsiteX5" fmla="*/ 6364 w 10000"/>
                  <a:gd name="connsiteY5" fmla="*/ 8714 h 10000"/>
                  <a:gd name="connsiteX6" fmla="*/ 7211 w 10000"/>
                  <a:gd name="connsiteY6" fmla="*/ 9100 h 10000"/>
                  <a:gd name="connsiteX7" fmla="*/ 7355 w 10000"/>
                  <a:gd name="connsiteY7" fmla="*/ 9891 h 10000"/>
                  <a:gd name="connsiteX8" fmla="*/ 9132 w 10000"/>
                  <a:gd name="connsiteY8" fmla="*/ 9449 h 10000"/>
                  <a:gd name="connsiteX9" fmla="*/ 9256 w 10000"/>
                  <a:gd name="connsiteY9" fmla="*/ 8383 h 10000"/>
                  <a:gd name="connsiteX10" fmla="*/ 9256 w 10000"/>
                  <a:gd name="connsiteY10" fmla="*/ 7942 h 10000"/>
                  <a:gd name="connsiteX11" fmla="*/ 9628 w 10000"/>
                  <a:gd name="connsiteY11" fmla="*/ 7684 h 10000"/>
                  <a:gd name="connsiteX12" fmla="*/ 9917 w 10000"/>
                  <a:gd name="connsiteY12" fmla="*/ 7390 h 10000"/>
                  <a:gd name="connsiteX13" fmla="*/ 10000 w 10000"/>
                  <a:gd name="connsiteY13" fmla="*/ 7170 h 10000"/>
                  <a:gd name="connsiteX14" fmla="*/ 9752 w 10000"/>
                  <a:gd name="connsiteY14" fmla="*/ 6802 h 10000"/>
                  <a:gd name="connsiteX15" fmla="*/ 8884 w 10000"/>
                  <a:gd name="connsiteY15" fmla="*/ 6471 h 10000"/>
                  <a:gd name="connsiteX16" fmla="*/ 8636 w 10000"/>
                  <a:gd name="connsiteY16" fmla="*/ 5845 h 10000"/>
                  <a:gd name="connsiteX17" fmla="*/ 8636 w 10000"/>
                  <a:gd name="connsiteY17" fmla="*/ 4927 h 10000"/>
                  <a:gd name="connsiteX18" fmla="*/ 8678 w 10000"/>
                  <a:gd name="connsiteY18" fmla="*/ 4044 h 10000"/>
                  <a:gd name="connsiteX19" fmla="*/ 8223 w 10000"/>
                  <a:gd name="connsiteY19" fmla="*/ 3198 h 10000"/>
                  <a:gd name="connsiteX20" fmla="*/ 7645 w 10000"/>
                  <a:gd name="connsiteY20" fmla="*/ 3420 h 10000"/>
                  <a:gd name="connsiteX21" fmla="*/ 6488 w 10000"/>
                  <a:gd name="connsiteY21" fmla="*/ 3383 h 10000"/>
                  <a:gd name="connsiteX22" fmla="*/ 5744 w 10000"/>
                  <a:gd name="connsiteY22" fmla="*/ 3308 h 10000"/>
                  <a:gd name="connsiteX23" fmla="*/ 5702 w 10000"/>
                  <a:gd name="connsiteY23" fmla="*/ 2279 h 10000"/>
                  <a:gd name="connsiteX24" fmla="*/ 4793 w 10000"/>
                  <a:gd name="connsiteY24" fmla="*/ 1986 h 10000"/>
                  <a:gd name="connsiteX25" fmla="*/ 4256 w 10000"/>
                  <a:gd name="connsiteY25" fmla="*/ 1397 h 10000"/>
                  <a:gd name="connsiteX26" fmla="*/ 3760 w 10000"/>
                  <a:gd name="connsiteY26" fmla="*/ 883 h 10000"/>
                  <a:gd name="connsiteX27" fmla="*/ 3430 w 10000"/>
                  <a:gd name="connsiteY27" fmla="*/ 552 h 10000"/>
                  <a:gd name="connsiteX28" fmla="*/ 3017 w 10000"/>
                  <a:gd name="connsiteY28" fmla="*/ 441 h 10000"/>
                  <a:gd name="connsiteX29" fmla="*/ 2603 w 10000"/>
                  <a:gd name="connsiteY29" fmla="*/ 37 h 10000"/>
                  <a:gd name="connsiteX30" fmla="*/ 1322 w 10000"/>
                  <a:gd name="connsiteY30" fmla="*/ 0 h 10000"/>
                  <a:gd name="connsiteX31" fmla="*/ 744 w 10000"/>
                  <a:gd name="connsiteY31" fmla="*/ 516 h 10000"/>
                  <a:gd name="connsiteX32" fmla="*/ 496 w 10000"/>
                  <a:gd name="connsiteY32" fmla="*/ 478 h 10000"/>
                  <a:gd name="connsiteX33" fmla="*/ 331 w 10000"/>
                  <a:gd name="connsiteY33" fmla="*/ 587 h 10000"/>
                  <a:gd name="connsiteX34" fmla="*/ 0 w 10000"/>
                  <a:gd name="connsiteY34" fmla="*/ 920 h 10000"/>
                  <a:gd name="connsiteX35" fmla="*/ 248 w 10000"/>
                  <a:gd name="connsiteY35" fmla="*/ 1691 h 10000"/>
                  <a:gd name="connsiteX36" fmla="*/ 289 w 10000"/>
                  <a:gd name="connsiteY36" fmla="*/ 2022 h 10000"/>
                  <a:gd name="connsiteX37" fmla="*/ 537 w 10000"/>
                  <a:gd name="connsiteY37" fmla="*/ 2206 h 10000"/>
                  <a:gd name="connsiteX38" fmla="*/ 992 w 10000"/>
                  <a:gd name="connsiteY38" fmla="*/ 2463 h 10000"/>
                  <a:gd name="connsiteX39" fmla="*/ 1322 w 10000"/>
                  <a:gd name="connsiteY39" fmla="*/ 2685 h 10000"/>
                  <a:gd name="connsiteX40" fmla="*/ 868 w 10000"/>
                  <a:gd name="connsiteY40" fmla="*/ 2940 h 10000"/>
                  <a:gd name="connsiteX41" fmla="*/ 992 w 10000"/>
                  <a:gd name="connsiteY41" fmla="*/ 3346 h 10000"/>
                  <a:gd name="connsiteX42" fmla="*/ 1198 w 10000"/>
                  <a:gd name="connsiteY42" fmla="*/ 3676 h 10000"/>
                  <a:gd name="connsiteX43" fmla="*/ 1364 w 10000"/>
                  <a:gd name="connsiteY43" fmla="*/ 5184 h 10000"/>
                  <a:gd name="connsiteX44" fmla="*/ 2107 w 10000"/>
                  <a:gd name="connsiteY44" fmla="*/ 5588 h 10000"/>
                  <a:gd name="connsiteX45" fmla="*/ 1488 w 10000"/>
                  <a:gd name="connsiteY45" fmla="*/ 5993 h 10000"/>
                  <a:gd name="connsiteX46" fmla="*/ 2025 w 10000"/>
                  <a:gd name="connsiteY46" fmla="*/ 6471 h 10000"/>
                  <a:gd name="connsiteX47" fmla="*/ 1612 w 10000"/>
                  <a:gd name="connsiteY47" fmla="*/ 7132 h 10000"/>
                  <a:gd name="connsiteX48" fmla="*/ 2231 w 10000"/>
                  <a:gd name="connsiteY48" fmla="*/ 7427 h 10000"/>
                  <a:gd name="connsiteX49" fmla="*/ 2397 w 10000"/>
                  <a:gd name="connsiteY49" fmla="*/ 7647 h 10000"/>
                  <a:gd name="connsiteX50" fmla="*/ 3140 w 10000"/>
                  <a:gd name="connsiteY50" fmla="*/ 8089 h 10000"/>
                  <a:gd name="connsiteX51" fmla="*/ 3678 w 10000"/>
                  <a:gd name="connsiteY51" fmla="*/ 8124 h 10000"/>
                  <a:gd name="connsiteX0" fmla="*/ 3678 w 10000"/>
                  <a:gd name="connsiteY0" fmla="*/ 8124 h 10000"/>
                  <a:gd name="connsiteX1" fmla="*/ 4732 w 10000"/>
                  <a:gd name="connsiteY1" fmla="*/ 8255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550 w 10000"/>
                  <a:gd name="connsiteY4" fmla="*/ 860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000" h="10000">
                    <a:moveTo>
                      <a:pt x="3678" y="8124"/>
                    </a:moveTo>
                    <a:cubicBezTo>
                      <a:pt x="3943" y="8152"/>
                      <a:pt x="4453" y="8626"/>
                      <a:pt x="4608" y="8586"/>
                    </a:cubicBezTo>
                    <a:cubicBezTo>
                      <a:pt x="4897" y="8577"/>
                      <a:pt x="5241" y="8120"/>
                      <a:pt x="5413" y="8071"/>
                    </a:cubicBezTo>
                    <a:cubicBezTo>
                      <a:pt x="5496" y="8218"/>
                      <a:pt x="5765" y="7960"/>
                      <a:pt x="5765" y="7960"/>
                    </a:cubicBezTo>
                    <a:cubicBezTo>
                      <a:pt x="5806" y="8548"/>
                      <a:pt x="6488" y="8566"/>
                      <a:pt x="6550" y="8604"/>
                    </a:cubicBezTo>
                    <a:cubicBezTo>
                      <a:pt x="6364" y="8750"/>
                      <a:pt x="6467" y="9210"/>
                      <a:pt x="7211" y="9100"/>
                    </a:cubicBezTo>
                    <a:cubicBezTo>
                      <a:pt x="7376" y="8916"/>
                      <a:pt x="7149" y="10000"/>
                      <a:pt x="7355" y="9891"/>
                    </a:cubicBezTo>
                    <a:cubicBezTo>
                      <a:pt x="7810" y="9632"/>
                      <a:pt x="8595" y="9523"/>
                      <a:pt x="9132" y="9449"/>
                    </a:cubicBezTo>
                    <a:cubicBezTo>
                      <a:pt x="9380" y="9118"/>
                      <a:pt x="9174" y="8751"/>
                      <a:pt x="9256" y="8383"/>
                    </a:cubicBezTo>
                    <a:cubicBezTo>
                      <a:pt x="9215" y="8199"/>
                      <a:pt x="9132" y="8089"/>
                      <a:pt x="9256" y="7942"/>
                    </a:cubicBezTo>
                    <a:cubicBezTo>
                      <a:pt x="9339" y="7831"/>
                      <a:pt x="9628" y="7684"/>
                      <a:pt x="9628" y="7684"/>
                    </a:cubicBezTo>
                    <a:cubicBezTo>
                      <a:pt x="9711" y="7574"/>
                      <a:pt x="9835" y="7501"/>
                      <a:pt x="9917" y="7390"/>
                    </a:cubicBezTo>
                    <a:cubicBezTo>
                      <a:pt x="9959" y="7315"/>
                      <a:pt x="10000" y="7170"/>
                      <a:pt x="10000" y="7170"/>
                    </a:cubicBezTo>
                    <a:cubicBezTo>
                      <a:pt x="9959" y="6985"/>
                      <a:pt x="10000" y="6876"/>
                      <a:pt x="9752" y="6802"/>
                    </a:cubicBezTo>
                    <a:cubicBezTo>
                      <a:pt x="9380" y="6545"/>
                      <a:pt x="9421" y="6508"/>
                      <a:pt x="8884" y="6471"/>
                    </a:cubicBezTo>
                    <a:cubicBezTo>
                      <a:pt x="8678" y="6361"/>
                      <a:pt x="8760" y="6029"/>
                      <a:pt x="8636" y="5845"/>
                    </a:cubicBezTo>
                    <a:cubicBezTo>
                      <a:pt x="8554" y="5515"/>
                      <a:pt x="8264" y="5147"/>
                      <a:pt x="8636" y="4927"/>
                    </a:cubicBezTo>
                    <a:cubicBezTo>
                      <a:pt x="8719" y="4523"/>
                      <a:pt x="9215" y="4117"/>
                      <a:pt x="8678" y="4044"/>
                    </a:cubicBezTo>
                    <a:cubicBezTo>
                      <a:pt x="8843" y="3824"/>
                      <a:pt x="8554" y="3308"/>
                      <a:pt x="8223" y="3198"/>
                    </a:cubicBezTo>
                    <a:cubicBezTo>
                      <a:pt x="8017" y="3236"/>
                      <a:pt x="7810" y="3308"/>
                      <a:pt x="7645" y="3420"/>
                    </a:cubicBezTo>
                    <a:cubicBezTo>
                      <a:pt x="7479" y="3824"/>
                      <a:pt x="7025" y="3420"/>
                      <a:pt x="6488" y="3383"/>
                    </a:cubicBezTo>
                    <a:cubicBezTo>
                      <a:pt x="6198" y="3383"/>
                      <a:pt x="5950" y="3530"/>
                      <a:pt x="5744" y="3308"/>
                    </a:cubicBezTo>
                    <a:cubicBezTo>
                      <a:pt x="5661" y="3089"/>
                      <a:pt x="5744" y="2537"/>
                      <a:pt x="5702" y="2279"/>
                    </a:cubicBezTo>
                    <a:cubicBezTo>
                      <a:pt x="5496" y="1986"/>
                      <a:pt x="4876" y="2060"/>
                      <a:pt x="4793" y="1986"/>
                    </a:cubicBezTo>
                    <a:cubicBezTo>
                      <a:pt x="4669" y="1764"/>
                      <a:pt x="4421" y="1508"/>
                      <a:pt x="4256" y="1397"/>
                    </a:cubicBezTo>
                    <a:cubicBezTo>
                      <a:pt x="4132" y="1213"/>
                      <a:pt x="3967" y="956"/>
                      <a:pt x="3760" y="883"/>
                    </a:cubicBezTo>
                    <a:cubicBezTo>
                      <a:pt x="3678" y="771"/>
                      <a:pt x="3554" y="625"/>
                      <a:pt x="3430" y="552"/>
                    </a:cubicBezTo>
                    <a:cubicBezTo>
                      <a:pt x="3306" y="478"/>
                      <a:pt x="3017" y="441"/>
                      <a:pt x="3017" y="441"/>
                    </a:cubicBezTo>
                    <a:cubicBezTo>
                      <a:pt x="2893" y="293"/>
                      <a:pt x="2769" y="110"/>
                      <a:pt x="2603" y="37"/>
                    </a:cubicBezTo>
                    <a:cubicBezTo>
                      <a:pt x="2066" y="0"/>
                      <a:pt x="1777" y="37"/>
                      <a:pt x="1322" y="0"/>
                    </a:cubicBezTo>
                    <a:cubicBezTo>
                      <a:pt x="1074" y="110"/>
                      <a:pt x="950" y="293"/>
                      <a:pt x="744" y="516"/>
                    </a:cubicBezTo>
                    <a:cubicBezTo>
                      <a:pt x="620" y="587"/>
                      <a:pt x="579" y="478"/>
                      <a:pt x="496" y="478"/>
                    </a:cubicBezTo>
                    <a:cubicBezTo>
                      <a:pt x="413" y="478"/>
                      <a:pt x="413" y="516"/>
                      <a:pt x="331" y="587"/>
                    </a:cubicBezTo>
                    <a:cubicBezTo>
                      <a:pt x="289" y="771"/>
                      <a:pt x="0" y="736"/>
                      <a:pt x="0" y="920"/>
                    </a:cubicBezTo>
                    <a:cubicBezTo>
                      <a:pt x="0" y="1102"/>
                      <a:pt x="83" y="1470"/>
                      <a:pt x="248" y="1691"/>
                    </a:cubicBezTo>
                    <a:cubicBezTo>
                      <a:pt x="289" y="1838"/>
                      <a:pt x="331" y="1838"/>
                      <a:pt x="289" y="2022"/>
                    </a:cubicBezTo>
                    <a:cubicBezTo>
                      <a:pt x="331" y="2095"/>
                      <a:pt x="537" y="2060"/>
                      <a:pt x="537" y="2206"/>
                    </a:cubicBezTo>
                    <a:cubicBezTo>
                      <a:pt x="826" y="2243"/>
                      <a:pt x="868" y="2390"/>
                      <a:pt x="992" y="2463"/>
                    </a:cubicBezTo>
                    <a:cubicBezTo>
                      <a:pt x="1116" y="2537"/>
                      <a:pt x="1322" y="2610"/>
                      <a:pt x="1322" y="2685"/>
                    </a:cubicBezTo>
                    <a:cubicBezTo>
                      <a:pt x="1074" y="2905"/>
                      <a:pt x="1116" y="2795"/>
                      <a:pt x="868" y="2940"/>
                    </a:cubicBezTo>
                    <a:cubicBezTo>
                      <a:pt x="785" y="3125"/>
                      <a:pt x="744" y="3271"/>
                      <a:pt x="992" y="3346"/>
                    </a:cubicBezTo>
                    <a:cubicBezTo>
                      <a:pt x="1033" y="3456"/>
                      <a:pt x="1198" y="3676"/>
                      <a:pt x="1198" y="3676"/>
                    </a:cubicBezTo>
                    <a:cubicBezTo>
                      <a:pt x="1157" y="4081"/>
                      <a:pt x="909" y="4927"/>
                      <a:pt x="1364" y="5184"/>
                    </a:cubicBezTo>
                    <a:cubicBezTo>
                      <a:pt x="1446" y="5441"/>
                      <a:pt x="1818" y="5515"/>
                      <a:pt x="2107" y="5588"/>
                    </a:cubicBezTo>
                    <a:cubicBezTo>
                      <a:pt x="2273" y="5993"/>
                      <a:pt x="1818" y="5993"/>
                      <a:pt x="1488" y="5993"/>
                    </a:cubicBezTo>
                    <a:cubicBezTo>
                      <a:pt x="1529" y="6213"/>
                      <a:pt x="1818" y="6361"/>
                      <a:pt x="2025" y="6471"/>
                    </a:cubicBezTo>
                    <a:cubicBezTo>
                      <a:pt x="2149" y="6692"/>
                      <a:pt x="2521" y="6802"/>
                      <a:pt x="1612" y="7132"/>
                    </a:cubicBezTo>
                    <a:cubicBezTo>
                      <a:pt x="1612" y="7280"/>
                      <a:pt x="2107" y="7353"/>
                      <a:pt x="2231" y="7427"/>
                    </a:cubicBezTo>
                    <a:cubicBezTo>
                      <a:pt x="2355" y="7537"/>
                      <a:pt x="2273" y="7574"/>
                      <a:pt x="2397" y="7647"/>
                    </a:cubicBezTo>
                    <a:cubicBezTo>
                      <a:pt x="2438" y="7905"/>
                      <a:pt x="3264" y="7868"/>
                      <a:pt x="3140" y="8089"/>
                    </a:cubicBezTo>
                    <a:cubicBezTo>
                      <a:pt x="3719" y="7905"/>
                      <a:pt x="3512" y="8124"/>
                      <a:pt x="3678" y="8124"/>
                    </a:cubicBezTo>
                    <a:close/>
                  </a:path>
                </a:pathLst>
              </a:custGeom>
              <a:solidFill>
                <a:schemeClr val="bg2"/>
              </a:solid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8" name="Freeform 2578">
                <a:extLst>
                  <a:ext uri="{FF2B5EF4-FFF2-40B4-BE49-F238E27FC236}">
                    <a16:creationId xmlns:a16="http://schemas.microsoft.com/office/drawing/2014/main" id="{FB82AA88-ED00-D397-8A9C-E126D14B8026}"/>
                  </a:ext>
                </a:extLst>
              </p:cNvPr>
              <p:cNvSpPr>
                <a:spLocks/>
              </p:cNvSpPr>
              <p:nvPr/>
            </p:nvSpPr>
            <p:spPr bwMode="auto">
              <a:xfrm>
                <a:off x="2857827" y="4479366"/>
                <a:ext cx="151327" cy="171313"/>
              </a:xfrm>
              <a:custGeom>
                <a:avLst/>
                <a:gdLst>
                  <a:gd name="T0" fmla="*/ 98 w 106"/>
                  <a:gd name="T1" fmla="*/ 45 h 120"/>
                  <a:gd name="T2" fmla="*/ 88 w 106"/>
                  <a:gd name="T3" fmla="*/ 48 h 120"/>
                  <a:gd name="T4" fmla="*/ 92 w 106"/>
                  <a:gd name="T5" fmla="*/ 56 h 120"/>
                  <a:gd name="T6" fmla="*/ 92 w 106"/>
                  <a:gd name="T7" fmla="*/ 70 h 120"/>
                  <a:gd name="T8" fmla="*/ 80 w 106"/>
                  <a:gd name="T9" fmla="*/ 71 h 120"/>
                  <a:gd name="T10" fmla="*/ 73 w 106"/>
                  <a:gd name="T11" fmla="*/ 61 h 120"/>
                  <a:gd name="T12" fmla="*/ 67 w 106"/>
                  <a:gd name="T13" fmla="*/ 70 h 120"/>
                  <a:gd name="T14" fmla="*/ 60 w 106"/>
                  <a:gd name="T15" fmla="*/ 82 h 120"/>
                  <a:gd name="T16" fmla="*/ 53 w 106"/>
                  <a:gd name="T17" fmla="*/ 97 h 120"/>
                  <a:gd name="T18" fmla="*/ 60 w 106"/>
                  <a:gd name="T19" fmla="*/ 101 h 120"/>
                  <a:gd name="T20" fmla="*/ 61 w 106"/>
                  <a:gd name="T21" fmla="*/ 120 h 120"/>
                  <a:gd name="T22" fmla="*/ 41 w 106"/>
                  <a:gd name="T23" fmla="*/ 107 h 120"/>
                  <a:gd name="T24" fmla="*/ 14 w 106"/>
                  <a:gd name="T25" fmla="*/ 88 h 120"/>
                  <a:gd name="T26" fmla="*/ 2 w 106"/>
                  <a:gd name="T27" fmla="*/ 83 h 120"/>
                  <a:gd name="T28" fmla="*/ 2 w 106"/>
                  <a:gd name="T29" fmla="*/ 64 h 120"/>
                  <a:gd name="T30" fmla="*/ 2 w 106"/>
                  <a:gd name="T31" fmla="*/ 46 h 120"/>
                  <a:gd name="T32" fmla="*/ 8 w 106"/>
                  <a:gd name="T33" fmla="*/ 37 h 120"/>
                  <a:gd name="T34" fmla="*/ 12 w 106"/>
                  <a:gd name="T35" fmla="*/ 27 h 120"/>
                  <a:gd name="T36" fmla="*/ 19 w 106"/>
                  <a:gd name="T37" fmla="*/ 19 h 120"/>
                  <a:gd name="T38" fmla="*/ 27 w 106"/>
                  <a:gd name="T39" fmla="*/ 21 h 120"/>
                  <a:gd name="T40" fmla="*/ 30 w 106"/>
                  <a:gd name="T41" fmla="*/ 16 h 120"/>
                  <a:gd name="T42" fmla="*/ 21 w 106"/>
                  <a:gd name="T43" fmla="*/ 6 h 120"/>
                  <a:gd name="T44" fmla="*/ 36 w 106"/>
                  <a:gd name="T45" fmla="*/ 0 h 120"/>
                  <a:gd name="T46" fmla="*/ 51 w 106"/>
                  <a:gd name="T47" fmla="*/ 9 h 120"/>
                  <a:gd name="T48" fmla="*/ 55 w 106"/>
                  <a:gd name="T49" fmla="*/ 15 h 120"/>
                  <a:gd name="T50" fmla="*/ 73 w 106"/>
                  <a:gd name="T51" fmla="*/ 27 h 120"/>
                  <a:gd name="T52" fmla="*/ 86 w 106"/>
                  <a:gd name="T53" fmla="*/ 28 h 120"/>
                  <a:gd name="T54" fmla="*/ 104 w 106"/>
                  <a:gd name="T55" fmla="*/ 36 h 120"/>
                  <a:gd name="T56" fmla="*/ 98 w 106"/>
                  <a:gd name="T57" fmla="*/ 45 h 12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6"/>
                  <a:gd name="T88" fmla="*/ 0 h 120"/>
                  <a:gd name="T89" fmla="*/ 106 w 106"/>
                  <a:gd name="T90" fmla="*/ 120 h 120"/>
                  <a:gd name="connsiteX0" fmla="*/ 9245 w 10000"/>
                  <a:gd name="connsiteY0" fmla="*/ 3750 h 10000"/>
                  <a:gd name="connsiteX1" fmla="*/ 8679 w 10000"/>
                  <a:gd name="connsiteY1" fmla="*/ 4667 h 10000"/>
                  <a:gd name="connsiteX2" fmla="*/ 8679 w 10000"/>
                  <a:gd name="connsiteY2" fmla="*/ 5833 h 10000"/>
                  <a:gd name="connsiteX3" fmla="*/ 7547 w 10000"/>
                  <a:gd name="connsiteY3" fmla="*/ 5917 h 10000"/>
                  <a:gd name="connsiteX4" fmla="*/ 6887 w 10000"/>
                  <a:gd name="connsiteY4" fmla="*/ 5083 h 10000"/>
                  <a:gd name="connsiteX5" fmla="*/ 6321 w 10000"/>
                  <a:gd name="connsiteY5" fmla="*/ 5833 h 10000"/>
                  <a:gd name="connsiteX6" fmla="*/ 5660 w 10000"/>
                  <a:gd name="connsiteY6" fmla="*/ 6833 h 10000"/>
                  <a:gd name="connsiteX7" fmla="*/ 5000 w 10000"/>
                  <a:gd name="connsiteY7" fmla="*/ 8083 h 10000"/>
                  <a:gd name="connsiteX8" fmla="*/ 5660 w 10000"/>
                  <a:gd name="connsiteY8" fmla="*/ 8417 h 10000"/>
                  <a:gd name="connsiteX9" fmla="*/ 5755 w 10000"/>
                  <a:gd name="connsiteY9" fmla="*/ 10000 h 10000"/>
                  <a:gd name="connsiteX10" fmla="*/ 3868 w 10000"/>
                  <a:gd name="connsiteY10" fmla="*/ 8917 h 10000"/>
                  <a:gd name="connsiteX11" fmla="*/ 1321 w 10000"/>
                  <a:gd name="connsiteY11" fmla="*/ 7333 h 10000"/>
                  <a:gd name="connsiteX12" fmla="*/ 189 w 10000"/>
                  <a:gd name="connsiteY12" fmla="*/ 6917 h 10000"/>
                  <a:gd name="connsiteX13" fmla="*/ 189 w 10000"/>
                  <a:gd name="connsiteY13" fmla="*/ 5333 h 10000"/>
                  <a:gd name="connsiteX14" fmla="*/ 189 w 10000"/>
                  <a:gd name="connsiteY14" fmla="*/ 3833 h 10000"/>
                  <a:gd name="connsiteX15" fmla="*/ 755 w 10000"/>
                  <a:gd name="connsiteY15" fmla="*/ 3083 h 10000"/>
                  <a:gd name="connsiteX16" fmla="*/ 1132 w 10000"/>
                  <a:gd name="connsiteY16" fmla="*/ 2250 h 10000"/>
                  <a:gd name="connsiteX17" fmla="*/ 1792 w 10000"/>
                  <a:gd name="connsiteY17" fmla="*/ 1583 h 10000"/>
                  <a:gd name="connsiteX18" fmla="*/ 2547 w 10000"/>
                  <a:gd name="connsiteY18" fmla="*/ 1750 h 10000"/>
                  <a:gd name="connsiteX19" fmla="*/ 2830 w 10000"/>
                  <a:gd name="connsiteY19" fmla="*/ 1333 h 10000"/>
                  <a:gd name="connsiteX20" fmla="*/ 1981 w 10000"/>
                  <a:gd name="connsiteY20" fmla="*/ 500 h 10000"/>
                  <a:gd name="connsiteX21" fmla="*/ 3396 w 10000"/>
                  <a:gd name="connsiteY21" fmla="*/ 0 h 10000"/>
                  <a:gd name="connsiteX22" fmla="*/ 4811 w 10000"/>
                  <a:gd name="connsiteY22" fmla="*/ 750 h 10000"/>
                  <a:gd name="connsiteX23" fmla="*/ 5189 w 10000"/>
                  <a:gd name="connsiteY23" fmla="*/ 1250 h 10000"/>
                  <a:gd name="connsiteX24" fmla="*/ 6887 w 10000"/>
                  <a:gd name="connsiteY24" fmla="*/ 2250 h 10000"/>
                  <a:gd name="connsiteX25" fmla="*/ 8113 w 10000"/>
                  <a:gd name="connsiteY25" fmla="*/ 2333 h 10000"/>
                  <a:gd name="connsiteX26" fmla="*/ 9811 w 10000"/>
                  <a:gd name="connsiteY26" fmla="*/ 3000 h 10000"/>
                  <a:gd name="connsiteX27" fmla="*/ 9245 w 10000"/>
                  <a:gd name="connsiteY27" fmla="*/ 375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00">
                    <a:moveTo>
                      <a:pt x="9245" y="3750"/>
                    </a:moveTo>
                    <a:cubicBezTo>
                      <a:pt x="9056" y="4028"/>
                      <a:pt x="8773" y="4320"/>
                      <a:pt x="8679" y="4667"/>
                    </a:cubicBezTo>
                    <a:lnTo>
                      <a:pt x="8679" y="5833"/>
                    </a:lnTo>
                    <a:cubicBezTo>
                      <a:pt x="8491" y="6083"/>
                      <a:pt x="7830" y="6000"/>
                      <a:pt x="7547" y="5917"/>
                    </a:cubicBezTo>
                    <a:cubicBezTo>
                      <a:pt x="7264" y="5833"/>
                      <a:pt x="7075" y="5083"/>
                      <a:pt x="6887" y="5083"/>
                    </a:cubicBezTo>
                    <a:cubicBezTo>
                      <a:pt x="6698" y="5083"/>
                      <a:pt x="6509" y="5583"/>
                      <a:pt x="6321" y="5833"/>
                    </a:cubicBezTo>
                    <a:cubicBezTo>
                      <a:pt x="6132" y="6083"/>
                      <a:pt x="5849" y="6500"/>
                      <a:pt x="5660" y="6833"/>
                    </a:cubicBezTo>
                    <a:cubicBezTo>
                      <a:pt x="5377" y="7250"/>
                      <a:pt x="5000" y="7750"/>
                      <a:pt x="5000" y="8083"/>
                    </a:cubicBezTo>
                    <a:cubicBezTo>
                      <a:pt x="5000" y="8333"/>
                      <a:pt x="5566" y="8083"/>
                      <a:pt x="5660" y="8417"/>
                    </a:cubicBezTo>
                    <a:cubicBezTo>
                      <a:pt x="5755" y="8750"/>
                      <a:pt x="6038" y="9917"/>
                      <a:pt x="5755" y="10000"/>
                    </a:cubicBezTo>
                    <a:cubicBezTo>
                      <a:pt x="4340" y="9583"/>
                      <a:pt x="4528" y="9417"/>
                      <a:pt x="3868" y="8917"/>
                    </a:cubicBezTo>
                    <a:cubicBezTo>
                      <a:pt x="3113" y="8500"/>
                      <a:pt x="1887" y="7667"/>
                      <a:pt x="1321" y="7333"/>
                    </a:cubicBezTo>
                    <a:cubicBezTo>
                      <a:pt x="755" y="7000"/>
                      <a:pt x="377" y="7250"/>
                      <a:pt x="189" y="6917"/>
                    </a:cubicBezTo>
                    <a:cubicBezTo>
                      <a:pt x="0" y="6583"/>
                      <a:pt x="189" y="5833"/>
                      <a:pt x="189" y="5333"/>
                    </a:cubicBezTo>
                    <a:cubicBezTo>
                      <a:pt x="189" y="4833"/>
                      <a:pt x="94" y="4167"/>
                      <a:pt x="189" y="3833"/>
                    </a:cubicBezTo>
                    <a:cubicBezTo>
                      <a:pt x="283" y="3500"/>
                      <a:pt x="566" y="3333"/>
                      <a:pt x="755" y="3083"/>
                    </a:cubicBezTo>
                    <a:cubicBezTo>
                      <a:pt x="943" y="2833"/>
                      <a:pt x="943" y="2500"/>
                      <a:pt x="1132" y="2250"/>
                    </a:cubicBezTo>
                    <a:cubicBezTo>
                      <a:pt x="1321" y="2000"/>
                      <a:pt x="1509" y="1667"/>
                      <a:pt x="1792" y="1583"/>
                    </a:cubicBezTo>
                    <a:cubicBezTo>
                      <a:pt x="1981" y="1500"/>
                      <a:pt x="2358" y="1750"/>
                      <a:pt x="2547" y="1750"/>
                    </a:cubicBezTo>
                    <a:cubicBezTo>
                      <a:pt x="2736" y="1750"/>
                      <a:pt x="2925" y="1500"/>
                      <a:pt x="2830" y="1333"/>
                    </a:cubicBezTo>
                    <a:cubicBezTo>
                      <a:pt x="2736" y="1083"/>
                      <a:pt x="1887" y="750"/>
                      <a:pt x="1981" y="500"/>
                    </a:cubicBezTo>
                    <a:cubicBezTo>
                      <a:pt x="2075" y="333"/>
                      <a:pt x="3019" y="0"/>
                      <a:pt x="3396" y="0"/>
                    </a:cubicBezTo>
                    <a:cubicBezTo>
                      <a:pt x="3396" y="417"/>
                      <a:pt x="4528" y="500"/>
                      <a:pt x="4811" y="750"/>
                    </a:cubicBezTo>
                    <a:cubicBezTo>
                      <a:pt x="5094" y="917"/>
                      <a:pt x="4906" y="1000"/>
                      <a:pt x="5189" y="1250"/>
                    </a:cubicBezTo>
                    <a:cubicBezTo>
                      <a:pt x="5283" y="1833"/>
                      <a:pt x="7264" y="1750"/>
                      <a:pt x="6887" y="2250"/>
                    </a:cubicBezTo>
                    <a:cubicBezTo>
                      <a:pt x="8208" y="1833"/>
                      <a:pt x="7736" y="2333"/>
                      <a:pt x="8113" y="2333"/>
                    </a:cubicBezTo>
                    <a:cubicBezTo>
                      <a:pt x="8491" y="2500"/>
                      <a:pt x="9623" y="2750"/>
                      <a:pt x="9811" y="3000"/>
                    </a:cubicBezTo>
                    <a:cubicBezTo>
                      <a:pt x="10000" y="3167"/>
                      <a:pt x="9340" y="3583"/>
                      <a:pt x="9245" y="3750"/>
                    </a:cubicBezTo>
                    <a:close/>
                  </a:path>
                </a:pathLst>
              </a:custGeom>
              <a:solidFill>
                <a:schemeClr val="bg2"/>
              </a:solid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9" name="Freeform 175">
                <a:extLst>
                  <a:ext uri="{FF2B5EF4-FFF2-40B4-BE49-F238E27FC236}">
                    <a16:creationId xmlns:a16="http://schemas.microsoft.com/office/drawing/2014/main" id="{BD2221FB-1ADC-FFA6-5342-ACA1369C02A9}"/>
                  </a:ext>
                </a:extLst>
              </p:cNvPr>
              <p:cNvSpPr/>
              <p:nvPr/>
            </p:nvSpPr>
            <p:spPr bwMode="auto">
              <a:xfrm>
                <a:off x="2987024" y="4505777"/>
                <a:ext cx="126346" cy="145617"/>
              </a:xfrm>
              <a:custGeom>
                <a:avLst/>
                <a:gdLst>
                  <a:gd name="connsiteX0" fmla="*/ 21431 w 128587"/>
                  <a:gd name="connsiteY0" fmla="*/ 88106 h 130969"/>
                  <a:gd name="connsiteX1" fmla="*/ 50006 w 128587"/>
                  <a:gd name="connsiteY1" fmla="*/ 88106 h 130969"/>
                  <a:gd name="connsiteX2" fmla="*/ 52387 w 128587"/>
                  <a:gd name="connsiteY2" fmla="*/ 130969 h 130969"/>
                  <a:gd name="connsiteX3" fmla="*/ 88106 w 128587"/>
                  <a:gd name="connsiteY3" fmla="*/ 92869 h 130969"/>
                  <a:gd name="connsiteX4" fmla="*/ 121444 w 128587"/>
                  <a:gd name="connsiteY4" fmla="*/ 92869 h 130969"/>
                  <a:gd name="connsiteX5" fmla="*/ 128587 w 128587"/>
                  <a:gd name="connsiteY5" fmla="*/ 47625 h 130969"/>
                  <a:gd name="connsiteX6" fmla="*/ 100012 w 128587"/>
                  <a:gd name="connsiteY6" fmla="*/ 45244 h 130969"/>
                  <a:gd name="connsiteX7" fmla="*/ 100012 w 128587"/>
                  <a:gd name="connsiteY7" fmla="*/ 19050 h 130969"/>
                  <a:gd name="connsiteX8" fmla="*/ 66675 w 128587"/>
                  <a:gd name="connsiteY8" fmla="*/ 0 h 130969"/>
                  <a:gd name="connsiteX9" fmla="*/ 38100 w 128587"/>
                  <a:gd name="connsiteY9" fmla="*/ 16669 h 130969"/>
                  <a:gd name="connsiteX10" fmla="*/ 0 w 128587"/>
                  <a:gd name="connsiteY10" fmla="*/ 40481 h 130969"/>
                  <a:gd name="connsiteX11" fmla="*/ 21431 w 128587"/>
                  <a:gd name="connsiteY11" fmla="*/ 88106 h 130969"/>
                  <a:gd name="connsiteX0" fmla="*/ 21431 w 128587"/>
                  <a:gd name="connsiteY0" fmla="*/ 88106 h 130969"/>
                  <a:gd name="connsiteX1" fmla="*/ 50006 w 128587"/>
                  <a:gd name="connsiteY1" fmla="*/ 88106 h 130969"/>
                  <a:gd name="connsiteX2" fmla="*/ 52387 w 128587"/>
                  <a:gd name="connsiteY2" fmla="*/ 130969 h 130969"/>
                  <a:gd name="connsiteX3" fmla="*/ 88106 w 128587"/>
                  <a:gd name="connsiteY3" fmla="*/ 92869 h 130969"/>
                  <a:gd name="connsiteX4" fmla="*/ 121444 w 128587"/>
                  <a:gd name="connsiteY4" fmla="*/ 92869 h 130969"/>
                  <a:gd name="connsiteX5" fmla="*/ 128587 w 128587"/>
                  <a:gd name="connsiteY5" fmla="*/ 47625 h 130969"/>
                  <a:gd name="connsiteX6" fmla="*/ 104775 w 128587"/>
                  <a:gd name="connsiteY6" fmla="*/ 33338 h 130969"/>
                  <a:gd name="connsiteX7" fmla="*/ 100012 w 128587"/>
                  <a:gd name="connsiteY7" fmla="*/ 19050 h 130969"/>
                  <a:gd name="connsiteX8" fmla="*/ 66675 w 128587"/>
                  <a:gd name="connsiteY8" fmla="*/ 0 h 130969"/>
                  <a:gd name="connsiteX9" fmla="*/ 38100 w 128587"/>
                  <a:gd name="connsiteY9" fmla="*/ 16669 h 130969"/>
                  <a:gd name="connsiteX10" fmla="*/ 0 w 128587"/>
                  <a:gd name="connsiteY10" fmla="*/ 40481 h 130969"/>
                  <a:gd name="connsiteX11" fmla="*/ 21431 w 128587"/>
                  <a:gd name="connsiteY11" fmla="*/ 88106 h 130969"/>
                  <a:gd name="connsiteX0" fmla="*/ 21431 w 133350"/>
                  <a:gd name="connsiteY0" fmla="*/ 88106 h 130969"/>
                  <a:gd name="connsiteX1" fmla="*/ 50006 w 133350"/>
                  <a:gd name="connsiteY1" fmla="*/ 88106 h 130969"/>
                  <a:gd name="connsiteX2" fmla="*/ 52387 w 133350"/>
                  <a:gd name="connsiteY2" fmla="*/ 130969 h 130969"/>
                  <a:gd name="connsiteX3" fmla="*/ 88106 w 133350"/>
                  <a:gd name="connsiteY3" fmla="*/ 92869 h 130969"/>
                  <a:gd name="connsiteX4" fmla="*/ 133350 w 133350"/>
                  <a:gd name="connsiteY4" fmla="*/ 80963 h 130969"/>
                  <a:gd name="connsiteX5" fmla="*/ 128587 w 133350"/>
                  <a:gd name="connsiteY5" fmla="*/ 47625 h 130969"/>
                  <a:gd name="connsiteX6" fmla="*/ 104775 w 133350"/>
                  <a:gd name="connsiteY6" fmla="*/ 33338 h 130969"/>
                  <a:gd name="connsiteX7" fmla="*/ 100012 w 133350"/>
                  <a:gd name="connsiteY7" fmla="*/ 19050 h 130969"/>
                  <a:gd name="connsiteX8" fmla="*/ 66675 w 133350"/>
                  <a:gd name="connsiteY8" fmla="*/ 0 h 130969"/>
                  <a:gd name="connsiteX9" fmla="*/ 38100 w 133350"/>
                  <a:gd name="connsiteY9" fmla="*/ 16669 h 130969"/>
                  <a:gd name="connsiteX10" fmla="*/ 0 w 133350"/>
                  <a:gd name="connsiteY10" fmla="*/ 40481 h 130969"/>
                  <a:gd name="connsiteX11" fmla="*/ 21431 w 133350"/>
                  <a:gd name="connsiteY11" fmla="*/ 88106 h 130969"/>
                  <a:gd name="connsiteX0" fmla="*/ 21431 w 133350"/>
                  <a:gd name="connsiteY0" fmla="*/ 88106 h 130969"/>
                  <a:gd name="connsiteX1" fmla="*/ 50006 w 133350"/>
                  <a:gd name="connsiteY1" fmla="*/ 88106 h 130969"/>
                  <a:gd name="connsiteX2" fmla="*/ 52387 w 133350"/>
                  <a:gd name="connsiteY2" fmla="*/ 130969 h 130969"/>
                  <a:gd name="connsiteX3" fmla="*/ 88106 w 133350"/>
                  <a:gd name="connsiteY3" fmla="*/ 92869 h 130969"/>
                  <a:gd name="connsiteX4" fmla="*/ 133350 w 133350"/>
                  <a:gd name="connsiteY4" fmla="*/ 80963 h 130969"/>
                  <a:gd name="connsiteX5" fmla="*/ 128587 w 133350"/>
                  <a:gd name="connsiteY5" fmla="*/ 47625 h 130969"/>
                  <a:gd name="connsiteX6" fmla="*/ 104775 w 133350"/>
                  <a:gd name="connsiteY6" fmla="*/ 33338 h 130969"/>
                  <a:gd name="connsiteX7" fmla="*/ 100012 w 133350"/>
                  <a:gd name="connsiteY7" fmla="*/ 19050 h 130969"/>
                  <a:gd name="connsiteX8" fmla="*/ 66675 w 133350"/>
                  <a:gd name="connsiteY8" fmla="*/ 0 h 130969"/>
                  <a:gd name="connsiteX9" fmla="*/ 16669 w 133350"/>
                  <a:gd name="connsiteY9" fmla="*/ 16669 h 130969"/>
                  <a:gd name="connsiteX10" fmla="*/ 0 w 133350"/>
                  <a:gd name="connsiteY10" fmla="*/ 40481 h 130969"/>
                  <a:gd name="connsiteX11" fmla="*/ 21431 w 133350"/>
                  <a:gd name="connsiteY11" fmla="*/ 88106 h 130969"/>
                  <a:gd name="connsiteX0" fmla="*/ 21431 w 133350"/>
                  <a:gd name="connsiteY0" fmla="*/ 88106 h 130969"/>
                  <a:gd name="connsiteX1" fmla="*/ 50006 w 133350"/>
                  <a:gd name="connsiteY1" fmla="*/ 88106 h 130969"/>
                  <a:gd name="connsiteX2" fmla="*/ 52387 w 133350"/>
                  <a:gd name="connsiteY2" fmla="*/ 130969 h 130969"/>
                  <a:gd name="connsiteX3" fmla="*/ 88106 w 133350"/>
                  <a:gd name="connsiteY3" fmla="*/ 92869 h 130969"/>
                  <a:gd name="connsiteX4" fmla="*/ 133350 w 133350"/>
                  <a:gd name="connsiteY4" fmla="*/ 80963 h 130969"/>
                  <a:gd name="connsiteX5" fmla="*/ 128587 w 133350"/>
                  <a:gd name="connsiteY5" fmla="*/ 47625 h 130969"/>
                  <a:gd name="connsiteX6" fmla="*/ 104775 w 133350"/>
                  <a:gd name="connsiteY6" fmla="*/ 33338 h 130969"/>
                  <a:gd name="connsiteX7" fmla="*/ 100012 w 133350"/>
                  <a:gd name="connsiteY7" fmla="*/ 19050 h 130969"/>
                  <a:gd name="connsiteX8" fmla="*/ 66675 w 133350"/>
                  <a:gd name="connsiteY8" fmla="*/ 0 h 130969"/>
                  <a:gd name="connsiteX9" fmla="*/ 16669 w 133350"/>
                  <a:gd name="connsiteY9" fmla="*/ 16669 h 130969"/>
                  <a:gd name="connsiteX10" fmla="*/ 0 w 133350"/>
                  <a:gd name="connsiteY10" fmla="*/ 40481 h 130969"/>
                  <a:gd name="connsiteX11" fmla="*/ 14286 w 133350"/>
                  <a:gd name="connsiteY11" fmla="*/ 69056 h 130969"/>
                  <a:gd name="connsiteX12" fmla="*/ 21431 w 133350"/>
                  <a:gd name="connsiteY12" fmla="*/ 88106 h 130969"/>
                  <a:gd name="connsiteX0" fmla="*/ 21433 w 133352"/>
                  <a:gd name="connsiteY0" fmla="*/ 88106 h 130969"/>
                  <a:gd name="connsiteX1" fmla="*/ 50008 w 133352"/>
                  <a:gd name="connsiteY1" fmla="*/ 88106 h 130969"/>
                  <a:gd name="connsiteX2" fmla="*/ 52389 w 133352"/>
                  <a:gd name="connsiteY2" fmla="*/ 130969 h 130969"/>
                  <a:gd name="connsiteX3" fmla="*/ 88108 w 133352"/>
                  <a:gd name="connsiteY3" fmla="*/ 92869 h 130969"/>
                  <a:gd name="connsiteX4" fmla="*/ 133352 w 133352"/>
                  <a:gd name="connsiteY4" fmla="*/ 80963 h 130969"/>
                  <a:gd name="connsiteX5" fmla="*/ 128589 w 133352"/>
                  <a:gd name="connsiteY5" fmla="*/ 47625 h 130969"/>
                  <a:gd name="connsiteX6" fmla="*/ 104777 w 133352"/>
                  <a:gd name="connsiteY6" fmla="*/ 33338 h 130969"/>
                  <a:gd name="connsiteX7" fmla="*/ 100014 w 133352"/>
                  <a:gd name="connsiteY7" fmla="*/ 19050 h 130969"/>
                  <a:gd name="connsiteX8" fmla="*/ 66677 w 133352"/>
                  <a:gd name="connsiteY8" fmla="*/ 0 h 130969"/>
                  <a:gd name="connsiteX9" fmla="*/ 16671 w 133352"/>
                  <a:gd name="connsiteY9" fmla="*/ 16669 h 130969"/>
                  <a:gd name="connsiteX10" fmla="*/ 2 w 133352"/>
                  <a:gd name="connsiteY10" fmla="*/ 40481 h 130969"/>
                  <a:gd name="connsiteX11" fmla="*/ 0 w 133352"/>
                  <a:gd name="connsiteY11" fmla="*/ 61912 h 130969"/>
                  <a:gd name="connsiteX12" fmla="*/ 21433 w 133352"/>
                  <a:gd name="connsiteY12" fmla="*/ 88106 h 130969"/>
                  <a:gd name="connsiteX0" fmla="*/ 21433 w 133352"/>
                  <a:gd name="connsiteY0" fmla="*/ 88106 h 147638"/>
                  <a:gd name="connsiteX1" fmla="*/ 50008 w 133352"/>
                  <a:gd name="connsiteY1" fmla="*/ 88106 h 147638"/>
                  <a:gd name="connsiteX2" fmla="*/ 54770 w 133352"/>
                  <a:gd name="connsiteY2" fmla="*/ 147638 h 147638"/>
                  <a:gd name="connsiteX3" fmla="*/ 88108 w 133352"/>
                  <a:gd name="connsiteY3" fmla="*/ 92869 h 147638"/>
                  <a:gd name="connsiteX4" fmla="*/ 133352 w 133352"/>
                  <a:gd name="connsiteY4" fmla="*/ 80963 h 147638"/>
                  <a:gd name="connsiteX5" fmla="*/ 128589 w 133352"/>
                  <a:gd name="connsiteY5" fmla="*/ 47625 h 147638"/>
                  <a:gd name="connsiteX6" fmla="*/ 104777 w 133352"/>
                  <a:gd name="connsiteY6" fmla="*/ 33338 h 147638"/>
                  <a:gd name="connsiteX7" fmla="*/ 100014 w 133352"/>
                  <a:gd name="connsiteY7" fmla="*/ 19050 h 147638"/>
                  <a:gd name="connsiteX8" fmla="*/ 66677 w 133352"/>
                  <a:gd name="connsiteY8" fmla="*/ 0 h 147638"/>
                  <a:gd name="connsiteX9" fmla="*/ 16671 w 133352"/>
                  <a:gd name="connsiteY9" fmla="*/ 16669 h 147638"/>
                  <a:gd name="connsiteX10" fmla="*/ 2 w 133352"/>
                  <a:gd name="connsiteY10" fmla="*/ 40481 h 147638"/>
                  <a:gd name="connsiteX11" fmla="*/ 0 w 133352"/>
                  <a:gd name="connsiteY11" fmla="*/ 61912 h 147638"/>
                  <a:gd name="connsiteX12" fmla="*/ 21433 w 133352"/>
                  <a:gd name="connsiteY12" fmla="*/ 88106 h 147638"/>
                  <a:gd name="connsiteX0" fmla="*/ 21433 w 133352"/>
                  <a:gd name="connsiteY0" fmla="*/ 102394 h 161926"/>
                  <a:gd name="connsiteX1" fmla="*/ 50008 w 133352"/>
                  <a:gd name="connsiteY1" fmla="*/ 102394 h 161926"/>
                  <a:gd name="connsiteX2" fmla="*/ 54770 w 133352"/>
                  <a:gd name="connsiteY2" fmla="*/ 161926 h 161926"/>
                  <a:gd name="connsiteX3" fmla="*/ 88108 w 133352"/>
                  <a:gd name="connsiteY3" fmla="*/ 107157 h 161926"/>
                  <a:gd name="connsiteX4" fmla="*/ 133352 w 133352"/>
                  <a:gd name="connsiteY4" fmla="*/ 95251 h 161926"/>
                  <a:gd name="connsiteX5" fmla="*/ 128589 w 133352"/>
                  <a:gd name="connsiteY5" fmla="*/ 61913 h 161926"/>
                  <a:gd name="connsiteX6" fmla="*/ 104777 w 133352"/>
                  <a:gd name="connsiteY6" fmla="*/ 47626 h 161926"/>
                  <a:gd name="connsiteX7" fmla="*/ 100014 w 133352"/>
                  <a:gd name="connsiteY7" fmla="*/ 33338 h 161926"/>
                  <a:gd name="connsiteX8" fmla="*/ 69058 w 133352"/>
                  <a:gd name="connsiteY8" fmla="*/ 0 h 161926"/>
                  <a:gd name="connsiteX9" fmla="*/ 16671 w 133352"/>
                  <a:gd name="connsiteY9" fmla="*/ 30957 h 161926"/>
                  <a:gd name="connsiteX10" fmla="*/ 2 w 133352"/>
                  <a:gd name="connsiteY10" fmla="*/ 54769 h 161926"/>
                  <a:gd name="connsiteX11" fmla="*/ 0 w 133352"/>
                  <a:gd name="connsiteY11" fmla="*/ 76200 h 161926"/>
                  <a:gd name="connsiteX12" fmla="*/ 21433 w 133352"/>
                  <a:gd name="connsiteY12" fmla="*/ 102394 h 161926"/>
                  <a:gd name="connsiteX0" fmla="*/ 21433 w 140496"/>
                  <a:gd name="connsiteY0" fmla="*/ 102394 h 161926"/>
                  <a:gd name="connsiteX1" fmla="*/ 50008 w 140496"/>
                  <a:gd name="connsiteY1" fmla="*/ 102394 h 161926"/>
                  <a:gd name="connsiteX2" fmla="*/ 54770 w 140496"/>
                  <a:gd name="connsiteY2" fmla="*/ 161926 h 161926"/>
                  <a:gd name="connsiteX3" fmla="*/ 88108 w 140496"/>
                  <a:gd name="connsiteY3" fmla="*/ 107157 h 161926"/>
                  <a:gd name="connsiteX4" fmla="*/ 133352 w 140496"/>
                  <a:gd name="connsiteY4" fmla="*/ 95251 h 161926"/>
                  <a:gd name="connsiteX5" fmla="*/ 140496 w 140496"/>
                  <a:gd name="connsiteY5" fmla="*/ 59531 h 161926"/>
                  <a:gd name="connsiteX6" fmla="*/ 104777 w 140496"/>
                  <a:gd name="connsiteY6" fmla="*/ 47626 h 161926"/>
                  <a:gd name="connsiteX7" fmla="*/ 100014 w 140496"/>
                  <a:gd name="connsiteY7" fmla="*/ 33338 h 161926"/>
                  <a:gd name="connsiteX8" fmla="*/ 69058 w 140496"/>
                  <a:gd name="connsiteY8" fmla="*/ 0 h 161926"/>
                  <a:gd name="connsiteX9" fmla="*/ 16671 w 140496"/>
                  <a:gd name="connsiteY9" fmla="*/ 30957 h 161926"/>
                  <a:gd name="connsiteX10" fmla="*/ 2 w 140496"/>
                  <a:gd name="connsiteY10" fmla="*/ 54769 h 161926"/>
                  <a:gd name="connsiteX11" fmla="*/ 0 w 140496"/>
                  <a:gd name="connsiteY11" fmla="*/ 76200 h 161926"/>
                  <a:gd name="connsiteX12" fmla="*/ 21433 w 140496"/>
                  <a:gd name="connsiteY12" fmla="*/ 102394 h 161926"/>
                  <a:gd name="connsiteX0" fmla="*/ 21433 w 140496"/>
                  <a:gd name="connsiteY0" fmla="*/ 102394 h 161926"/>
                  <a:gd name="connsiteX1" fmla="*/ 43658 w 140496"/>
                  <a:gd name="connsiteY1" fmla="*/ 111919 h 161926"/>
                  <a:gd name="connsiteX2" fmla="*/ 54770 w 140496"/>
                  <a:gd name="connsiteY2" fmla="*/ 161926 h 161926"/>
                  <a:gd name="connsiteX3" fmla="*/ 88108 w 140496"/>
                  <a:gd name="connsiteY3" fmla="*/ 107157 h 161926"/>
                  <a:gd name="connsiteX4" fmla="*/ 133352 w 140496"/>
                  <a:gd name="connsiteY4" fmla="*/ 95251 h 161926"/>
                  <a:gd name="connsiteX5" fmla="*/ 140496 w 140496"/>
                  <a:gd name="connsiteY5" fmla="*/ 59531 h 161926"/>
                  <a:gd name="connsiteX6" fmla="*/ 104777 w 140496"/>
                  <a:gd name="connsiteY6" fmla="*/ 47626 h 161926"/>
                  <a:gd name="connsiteX7" fmla="*/ 100014 w 140496"/>
                  <a:gd name="connsiteY7" fmla="*/ 33338 h 161926"/>
                  <a:gd name="connsiteX8" fmla="*/ 69058 w 140496"/>
                  <a:gd name="connsiteY8" fmla="*/ 0 h 161926"/>
                  <a:gd name="connsiteX9" fmla="*/ 16671 w 140496"/>
                  <a:gd name="connsiteY9" fmla="*/ 30957 h 161926"/>
                  <a:gd name="connsiteX10" fmla="*/ 2 w 140496"/>
                  <a:gd name="connsiteY10" fmla="*/ 54769 h 161926"/>
                  <a:gd name="connsiteX11" fmla="*/ 0 w 140496"/>
                  <a:gd name="connsiteY11" fmla="*/ 76200 h 161926"/>
                  <a:gd name="connsiteX12" fmla="*/ 21433 w 140496"/>
                  <a:gd name="connsiteY12" fmla="*/ 102394 h 16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496" h="161926">
                    <a:moveTo>
                      <a:pt x="21433" y="102394"/>
                    </a:moveTo>
                    <a:lnTo>
                      <a:pt x="43658" y="111919"/>
                    </a:lnTo>
                    <a:lnTo>
                      <a:pt x="54770" y="161926"/>
                    </a:lnTo>
                    <a:lnTo>
                      <a:pt x="88108" y="107157"/>
                    </a:lnTo>
                    <a:lnTo>
                      <a:pt x="133352" y="95251"/>
                    </a:lnTo>
                    <a:lnTo>
                      <a:pt x="140496" y="59531"/>
                    </a:lnTo>
                    <a:lnTo>
                      <a:pt x="104777" y="47626"/>
                    </a:lnTo>
                    <a:lnTo>
                      <a:pt x="100014" y="33338"/>
                    </a:lnTo>
                    <a:lnTo>
                      <a:pt x="69058" y="0"/>
                    </a:lnTo>
                    <a:lnTo>
                      <a:pt x="16671" y="30957"/>
                    </a:lnTo>
                    <a:lnTo>
                      <a:pt x="2" y="54769"/>
                    </a:lnTo>
                    <a:cubicBezTo>
                      <a:pt x="1" y="61913"/>
                      <a:pt x="1" y="69056"/>
                      <a:pt x="0" y="76200"/>
                    </a:cubicBezTo>
                    <a:lnTo>
                      <a:pt x="21433" y="102394"/>
                    </a:lnTo>
                    <a:close/>
                  </a:path>
                </a:pathLst>
              </a:custGeom>
              <a:solidFill>
                <a:schemeClr val="bg2"/>
              </a:solid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pPr defTabSz="247650"/>
                <a:endParaRPr lang="en-US" sz="900"/>
              </a:p>
            </p:txBody>
          </p:sp>
          <p:grpSp>
            <p:nvGrpSpPr>
              <p:cNvPr id="20" name="Group 11">
                <a:extLst>
                  <a:ext uri="{FF2B5EF4-FFF2-40B4-BE49-F238E27FC236}">
                    <a16:creationId xmlns:a16="http://schemas.microsoft.com/office/drawing/2014/main" id="{3C0AE455-744F-EA6D-83D3-53D3D22871A8}"/>
                  </a:ext>
                </a:extLst>
              </p:cNvPr>
              <p:cNvGrpSpPr>
                <a:grpSpLocks/>
              </p:cNvGrpSpPr>
              <p:nvPr/>
            </p:nvGrpSpPr>
            <p:grpSpPr bwMode="auto">
              <a:xfrm>
                <a:off x="617908" y="1548484"/>
                <a:ext cx="4439867" cy="3796013"/>
                <a:chOff x="2478088" y="1895475"/>
                <a:chExt cx="4937126" cy="4221163"/>
              </a:xfrm>
              <a:solidFill>
                <a:schemeClr val="bg2"/>
              </a:solidFill>
            </p:grpSpPr>
            <p:sp>
              <p:nvSpPr>
                <p:cNvPr id="76" name="Freeform 2446">
                  <a:extLst>
                    <a:ext uri="{FF2B5EF4-FFF2-40B4-BE49-F238E27FC236}">
                      <a16:creationId xmlns:a16="http://schemas.microsoft.com/office/drawing/2014/main" id="{2946EE4E-0A64-7ED4-7FE9-03FDEF41F4CB}"/>
                    </a:ext>
                  </a:extLst>
                </p:cNvPr>
                <p:cNvSpPr>
                  <a:spLocks noChangeAspect="1"/>
                </p:cNvSpPr>
                <p:nvPr/>
              </p:nvSpPr>
              <p:spPr bwMode="auto">
                <a:xfrm>
                  <a:off x="4660901" y="6072188"/>
                  <a:ext cx="38100" cy="44450"/>
                </a:xfrm>
                <a:custGeom>
                  <a:avLst/>
                  <a:gdLst>
                    <a:gd name="T0" fmla="*/ 0 w 24"/>
                    <a:gd name="T1" fmla="*/ 0 h 28"/>
                    <a:gd name="T2" fmla="*/ 18 w 24"/>
                    <a:gd name="T3" fmla="*/ 13 h 28"/>
                    <a:gd name="T4" fmla="*/ 24 w 24"/>
                    <a:gd name="T5" fmla="*/ 22 h 28"/>
                    <a:gd name="T6" fmla="*/ 14 w 24"/>
                    <a:gd name="T7" fmla="*/ 25 h 28"/>
                    <a:gd name="T8" fmla="*/ 8 w 24"/>
                    <a:gd name="T9" fmla="*/ 17 h 28"/>
                    <a:gd name="T10" fmla="*/ 2 w 24"/>
                    <a:gd name="T11" fmla="*/ 10 h 28"/>
                    <a:gd name="T12" fmla="*/ 7 w 24"/>
                    <a:gd name="T13" fmla="*/ 3 h 28"/>
                    <a:gd name="T14" fmla="*/ 0 w 24"/>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28"/>
                    <a:gd name="T26" fmla="*/ 24 w 24"/>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28">
                      <a:moveTo>
                        <a:pt x="0" y="0"/>
                      </a:moveTo>
                      <a:cubicBezTo>
                        <a:pt x="10" y="1"/>
                        <a:pt x="13" y="5"/>
                        <a:pt x="18" y="13"/>
                      </a:cubicBezTo>
                      <a:cubicBezTo>
                        <a:pt x="20" y="16"/>
                        <a:pt x="24" y="22"/>
                        <a:pt x="24" y="22"/>
                      </a:cubicBezTo>
                      <a:cubicBezTo>
                        <a:pt x="22" y="28"/>
                        <a:pt x="19" y="27"/>
                        <a:pt x="14" y="25"/>
                      </a:cubicBezTo>
                      <a:cubicBezTo>
                        <a:pt x="12" y="21"/>
                        <a:pt x="12" y="19"/>
                        <a:pt x="8" y="17"/>
                      </a:cubicBezTo>
                      <a:cubicBezTo>
                        <a:pt x="7" y="14"/>
                        <a:pt x="3" y="13"/>
                        <a:pt x="2" y="10"/>
                      </a:cubicBezTo>
                      <a:cubicBezTo>
                        <a:pt x="1" y="7"/>
                        <a:pt x="9" y="5"/>
                        <a:pt x="7" y="3"/>
                      </a:cubicBezTo>
                      <a:cubicBezTo>
                        <a:pt x="5" y="1"/>
                        <a:pt x="2" y="1"/>
                        <a:pt x="0"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77" name="Freeform 2447">
                  <a:extLst>
                    <a:ext uri="{FF2B5EF4-FFF2-40B4-BE49-F238E27FC236}">
                      <a16:creationId xmlns:a16="http://schemas.microsoft.com/office/drawing/2014/main" id="{3966B859-19EC-1FA0-69F4-69746AE504E8}"/>
                    </a:ext>
                  </a:extLst>
                </p:cNvPr>
                <p:cNvSpPr>
                  <a:spLocks noChangeAspect="1"/>
                </p:cNvSpPr>
                <p:nvPr/>
              </p:nvSpPr>
              <p:spPr bwMode="auto">
                <a:xfrm>
                  <a:off x="6410326" y="5734050"/>
                  <a:ext cx="184150" cy="177800"/>
                </a:xfrm>
                <a:custGeom>
                  <a:avLst/>
                  <a:gdLst>
                    <a:gd name="T0" fmla="*/ 26 w 116"/>
                    <a:gd name="T1" fmla="*/ 69 h 112"/>
                    <a:gd name="T2" fmla="*/ 36 w 116"/>
                    <a:gd name="T3" fmla="*/ 64 h 112"/>
                    <a:gd name="T4" fmla="*/ 33 w 116"/>
                    <a:gd name="T5" fmla="*/ 54 h 112"/>
                    <a:gd name="T6" fmla="*/ 59 w 116"/>
                    <a:gd name="T7" fmla="*/ 46 h 112"/>
                    <a:gd name="T8" fmla="*/ 73 w 116"/>
                    <a:gd name="T9" fmla="*/ 38 h 112"/>
                    <a:gd name="T10" fmla="*/ 85 w 116"/>
                    <a:gd name="T11" fmla="*/ 28 h 112"/>
                    <a:gd name="T12" fmla="*/ 114 w 116"/>
                    <a:gd name="T13" fmla="*/ 0 h 112"/>
                    <a:gd name="T14" fmla="*/ 95 w 116"/>
                    <a:gd name="T15" fmla="*/ 42 h 112"/>
                    <a:gd name="T16" fmla="*/ 102 w 116"/>
                    <a:gd name="T17" fmla="*/ 58 h 112"/>
                    <a:gd name="T18" fmla="*/ 87 w 116"/>
                    <a:gd name="T19" fmla="*/ 69 h 112"/>
                    <a:gd name="T20" fmla="*/ 74 w 116"/>
                    <a:gd name="T21" fmla="*/ 82 h 112"/>
                    <a:gd name="T22" fmla="*/ 57 w 116"/>
                    <a:gd name="T23" fmla="*/ 100 h 112"/>
                    <a:gd name="T24" fmla="*/ 48 w 116"/>
                    <a:gd name="T25" fmla="*/ 111 h 112"/>
                    <a:gd name="T26" fmla="*/ 12 w 116"/>
                    <a:gd name="T27" fmla="*/ 108 h 112"/>
                    <a:gd name="T28" fmla="*/ 0 w 116"/>
                    <a:gd name="T29" fmla="*/ 91 h 112"/>
                    <a:gd name="T30" fmla="*/ 15 w 116"/>
                    <a:gd name="T31" fmla="*/ 74 h 112"/>
                    <a:gd name="T32" fmla="*/ 23 w 116"/>
                    <a:gd name="T33" fmla="*/ 72 h 112"/>
                    <a:gd name="T34" fmla="*/ 26 w 116"/>
                    <a:gd name="T35" fmla="*/ 69 h 1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6"/>
                    <a:gd name="T55" fmla="*/ 0 h 112"/>
                    <a:gd name="T56" fmla="*/ 116 w 116"/>
                    <a:gd name="T57" fmla="*/ 112 h 1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6" h="112">
                      <a:moveTo>
                        <a:pt x="26" y="69"/>
                      </a:moveTo>
                      <a:cubicBezTo>
                        <a:pt x="31" y="68"/>
                        <a:pt x="31" y="66"/>
                        <a:pt x="36" y="64"/>
                      </a:cubicBezTo>
                      <a:cubicBezTo>
                        <a:pt x="37" y="62"/>
                        <a:pt x="30" y="57"/>
                        <a:pt x="33" y="54"/>
                      </a:cubicBezTo>
                      <a:cubicBezTo>
                        <a:pt x="27" y="48"/>
                        <a:pt x="50" y="47"/>
                        <a:pt x="59" y="46"/>
                      </a:cubicBezTo>
                      <a:cubicBezTo>
                        <a:pt x="66" y="44"/>
                        <a:pt x="65" y="39"/>
                        <a:pt x="73" y="38"/>
                      </a:cubicBezTo>
                      <a:cubicBezTo>
                        <a:pt x="78" y="37"/>
                        <a:pt x="85" y="28"/>
                        <a:pt x="85" y="28"/>
                      </a:cubicBezTo>
                      <a:cubicBezTo>
                        <a:pt x="99" y="20"/>
                        <a:pt x="98" y="5"/>
                        <a:pt x="114" y="0"/>
                      </a:cubicBezTo>
                      <a:cubicBezTo>
                        <a:pt x="116" y="2"/>
                        <a:pt x="97" y="32"/>
                        <a:pt x="95" y="42"/>
                      </a:cubicBezTo>
                      <a:cubicBezTo>
                        <a:pt x="91" y="49"/>
                        <a:pt x="96" y="49"/>
                        <a:pt x="102" y="58"/>
                      </a:cubicBezTo>
                      <a:cubicBezTo>
                        <a:pt x="101" y="61"/>
                        <a:pt x="91" y="67"/>
                        <a:pt x="87" y="69"/>
                      </a:cubicBezTo>
                      <a:cubicBezTo>
                        <a:pt x="85" y="75"/>
                        <a:pt x="80" y="80"/>
                        <a:pt x="74" y="82"/>
                      </a:cubicBezTo>
                      <a:cubicBezTo>
                        <a:pt x="73" y="84"/>
                        <a:pt x="60" y="99"/>
                        <a:pt x="57" y="100"/>
                      </a:cubicBezTo>
                      <a:cubicBezTo>
                        <a:pt x="54" y="104"/>
                        <a:pt x="51" y="108"/>
                        <a:pt x="48" y="111"/>
                      </a:cubicBezTo>
                      <a:cubicBezTo>
                        <a:pt x="32" y="110"/>
                        <a:pt x="24" y="112"/>
                        <a:pt x="12" y="108"/>
                      </a:cubicBezTo>
                      <a:cubicBezTo>
                        <a:pt x="9" y="100"/>
                        <a:pt x="4" y="97"/>
                        <a:pt x="0" y="91"/>
                      </a:cubicBezTo>
                      <a:cubicBezTo>
                        <a:pt x="1" y="85"/>
                        <a:pt x="8" y="76"/>
                        <a:pt x="15" y="74"/>
                      </a:cubicBezTo>
                      <a:cubicBezTo>
                        <a:pt x="18" y="73"/>
                        <a:pt x="23" y="72"/>
                        <a:pt x="23" y="72"/>
                      </a:cubicBezTo>
                      <a:cubicBezTo>
                        <a:pt x="26" y="70"/>
                        <a:pt x="26" y="71"/>
                        <a:pt x="26" y="69"/>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nvGrpSpPr>
                <p:cNvPr id="78" name="Group 69">
                  <a:extLst>
                    <a:ext uri="{FF2B5EF4-FFF2-40B4-BE49-F238E27FC236}">
                      <a16:creationId xmlns:a16="http://schemas.microsoft.com/office/drawing/2014/main" id="{00A3112A-CB46-B39D-86F7-7B42B89B032E}"/>
                    </a:ext>
                  </a:extLst>
                </p:cNvPr>
                <p:cNvGrpSpPr>
                  <a:grpSpLocks noChangeAspect="1"/>
                </p:cNvGrpSpPr>
                <p:nvPr/>
              </p:nvGrpSpPr>
              <p:grpSpPr bwMode="auto">
                <a:xfrm>
                  <a:off x="4967288" y="3224238"/>
                  <a:ext cx="360363" cy="258765"/>
                  <a:chOff x="3131" y="2031"/>
                  <a:chExt cx="227" cy="163"/>
                </a:xfrm>
                <a:grpFill/>
              </p:grpSpPr>
              <p:sp>
                <p:nvSpPr>
                  <p:cNvPr id="194" name="Freeform 2450">
                    <a:extLst>
                      <a:ext uri="{FF2B5EF4-FFF2-40B4-BE49-F238E27FC236}">
                        <a16:creationId xmlns:a16="http://schemas.microsoft.com/office/drawing/2014/main" id="{C0C0DB4D-1173-64E4-77E0-DBB40128CC7F}"/>
                      </a:ext>
                    </a:extLst>
                  </p:cNvPr>
                  <p:cNvSpPr>
                    <a:spLocks noChangeAspect="1"/>
                  </p:cNvSpPr>
                  <p:nvPr/>
                </p:nvSpPr>
                <p:spPr bwMode="auto">
                  <a:xfrm>
                    <a:off x="3131" y="2103"/>
                    <a:ext cx="40" cy="31"/>
                  </a:xfrm>
                  <a:custGeom>
                    <a:avLst/>
                    <a:gdLst>
                      <a:gd name="T0" fmla="*/ 18 w 40"/>
                      <a:gd name="T1" fmla="*/ 1 h 31"/>
                      <a:gd name="T2" fmla="*/ 26 w 40"/>
                      <a:gd name="T3" fmla="*/ 4 h 31"/>
                      <a:gd name="T4" fmla="*/ 36 w 40"/>
                      <a:gd name="T5" fmla="*/ 13 h 31"/>
                      <a:gd name="T6" fmla="*/ 26 w 40"/>
                      <a:gd name="T7" fmla="*/ 25 h 31"/>
                      <a:gd name="T8" fmla="*/ 16 w 40"/>
                      <a:gd name="T9" fmla="*/ 30 h 31"/>
                      <a:gd name="T10" fmla="*/ 12 w 40"/>
                      <a:gd name="T11" fmla="*/ 19 h 31"/>
                      <a:gd name="T12" fmla="*/ 0 w 40"/>
                      <a:gd name="T13" fmla="*/ 23 h 31"/>
                      <a:gd name="T14" fmla="*/ 15 w 40"/>
                      <a:gd name="T15" fmla="*/ 12 h 31"/>
                      <a:gd name="T16" fmla="*/ 18 w 40"/>
                      <a:gd name="T17" fmla="*/ 1 h 31"/>
                      <a:gd name="T18" fmla="*/ 22 w 40"/>
                      <a:gd name="T19" fmla="*/ 3 h 31"/>
                      <a:gd name="T20" fmla="*/ 18 w 40"/>
                      <a:gd name="T21" fmla="*/ 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31"/>
                      <a:gd name="T35" fmla="*/ 40 w 40"/>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31">
                        <a:moveTo>
                          <a:pt x="18" y="1"/>
                        </a:moveTo>
                        <a:cubicBezTo>
                          <a:pt x="21" y="2"/>
                          <a:pt x="24" y="2"/>
                          <a:pt x="26" y="4"/>
                        </a:cubicBezTo>
                        <a:cubicBezTo>
                          <a:pt x="32" y="9"/>
                          <a:pt x="29" y="11"/>
                          <a:pt x="36" y="13"/>
                        </a:cubicBezTo>
                        <a:cubicBezTo>
                          <a:pt x="40" y="22"/>
                          <a:pt x="32" y="21"/>
                          <a:pt x="26" y="25"/>
                        </a:cubicBezTo>
                        <a:cubicBezTo>
                          <a:pt x="22" y="31"/>
                          <a:pt x="25" y="31"/>
                          <a:pt x="16" y="30"/>
                        </a:cubicBezTo>
                        <a:cubicBezTo>
                          <a:pt x="15" y="26"/>
                          <a:pt x="14" y="23"/>
                          <a:pt x="12" y="19"/>
                        </a:cubicBezTo>
                        <a:cubicBezTo>
                          <a:pt x="5" y="21"/>
                          <a:pt x="6" y="24"/>
                          <a:pt x="0" y="23"/>
                        </a:cubicBezTo>
                        <a:cubicBezTo>
                          <a:pt x="4" y="16"/>
                          <a:pt x="7" y="15"/>
                          <a:pt x="15" y="12"/>
                        </a:cubicBezTo>
                        <a:cubicBezTo>
                          <a:pt x="17" y="9"/>
                          <a:pt x="16" y="4"/>
                          <a:pt x="18" y="1"/>
                        </a:cubicBezTo>
                        <a:cubicBezTo>
                          <a:pt x="19" y="0"/>
                          <a:pt x="22" y="3"/>
                          <a:pt x="22" y="3"/>
                        </a:cubicBezTo>
                        <a:cubicBezTo>
                          <a:pt x="22" y="3"/>
                          <a:pt x="19" y="2"/>
                          <a:pt x="18" y="1"/>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95" name="Freeform 2451">
                    <a:extLst>
                      <a:ext uri="{FF2B5EF4-FFF2-40B4-BE49-F238E27FC236}">
                        <a16:creationId xmlns:a16="http://schemas.microsoft.com/office/drawing/2014/main" id="{FEDD9C8D-565D-4C3E-7ED2-1DFC889A432A}"/>
                      </a:ext>
                    </a:extLst>
                  </p:cNvPr>
                  <p:cNvSpPr>
                    <a:spLocks noChangeAspect="1"/>
                  </p:cNvSpPr>
                  <p:nvPr/>
                </p:nvSpPr>
                <p:spPr bwMode="auto">
                  <a:xfrm>
                    <a:off x="3131" y="2136"/>
                    <a:ext cx="52" cy="58"/>
                  </a:xfrm>
                  <a:custGeom>
                    <a:avLst/>
                    <a:gdLst>
                      <a:gd name="T0" fmla="*/ 35 w 52"/>
                      <a:gd name="T1" fmla="*/ 3 h 58"/>
                      <a:gd name="T2" fmla="*/ 51 w 52"/>
                      <a:gd name="T3" fmla="*/ 10 h 58"/>
                      <a:gd name="T4" fmla="*/ 44 w 52"/>
                      <a:gd name="T5" fmla="*/ 15 h 58"/>
                      <a:gd name="T6" fmla="*/ 33 w 52"/>
                      <a:gd name="T7" fmla="*/ 33 h 58"/>
                      <a:gd name="T8" fmla="*/ 18 w 52"/>
                      <a:gd name="T9" fmla="*/ 34 h 58"/>
                      <a:gd name="T10" fmla="*/ 11 w 52"/>
                      <a:gd name="T11" fmla="*/ 58 h 58"/>
                      <a:gd name="T12" fmla="*/ 14 w 52"/>
                      <a:gd name="T13" fmla="*/ 44 h 58"/>
                      <a:gd name="T14" fmla="*/ 0 w 52"/>
                      <a:gd name="T15" fmla="*/ 33 h 58"/>
                      <a:gd name="T16" fmla="*/ 15 w 52"/>
                      <a:gd name="T17" fmla="*/ 13 h 58"/>
                      <a:gd name="T18" fmla="*/ 35 w 52"/>
                      <a:gd name="T19" fmla="*/ 3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58"/>
                      <a:gd name="T32" fmla="*/ 52 w 52"/>
                      <a:gd name="T33" fmla="*/ 58 h 5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58">
                        <a:moveTo>
                          <a:pt x="35" y="3"/>
                        </a:moveTo>
                        <a:cubicBezTo>
                          <a:pt x="41" y="4"/>
                          <a:pt x="45" y="8"/>
                          <a:pt x="51" y="10"/>
                        </a:cubicBezTo>
                        <a:cubicBezTo>
                          <a:pt x="49" y="19"/>
                          <a:pt x="52" y="10"/>
                          <a:pt x="44" y="15"/>
                        </a:cubicBezTo>
                        <a:cubicBezTo>
                          <a:pt x="38" y="19"/>
                          <a:pt x="41" y="30"/>
                          <a:pt x="33" y="33"/>
                        </a:cubicBezTo>
                        <a:cubicBezTo>
                          <a:pt x="29" y="30"/>
                          <a:pt x="18" y="34"/>
                          <a:pt x="18" y="34"/>
                        </a:cubicBezTo>
                        <a:cubicBezTo>
                          <a:pt x="15" y="42"/>
                          <a:pt x="18" y="53"/>
                          <a:pt x="11" y="58"/>
                        </a:cubicBezTo>
                        <a:cubicBezTo>
                          <a:pt x="3" y="55"/>
                          <a:pt x="10" y="47"/>
                          <a:pt x="14" y="44"/>
                        </a:cubicBezTo>
                        <a:cubicBezTo>
                          <a:pt x="11" y="32"/>
                          <a:pt x="6" y="42"/>
                          <a:pt x="0" y="33"/>
                        </a:cubicBezTo>
                        <a:cubicBezTo>
                          <a:pt x="2" y="24"/>
                          <a:pt x="5" y="16"/>
                          <a:pt x="15" y="13"/>
                        </a:cubicBezTo>
                        <a:cubicBezTo>
                          <a:pt x="18" y="0"/>
                          <a:pt x="17" y="3"/>
                          <a:pt x="35" y="3"/>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96" name="Freeform 2452">
                    <a:extLst>
                      <a:ext uri="{FF2B5EF4-FFF2-40B4-BE49-F238E27FC236}">
                        <a16:creationId xmlns:a16="http://schemas.microsoft.com/office/drawing/2014/main" id="{0AEF70D4-5838-CC7D-B447-A6ABB594D945}"/>
                      </a:ext>
                    </a:extLst>
                  </p:cNvPr>
                  <p:cNvSpPr>
                    <a:spLocks noChangeAspect="1"/>
                  </p:cNvSpPr>
                  <p:nvPr/>
                </p:nvSpPr>
                <p:spPr bwMode="auto">
                  <a:xfrm>
                    <a:off x="3177" y="2031"/>
                    <a:ext cx="181" cy="157"/>
                  </a:xfrm>
                  <a:custGeom>
                    <a:avLst/>
                    <a:gdLst>
                      <a:gd name="T0" fmla="*/ 176 w 181"/>
                      <a:gd name="T1" fmla="*/ 145 h 157"/>
                      <a:gd name="T2" fmla="*/ 181 w 181"/>
                      <a:gd name="T3" fmla="*/ 121 h 157"/>
                      <a:gd name="T4" fmla="*/ 169 w 181"/>
                      <a:gd name="T5" fmla="*/ 101 h 157"/>
                      <a:gd name="T6" fmla="*/ 157 w 181"/>
                      <a:gd name="T7" fmla="*/ 82 h 157"/>
                      <a:gd name="T8" fmla="*/ 139 w 181"/>
                      <a:gd name="T9" fmla="*/ 58 h 157"/>
                      <a:gd name="T10" fmla="*/ 155 w 181"/>
                      <a:gd name="T11" fmla="*/ 45 h 157"/>
                      <a:gd name="T12" fmla="*/ 166 w 181"/>
                      <a:gd name="T13" fmla="*/ 41 h 157"/>
                      <a:gd name="T14" fmla="*/ 173 w 181"/>
                      <a:gd name="T15" fmla="*/ 21 h 157"/>
                      <a:gd name="T16" fmla="*/ 169 w 181"/>
                      <a:gd name="T17" fmla="*/ 5 h 157"/>
                      <a:gd name="T18" fmla="*/ 168 w 181"/>
                      <a:gd name="T19" fmla="*/ 1 h 157"/>
                      <a:gd name="T20" fmla="*/ 157 w 181"/>
                      <a:gd name="T21" fmla="*/ 7 h 157"/>
                      <a:gd name="T22" fmla="*/ 139 w 181"/>
                      <a:gd name="T23" fmla="*/ 12 h 157"/>
                      <a:gd name="T24" fmla="*/ 74 w 181"/>
                      <a:gd name="T25" fmla="*/ 18 h 157"/>
                      <a:gd name="T26" fmla="*/ 50 w 181"/>
                      <a:gd name="T27" fmla="*/ 33 h 157"/>
                      <a:gd name="T28" fmla="*/ 20 w 181"/>
                      <a:gd name="T29" fmla="*/ 49 h 157"/>
                      <a:gd name="T30" fmla="*/ 11 w 181"/>
                      <a:gd name="T31" fmla="*/ 55 h 157"/>
                      <a:gd name="T32" fmla="*/ 2 w 181"/>
                      <a:gd name="T33" fmla="*/ 65 h 157"/>
                      <a:gd name="T34" fmla="*/ 10 w 181"/>
                      <a:gd name="T35" fmla="*/ 89 h 157"/>
                      <a:gd name="T36" fmla="*/ 17 w 181"/>
                      <a:gd name="T37" fmla="*/ 101 h 157"/>
                      <a:gd name="T38" fmla="*/ 26 w 181"/>
                      <a:gd name="T39" fmla="*/ 111 h 157"/>
                      <a:gd name="T40" fmla="*/ 53 w 181"/>
                      <a:gd name="T41" fmla="*/ 114 h 157"/>
                      <a:gd name="T42" fmla="*/ 54 w 181"/>
                      <a:gd name="T43" fmla="*/ 126 h 157"/>
                      <a:gd name="T44" fmla="*/ 58 w 181"/>
                      <a:gd name="T45" fmla="*/ 132 h 157"/>
                      <a:gd name="T46" fmla="*/ 58 w 181"/>
                      <a:gd name="T47" fmla="*/ 144 h 157"/>
                      <a:gd name="T48" fmla="*/ 85 w 181"/>
                      <a:gd name="T49" fmla="*/ 131 h 157"/>
                      <a:gd name="T50" fmla="*/ 109 w 181"/>
                      <a:gd name="T51" fmla="*/ 138 h 157"/>
                      <a:gd name="T52" fmla="*/ 119 w 181"/>
                      <a:gd name="T53" fmla="*/ 147 h 157"/>
                      <a:gd name="T54" fmla="*/ 128 w 181"/>
                      <a:gd name="T55" fmla="*/ 150 h 157"/>
                      <a:gd name="T56" fmla="*/ 146 w 181"/>
                      <a:gd name="T57" fmla="*/ 154 h 157"/>
                      <a:gd name="T58" fmla="*/ 176 w 181"/>
                      <a:gd name="T59" fmla="*/ 145 h 15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1"/>
                      <a:gd name="T91" fmla="*/ 0 h 157"/>
                      <a:gd name="T92" fmla="*/ 181 w 181"/>
                      <a:gd name="T93" fmla="*/ 157 h 15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1" h="157">
                        <a:moveTo>
                          <a:pt x="176" y="145"/>
                        </a:moveTo>
                        <a:cubicBezTo>
                          <a:pt x="165" y="141"/>
                          <a:pt x="179" y="128"/>
                          <a:pt x="181" y="121"/>
                        </a:cubicBezTo>
                        <a:cubicBezTo>
                          <a:pt x="179" y="111"/>
                          <a:pt x="178" y="107"/>
                          <a:pt x="169" y="101"/>
                        </a:cubicBezTo>
                        <a:cubicBezTo>
                          <a:pt x="166" y="95"/>
                          <a:pt x="162" y="87"/>
                          <a:pt x="157" y="82"/>
                        </a:cubicBezTo>
                        <a:cubicBezTo>
                          <a:pt x="154" y="73"/>
                          <a:pt x="142" y="68"/>
                          <a:pt x="139" y="58"/>
                        </a:cubicBezTo>
                        <a:cubicBezTo>
                          <a:pt x="140" y="45"/>
                          <a:pt x="143" y="46"/>
                          <a:pt x="155" y="45"/>
                        </a:cubicBezTo>
                        <a:cubicBezTo>
                          <a:pt x="158" y="43"/>
                          <a:pt x="166" y="41"/>
                          <a:pt x="166" y="41"/>
                        </a:cubicBezTo>
                        <a:cubicBezTo>
                          <a:pt x="169" y="37"/>
                          <a:pt x="172" y="27"/>
                          <a:pt x="173" y="21"/>
                        </a:cubicBezTo>
                        <a:cubicBezTo>
                          <a:pt x="175" y="15"/>
                          <a:pt x="174" y="8"/>
                          <a:pt x="169" y="5"/>
                        </a:cubicBezTo>
                        <a:cubicBezTo>
                          <a:pt x="169" y="4"/>
                          <a:pt x="169" y="1"/>
                          <a:pt x="168" y="1"/>
                        </a:cubicBezTo>
                        <a:cubicBezTo>
                          <a:pt x="164" y="0"/>
                          <a:pt x="157" y="7"/>
                          <a:pt x="157" y="7"/>
                        </a:cubicBezTo>
                        <a:cubicBezTo>
                          <a:pt x="153" y="18"/>
                          <a:pt x="157" y="13"/>
                          <a:pt x="139" y="12"/>
                        </a:cubicBezTo>
                        <a:cubicBezTo>
                          <a:pt x="116" y="14"/>
                          <a:pt x="98" y="17"/>
                          <a:pt x="74" y="18"/>
                        </a:cubicBezTo>
                        <a:cubicBezTo>
                          <a:pt x="69" y="26"/>
                          <a:pt x="58" y="28"/>
                          <a:pt x="50" y="33"/>
                        </a:cubicBezTo>
                        <a:cubicBezTo>
                          <a:pt x="40" y="39"/>
                          <a:pt x="29" y="43"/>
                          <a:pt x="20" y="49"/>
                        </a:cubicBezTo>
                        <a:cubicBezTo>
                          <a:pt x="17" y="53"/>
                          <a:pt x="15" y="52"/>
                          <a:pt x="11" y="55"/>
                        </a:cubicBezTo>
                        <a:cubicBezTo>
                          <a:pt x="10" y="58"/>
                          <a:pt x="5" y="63"/>
                          <a:pt x="2" y="65"/>
                        </a:cubicBezTo>
                        <a:cubicBezTo>
                          <a:pt x="0" y="74"/>
                          <a:pt x="2" y="84"/>
                          <a:pt x="10" y="89"/>
                        </a:cubicBezTo>
                        <a:cubicBezTo>
                          <a:pt x="11" y="94"/>
                          <a:pt x="13" y="98"/>
                          <a:pt x="17" y="101"/>
                        </a:cubicBezTo>
                        <a:cubicBezTo>
                          <a:pt x="18" y="106"/>
                          <a:pt x="21" y="109"/>
                          <a:pt x="26" y="111"/>
                        </a:cubicBezTo>
                        <a:cubicBezTo>
                          <a:pt x="31" y="118"/>
                          <a:pt x="46" y="113"/>
                          <a:pt x="53" y="114"/>
                        </a:cubicBezTo>
                        <a:cubicBezTo>
                          <a:pt x="60" y="119"/>
                          <a:pt x="47" y="116"/>
                          <a:pt x="54" y="126"/>
                        </a:cubicBezTo>
                        <a:cubicBezTo>
                          <a:pt x="55" y="128"/>
                          <a:pt x="58" y="132"/>
                          <a:pt x="58" y="132"/>
                        </a:cubicBezTo>
                        <a:cubicBezTo>
                          <a:pt x="58" y="136"/>
                          <a:pt x="55" y="141"/>
                          <a:pt x="58" y="144"/>
                        </a:cubicBezTo>
                        <a:cubicBezTo>
                          <a:pt x="62" y="144"/>
                          <a:pt x="77" y="132"/>
                          <a:pt x="85" y="131"/>
                        </a:cubicBezTo>
                        <a:cubicBezTo>
                          <a:pt x="93" y="132"/>
                          <a:pt x="101" y="131"/>
                          <a:pt x="109" y="138"/>
                        </a:cubicBezTo>
                        <a:cubicBezTo>
                          <a:pt x="110" y="141"/>
                          <a:pt x="115" y="145"/>
                          <a:pt x="119" y="147"/>
                        </a:cubicBezTo>
                        <a:cubicBezTo>
                          <a:pt x="122" y="148"/>
                          <a:pt x="128" y="150"/>
                          <a:pt x="128" y="150"/>
                        </a:cubicBezTo>
                        <a:cubicBezTo>
                          <a:pt x="135" y="157"/>
                          <a:pt x="134" y="155"/>
                          <a:pt x="146" y="154"/>
                        </a:cubicBezTo>
                        <a:cubicBezTo>
                          <a:pt x="160" y="149"/>
                          <a:pt x="151" y="150"/>
                          <a:pt x="176" y="145"/>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sp>
              <p:nvSpPr>
                <p:cNvPr id="79" name="Freeform 2453">
                  <a:extLst>
                    <a:ext uri="{FF2B5EF4-FFF2-40B4-BE49-F238E27FC236}">
                      <a16:creationId xmlns:a16="http://schemas.microsoft.com/office/drawing/2014/main" id="{A38E1B41-DF3F-1DC8-DAEA-5184CFBF5247}"/>
                    </a:ext>
                  </a:extLst>
                </p:cNvPr>
                <p:cNvSpPr>
                  <a:spLocks noChangeAspect="1"/>
                </p:cNvSpPr>
                <p:nvPr/>
              </p:nvSpPr>
              <p:spPr bwMode="auto">
                <a:xfrm>
                  <a:off x="5257801" y="2914650"/>
                  <a:ext cx="438150" cy="395288"/>
                </a:xfrm>
                <a:custGeom>
                  <a:avLst/>
                  <a:gdLst>
                    <a:gd name="T0" fmla="*/ 172 w 1104"/>
                    <a:gd name="T1" fmla="*/ 927 h 995"/>
                    <a:gd name="T2" fmla="*/ 312 w 1104"/>
                    <a:gd name="T3" fmla="*/ 967 h 995"/>
                    <a:gd name="T4" fmla="*/ 372 w 1104"/>
                    <a:gd name="T5" fmla="*/ 991 h 995"/>
                    <a:gd name="T6" fmla="*/ 384 w 1104"/>
                    <a:gd name="T7" fmla="*/ 995 h 995"/>
                    <a:gd name="T8" fmla="*/ 428 w 1104"/>
                    <a:gd name="T9" fmla="*/ 967 h 995"/>
                    <a:gd name="T10" fmla="*/ 480 w 1104"/>
                    <a:gd name="T11" fmla="*/ 843 h 995"/>
                    <a:gd name="T12" fmla="*/ 552 w 1104"/>
                    <a:gd name="T13" fmla="*/ 803 h 995"/>
                    <a:gd name="T14" fmla="*/ 576 w 1104"/>
                    <a:gd name="T15" fmla="*/ 679 h 995"/>
                    <a:gd name="T16" fmla="*/ 660 w 1104"/>
                    <a:gd name="T17" fmla="*/ 719 h 995"/>
                    <a:gd name="T18" fmla="*/ 748 w 1104"/>
                    <a:gd name="T19" fmla="*/ 711 h 995"/>
                    <a:gd name="T20" fmla="*/ 756 w 1104"/>
                    <a:gd name="T21" fmla="*/ 639 h 995"/>
                    <a:gd name="T22" fmla="*/ 792 w 1104"/>
                    <a:gd name="T23" fmla="*/ 615 h 995"/>
                    <a:gd name="T24" fmla="*/ 1008 w 1104"/>
                    <a:gd name="T25" fmla="*/ 623 h 995"/>
                    <a:gd name="T26" fmla="*/ 1052 w 1104"/>
                    <a:gd name="T27" fmla="*/ 603 h 995"/>
                    <a:gd name="T28" fmla="*/ 1076 w 1104"/>
                    <a:gd name="T29" fmla="*/ 575 h 995"/>
                    <a:gd name="T30" fmla="*/ 1104 w 1104"/>
                    <a:gd name="T31" fmla="*/ 527 h 995"/>
                    <a:gd name="T32" fmla="*/ 1020 w 1104"/>
                    <a:gd name="T33" fmla="*/ 320 h 995"/>
                    <a:gd name="T34" fmla="*/ 972 w 1104"/>
                    <a:gd name="T35" fmla="*/ 252 h 995"/>
                    <a:gd name="T36" fmla="*/ 936 w 1104"/>
                    <a:gd name="T37" fmla="*/ 52 h 995"/>
                    <a:gd name="T38" fmla="*/ 948 w 1104"/>
                    <a:gd name="T39" fmla="*/ 4 h 995"/>
                    <a:gd name="T40" fmla="*/ 872 w 1104"/>
                    <a:gd name="T41" fmla="*/ 0 h 995"/>
                    <a:gd name="T42" fmla="*/ 708 w 1104"/>
                    <a:gd name="T43" fmla="*/ 16 h 995"/>
                    <a:gd name="T44" fmla="*/ 680 w 1104"/>
                    <a:gd name="T45" fmla="*/ 48 h 995"/>
                    <a:gd name="T46" fmla="*/ 632 w 1104"/>
                    <a:gd name="T47" fmla="*/ 256 h 995"/>
                    <a:gd name="T48" fmla="*/ 476 w 1104"/>
                    <a:gd name="T49" fmla="*/ 276 h 995"/>
                    <a:gd name="T50" fmla="*/ 244 w 1104"/>
                    <a:gd name="T51" fmla="*/ 252 h 995"/>
                    <a:gd name="T52" fmla="*/ 144 w 1104"/>
                    <a:gd name="T53" fmla="*/ 256 h 995"/>
                    <a:gd name="T54" fmla="*/ 108 w 1104"/>
                    <a:gd name="T55" fmla="*/ 280 h 995"/>
                    <a:gd name="T56" fmla="*/ 0 w 1104"/>
                    <a:gd name="T57" fmla="*/ 480 h 995"/>
                    <a:gd name="T58" fmla="*/ 4 w 1104"/>
                    <a:gd name="T59" fmla="*/ 507 h 995"/>
                    <a:gd name="T60" fmla="*/ 12 w 1104"/>
                    <a:gd name="T61" fmla="*/ 496 h 995"/>
                    <a:gd name="T62" fmla="*/ 36 w 1104"/>
                    <a:gd name="T63" fmla="*/ 480 h 995"/>
                    <a:gd name="T64" fmla="*/ 60 w 1104"/>
                    <a:gd name="T65" fmla="*/ 444 h 995"/>
                    <a:gd name="T66" fmla="*/ 84 w 1104"/>
                    <a:gd name="T67" fmla="*/ 436 h 995"/>
                    <a:gd name="T68" fmla="*/ 140 w 1104"/>
                    <a:gd name="T69" fmla="*/ 519 h 995"/>
                    <a:gd name="T70" fmla="*/ 248 w 1104"/>
                    <a:gd name="T71" fmla="*/ 543 h 995"/>
                    <a:gd name="T72" fmla="*/ 284 w 1104"/>
                    <a:gd name="T73" fmla="*/ 527 h 995"/>
                    <a:gd name="T74" fmla="*/ 356 w 1104"/>
                    <a:gd name="T75" fmla="*/ 535 h 995"/>
                    <a:gd name="T76" fmla="*/ 368 w 1104"/>
                    <a:gd name="T77" fmla="*/ 575 h 995"/>
                    <a:gd name="T78" fmla="*/ 216 w 1104"/>
                    <a:gd name="T79" fmla="*/ 631 h 995"/>
                    <a:gd name="T80" fmla="*/ 192 w 1104"/>
                    <a:gd name="T81" fmla="*/ 639 h 995"/>
                    <a:gd name="T82" fmla="*/ 180 w 1104"/>
                    <a:gd name="T83" fmla="*/ 647 h 995"/>
                    <a:gd name="T84" fmla="*/ 108 w 1104"/>
                    <a:gd name="T85" fmla="*/ 743 h 995"/>
                    <a:gd name="T86" fmla="*/ 120 w 1104"/>
                    <a:gd name="T87" fmla="*/ 783 h 995"/>
                    <a:gd name="T88" fmla="*/ 140 w 1104"/>
                    <a:gd name="T89" fmla="*/ 823 h 995"/>
                    <a:gd name="T90" fmla="*/ 108 w 1104"/>
                    <a:gd name="T91" fmla="*/ 923 h 995"/>
                    <a:gd name="T92" fmla="*/ 116 w 1104"/>
                    <a:gd name="T93" fmla="*/ 935 h 995"/>
                    <a:gd name="T94" fmla="*/ 172 w 1104"/>
                    <a:gd name="T95" fmla="*/ 927 h 99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04"/>
                    <a:gd name="T145" fmla="*/ 0 h 995"/>
                    <a:gd name="T146" fmla="*/ 1104 w 1104"/>
                    <a:gd name="T147" fmla="*/ 995 h 99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04" h="995">
                      <a:moveTo>
                        <a:pt x="172" y="927"/>
                      </a:moveTo>
                      <a:cubicBezTo>
                        <a:pt x="228" y="935"/>
                        <a:pt x="260" y="955"/>
                        <a:pt x="312" y="967"/>
                      </a:cubicBezTo>
                      <a:cubicBezTo>
                        <a:pt x="336" y="971"/>
                        <a:pt x="352" y="983"/>
                        <a:pt x="372" y="991"/>
                      </a:cubicBezTo>
                      <a:cubicBezTo>
                        <a:pt x="376" y="991"/>
                        <a:pt x="384" y="995"/>
                        <a:pt x="384" y="995"/>
                      </a:cubicBezTo>
                      <a:cubicBezTo>
                        <a:pt x="412" y="987"/>
                        <a:pt x="404" y="983"/>
                        <a:pt x="428" y="967"/>
                      </a:cubicBezTo>
                      <a:cubicBezTo>
                        <a:pt x="440" y="927"/>
                        <a:pt x="448" y="875"/>
                        <a:pt x="480" y="843"/>
                      </a:cubicBezTo>
                      <a:cubicBezTo>
                        <a:pt x="500" y="823"/>
                        <a:pt x="532" y="823"/>
                        <a:pt x="552" y="803"/>
                      </a:cubicBezTo>
                      <a:cubicBezTo>
                        <a:pt x="564" y="763"/>
                        <a:pt x="532" y="695"/>
                        <a:pt x="576" y="679"/>
                      </a:cubicBezTo>
                      <a:cubicBezTo>
                        <a:pt x="604" y="687"/>
                        <a:pt x="636" y="703"/>
                        <a:pt x="660" y="719"/>
                      </a:cubicBezTo>
                      <a:cubicBezTo>
                        <a:pt x="688" y="715"/>
                        <a:pt x="724" y="727"/>
                        <a:pt x="748" y="711"/>
                      </a:cubicBezTo>
                      <a:cubicBezTo>
                        <a:pt x="808" y="671"/>
                        <a:pt x="732" y="667"/>
                        <a:pt x="756" y="639"/>
                      </a:cubicBezTo>
                      <a:cubicBezTo>
                        <a:pt x="764" y="627"/>
                        <a:pt x="792" y="615"/>
                        <a:pt x="792" y="615"/>
                      </a:cubicBezTo>
                      <a:cubicBezTo>
                        <a:pt x="944" y="631"/>
                        <a:pt x="872" y="627"/>
                        <a:pt x="1008" y="623"/>
                      </a:cubicBezTo>
                      <a:cubicBezTo>
                        <a:pt x="1024" y="615"/>
                        <a:pt x="1036" y="611"/>
                        <a:pt x="1052" y="603"/>
                      </a:cubicBezTo>
                      <a:cubicBezTo>
                        <a:pt x="1056" y="587"/>
                        <a:pt x="1060" y="579"/>
                        <a:pt x="1076" y="575"/>
                      </a:cubicBezTo>
                      <a:cubicBezTo>
                        <a:pt x="1084" y="555"/>
                        <a:pt x="1096" y="547"/>
                        <a:pt x="1104" y="527"/>
                      </a:cubicBezTo>
                      <a:cubicBezTo>
                        <a:pt x="1100" y="476"/>
                        <a:pt x="1068" y="352"/>
                        <a:pt x="1020" y="320"/>
                      </a:cubicBezTo>
                      <a:cubicBezTo>
                        <a:pt x="1008" y="296"/>
                        <a:pt x="984" y="280"/>
                        <a:pt x="972" y="252"/>
                      </a:cubicBezTo>
                      <a:cubicBezTo>
                        <a:pt x="960" y="184"/>
                        <a:pt x="956" y="116"/>
                        <a:pt x="936" y="52"/>
                      </a:cubicBezTo>
                      <a:cubicBezTo>
                        <a:pt x="932" y="44"/>
                        <a:pt x="956" y="8"/>
                        <a:pt x="948" y="4"/>
                      </a:cubicBezTo>
                      <a:cubicBezTo>
                        <a:pt x="932" y="0"/>
                        <a:pt x="888" y="0"/>
                        <a:pt x="872" y="0"/>
                      </a:cubicBezTo>
                      <a:cubicBezTo>
                        <a:pt x="816" y="4"/>
                        <a:pt x="764" y="8"/>
                        <a:pt x="708" y="16"/>
                      </a:cubicBezTo>
                      <a:cubicBezTo>
                        <a:pt x="680" y="36"/>
                        <a:pt x="688" y="24"/>
                        <a:pt x="680" y="48"/>
                      </a:cubicBezTo>
                      <a:cubicBezTo>
                        <a:pt x="680" y="76"/>
                        <a:pt x="660" y="236"/>
                        <a:pt x="632" y="256"/>
                      </a:cubicBezTo>
                      <a:cubicBezTo>
                        <a:pt x="600" y="280"/>
                        <a:pt x="480" y="276"/>
                        <a:pt x="476" y="276"/>
                      </a:cubicBezTo>
                      <a:cubicBezTo>
                        <a:pt x="392" y="272"/>
                        <a:pt x="324" y="260"/>
                        <a:pt x="244" y="252"/>
                      </a:cubicBezTo>
                      <a:cubicBezTo>
                        <a:pt x="212" y="252"/>
                        <a:pt x="176" y="252"/>
                        <a:pt x="144" y="256"/>
                      </a:cubicBezTo>
                      <a:cubicBezTo>
                        <a:pt x="128" y="260"/>
                        <a:pt x="108" y="280"/>
                        <a:pt x="108" y="280"/>
                      </a:cubicBezTo>
                      <a:cubicBezTo>
                        <a:pt x="84" y="316"/>
                        <a:pt x="16" y="440"/>
                        <a:pt x="0" y="480"/>
                      </a:cubicBezTo>
                      <a:cubicBezTo>
                        <a:pt x="0" y="488"/>
                        <a:pt x="0" y="499"/>
                        <a:pt x="4" y="507"/>
                      </a:cubicBezTo>
                      <a:cubicBezTo>
                        <a:pt x="8" y="511"/>
                        <a:pt x="8" y="499"/>
                        <a:pt x="12" y="496"/>
                      </a:cubicBezTo>
                      <a:cubicBezTo>
                        <a:pt x="20" y="488"/>
                        <a:pt x="36" y="480"/>
                        <a:pt x="36" y="480"/>
                      </a:cubicBezTo>
                      <a:cubicBezTo>
                        <a:pt x="44" y="468"/>
                        <a:pt x="48" y="448"/>
                        <a:pt x="60" y="444"/>
                      </a:cubicBezTo>
                      <a:cubicBezTo>
                        <a:pt x="68" y="440"/>
                        <a:pt x="84" y="436"/>
                        <a:pt x="84" y="436"/>
                      </a:cubicBezTo>
                      <a:cubicBezTo>
                        <a:pt x="128" y="444"/>
                        <a:pt x="120" y="488"/>
                        <a:pt x="140" y="519"/>
                      </a:cubicBezTo>
                      <a:cubicBezTo>
                        <a:pt x="156" y="583"/>
                        <a:pt x="136" y="551"/>
                        <a:pt x="248" y="543"/>
                      </a:cubicBezTo>
                      <a:cubicBezTo>
                        <a:pt x="276" y="535"/>
                        <a:pt x="264" y="539"/>
                        <a:pt x="284" y="527"/>
                      </a:cubicBezTo>
                      <a:cubicBezTo>
                        <a:pt x="308" y="527"/>
                        <a:pt x="340" y="515"/>
                        <a:pt x="356" y="535"/>
                      </a:cubicBezTo>
                      <a:cubicBezTo>
                        <a:pt x="364" y="547"/>
                        <a:pt x="368" y="575"/>
                        <a:pt x="368" y="575"/>
                      </a:cubicBezTo>
                      <a:cubicBezTo>
                        <a:pt x="320" y="623"/>
                        <a:pt x="268" y="623"/>
                        <a:pt x="216" y="631"/>
                      </a:cubicBezTo>
                      <a:cubicBezTo>
                        <a:pt x="208" y="635"/>
                        <a:pt x="200" y="635"/>
                        <a:pt x="192" y="639"/>
                      </a:cubicBezTo>
                      <a:cubicBezTo>
                        <a:pt x="188" y="643"/>
                        <a:pt x="184" y="647"/>
                        <a:pt x="180" y="647"/>
                      </a:cubicBezTo>
                      <a:cubicBezTo>
                        <a:pt x="166" y="664"/>
                        <a:pt x="118" y="720"/>
                        <a:pt x="108" y="743"/>
                      </a:cubicBezTo>
                      <a:cubicBezTo>
                        <a:pt x="104" y="763"/>
                        <a:pt x="100" y="775"/>
                        <a:pt x="120" y="783"/>
                      </a:cubicBezTo>
                      <a:cubicBezTo>
                        <a:pt x="124" y="803"/>
                        <a:pt x="124" y="811"/>
                        <a:pt x="140" y="823"/>
                      </a:cubicBezTo>
                      <a:cubicBezTo>
                        <a:pt x="148" y="855"/>
                        <a:pt x="124" y="895"/>
                        <a:pt x="108" y="923"/>
                      </a:cubicBezTo>
                      <a:cubicBezTo>
                        <a:pt x="112" y="927"/>
                        <a:pt x="112" y="931"/>
                        <a:pt x="116" y="935"/>
                      </a:cubicBezTo>
                      <a:cubicBezTo>
                        <a:pt x="128" y="935"/>
                        <a:pt x="140" y="923"/>
                        <a:pt x="172" y="927"/>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nvGrpSpPr>
                <p:cNvPr id="80" name="Group 71">
                  <a:extLst>
                    <a:ext uri="{FF2B5EF4-FFF2-40B4-BE49-F238E27FC236}">
                      <a16:creationId xmlns:a16="http://schemas.microsoft.com/office/drawing/2014/main" id="{F30A7A26-67E9-1E19-AD42-686255D79293}"/>
                    </a:ext>
                  </a:extLst>
                </p:cNvPr>
                <p:cNvGrpSpPr>
                  <a:grpSpLocks/>
                </p:cNvGrpSpPr>
                <p:nvPr/>
              </p:nvGrpSpPr>
              <p:grpSpPr bwMode="auto">
                <a:xfrm>
                  <a:off x="5111789" y="5249871"/>
                  <a:ext cx="871555" cy="822327"/>
                  <a:chOff x="4862" y="8018"/>
                  <a:chExt cx="2196" cy="2072"/>
                </a:xfrm>
                <a:grpFill/>
              </p:grpSpPr>
              <p:sp>
                <p:nvSpPr>
                  <p:cNvPr id="172" name="Freeform 2455">
                    <a:extLst>
                      <a:ext uri="{FF2B5EF4-FFF2-40B4-BE49-F238E27FC236}">
                        <a16:creationId xmlns:a16="http://schemas.microsoft.com/office/drawing/2014/main" id="{8E8D0190-E078-A214-071B-6E8B54E958F8}"/>
                      </a:ext>
                    </a:extLst>
                  </p:cNvPr>
                  <p:cNvSpPr>
                    <a:spLocks noChangeAspect="1"/>
                  </p:cNvSpPr>
                  <p:nvPr/>
                </p:nvSpPr>
                <p:spPr bwMode="auto">
                  <a:xfrm>
                    <a:off x="5802" y="9746"/>
                    <a:ext cx="60" cy="96"/>
                  </a:xfrm>
                  <a:custGeom>
                    <a:avLst/>
                    <a:gdLst>
                      <a:gd name="T0" fmla="*/ 3 w 15"/>
                      <a:gd name="T1" fmla="*/ 0 h 24"/>
                      <a:gd name="T2" fmla="*/ 14 w 15"/>
                      <a:gd name="T3" fmla="*/ 8 h 24"/>
                      <a:gd name="T4" fmla="*/ 10 w 15"/>
                      <a:gd name="T5" fmla="*/ 18 h 24"/>
                      <a:gd name="T6" fmla="*/ 6 w 15"/>
                      <a:gd name="T7" fmla="*/ 24 h 24"/>
                      <a:gd name="T8" fmla="*/ 0 w 15"/>
                      <a:gd name="T9" fmla="*/ 12 h 24"/>
                      <a:gd name="T10" fmla="*/ 3 w 15"/>
                      <a:gd name="T11" fmla="*/ 0 h 24"/>
                      <a:gd name="T12" fmla="*/ 0 60000 65536"/>
                      <a:gd name="T13" fmla="*/ 0 60000 65536"/>
                      <a:gd name="T14" fmla="*/ 0 60000 65536"/>
                      <a:gd name="T15" fmla="*/ 0 60000 65536"/>
                      <a:gd name="T16" fmla="*/ 0 60000 65536"/>
                      <a:gd name="T17" fmla="*/ 0 60000 65536"/>
                      <a:gd name="T18" fmla="*/ 0 w 15"/>
                      <a:gd name="T19" fmla="*/ 0 h 24"/>
                      <a:gd name="T20" fmla="*/ 15 w 15"/>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5" h="24">
                        <a:moveTo>
                          <a:pt x="3" y="0"/>
                        </a:moveTo>
                        <a:cubicBezTo>
                          <a:pt x="11" y="1"/>
                          <a:pt x="13" y="0"/>
                          <a:pt x="14" y="8"/>
                        </a:cubicBezTo>
                        <a:cubicBezTo>
                          <a:pt x="12" y="19"/>
                          <a:pt x="15" y="12"/>
                          <a:pt x="10" y="18"/>
                        </a:cubicBezTo>
                        <a:cubicBezTo>
                          <a:pt x="9" y="20"/>
                          <a:pt x="6" y="24"/>
                          <a:pt x="6" y="24"/>
                        </a:cubicBezTo>
                        <a:cubicBezTo>
                          <a:pt x="3" y="21"/>
                          <a:pt x="0" y="12"/>
                          <a:pt x="0" y="12"/>
                        </a:cubicBezTo>
                        <a:cubicBezTo>
                          <a:pt x="1" y="8"/>
                          <a:pt x="2" y="4"/>
                          <a:pt x="3"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73" name="Freeform 2456">
                    <a:extLst>
                      <a:ext uri="{FF2B5EF4-FFF2-40B4-BE49-F238E27FC236}">
                        <a16:creationId xmlns:a16="http://schemas.microsoft.com/office/drawing/2014/main" id="{2CFE7DAD-1D2F-E252-E152-AF3F3E51EC6B}"/>
                      </a:ext>
                    </a:extLst>
                  </p:cNvPr>
                  <p:cNvSpPr>
                    <a:spLocks noChangeAspect="1"/>
                  </p:cNvSpPr>
                  <p:nvPr/>
                </p:nvSpPr>
                <p:spPr bwMode="auto">
                  <a:xfrm>
                    <a:off x="4862" y="8862"/>
                    <a:ext cx="136" cy="116"/>
                  </a:xfrm>
                  <a:custGeom>
                    <a:avLst/>
                    <a:gdLst>
                      <a:gd name="T0" fmla="*/ 16 w 34"/>
                      <a:gd name="T1" fmla="*/ 1 h 29"/>
                      <a:gd name="T2" fmla="*/ 14 w 34"/>
                      <a:gd name="T3" fmla="*/ 13 h 29"/>
                      <a:gd name="T4" fmla="*/ 23 w 34"/>
                      <a:gd name="T5" fmla="*/ 19 h 29"/>
                      <a:gd name="T6" fmla="*/ 34 w 34"/>
                      <a:gd name="T7" fmla="*/ 26 h 29"/>
                      <a:gd name="T8" fmla="*/ 23 w 34"/>
                      <a:gd name="T9" fmla="*/ 17 h 29"/>
                      <a:gd name="T10" fmla="*/ 19 w 34"/>
                      <a:gd name="T11" fmla="*/ 2 h 29"/>
                      <a:gd name="T12" fmla="*/ 11 w 34"/>
                      <a:gd name="T13" fmla="*/ 0 h 29"/>
                      <a:gd name="T14" fmla="*/ 16 w 34"/>
                      <a:gd name="T15" fmla="*/ 1 h 29"/>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29"/>
                      <a:gd name="T26" fmla="*/ 34 w 34"/>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29">
                        <a:moveTo>
                          <a:pt x="16" y="1"/>
                        </a:moveTo>
                        <a:cubicBezTo>
                          <a:pt x="2" y="3"/>
                          <a:pt x="0" y="8"/>
                          <a:pt x="14" y="13"/>
                        </a:cubicBezTo>
                        <a:cubicBezTo>
                          <a:pt x="17" y="16"/>
                          <a:pt x="20" y="17"/>
                          <a:pt x="23" y="19"/>
                        </a:cubicBezTo>
                        <a:cubicBezTo>
                          <a:pt x="26" y="28"/>
                          <a:pt x="25" y="29"/>
                          <a:pt x="34" y="26"/>
                        </a:cubicBezTo>
                        <a:cubicBezTo>
                          <a:pt x="33" y="22"/>
                          <a:pt x="27" y="21"/>
                          <a:pt x="23" y="17"/>
                        </a:cubicBezTo>
                        <a:cubicBezTo>
                          <a:pt x="22" y="14"/>
                          <a:pt x="21" y="4"/>
                          <a:pt x="19" y="2"/>
                        </a:cubicBezTo>
                        <a:cubicBezTo>
                          <a:pt x="17" y="0"/>
                          <a:pt x="11" y="0"/>
                          <a:pt x="11" y="0"/>
                        </a:cubicBezTo>
                        <a:cubicBezTo>
                          <a:pt x="11" y="0"/>
                          <a:pt x="14" y="1"/>
                          <a:pt x="16" y="1"/>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74" name="Freeform 2457">
                    <a:extLst>
                      <a:ext uri="{FF2B5EF4-FFF2-40B4-BE49-F238E27FC236}">
                        <a16:creationId xmlns:a16="http://schemas.microsoft.com/office/drawing/2014/main" id="{D2F97F7F-D51E-ED15-5454-82A380158FBD}"/>
                      </a:ext>
                    </a:extLst>
                  </p:cNvPr>
                  <p:cNvSpPr>
                    <a:spLocks noChangeAspect="1"/>
                  </p:cNvSpPr>
                  <p:nvPr/>
                </p:nvSpPr>
                <p:spPr bwMode="auto">
                  <a:xfrm>
                    <a:off x="5122" y="9110"/>
                    <a:ext cx="64" cy="92"/>
                  </a:xfrm>
                  <a:custGeom>
                    <a:avLst/>
                    <a:gdLst>
                      <a:gd name="T0" fmla="*/ 8 w 16"/>
                      <a:gd name="T1" fmla="*/ 0 h 23"/>
                      <a:gd name="T2" fmla="*/ 15 w 16"/>
                      <a:gd name="T3" fmla="*/ 8 h 23"/>
                      <a:gd name="T4" fmla="*/ 8 w 16"/>
                      <a:gd name="T5" fmla="*/ 23 h 23"/>
                      <a:gd name="T6" fmla="*/ 0 w 16"/>
                      <a:gd name="T7" fmla="*/ 16 h 23"/>
                      <a:gd name="T8" fmla="*/ 8 w 16"/>
                      <a:gd name="T9" fmla="*/ 0 h 23"/>
                      <a:gd name="T10" fmla="*/ 0 60000 65536"/>
                      <a:gd name="T11" fmla="*/ 0 60000 65536"/>
                      <a:gd name="T12" fmla="*/ 0 60000 65536"/>
                      <a:gd name="T13" fmla="*/ 0 60000 65536"/>
                      <a:gd name="T14" fmla="*/ 0 60000 65536"/>
                      <a:gd name="T15" fmla="*/ 0 w 16"/>
                      <a:gd name="T16" fmla="*/ 0 h 23"/>
                      <a:gd name="T17" fmla="*/ 16 w 16"/>
                      <a:gd name="T18" fmla="*/ 23 h 23"/>
                    </a:gdLst>
                    <a:ahLst/>
                    <a:cxnLst>
                      <a:cxn ang="T10">
                        <a:pos x="T0" y="T1"/>
                      </a:cxn>
                      <a:cxn ang="T11">
                        <a:pos x="T2" y="T3"/>
                      </a:cxn>
                      <a:cxn ang="T12">
                        <a:pos x="T4" y="T5"/>
                      </a:cxn>
                      <a:cxn ang="T13">
                        <a:pos x="T6" y="T7"/>
                      </a:cxn>
                      <a:cxn ang="T14">
                        <a:pos x="T8" y="T9"/>
                      </a:cxn>
                    </a:cxnLst>
                    <a:rect l="T15" t="T16" r="T17" b="T18"/>
                    <a:pathLst>
                      <a:path w="16" h="23">
                        <a:moveTo>
                          <a:pt x="8" y="0"/>
                        </a:moveTo>
                        <a:cubicBezTo>
                          <a:pt x="11" y="3"/>
                          <a:pt x="14" y="4"/>
                          <a:pt x="15" y="8"/>
                        </a:cubicBezTo>
                        <a:cubicBezTo>
                          <a:pt x="14" y="19"/>
                          <a:pt x="16" y="20"/>
                          <a:pt x="8" y="23"/>
                        </a:cubicBezTo>
                        <a:cubicBezTo>
                          <a:pt x="2" y="22"/>
                          <a:pt x="5" y="19"/>
                          <a:pt x="0" y="16"/>
                        </a:cubicBezTo>
                        <a:cubicBezTo>
                          <a:pt x="1" y="13"/>
                          <a:pt x="8" y="0"/>
                          <a:pt x="8"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75" name="Freeform 2458">
                    <a:extLst>
                      <a:ext uri="{FF2B5EF4-FFF2-40B4-BE49-F238E27FC236}">
                        <a16:creationId xmlns:a16="http://schemas.microsoft.com/office/drawing/2014/main" id="{8214C961-8396-5804-7439-8D52AE44A6FF}"/>
                      </a:ext>
                    </a:extLst>
                  </p:cNvPr>
                  <p:cNvSpPr>
                    <a:spLocks noChangeAspect="1"/>
                  </p:cNvSpPr>
                  <p:nvPr/>
                </p:nvSpPr>
                <p:spPr bwMode="auto">
                  <a:xfrm>
                    <a:off x="5098" y="9198"/>
                    <a:ext cx="124" cy="144"/>
                  </a:xfrm>
                  <a:custGeom>
                    <a:avLst/>
                    <a:gdLst>
                      <a:gd name="T0" fmla="*/ 16 w 31"/>
                      <a:gd name="T1" fmla="*/ 6 h 36"/>
                      <a:gd name="T2" fmla="*/ 24 w 31"/>
                      <a:gd name="T3" fmla="*/ 13 h 36"/>
                      <a:gd name="T4" fmla="*/ 27 w 31"/>
                      <a:gd name="T5" fmla="*/ 24 h 36"/>
                      <a:gd name="T6" fmla="*/ 24 w 31"/>
                      <a:gd name="T7" fmla="*/ 36 h 36"/>
                      <a:gd name="T8" fmla="*/ 14 w 31"/>
                      <a:gd name="T9" fmla="*/ 34 h 36"/>
                      <a:gd name="T10" fmla="*/ 8 w 31"/>
                      <a:gd name="T11" fmla="*/ 36 h 36"/>
                      <a:gd name="T12" fmla="*/ 0 w 31"/>
                      <a:gd name="T13" fmla="*/ 28 h 36"/>
                      <a:gd name="T14" fmla="*/ 11 w 31"/>
                      <a:gd name="T15" fmla="*/ 19 h 36"/>
                      <a:gd name="T16" fmla="*/ 12 w 31"/>
                      <a:gd name="T17" fmla="*/ 2 h 36"/>
                      <a:gd name="T18" fmla="*/ 16 w 31"/>
                      <a:gd name="T19" fmla="*/ 6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36"/>
                      <a:gd name="T32" fmla="*/ 31 w 31"/>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36">
                        <a:moveTo>
                          <a:pt x="16" y="6"/>
                        </a:moveTo>
                        <a:cubicBezTo>
                          <a:pt x="20" y="8"/>
                          <a:pt x="23" y="9"/>
                          <a:pt x="24" y="13"/>
                        </a:cubicBezTo>
                        <a:cubicBezTo>
                          <a:pt x="23" y="19"/>
                          <a:pt x="21" y="22"/>
                          <a:pt x="27" y="24"/>
                        </a:cubicBezTo>
                        <a:cubicBezTo>
                          <a:pt x="28" y="29"/>
                          <a:pt x="31" y="34"/>
                          <a:pt x="24" y="36"/>
                        </a:cubicBezTo>
                        <a:cubicBezTo>
                          <a:pt x="21" y="35"/>
                          <a:pt x="17" y="34"/>
                          <a:pt x="14" y="34"/>
                        </a:cubicBezTo>
                        <a:cubicBezTo>
                          <a:pt x="12" y="34"/>
                          <a:pt x="8" y="36"/>
                          <a:pt x="8" y="36"/>
                        </a:cubicBezTo>
                        <a:cubicBezTo>
                          <a:pt x="5" y="31"/>
                          <a:pt x="3" y="33"/>
                          <a:pt x="0" y="28"/>
                        </a:cubicBezTo>
                        <a:cubicBezTo>
                          <a:pt x="3" y="23"/>
                          <a:pt x="6" y="21"/>
                          <a:pt x="11" y="19"/>
                        </a:cubicBezTo>
                        <a:cubicBezTo>
                          <a:pt x="11" y="13"/>
                          <a:pt x="11" y="8"/>
                          <a:pt x="12" y="2"/>
                        </a:cubicBezTo>
                        <a:cubicBezTo>
                          <a:pt x="12" y="0"/>
                          <a:pt x="16" y="4"/>
                          <a:pt x="16" y="6"/>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76" name="Freeform 2459">
                    <a:extLst>
                      <a:ext uri="{FF2B5EF4-FFF2-40B4-BE49-F238E27FC236}">
                        <a16:creationId xmlns:a16="http://schemas.microsoft.com/office/drawing/2014/main" id="{45ABEA18-321C-F960-BC7F-9F838E2583DF}"/>
                      </a:ext>
                    </a:extLst>
                  </p:cNvPr>
                  <p:cNvSpPr>
                    <a:spLocks noChangeAspect="1"/>
                  </p:cNvSpPr>
                  <p:nvPr/>
                </p:nvSpPr>
                <p:spPr bwMode="auto">
                  <a:xfrm>
                    <a:off x="5182" y="9370"/>
                    <a:ext cx="104" cy="88"/>
                  </a:xfrm>
                  <a:custGeom>
                    <a:avLst/>
                    <a:gdLst>
                      <a:gd name="T0" fmla="*/ 5 w 26"/>
                      <a:gd name="T1" fmla="*/ 4 h 22"/>
                      <a:gd name="T2" fmla="*/ 26 w 26"/>
                      <a:gd name="T3" fmla="*/ 15 h 22"/>
                      <a:gd name="T4" fmla="*/ 18 w 26"/>
                      <a:gd name="T5" fmla="*/ 22 h 22"/>
                      <a:gd name="T6" fmla="*/ 13 w 26"/>
                      <a:gd name="T7" fmla="*/ 21 h 22"/>
                      <a:gd name="T8" fmla="*/ 11 w 26"/>
                      <a:gd name="T9" fmla="*/ 18 h 22"/>
                      <a:gd name="T10" fmla="*/ 2 w 26"/>
                      <a:gd name="T11" fmla="*/ 15 h 22"/>
                      <a:gd name="T12" fmla="*/ 5 w 26"/>
                      <a:gd name="T13" fmla="*/ 5 h 22"/>
                      <a:gd name="T14" fmla="*/ 5 w 26"/>
                      <a:gd name="T15" fmla="*/ 4 h 22"/>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22"/>
                      <a:gd name="T26" fmla="*/ 26 w 2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22">
                        <a:moveTo>
                          <a:pt x="5" y="4"/>
                        </a:moveTo>
                        <a:cubicBezTo>
                          <a:pt x="15" y="5"/>
                          <a:pt x="17" y="12"/>
                          <a:pt x="26" y="15"/>
                        </a:cubicBezTo>
                        <a:cubicBezTo>
                          <a:pt x="24" y="20"/>
                          <a:pt x="24" y="21"/>
                          <a:pt x="18" y="22"/>
                        </a:cubicBezTo>
                        <a:cubicBezTo>
                          <a:pt x="16" y="22"/>
                          <a:pt x="14" y="22"/>
                          <a:pt x="13" y="21"/>
                        </a:cubicBezTo>
                        <a:cubicBezTo>
                          <a:pt x="12" y="20"/>
                          <a:pt x="12" y="19"/>
                          <a:pt x="11" y="18"/>
                        </a:cubicBezTo>
                        <a:cubicBezTo>
                          <a:pt x="8" y="16"/>
                          <a:pt x="2" y="15"/>
                          <a:pt x="2" y="15"/>
                        </a:cubicBezTo>
                        <a:cubicBezTo>
                          <a:pt x="0" y="10"/>
                          <a:pt x="1" y="8"/>
                          <a:pt x="5" y="5"/>
                        </a:cubicBezTo>
                        <a:cubicBezTo>
                          <a:pt x="6" y="0"/>
                          <a:pt x="6" y="0"/>
                          <a:pt x="5" y="4"/>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77" name="Freeform 2460">
                    <a:extLst>
                      <a:ext uri="{FF2B5EF4-FFF2-40B4-BE49-F238E27FC236}">
                        <a16:creationId xmlns:a16="http://schemas.microsoft.com/office/drawing/2014/main" id="{9348CA56-CF61-AB1F-5717-ABEC38E74228}"/>
                      </a:ext>
                    </a:extLst>
                  </p:cNvPr>
                  <p:cNvSpPr>
                    <a:spLocks noChangeAspect="1"/>
                  </p:cNvSpPr>
                  <p:nvPr/>
                </p:nvSpPr>
                <p:spPr bwMode="auto">
                  <a:xfrm>
                    <a:off x="5690" y="8950"/>
                    <a:ext cx="316" cy="204"/>
                  </a:xfrm>
                  <a:custGeom>
                    <a:avLst/>
                    <a:gdLst>
                      <a:gd name="T0" fmla="*/ 12 w 79"/>
                      <a:gd name="T1" fmla="*/ 3 h 51"/>
                      <a:gd name="T2" fmla="*/ 28 w 79"/>
                      <a:gd name="T3" fmla="*/ 10 h 51"/>
                      <a:gd name="T4" fmla="*/ 49 w 79"/>
                      <a:gd name="T5" fmla="*/ 21 h 51"/>
                      <a:gd name="T6" fmla="*/ 64 w 79"/>
                      <a:gd name="T7" fmla="*/ 19 h 51"/>
                      <a:gd name="T8" fmla="*/ 76 w 79"/>
                      <a:gd name="T9" fmla="*/ 33 h 51"/>
                      <a:gd name="T10" fmla="*/ 79 w 79"/>
                      <a:gd name="T11" fmla="*/ 44 h 51"/>
                      <a:gd name="T12" fmla="*/ 74 w 79"/>
                      <a:gd name="T13" fmla="*/ 51 h 51"/>
                      <a:gd name="T14" fmla="*/ 68 w 79"/>
                      <a:gd name="T15" fmla="*/ 49 h 51"/>
                      <a:gd name="T16" fmla="*/ 54 w 79"/>
                      <a:gd name="T17" fmla="*/ 44 h 51"/>
                      <a:gd name="T18" fmla="*/ 43 w 79"/>
                      <a:gd name="T19" fmla="*/ 36 h 51"/>
                      <a:gd name="T20" fmla="*/ 31 w 79"/>
                      <a:gd name="T21" fmla="*/ 30 h 51"/>
                      <a:gd name="T22" fmla="*/ 14 w 79"/>
                      <a:gd name="T23" fmla="*/ 24 h 51"/>
                      <a:gd name="T24" fmla="*/ 5 w 79"/>
                      <a:gd name="T25" fmla="*/ 19 h 51"/>
                      <a:gd name="T26" fmla="*/ 0 w 79"/>
                      <a:gd name="T27" fmla="*/ 10 h 51"/>
                      <a:gd name="T28" fmla="*/ 10 w 79"/>
                      <a:gd name="T29" fmla="*/ 0 h 51"/>
                      <a:gd name="T30" fmla="*/ 12 w 79"/>
                      <a:gd name="T31" fmla="*/ 3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9"/>
                      <a:gd name="T49" fmla="*/ 0 h 51"/>
                      <a:gd name="T50" fmla="*/ 79 w 79"/>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9" h="51">
                        <a:moveTo>
                          <a:pt x="12" y="3"/>
                        </a:moveTo>
                        <a:cubicBezTo>
                          <a:pt x="25" y="4"/>
                          <a:pt x="21" y="3"/>
                          <a:pt x="28" y="10"/>
                        </a:cubicBezTo>
                        <a:cubicBezTo>
                          <a:pt x="30" y="20"/>
                          <a:pt x="40" y="20"/>
                          <a:pt x="49" y="21"/>
                        </a:cubicBezTo>
                        <a:cubicBezTo>
                          <a:pt x="54" y="22"/>
                          <a:pt x="64" y="19"/>
                          <a:pt x="64" y="19"/>
                        </a:cubicBezTo>
                        <a:cubicBezTo>
                          <a:pt x="72" y="21"/>
                          <a:pt x="71" y="28"/>
                          <a:pt x="76" y="33"/>
                        </a:cubicBezTo>
                        <a:cubicBezTo>
                          <a:pt x="77" y="37"/>
                          <a:pt x="79" y="44"/>
                          <a:pt x="79" y="44"/>
                        </a:cubicBezTo>
                        <a:cubicBezTo>
                          <a:pt x="78" y="47"/>
                          <a:pt x="79" y="51"/>
                          <a:pt x="74" y="51"/>
                        </a:cubicBezTo>
                        <a:cubicBezTo>
                          <a:pt x="72" y="51"/>
                          <a:pt x="68" y="49"/>
                          <a:pt x="68" y="49"/>
                        </a:cubicBezTo>
                        <a:cubicBezTo>
                          <a:pt x="66" y="43"/>
                          <a:pt x="60" y="45"/>
                          <a:pt x="54" y="44"/>
                        </a:cubicBezTo>
                        <a:cubicBezTo>
                          <a:pt x="49" y="42"/>
                          <a:pt x="49" y="38"/>
                          <a:pt x="43" y="36"/>
                        </a:cubicBezTo>
                        <a:cubicBezTo>
                          <a:pt x="40" y="33"/>
                          <a:pt x="31" y="30"/>
                          <a:pt x="31" y="30"/>
                        </a:cubicBezTo>
                        <a:cubicBezTo>
                          <a:pt x="26" y="25"/>
                          <a:pt x="21" y="25"/>
                          <a:pt x="14" y="24"/>
                        </a:cubicBezTo>
                        <a:cubicBezTo>
                          <a:pt x="11" y="22"/>
                          <a:pt x="8" y="21"/>
                          <a:pt x="5" y="19"/>
                        </a:cubicBezTo>
                        <a:cubicBezTo>
                          <a:pt x="4" y="14"/>
                          <a:pt x="1" y="14"/>
                          <a:pt x="0" y="10"/>
                        </a:cubicBezTo>
                        <a:cubicBezTo>
                          <a:pt x="4" y="4"/>
                          <a:pt x="4" y="2"/>
                          <a:pt x="10" y="0"/>
                        </a:cubicBezTo>
                        <a:cubicBezTo>
                          <a:pt x="17" y="1"/>
                          <a:pt x="18" y="0"/>
                          <a:pt x="12" y="3"/>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78" name="Freeform 2461">
                    <a:extLst>
                      <a:ext uri="{FF2B5EF4-FFF2-40B4-BE49-F238E27FC236}">
                        <a16:creationId xmlns:a16="http://schemas.microsoft.com/office/drawing/2014/main" id="{ABCE8BA0-C62E-9EC4-159A-FF5D90A2483F}"/>
                      </a:ext>
                    </a:extLst>
                  </p:cNvPr>
                  <p:cNvSpPr>
                    <a:spLocks noChangeAspect="1"/>
                  </p:cNvSpPr>
                  <p:nvPr/>
                </p:nvSpPr>
                <p:spPr bwMode="auto">
                  <a:xfrm>
                    <a:off x="5998" y="9150"/>
                    <a:ext cx="136" cy="88"/>
                  </a:xfrm>
                  <a:custGeom>
                    <a:avLst/>
                    <a:gdLst>
                      <a:gd name="T0" fmla="*/ 6 w 34"/>
                      <a:gd name="T1" fmla="*/ 0 h 22"/>
                      <a:gd name="T2" fmla="*/ 27 w 34"/>
                      <a:gd name="T3" fmla="*/ 0 h 22"/>
                      <a:gd name="T4" fmla="*/ 26 w 34"/>
                      <a:gd name="T5" fmla="*/ 14 h 22"/>
                      <a:gd name="T6" fmla="*/ 9 w 34"/>
                      <a:gd name="T7" fmla="*/ 19 h 22"/>
                      <a:gd name="T8" fmla="*/ 2 w 34"/>
                      <a:gd name="T9" fmla="*/ 7 h 22"/>
                      <a:gd name="T10" fmla="*/ 6 w 34"/>
                      <a:gd name="T11" fmla="*/ 0 h 22"/>
                      <a:gd name="T12" fmla="*/ 0 60000 65536"/>
                      <a:gd name="T13" fmla="*/ 0 60000 65536"/>
                      <a:gd name="T14" fmla="*/ 0 60000 65536"/>
                      <a:gd name="T15" fmla="*/ 0 60000 65536"/>
                      <a:gd name="T16" fmla="*/ 0 60000 65536"/>
                      <a:gd name="T17" fmla="*/ 0 60000 65536"/>
                      <a:gd name="T18" fmla="*/ 0 w 34"/>
                      <a:gd name="T19" fmla="*/ 0 h 22"/>
                      <a:gd name="T20" fmla="*/ 34 w 34"/>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34" h="22">
                        <a:moveTo>
                          <a:pt x="6" y="0"/>
                        </a:moveTo>
                        <a:cubicBezTo>
                          <a:pt x="14" y="2"/>
                          <a:pt x="19" y="2"/>
                          <a:pt x="27" y="0"/>
                        </a:cubicBezTo>
                        <a:cubicBezTo>
                          <a:pt x="34" y="2"/>
                          <a:pt x="30" y="10"/>
                          <a:pt x="26" y="14"/>
                        </a:cubicBezTo>
                        <a:cubicBezTo>
                          <a:pt x="23" y="22"/>
                          <a:pt x="16" y="20"/>
                          <a:pt x="9" y="19"/>
                        </a:cubicBezTo>
                        <a:cubicBezTo>
                          <a:pt x="6" y="15"/>
                          <a:pt x="6" y="11"/>
                          <a:pt x="2" y="7"/>
                        </a:cubicBezTo>
                        <a:cubicBezTo>
                          <a:pt x="0" y="2"/>
                          <a:pt x="0" y="5"/>
                          <a:pt x="6"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79" name="Freeform 2462">
                    <a:extLst>
                      <a:ext uri="{FF2B5EF4-FFF2-40B4-BE49-F238E27FC236}">
                        <a16:creationId xmlns:a16="http://schemas.microsoft.com/office/drawing/2014/main" id="{AF92747C-1C2D-99F3-3736-7681FF977701}"/>
                      </a:ext>
                    </a:extLst>
                  </p:cNvPr>
                  <p:cNvSpPr>
                    <a:spLocks noChangeAspect="1"/>
                  </p:cNvSpPr>
                  <p:nvPr/>
                </p:nvSpPr>
                <p:spPr bwMode="auto">
                  <a:xfrm>
                    <a:off x="6106" y="9202"/>
                    <a:ext cx="100" cy="72"/>
                  </a:xfrm>
                  <a:custGeom>
                    <a:avLst/>
                    <a:gdLst>
                      <a:gd name="T0" fmla="*/ 9 w 25"/>
                      <a:gd name="T1" fmla="*/ 0 h 18"/>
                      <a:gd name="T2" fmla="*/ 20 w 25"/>
                      <a:gd name="T3" fmla="*/ 1 h 18"/>
                      <a:gd name="T4" fmla="*/ 24 w 25"/>
                      <a:gd name="T5" fmla="*/ 10 h 18"/>
                      <a:gd name="T6" fmla="*/ 23 w 25"/>
                      <a:gd name="T7" fmla="*/ 17 h 18"/>
                      <a:gd name="T8" fmla="*/ 20 w 25"/>
                      <a:gd name="T9" fmla="*/ 13 h 18"/>
                      <a:gd name="T10" fmla="*/ 11 w 25"/>
                      <a:gd name="T11" fmla="*/ 9 h 18"/>
                      <a:gd name="T12" fmla="*/ 9 w 25"/>
                      <a:gd name="T13" fmla="*/ 0 h 18"/>
                      <a:gd name="T14" fmla="*/ 0 60000 65536"/>
                      <a:gd name="T15" fmla="*/ 0 60000 65536"/>
                      <a:gd name="T16" fmla="*/ 0 60000 65536"/>
                      <a:gd name="T17" fmla="*/ 0 60000 65536"/>
                      <a:gd name="T18" fmla="*/ 0 60000 65536"/>
                      <a:gd name="T19" fmla="*/ 0 60000 65536"/>
                      <a:gd name="T20" fmla="*/ 0 60000 65536"/>
                      <a:gd name="T21" fmla="*/ 0 w 25"/>
                      <a:gd name="T22" fmla="*/ 0 h 18"/>
                      <a:gd name="T23" fmla="*/ 25 w 25"/>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8">
                        <a:moveTo>
                          <a:pt x="9" y="0"/>
                        </a:moveTo>
                        <a:cubicBezTo>
                          <a:pt x="13" y="0"/>
                          <a:pt x="16" y="0"/>
                          <a:pt x="20" y="1"/>
                        </a:cubicBezTo>
                        <a:cubicBezTo>
                          <a:pt x="23" y="2"/>
                          <a:pt x="24" y="10"/>
                          <a:pt x="24" y="10"/>
                        </a:cubicBezTo>
                        <a:cubicBezTo>
                          <a:pt x="24" y="12"/>
                          <a:pt x="25" y="16"/>
                          <a:pt x="23" y="17"/>
                        </a:cubicBezTo>
                        <a:cubicBezTo>
                          <a:pt x="22" y="18"/>
                          <a:pt x="21" y="14"/>
                          <a:pt x="20" y="13"/>
                        </a:cubicBezTo>
                        <a:cubicBezTo>
                          <a:pt x="18" y="11"/>
                          <a:pt x="11" y="9"/>
                          <a:pt x="11" y="9"/>
                        </a:cubicBezTo>
                        <a:cubicBezTo>
                          <a:pt x="8" y="5"/>
                          <a:pt x="0" y="2"/>
                          <a:pt x="9"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80" name="Freeform 2463">
                    <a:extLst>
                      <a:ext uri="{FF2B5EF4-FFF2-40B4-BE49-F238E27FC236}">
                        <a16:creationId xmlns:a16="http://schemas.microsoft.com/office/drawing/2014/main" id="{F47BEA66-1795-1EC8-D849-4728B6932780}"/>
                      </a:ext>
                    </a:extLst>
                  </p:cNvPr>
                  <p:cNvSpPr>
                    <a:spLocks noChangeAspect="1"/>
                  </p:cNvSpPr>
                  <p:nvPr/>
                </p:nvSpPr>
                <p:spPr bwMode="auto">
                  <a:xfrm>
                    <a:off x="6574" y="9126"/>
                    <a:ext cx="128" cy="76"/>
                  </a:xfrm>
                  <a:custGeom>
                    <a:avLst/>
                    <a:gdLst>
                      <a:gd name="T0" fmla="*/ 29 w 32"/>
                      <a:gd name="T1" fmla="*/ 2 h 19"/>
                      <a:gd name="T2" fmla="*/ 17 w 32"/>
                      <a:gd name="T3" fmla="*/ 6 h 19"/>
                      <a:gd name="T4" fmla="*/ 3 w 32"/>
                      <a:gd name="T5" fmla="*/ 8 h 19"/>
                      <a:gd name="T6" fmla="*/ 14 w 32"/>
                      <a:gd name="T7" fmla="*/ 19 h 19"/>
                      <a:gd name="T8" fmla="*/ 23 w 32"/>
                      <a:gd name="T9" fmla="*/ 10 h 19"/>
                      <a:gd name="T10" fmla="*/ 31 w 32"/>
                      <a:gd name="T11" fmla="*/ 8 h 19"/>
                      <a:gd name="T12" fmla="*/ 29 w 32"/>
                      <a:gd name="T13" fmla="*/ 2 h 19"/>
                      <a:gd name="T14" fmla="*/ 0 60000 65536"/>
                      <a:gd name="T15" fmla="*/ 0 60000 65536"/>
                      <a:gd name="T16" fmla="*/ 0 60000 65536"/>
                      <a:gd name="T17" fmla="*/ 0 60000 65536"/>
                      <a:gd name="T18" fmla="*/ 0 60000 65536"/>
                      <a:gd name="T19" fmla="*/ 0 60000 65536"/>
                      <a:gd name="T20" fmla="*/ 0 60000 65536"/>
                      <a:gd name="T21" fmla="*/ 0 w 32"/>
                      <a:gd name="T22" fmla="*/ 0 h 19"/>
                      <a:gd name="T23" fmla="*/ 32 w 3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9">
                        <a:moveTo>
                          <a:pt x="29" y="2"/>
                        </a:moveTo>
                        <a:cubicBezTo>
                          <a:pt x="20" y="0"/>
                          <a:pt x="23" y="4"/>
                          <a:pt x="17" y="6"/>
                        </a:cubicBezTo>
                        <a:cubicBezTo>
                          <a:pt x="12" y="5"/>
                          <a:pt x="8" y="6"/>
                          <a:pt x="3" y="8"/>
                        </a:cubicBezTo>
                        <a:cubicBezTo>
                          <a:pt x="0" y="19"/>
                          <a:pt x="3" y="18"/>
                          <a:pt x="14" y="19"/>
                        </a:cubicBezTo>
                        <a:cubicBezTo>
                          <a:pt x="26" y="17"/>
                          <a:pt x="15" y="15"/>
                          <a:pt x="23" y="10"/>
                        </a:cubicBezTo>
                        <a:cubicBezTo>
                          <a:pt x="25" y="9"/>
                          <a:pt x="29" y="10"/>
                          <a:pt x="31" y="8"/>
                        </a:cubicBezTo>
                        <a:cubicBezTo>
                          <a:pt x="32" y="6"/>
                          <a:pt x="30" y="4"/>
                          <a:pt x="29" y="2"/>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81" name="Freeform 2464">
                    <a:extLst>
                      <a:ext uri="{FF2B5EF4-FFF2-40B4-BE49-F238E27FC236}">
                        <a16:creationId xmlns:a16="http://schemas.microsoft.com/office/drawing/2014/main" id="{49DA0EA7-E25E-F428-F891-B977992F0D38}"/>
                      </a:ext>
                    </a:extLst>
                  </p:cNvPr>
                  <p:cNvSpPr>
                    <a:spLocks noChangeAspect="1"/>
                  </p:cNvSpPr>
                  <p:nvPr/>
                </p:nvSpPr>
                <p:spPr bwMode="auto">
                  <a:xfrm>
                    <a:off x="5266" y="9210"/>
                    <a:ext cx="636" cy="580"/>
                  </a:xfrm>
                  <a:custGeom>
                    <a:avLst/>
                    <a:gdLst>
                      <a:gd name="T0" fmla="*/ 47 w 159"/>
                      <a:gd name="T1" fmla="*/ 3 h 145"/>
                      <a:gd name="T2" fmla="*/ 39 w 159"/>
                      <a:gd name="T3" fmla="*/ 13 h 145"/>
                      <a:gd name="T4" fmla="*/ 21 w 159"/>
                      <a:gd name="T5" fmla="*/ 20 h 145"/>
                      <a:gd name="T6" fmla="*/ 11 w 159"/>
                      <a:gd name="T7" fmla="*/ 34 h 145"/>
                      <a:gd name="T8" fmla="*/ 0 w 159"/>
                      <a:gd name="T9" fmla="*/ 40 h 145"/>
                      <a:gd name="T10" fmla="*/ 17 w 159"/>
                      <a:gd name="T11" fmla="*/ 46 h 145"/>
                      <a:gd name="T12" fmla="*/ 24 w 159"/>
                      <a:gd name="T13" fmla="*/ 55 h 145"/>
                      <a:gd name="T14" fmla="*/ 36 w 159"/>
                      <a:gd name="T15" fmla="*/ 61 h 145"/>
                      <a:gd name="T16" fmla="*/ 44 w 159"/>
                      <a:gd name="T17" fmla="*/ 70 h 145"/>
                      <a:gd name="T18" fmla="*/ 47 w 159"/>
                      <a:gd name="T19" fmla="*/ 81 h 145"/>
                      <a:gd name="T20" fmla="*/ 53 w 159"/>
                      <a:gd name="T21" fmla="*/ 101 h 145"/>
                      <a:gd name="T22" fmla="*/ 64 w 159"/>
                      <a:gd name="T23" fmla="*/ 121 h 145"/>
                      <a:gd name="T24" fmla="*/ 68 w 159"/>
                      <a:gd name="T25" fmla="*/ 109 h 145"/>
                      <a:gd name="T26" fmla="*/ 74 w 159"/>
                      <a:gd name="T27" fmla="*/ 98 h 145"/>
                      <a:gd name="T28" fmla="*/ 82 w 159"/>
                      <a:gd name="T29" fmla="*/ 106 h 145"/>
                      <a:gd name="T30" fmla="*/ 98 w 159"/>
                      <a:gd name="T31" fmla="*/ 116 h 145"/>
                      <a:gd name="T32" fmla="*/ 108 w 159"/>
                      <a:gd name="T33" fmla="*/ 145 h 145"/>
                      <a:gd name="T34" fmla="*/ 117 w 159"/>
                      <a:gd name="T35" fmla="*/ 106 h 145"/>
                      <a:gd name="T36" fmla="*/ 131 w 159"/>
                      <a:gd name="T37" fmla="*/ 121 h 145"/>
                      <a:gd name="T38" fmla="*/ 147 w 159"/>
                      <a:gd name="T39" fmla="*/ 129 h 145"/>
                      <a:gd name="T40" fmla="*/ 150 w 159"/>
                      <a:gd name="T41" fmla="*/ 123 h 145"/>
                      <a:gd name="T42" fmla="*/ 137 w 159"/>
                      <a:gd name="T43" fmla="*/ 113 h 145"/>
                      <a:gd name="T44" fmla="*/ 140 w 159"/>
                      <a:gd name="T45" fmla="*/ 106 h 145"/>
                      <a:gd name="T46" fmla="*/ 138 w 159"/>
                      <a:gd name="T47" fmla="*/ 99 h 145"/>
                      <a:gd name="T48" fmla="*/ 129 w 159"/>
                      <a:gd name="T49" fmla="*/ 89 h 145"/>
                      <a:gd name="T50" fmla="*/ 120 w 159"/>
                      <a:gd name="T51" fmla="*/ 77 h 145"/>
                      <a:gd name="T52" fmla="*/ 111 w 159"/>
                      <a:gd name="T53" fmla="*/ 61 h 145"/>
                      <a:gd name="T54" fmla="*/ 108 w 159"/>
                      <a:gd name="T55" fmla="*/ 52 h 145"/>
                      <a:gd name="T56" fmla="*/ 111 w 159"/>
                      <a:gd name="T57" fmla="*/ 47 h 145"/>
                      <a:gd name="T58" fmla="*/ 130 w 159"/>
                      <a:gd name="T59" fmla="*/ 55 h 145"/>
                      <a:gd name="T60" fmla="*/ 137 w 159"/>
                      <a:gd name="T61" fmla="*/ 70 h 145"/>
                      <a:gd name="T62" fmla="*/ 153 w 159"/>
                      <a:gd name="T63" fmla="*/ 53 h 145"/>
                      <a:gd name="T64" fmla="*/ 136 w 159"/>
                      <a:gd name="T65" fmla="*/ 43 h 145"/>
                      <a:gd name="T66" fmla="*/ 118 w 159"/>
                      <a:gd name="T67" fmla="*/ 22 h 145"/>
                      <a:gd name="T68" fmla="*/ 111 w 159"/>
                      <a:gd name="T69" fmla="*/ 17 h 145"/>
                      <a:gd name="T70" fmla="*/ 105 w 159"/>
                      <a:gd name="T71" fmla="*/ 21 h 145"/>
                      <a:gd name="T72" fmla="*/ 99 w 159"/>
                      <a:gd name="T73" fmla="*/ 13 h 145"/>
                      <a:gd name="T74" fmla="*/ 90 w 159"/>
                      <a:gd name="T75" fmla="*/ 9 h 145"/>
                      <a:gd name="T76" fmla="*/ 81 w 159"/>
                      <a:gd name="T77" fmla="*/ 13 h 145"/>
                      <a:gd name="T78" fmla="*/ 59 w 159"/>
                      <a:gd name="T79" fmla="*/ 7 h 145"/>
                      <a:gd name="T80" fmla="*/ 47 w 159"/>
                      <a:gd name="T81" fmla="*/ 4 h 145"/>
                      <a:gd name="T82" fmla="*/ 39 w 159"/>
                      <a:gd name="T83" fmla="*/ 9 h 14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9"/>
                      <a:gd name="T127" fmla="*/ 0 h 145"/>
                      <a:gd name="T128" fmla="*/ 159 w 159"/>
                      <a:gd name="T129" fmla="*/ 145 h 14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9" h="145">
                        <a:moveTo>
                          <a:pt x="47" y="3"/>
                        </a:moveTo>
                        <a:cubicBezTo>
                          <a:pt x="41" y="5"/>
                          <a:pt x="42" y="10"/>
                          <a:pt x="39" y="13"/>
                        </a:cubicBezTo>
                        <a:cubicBezTo>
                          <a:pt x="34" y="18"/>
                          <a:pt x="28" y="18"/>
                          <a:pt x="21" y="20"/>
                        </a:cubicBezTo>
                        <a:cubicBezTo>
                          <a:pt x="20" y="27"/>
                          <a:pt x="18" y="32"/>
                          <a:pt x="11" y="34"/>
                        </a:cubicBezTo>
                        <a:cubicBezTo>
                          <a:pt x="7" y="38"/>
                          <a:pt x="5" y="38"/>
                          <a:pt x="0" y="40"/>
                        </a:cubicBezTo>
                        <a:cubicBezTo>
                          <a:pt x="5" y="47"/>
                          <a:pt x="7" y="45"/>
                          <a:pt x="17" y="46"/>
                        </a:cubicBezTo>
                        <a:cubicBezTo>
                          <a:pt x="18" y="50"/>
                          <a:pt x="24" y="55"/>
                          <a:pt x="24" y="55"/>
                        </a:cubicBezTo>
                        <a:cubicBezTo>
                          <a:pt x="27" y="60"/>
                          <a:pt x="30" y="59"/>
                          <a:pt x="36" y="61"/>
                        </a:cubicBezTo>
                        <a:cubicBezTo>
                          <a:pt x="40" y="63"/>
                          <a:pt x="42" y="66"/>
                          <a:pt x="44" y="70"/>
                        </a:cubicBezTo>
                        <a:cubicBezTo>
                          <a:pt x="45" y="74"/>
                          <a:pt x="46" y="77"/>
                          <a:pt x="47" y="81"/>
                        </a:cubicBezTo>
                        <a:cubicBezTo>
                          <a:pt x="46" y="93"/>
                          <a:pt x="42" y="97"/>
                          <a:pt x="53" y="101"/>
                        </a:cubicBezTo>
                        <a:cubicBezTo>
                          <a:pt x="54" y="110"/>
                          <a:pt x="55" y="118"/>
                          <a:pt x="64" y="121"/>
                        </a:cubicBezTo>
                        <a:cubicBezTo>
                          <a:pt x="72" y="118"/>
                          <a:pt x="73" y="116"/>
                          <a:pt x="68" y="109"/>
                        </a:cubicBezTo>
                        <a:cubicBezTo>
                          <a:pt x="69" y="102"/>
                          <a:pt x="68" y="101"/>
                          <a:pt x="74" y="98"/>
                        </a:cubicBezTo>
                        <a:cubicBezTo>
                          <a:pt x="79" y="90"/>
                          <a:pt x="81" y="102"/>
                          <a:pt x="82" y="106"/>
                        </a:cubicBezTo>
                        <a:cubicBezTo>
                          <a:pt x="94" y="103"/>
                          <a:pt x="96" y="104"/>
                          <a:pt x="98" y="116"/>
                        </a:cubicBezTo>
                        <a:cubicBezTo>
                          <a:pt x="95" y="125"/>
                          <a:pt x="100" y="139"/>
                          <a:pt x="108" y="145"/>
                        </a:cubicBezTo>
                        <a:cubicBezTo>
                          <a:pt x="108" y="136"/>
                          <a:pt x="102" y="109"/>
                          <a:pt x="117" y="106"/>
                        </a:cubicBezTo>
                        <a:cubicBezTo>
                          <a:pt x="125" y="100"/>
                          <a:pt x="127" y="117"/>
                          <a:pt x="131" y="121"/>
                        </a:cubicBezTo>
                        <a:cubicBezTo>
                          <a:pt x="136" y="126"/>
                          <a:pt x="141" y="127"/>
                          <a:pt x="147" y="129"/>
                        </a:cubicBezTo>
                        <a:cubicBezTo>
                          <a:pt x="153" y="128"/>
                          <a:pt x="158" y="126"/>
                          <a:pt x="150" y="123"/>
                        </a:cubicBezTo>
                        <a:cubicBezTo>
                          <a:pt x="146" y="118"/>
                          <a:pt x="142" y="116"/>
                          <a:pt x="137" y="113"/>
                        </a:cubicBezTo>
                        <a:cubicBezTo>
                          <a:pt x="134" y="108"/>
                          <a:pt x="135" y="107"/>
                          <a:pt x="140" y="106"/>
                        </a:cubicBezTo>
                        <a:cubicBezTo>
                          <a:pt x="143" y="102"/>
                          <a:pt x="143" y="101"/>
                          <a:pt x="138" y="99"/>
                        </a:cubicBezTo>
                        <a:cubicBezTo>
                          <a:pt x="136" y="94"/>
                          <a:pt x="132" y="93"/>
                          <a:pt x="129" y="89"/>
                        </a:cubicBezTo>
                        <a:cubicBezTo>
                          <a:pt x="127" y="83"/>
                          <a:pt x="125" y="80"/>
                          <a:pt x="120" y="77"/>
                        </a:cubicBezTo>
                        <a:cubicBezTo>
                          <a:pt x="118" y="70"/>
                          <a:pt x="114" y="67"/>
                          <a:pt x="111" y="61"/>
                        </a:cubicBezTo>
                        <a:cubicBezTo>
                          <a:pt x="110" y="58"/>
                          <a:pt x="108" y="52"/>
                          <a:pt x="108" y="52"/>
                        </a:cubicBezTo>
                        <a:cubicBezTo>
                          <a:pt x="109" y="50"/>
                          <a:pt x="109" y="48"/>
                          <a:pt x="111" y="47"/>
                        </a:cubicBezTo>
                        <a:cubicBezTo>
                          <a:pt x="112" y="47"/>
                          <a:pt x="125" y="53"/>
                          <a:pt x="130" y="55"/>
                        </a:cubicBezTo>
                        <a:cubicBezTo>
                          <a:pt x="132" y="60"/>
                          <a:pt x="132" y="67"/>
                          <a:pt x="137" y="70"/>
                        </a:cubicBezTo>
                        <a:cubicBezTo>
                          <a:pt x="139" y="54"/>
                          <a:pt x="143" y="60"/>
                          <a:pt x="153" y="53"/>
                        </a:cubicBezTo>
                        <a:cubicBezTo>
                          <a:pt x="159" y="44"/>
                          <a:pt x="140" y="43"/>
                          <a:pt x="136" y="43"/>
                        </a:cubicBezTo>
                        <a:cubicBezTo>
                          <a:pt x="123" y="36"/>
                          <a:pt x="134" y="24"/>
                          <a:pt x="118" y="22"/>
                        </a:cubicBezTo>
                        <a:cubicBezTo>
                          <a:pt x="116" y="20"/>
                          <a:pt x="114" y="16"/>
                          <a:pt x="111" y="17"/>
                        </a:cubicBezTo>
                        <a:cubicBezTo>
                          <a:pt x="109" y="18"/>
                          <a:pt x="105" y="21"/>
                          <a:pt x="105" y="21"/>
                        </a:cubicBezTo>
                        <a:cubicBezTo>
                          <a:pt x="101" y="18"/>
                          <a:pt x="102" y="16"/>
                          <a:pt x="99" y="13"/>
                        </a:cubicBezTo>
                        <a:cubicBezTo>
                          <a:pt x="97" y="11"/>
                          <a:pt x="90" y="9"/>
                          <a:pt x="90" y="9"/>
                        </a:cubicBezTo>
                        <a:cubicBezTo>
                          <a:pt x="83" y="11"/>
                          <a:pt x="86" y="10"/>
                          <a:pt x="81" y="13"/>
                        </a:cubicBezTo>
                        <a:cubicBezTo>
                          <a:pt x="75" y="11"/>
                          <a:pt x="65" y="11"/>
                          <a:pt x="59" y="7"/>
                        </a:cubicBezTo>
                        <a:cubicBezTo>
                          <a:pt x="57" y="0"/>
                          <a:pt x="52" y="2"/>
                          <a:pt x="47" y="4"/>
                        </a:cubicBezTo>
                        <a:cubicBezTo>
                          <a:pt x="45" y="7"/>
                          <a:pt x="39" y="9"/>
                          <a:pt x="39" y="9"/>
                        </a:cubicBezTo>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82" name="Freeform 2465">
                    <a:extLst>
                      <a:ext uri="{FF2B5EF4-FFF2-40B4-BE49-F238E27FC236}">
                        <a16:creationId xmlns:a16="http://schemas.microsoft.com/office/drawing/2014/main" id="{440995A2-C3D3-9934-88F5-17C6B41248D3}"/>
                      </a:ext>
                    </a:extLst>
                  </p:cNvPr>
                  <p:cNvSpPr>
                    <a:spLocks noChangeAspect="1"/>
                  </p:cNvSpPr>
                  <p:nvPr/>
                </p:nvSpPr>
                <p:spPr bwMode="auto">
                  <a:xfrm>
                    <a:off x="5910" y="8378"/>
                    <a:ext cx="76" cy="68"/>
                  </a:xfrm>
                  <a:custGeom>
                    <a:avLst/>
                    <a:gdLst>
                      <a:gd name="T0" fmla="*/ 16 w 19"/>
                      <a:gd name="T1" fmla="*/ 0 h 17"/>
                      <a:gd name="T2" fmla="*/ 6 w 19"/>
                      <a:gd name="T3" fmla="*/ 3 h 17"/>
                      <a:gd name="T4" fmla="*/ 1 w 19"/>
                      <a:gd name="T5" fmla="*/ 9 h 17"/>
                      <a:gd name="T6" fmla="*/ 12 w 19"/>
                      <a:gd name="T7" fmla="*/ 17 h 17"/>
                      <a:gd name="T8" fmla="*/ 17 w 19"/>
                      <a:gd name="T9" fmla="*/ 15 h 17"/>
                      <a:gd name="T10" fmla="*/ 19 w 19"/>
                      <a:gd name="T11" fmla="*/ 9 h 17"/>
                      <a:gd name="T12" fmla="*/ 16 w 19"/>
                      <a:gd name="T13" fmla="*/ 0 h 17"/>
                      <a:gd name="T14" fmla="*/ 0 60000 65536"/>
                      <a:gd name="T15" fmla="*/ 0 60000 65536"/>
                      <a:gd name="T16" fmla="*/ 0 60000 65536"/>
                      <a:gd name="T17" fmla="*/ 0 60000 65536"/>
                      <a:gd name="T18" fmla="*/ 0 60000 65536"/>
                      <a:gd name="T19" fmla="*/ 0 60000 65536"/>
                      <a:gd name="T20" fmla="*/ 0 60000 65536"/>
                      <a:gd name="T21" fmla="*/ 0 w 19"/>
                      <a:gd name="T22" fmla="*/ 0 h 17"/>
                      <a:gd name="T23" fmla="*/ 19 w 19"/>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7">
                        <a:moveTo>
                          <a:pt x="16" y="0"/>
                        </a:moveTo>
                        <a:cubicBezTo>
                          <a:pt x="13" y="1"/>
                          <a:pt x="9" y="2"/>
                          <a:pt x="6" y="3"/>
                        </a:cubicBezTo>
                        <a:cubicBezTo>
                          <a:pt x="5" y="5"/>
                          <a:pt x="2" y="6"/>
                          <a:pt x="1" y="9"/>
                        </a:cubicBezTo>
                        <a:cubicBezTo>
                          <a:pt x="0" y="13"/>
                          <a:pt x="9" y="15"/>
                          <a:pt x="12" y="17"/>
                        </a:cubicBezTo>
                        <a:cubicBezTo>
                          <a:pt x="14" y="16"/>
                          <a:pt x="16" y="16"/>
                          <a:pt x="17" y="15"/>
                        </a:cubicBezTo>
                        <a:cubicBezTo>
                          <a:pt x="18" y="13"/>
                          <a:pt x="19" y="9"/>
                          <a:pt x="19" y="9"/>
                        </a:cubicBezTo>
                        <a:cubicBezTo>
                          <a:pt x="19" y="7"/>
                          <a:pt x="16" y="0"/>
                          <a:pt x="16"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83" name="Freeform 2466">
                    <a:extLst>
                      <a:ext uri="{FF2B5EF4-FFF2-40B4-BE49-F238E27FC236}">
                        <a16:creationId xmlns:a16="http://schemas.microsoft.com/office/drawing/2014/main" id="{68B896C0-16CA-8A25-B2A1-1ED36EB3EFC9}"/>
                      </a:ext>
                    </a:extLst>
                  </p:cNvPr>
                  <p:cNvSpPr>
                    <a:spLocks noChangeAspect="1"/>
                  </p:cNvSpPr>
                  <p:nvPr/>
                </p:nvSpPr>
                <p:spPr bwMode="auto">
                  <a:xfrm>
                    <a:off x="6134" y="8402"/>
                    <a:ext cx="68" cy="52"/>
                  </a:xfrm>
                  <a:custGeom>
                    <a:avLst/>
                    <a:gdLst>
                      <a:gd name="T0" fmla="*/ 15 w 17"/>
                      <a:gd name="T1" fmla="*/ 3 h 13"/>
                      <a:gd name="T2" fmla="*/ 11 w 17"/>
                      <a:gd name="T3" fmla="*/ 13 h 13"/>
                      <a:gd name="T4" fmla="*/ 15 w 17"/>
                      <a:gd name="T5" fmla="*/ 3 h 13"/>
                      <a:gd name="T6" fmla="*/ 0 60000 65536"/>
                      <a:gd name="T7" fmla="*/ 0 60000 65536"/>
                      <a:gd name="T8" fmla="*/ 0 60000 65536"/>
                      <a:gd name="T9" fmla="*/ 0 w 17"/>
                      <a:gd name="T10" fmla="*/ 0 h 13"/>
                      <a:gd name="T11" fmla="*/ 17 w 17"/>
                      <a:gd name="T12" fmla="*/ 13 h 13"/>
                    </a:gdLst>
                    <a:ahLst/>
                    <a:cxnLst>
                      <a:cxn ang="T6">
                        <a:pos x="T0" y="T1"/>
                      </a:cxn>
                      <a:cxn ang="T7">
                        <a:pos x="T2" y="T3"/>
                      </a:cxn>
                      <a:cxn ang="T8">
                        <a:pos x="T4" y="T5"/>
                      </a:cxn>
                    </a:cxnLst>
                    <a:rect l="T9" t="T10" r="T11" b="T12"/>
                    <a:pathLst>
                      <a:path w="17" h="13">
                        <a:moveTo>
                          <a:pt x="15" y="3"/>
                        </a:moveTo>
                        <a:cubicBezTo>
                          <a:pt x="3" y="0"/>
                          <a:pt x="0" y="9"/>
                          <a:pt x="11" y="13"/>
                        </a:cubicBezTo>
                        <a:cubicBezTo>
                          <a:pt x="17" y="11"/>
                          <a:pt x="15" y="8"/>
                          <a:pt x="15" y="3"/>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84" name="Freeform 2467">
                    <a:extLst>
                      <a:ext uri="{FF2B5EF4-FFF2-40B4-BE49-F238E27FC236}">
                        <a16:creationId xmlns:a16="http://schemas.microsoft.com/office/drawing/2014/main" id="{081099FE-4CCF-8333-7760-08A2B33ED098}"/>
                      </a:ext>
                    </a:extLst>
                  </p:cNvPr>
                  <p:cNvSpPr>
                    <a:spLocks noChangeAspect="1"/>
                  </p:cNvSpPr>
                  <p:nvPr/>
                </p:nvSpPr>
                <p:spPr bwMode="auto">
                  <a:xfrm>
                    <a:off x="6050" y="8570"/>
                    <a:ext cx="120" cy="96"/>
                  </a:xfrm>
                  <a:custGeom>
                    <a:avLst/>
                    <a:gdLst>
                      <a:gd name="T0" fmla="*/ 29 w 30"/>
                      <a:gd name="T1" fmla="*/ 0 h 24"/>
                      <a:gd name="T2" fmla="*/ 25 w 30"/>
                      <a:gd name="T3" fmla="*/ 9 h 24"/>
                      <a:gd name="T4" fmla="*/ 16 w 30"/>
                      <a:gd name="T5" fmla="*/ 6 h 24"/>
                      <a:gd name="T6" fmla="*/ 10 w 30"/>
                      <a:gd name="T7" fmla="*/ 13 h 24"/>
                      <a:gd name="T8" fmla="*/ 28 w 30"/>
                      <a:gd name="T9" fmla="*/ 19 h 24"/>
                      <a:gd name="T10" fmla="*/ 29 w 30"/>
                      <a:gd name="T11" fmla="*/ 0 h 24"/>
                      <a:gd name="T12" fmla="*/ 0 60000 65536"/>
                      <a:gd name="T13" fmla="*/ 0 60000 65536"/>
                      <a:gd name="T14" fmla="*/ 0 60000 65536"/>
                      <a:gd name="T15" fmla="*/ 0 60000 65536"/>
                      <a:gd name="T16" fmla="*/ 0 60000 65536"/>
                      <a:gd name="T17" fmla="*/ 0 60000 65536"/>
                      <a:gd name="T18" fmla="*/ 0 w 30"/>
                      <a:gd name="T19" fmla="*/ 0 h 24"/>
                      <a:gd name="T20" fmla="*/ 30 w 3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0" h="24">
                        <a:moveTo>
                          <a:pt x="29" y="0"/>
                        </a:moveTo>
                        <a:cubicBezTo>
                          <a:pt x="28" y="3"/>
                          <a:pt x="26" y="6"/>
                          <a:pt x="25" y="9"/>
                        </a:cubicBezTo>
                        <a:cubicBezTo>
                          <a:pt x="22" y="8"/>
                          <a:pt x="16" y="6"/>
                          <a:pt x="16" y="6"/>
                        </a:cubicBezTo>
                        <a:cubicBezTo>
                          <a:pt x="10" y="7"/>
                          <a:pt x="0" y="8"/>
                          <a:pt x="10" y="13"/>
                        </a:cubicBezTo>
                        <a:cubicBezTo>
                          <a:pt x="12" y="24"/>
                          <a:pt x="16" y="20"/>
                          <a:pt x="28" y="19"/>
                        </a:cubicBezTo>
                        <a:cubicBezTo>
                          <a:pt x="30" y="12"/>
                          <a:pt x="30" y="7"/>
                          <a:pt x="29"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85" name="Freeform 2468">
                    <a:extLst>
                      <a:ext uri="{FF2B5EF4-FFF2-40B4-BE49-F238E27FC236}">
                        <a16:creationId xmlns:a16="http://schemas.microsoft.com/office/drawing/2014/main" id="{F9F1AC48-3A44-B240-0A57-1B83964179F5}"/>
                      </a:ext>
                    </a:extLst>
                  </p:cNvPr>
                  <p:cNvSpPr>
                    <a:spLocks noChangeAspect="1"/>
                  </p:cNvSpPr>
                  <p:nvPr/>
                </p:nvSpPr>
                <p:spPr bwMode="auto">
                  <a:xfrm>
                    <a:off x="6330" y="9390"/>
                    <a:ext cx="64" cy="88"/>
                  </a:xfrm>
                  <a:custGeom>
                    <a:avLst/>
                    <a:gdLst>
                      <a:gd name="T0" fmla="*/ 6 w 16"/>
                      <a:gd name="T1" fmla="*/ 0 h 22"/>
                      <a:gd name="T2" fmla="*/ 16 w 16"/>
                      <a:gd name="T3" fmla="*/ 11 h 22"/>
                      <a:gd name="T4" fmla="*/ 7 w 16"/>
                      <a:gd name="T5" fmla="*/ 22 h 22"/>
                      <a:gd name="T6" fmla="*/ 7 w 16"/>
                      <a:gd name="T7" fmla="*/ 5 h 22"/>
                      <a:gd name="T8" fmla="*/ 6 w 16"/>
                      <a:gd name="T9" fmla="*/ 0 h 22"/>
                      <a:gd name="T10" fmla="*/ 0 60000 65536"/>
                      <a:gd name="T11" fmla="*/ 0 60000 65536"/>
                      <a:gd name="T12" fmla="*/ 0 60000 65536"/>
                      <a:gd name="T13" fmla="*/ 0 60000 65536"/>
                      <a:gd name="T14" fmla="*/ 0 60000 65536"/>
                      <a:gd name="T15" fmla="*/ 0 w 16"/>
                      <a:gd name="T16" fmla="*/ 0 h 22"/>
                      <a:gd name="T17" fmla="*/ 16 w 16"/>
                      <a:gd name="T18" fmla="*/ 22 h 22"/>
                    </a:gdLst>
                    <a:ahLst/>
                    <a:cxnLst>
                      <a:cxn ang="T10">
                        <a:pos x="T0" y="T1"/>
                      </a:cxn>
                      <a:cxn ang="T11">
                        <a:pos x="T2" y="T3"/>
                      </a:cxn>
                      <a:cxn ang="T12">
                        <a:pos x="T4" y="T5"/>
                      </a:cxn>
                      <a:cxn ang="T13">
                        <a:pos x="T6" y="T7"/>
                      </a:cxn>
                      <a:cxn ang="T14">
                        <a:pos x="T8" y="T9"/>
                      </a:cxn>
                    </a:cxnLst>
                    <a:rect l="T15" t="T16" r="T17" b="T18"/>
                    <a:pathLst>
                      <a:path w="16" h="22">
                        <a:moveTo>
                          <a:pt x="6" y="0"/>
                        </a:moveTo>
                        <a:cubicBezTo>
                          <a:pt x="13" y="2"/>
                          <a:pt x="14" y="4"/>
                          <a:pt x="16" y="11"/>
                        </a:cubicBezTo>
                        <a:cubicBezTo>
                          <a:pt x="14" y="19"/>
                          <a:pt x="13" y="18"/>
                          <a:pt x="7" y="22"/>
                        </a:cubicBezTo>
                        <a:cubicBezTo>
                          <a:pt x="5" y="15"/>
                          <a:pt x="0" y="12"/>
                          <a:pt x="7" y="5"/>
                        </a:cubicBezTo>
                        <a:cubicBezTo>
                          <a:pt x="8" y="1"/>
                          <a:pt x="9" y="3"/>
                          <a:pt x="6"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86" name="Freeform 2469">
                    <a:extLst>
                      <a:ext uri="{FF2B5EF4-FFF2-40B4-BE49-F238E27FC236}">
                        <a16:creationId xmlns:a16="http://schemas.microsoft.com/office/drawing/2014/main" id="{1B37A085-452C-986B-83F3-CDDAD4DAC778}"/>
                      </a:ext>
                    </a:extLst>
                  </p:cNvPr>
                  <p:cNvSpPr>
                    <a:spLocks noChangeAspect="1"/>
                  </p:cNvSpPr>
                  <p:nvPr/>
                </p:nvSpPr>
                <p:spPr bwMode="auto">
                  <a:xfrm>
                    <a:off x="6310" y="8702"/>
                    <a:ext cx="180" cy="136"/>
                  </a:xfrm>
                  <a:custGeom>
                    <a:avLst/>
                    <a:gdLst>
                      <a:gd name="T0" fmla="*/ 26 w 45"/>
                      <a:gd name="T1" fmla="*/ 0 h 34"/>
                      <a:gd name="T2" fmla="*/ 35 w 45"/>
                      <a:gd name="T3" fmla="*/ 10 h 34"/>
                      <a:gd name="T4" fmla="*/ 41 w 45"/>
                      <a:gd name="T5" fmla="*/ 14 h 34"/>
                      <a:gd name="T6" fmla="*/ 45 w 45"/>
                      <a:gd name="T7" fmla="*/ 23 h 34"/>
                      <a:gd name="T8" fmla="*/ 32 w 45"/>
                      <a:gd name="T9" fmla="*/ 33 h 34"/>
                      <a:gd name="T10" fmla="*/ 23 w 45"/>
                      <a:gd name="T11" fmla="*/ 32 h 34"/>
                      <a:gd name="T12" fmla="*/ 29 w 45"/>
                      <a:gd name="T13" fmla="*/ 17 h 34"/>
                      <a:gd name="T14" fmla="*/ 19 w 45"/>
                      <a:gd name="T15" fmla="*/ 12 h 34"/>
                      <a:gd name="T16" fmla="*/ 8 w 45"/>
                      <a:gd name="T17" fmla="*/ 28 h 34"/>
                      <a:gd name="T18" fmla="*/ 0 w 45"/>
                      <a:gd name="T19" fmla="*/ 18 h 34"/>
                      <a:gd name="T20" fmla="*/ 11 w 45"/>
                      <a:gd name="T21" fmla="*/ 11 h 34"/>
                      <a:gd name="T22" fmla="*/ 17 w 45"/>
                      <a:gd name="T23" fmla="*/ 8 h 34"/>
                      <a:gd name="T24" fmla="*/ 26 w 45"/>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5"/>
                      <a:gd name="T40" fmla="*/ 0 h 34"/>
                      <a:gd name="T41" fmla="*/ 45 w 45"/>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5" h="34">
                        <a:moveTo>
                          <a:pt x="26" y="0"/>
                        </a:moveTo>
                        <a:cubicBezTo>
                          <a:pt x="27" y="4"/>
                          <a:pt x="31" y="8"/>
                          <a:pt x="35" y="10"/>
                        </a:cubicBezTo>
                        <a:cubicBezTo>
                          <a:pt x="37" y="11"/>
                          <a:pt x="41" y="14"/>
                          <a:pt x="41" y="14"/>
                        </a:cubicBezTo>
                        <a:cubicBezTo>
                          <a:pt x="43" y="17"/>
                          <a:pt x="45" y="23"/>
                          <a:pt x="45" y="23"/>
                        </a:cubicBezTo>
                        <a:cubicBezTo>
                          <a:pt x="43" y="29"/>
                          <a:pt x="37" y="31"/>
                          <a:pt x="32" y="33"/>
                        </a:cubicBezTo>
                        <a:cubicBezTo>
                          <a:pt x="29" y="33"/>
                          <a:pt x="25" y="34"/>
                          <a:pt x="23" y="32"/>
                        </a:cubicBezTo>
                        <a:cubicBezTo>
                          <a:pt x="19" y="28"/>
                          <a:pt x="29" y="17"/>
                          <a:pt x="29" y="17"/>
                        </a:cubicBezTo>
                        <a:cubicBezTo>
                          <a:pt x="26" y="10"/>
                          <a:pt x="26" y="11"/>
                          <a:pt x="19" y="12"/>
                        </a:cubicBezTo>
                        <a:cubicBezTo>
                          <a:pt x="17" y="19"/>
                          <a:pt x="16" y="26"/>
                          <a:pt x="8" y="28"/>
                        </a:cubicBezTo>
                        <a:cubicBezTo>
                          <a:pt x="4" y="27"/>
                          <a:pt x="0" y="18"/>
                          <a:pt x="0" y="18"/>
                        </a:cubicBezTo>
                        <a:cubicBezTo>
                          <a:pt x="2" y="12"/>
                          <a:pt x="5" y="12"/>
                          <a:pt x="11" y="11"/>
                        </a:cubicBezTo>
                        <a:cubicBezTo>
                          <a:pt x="13" y="10"/>
                          <a:pt x="15" y="10"/>
                          <a:pt x="17" y="8"/>
                        </a:cubicBezTo>
                        <a:cubicBezTo>
                          <a:pt x="21" y="4"/>
                          <a:pt x="19" y="0"/>
                          <a:pt x="26"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87" name="Freeform 2470">
                    <a:extLst>
                      <a:ext uri="{FF2B5EF4-FFF2-40B4-BE49-F238E27FC236}">
                        <a16:creationId xmlns:a16="http://schemas.microsoft.com/office/drawing/2014/main" id="{5EBA9281-11D6-8532-EF77-CADD461C64E3}"/>
                      </a:ext>
                    </a:extLst>
                  </p:cNvPr>
                  <p:cNvSpPr>
                    <a:spLocks noChangeAspect="1"/>
                  </p:cNvSpPr>
                  <p:nvPr/>
                </p:nvSpPr>
                <p:spPr bwMode="auto">
                  <a:xfrm>
                    <a:off x="6342" y="8942"/>
                    <a:ext cx="108" cy="140"/>
                  </a:xfrm>
                  <a:custGeom>
                    <a:avLst/>
                    <a:gdLst>
                      <a:gd name="T0" fmla="*/ 13 w 27"/>
                      <a:gd name="T1" fmla="*/ 4 h 35"/>
                      <a:gd name="T2" fmla="*/ 25 w 27"/>
                      <a:gd name="T3" fmla="*/ 14 h 35"/>
                      <a:gd name="T4" fmla="*/ 16 w 27"/>
                      <a:gd name="T5" fmla="*/ 35 h 35"/>
                      <a:gd name="T6" fmla="*/ 7 w 27"/>
                      <a:gd name="T7" fmla="*/ 29 h 35"/>
                      <a:gd name="T8" fmla="*/ 0 w 27"/>
                      <a:gd name="T9" fmla="*/ 10 h 35"/>
                      <a:gd name="T10" fmla="*/ 13 w 27"/>
                      <a:gd name="T11" fmla="*/ 4 h 35"/>
                      <a:gd name="T12" fmla="*/ 0 60000 65536"/>
                      <a:gd name="T13" fmla="*/ 0 60000 65536"/>
                      <a:gd name="T14" fmla="*/ 0 60000 65536"/>
                      <a:gd name="T15" fmla="*/ 0 60000 65536"/>
                      <a:gd name="T16" fmla="*/ 0 60000 65536"/>
                      <a:gd name="T17" fmla="*/ 0 60000 65536"/>
                      <a:gd name="T18" fmla="*/ 0 w 27"/>
                      <a:gd name="T19" fmla="*/ 0 h 35"/>
                      <a:gd name="T20" fmla="*/ 27 w 27"/>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7" h="35">
                        <a:moveTo>
                          <a:pt x="13" y="4"/>
                        </a:moveTo>
                        <a:cubicBezTo>
                          <a:pt x="18" y="5"/>
                          <a:pt x="22" y="10"/>
                          <a:pt x="25" y="14"/>
                        </a:cubicBezTo>
                        <a:cubicBezTo>
                          <a:pt x="24" y="24"/>
                          <a:pt x="26" y="32"/>
                          <a:pt x="16" y="35"/>
                        </a:cubicBezTo>
                        <a:cubicBezTo>
                          <a:pt x="11" y="34"/>
                          <a:pt x="10" y="33"/>
                          <a:pt x="7" y="29"/>
                        </a:cubicBezTo>
                        <a:cubicBezTo>
                          <a:pt x="17" y="23"/>
                          <a:pt x="7" y="13"/>
                          <a:pt x="0" y="10"/>
                        </a:cubicBezTo>
                        <a:cubicBezTo>
                          <a:pt x="3" y="0"/>
                          <a:pt x="27" y="9"/>
                          <a:pt x="13" y="4"/>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88" name="Freeform 2471">
                    <a:extLst>
                      <a:ext uri="{FF2B5EF4-FFF2-40B4-BE49-F238E27FC236}">
                        <a16:creationId xmlns:a16="http://schemas.microsoft.com/office/drawing/2014/main" id="{CC7E9C02-1863-598C-8AF8-EF49A2E08747}"/>
                      </a:ext>
                    </a:extLst>
                  </p:cNvPr>
                  <p:cNvSpPr>
                    <a:spLocks noChangeAspect="1"/>
                  </p:cNvSpPr>
                  <p:nvPr/>
                </p:nvSpPr>
                <p:spPr bwMode="auto">
                  <a:xfrm>
                    <a:off x="6950" y="9454"/>
                    <a:ext cx="108" cy="208"/>
                  </a:xfrm>
                  <a:custGeom>
                    <a:avLst/>
                    <a:gdLst>
                      <a:gd name="T0" fmla="*/ 25 w 27"/>
                      <a:gd name="T1" fmla="*/ 2 h 52"/>
                      <a:gd name="T2" fmla="*/ 14 w 27"/>
                      <a:gd name="T3" fmla="*/ 12 h 52"/>
                      <a:gd name="T4" fmla="*/ 5 w 27"/>
                      <a:gd name="T5" fmla="*/ 15 h 52"/>
                      <a:gd name="T6" fmla="*/ 8 w 27"/>
                      <a:gd name="T7" fmla="*/ 46 h 52"/>
                      <a:gd name="T8" fmla="*/ 19 w 27"/>
                      <a:gd name="T9" fmla="*/ 43 h 52"/>
                      <a:gd name="T10" fmla="*/ 23 w 27"/>
                      <a:gd name="T11" fmla="*/ 28 h 52"/>
                      <a:gd name="T12" fmla="*/ 25 w 27"/>
                      <a:gd name="T13" fmla="*/ 13 h 52"/>
                      <a:gd name="T14" fmla="*/ 27 w 27"/>
                      <a:gd name="T15" fmla="*/ 7 h 52"/>
                      <a:gd name="T16" fmla="*/ 25 w 27"/>
                      <a:gd name="T17" fmla="*/ 1 h 52"/>
                      <a:gd name="T18" fmla="*/ 22 w 27"/>
                      <a:gd name="T19" fmla="*/ 4 h 52"/>
                      <a:gd name="T20" fmla="*/ 25 w 27"/>
                      <a:gd name="T21" fmla="*/ 2 h 5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52"/>
                      <a:gd name="T35" fmla="*/ 27 w 27"/>
                      <a:gd name="T36" fmla="*/ 52 h 5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52">
                        <a:moveTo>
                          <a:pt x="25" y="2"/>
                        </a:moveTo>
                        <a:cubicBezTo>
                          <a:pt x="20" y="4"/>
                          <a:pt x="19" y="9"/>
                          <a:pt x="14" y="12"/>
                        </a:cubicBezTo>
                        <a:cubicBezTo>
                          <a:pt x="11" y="14"/>
                          <a:pt x="5" y="15"/>
                          <a:pt x="5" y="15"/>
                        </a:cubicBezTo>
                        <a:cubicBezTo>
                          <a:pt x="2" y="24"/>
                          <a:pt x="0" y="40"/>
                          <a:pt x="8" y="46"/>
                        </a:cubicBezTo>
                        <a:cubicBezTo>
                          <a:pt x="12" y="52"/>
                          <a:pt x="15" y="46"/>
                          <a:pt x="19" y="43"/>
                        </a:cubicBezTo>
                        <a:cubicBezTo>
                          <a:pt x="21" y="38"/>
                          <a:pt x="22" y="33"/>
                          <a:pt x="23" y="28"/>
                        </a:cubicBezTo>
                        <a:cubicBezTo>
                          <a:pt x="22" y="21"/>
                          <a:pt x="22" y="19"/>
                          <a:pt x="25" y="13"/>
                        </a:cubicBezTo>
                        <a:cubicBezTo>
                          <a:pt x="26" y="11"/>
                          <a:pt x="27" y="7"/>
                          <a:pt x="27" y="7"/>
                        </a:cubicBezTo>
                        <a:cubicBezTo>
                          <a:pt x="26" y="5"/>
                          <a:pt x="27" y="2"/>
                          <a:pt x="25" y="1"/>
                        </a:cubicBezTo>
                        <a:cubicBezTo>
                          <a:pt x="24" y="0"/>
                          <a:pt x="22" y="3"/>
                          <a:pt x="22" y="4"/>
                        </a:cubicBezTo>
                        <a:cubicBezTo>
                          <a:pt x="22" y="5"/>
                          <a:pt x="24" y="3"/>
                          <a:pt x="25" y="2"/>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89" name="Freeform 2472">
                    <a:extLst>
                      <a:ext uri="{FF2B5EF4-FFF2-40B4-BE49-F238E27FC236}">
                        <a16:creationId xmlns:a16="http://schemas.microsoft.com/office/drawing/2014/main" id="{0E31ED25-C502-4165-7584-9627A116D73D}"/>
                      </a:ext>
                    </a:extLst>
                  </p:cNvPr>
                  <p:cNvSpPr>
                    <a:spLocks noChangeAspect="1"/>
                  </p:cNvSpPr>
                  <p:nvPr/>
                </p:nvSpPr>
                <p:spPr bwMode="auto">
                  <a:xfrm>
                    <a:off x="6790" y="9682"/>
                    <a:ext cx="80" cy="164"/>
                  </a:xfrm>
                  <a:custGeom>
                    <a:avLst/>
                    <a:gdLst>
                      <a:gd name="T0" fmla="*/ 20 w 20"/>
                      <a:gd name="T1" fmla="*/ 0 h 41"/>
                      <a:gd name="T2" fmla="*/ 17 w 20"/>
                      <a:gd name="T3" fmla="*/ 41 h 41"/>
                      <a:gd name="T4" fmla="*/ 20 w 20"/>
                      <a:gd name="T5" fmla="*/ 0 h 41"/>
                      <a:gd name="T6" fmla="*/ 0 60000 65536"/>
                      <a:gd name="T7" fmla="*/ 0 60000 65536"/>
                      <a:gd name="T8" fmla="*/ 0 60000 65536"/>
                      <a:gd name="T9" fmla="*/ 0 w 20"/>
                      <a:gd name="T10" fmla="*/ 0 h 41"/>
                      <a:gd name="T11" fmla="*/ 20 w 20"/>
                      <a:gd name="T12" fmla="*/ 41 h 41"/>
                    </a:gdLst>
                    <a:ahLst/>
                    <a:cxnLst>
                      <a:cxn ang="T6">
                        <a:pos x="T0" y="T1"/>
                      </a:cxn>
                      <a:cxn ang="T7">
                        <a:pos x="T2" y="T3"/>
                      </a:cxn>
                      <a:cxn ang="T8">
                        <a:pos x="T4" y="T5"/>
                      </a:cxn>
                    </a:cxnLst>
                    <a:rect l="T9" t="T10" r="T11" b="T12"/>
                    <a:pathLst>
                      <a:path w="20" h="41">
                        <a:moveTo>
                          <a:pt x="20" y="0"/>
                        </a:moveTo>
                        <a:cubicBezTo>
                          <a:pt x="19" y="14"/>
                          <a:pt x="18" y="27"/>
                          <a:pt x="17" y="41"/>
                        </a:cubicBezTo>
                        <a:cubicBezTo>
                          <a:pt x="0" y="38"/>
                          <a:pt x="16" y="9"/>
                          <a:pt x="20"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90" name="Freeform 2473">
                    <a:extLst>
                      <a:ext uri="{FF2B5EF4-FFF2-40B4-BE49-F238E27FC236}">
                        <a16:creationId xmlns:a16="http://schemas.microsoft.com/office/drawing/2014/main" id="{AEC563D3-CA1A-8085-5C1C-AAF121B53A61}"/>
                      </a:ext>
                    </a:extLst>
                  </p:cNvPr>
                  <p:cNvSpPr>
                    <a:spLocks noChangeAspect="1"/>
                  </p:cNvSpPr>
                  <p:nvPr/>
                </p:nvSpPr>
                <p:spPr bwMode="auto">
                  <a:xfrm>
                    <a:off x="6002" y="9894"/>
                    <a:ext cx="700" cy="196"/>
                  </a:xfrm>
                  <a:custGeom>
                    <a:avLst/>
                    <a:gdLst>
                      <a:gd name="T0" fmla="*/ 8 w 175"/>
                      <a:gd name="T1" fmla="*/ 24 h 49"/>
                      <a:gd name="T2" fmla="*/ 13 w 175"/>
                      <a:gd name="T3" fmla="*/ 6 h 49"/>
                      <a:gd name="T4" fmla="*/ 25 w 175"/>
                      <a:gd name="T5" fmla="*/ 19 h 49"/>
                      <a:gd name="T6" fmla="*/ 34 w 175"/>
                      <a:gd name="T7" fmla="*/ 11 h 49"/>
                      <a:gd name="T8" fmla="*/ 40 w 175"/>
                      <a:gd name="T9" fmla="*/ 23 h 49"/>
                      <a:gd name="T10" fmla="*/ 52 w 175"/>
                      <a:gd name="T11" fmla="*/ 23 h 49"/>
                      <a:gd name="T12" fmla="*/ 70 w 175"/>
                      <a:gd name="T13" fmla="*/ 12 h 49"/>
                      <a:gd name="T14" fmla="*/ 88 w 175"/>
                      <a:gd name="T15" fmla="*/ 13 h 49"/>
                      <a:gd name="T16" fmla="*/ 101 w 175"/>
                      <a:gd name="T17" fmla="*/ 16 h 49"/>
                      <a:gd name="T18" fmla="*/ 114 w 175"/>
                      <a:gd name="T19" fmla="*/ 12 h 49"/>
                      <a:gd name="T20" fmla="*/ 128 w 175"/>
                      <a:gd name="T21" fmla="*/ 12 h 49"/>
                      <a:gd name="T22" fmla="*/ 136 w 175"/>
                      <a:gd name="T23" fmla="*/ 6 h 49"/>
                      <a:gd name="T24" fmla="*/ 134 w 175"/>
                      <a:gd name="T25" fmla="*/ 18 h 49"/>
                      <a:gd name="T26" fmla="*/ 150 w 175"/>
                      <a:gd name="T27" fmla="*/ 19 h 49"/>
                      <a:gd name="T28" fmla="*/ 162 w 175"/>
                      <a:gd name="T29" fmla="*/ 10 h 49"/>
                      <a:gd name="T30" fmla="*/ 175 w 175"/>
                      <a:gd name="T31" fmla="*/ 18 h 49"/>
                      <a:gd name="T32" fmla="*/ 163 w 175"/>
                      <a:gd name="T33" fmla="*/ 28 h 49"/>
                      <a:gd name="T34" fmla="*/ 142 w 175"/>
                      <a:gd name="T35" fmla="*/ 30 h 49"/>
                      <a:gd name="T36" fmla="*/ 122 w 175"/>
                      <a:gd name="T37" fmla="*/ 35 h 49"/>
                      <a:gd name="T38" fmla="*/ 100 w 175"/>
                      <a:gd name="T39" fmla="*/ 43 h 49"/>
                      <a:gd name="T40" fmla="*/ 88 w 175"/>
                      <a:gd name="T41" fmla="*/ 49 h 49"/>
                      <a:gd name="T42" fmla="*/ 52 w 175"/>
                      <a:gd name="T43" fmla="*/ 38 h 49"/>
                      <a:gd name="T44" fmla="*/ 24 w 175"/>
                      <a:gd name="T45" fmla="*/ 37 h 49"/>
                      <a:gd name="T46" fmla="*/ 0 w 175"/>
                      <a:gd name="T47" fmla="*/ 32 h 49"/>
                      <a:gd name="T48" fmla="*/ 2 w 175"/>
                      <a:gd name="T49" fmla="*/ 29 h 49"/>
                      <a:gd name="T50" fmla="*/ 11 w 175"/>
                      <a:gd name="T51" fmla="*/ 23 h 49"/>
                      <a:gd name="T52" fmla="*/ 8 w 175"/>
                      <a:gd name="T53" fmla="*/ 24 h 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5"/>
                      <a:gd name="T82" fmla="*/ 0 h 49"/>
                      <a:gd name="T83" fmla="*/ 175 w 175"/>
                      <a:gd name="T84" fmla="*/ 49 h 4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5" h="49">
                        <a:moveTo>
                          <a:pt x="8" y="24"/>
                        </a:moveTo>
                        <a:cubicBezTo>
                          <a:pt x="13" y="21"/>
                          <a:pt x="13" y="6"/>
                          <a:pt x="13" y="6"/>
                        </a:cubicBezTo>
                        <a:cubicBezTo>
                          <a:pt x="23" y="9"/>
                          <a:pt x="9" y="17"/>
                          <a:pt x="25" y="19"/>
                        </a:cubicBezTo>
                        <a:cubicBezTo>
                          <a:pt x="32" y="18"/>
                          <a:pt x="29" y="16"/>
                          <a:pt x="34" y="11"/>
                        </a:cubicBezTo>
                        <a:cubicBezTo>
                          <a:pt x="38" y="0"/>
                          <a:pt x="32" y="25"/>
                          <a:pt x="40" y="23"/>
                        </a:cubicBezTo>
                        <a:cubicBezTo>
                          <a:pt x="41" y="19"/>
                          <a:pt x="47" y="22"/>
                          <a:pt x="52" y="23"/>
                        </a:cubicBezTo>
                        <a:cubicBezTo>
                          <a:pt x="57" y="22"/>
                          <a:pt x="64" y="14"/>
                          <a:pt x="70" y="12"/>
                        </a:cubicBezTo>
                        <a:cubicBezTo>
                          <a:pt x="76" y="10"/>
                          <a:pt x="83" y="12"/>
                          <a:pt x="88" y="13"/>
                        </a:cubicBezTo>
                        <a:cubicBezTo>
                          <a:pt x="92" y="7"/>
                          <a:pt x="97" y="12"/>
                          <a:pt x="101" y="16"/>
                        </a:cubicBezTo>
                        <a:cubicBezTo>
                          <a:pt x="111" y="13"/>
                          <a:pt x="107" y="14"/>
                          <a:pt x="114" y="12"/>
                        </a:cubicBezTo>
                        <a:cubicBezTo>
                          <a:pt x="121" y="14"/>
                          <a:pt x="120" y="14"/>
                          <a:pt x="128" y="12"/>
                        </a:cubicBezTo>
                        <a:cubicBezTo>
                          <a:pt x="130" y="7"/>
                          <a:pt x="131" y="4"/>
                          <a:pt x="136" y="6"/>
                        </a:cubicBezTo>
                        <a:cubicBezTo>
                          <a:pt x="137" y="12"/>
                          <a:pt x="137" y="13"/>
                          <a:pt x="134" y="18"/>
                        </a:cubicBezTo>
                        <a:cubicBezTo>
                          <a:pt x="136" y="23"/>
                          <a:pt x="150" y="19"/>
                          <a:pt x="150" y="19"/>
                        </a:cubicBezTo>
                        <a:cubicBezTo>
                          <a:pt x="156" y="16"/>
                          <a:pt x="155" y="11"/>
                          <a:pt x="162" y="10"/>
                        </a:cubicBezTo>
                        <a:cubicBezTo>
                          <a:pt x="174" y="11"/>
                          <a:pt x="173" y="9"/>
                          <a:pt x="175" y="18"/>
                        </a:cubicBezTo>
                        <a:cubicBezTo>
                          <a:pt x="173" y="25"/>
                          <a:pt x="169" y="25"/>
                          <a:pt x="163" y="28"/>
                        </a:cubicBezTo>
                        <a:cubicBezTo>
                          <a:pt x="158" y="36"/>
                          <a:pt x="154" y="25"/>
                          <a:pt x="142" y="30"/>
                        </a:cubicBezTo>
                        <a:cubicBezTo>
                          <a:pt x="135" y="31"/>
                          <a:pt x="129" y="35"/>
                          <a:pt x="122" y="35"/>
                        </a:cubicBezTo>
                        <a:cubicBezTo>
                          <a:pt x="114" y="36"/>
                          <a:pt x="108" y="43"/>
                          <a:pt x="100" y="43"/>
                        </a:cubicBezTo>
                        <a:cubicBezTo>
                          <a:pt x="95" y="44"/>
                          <a:pt x="92" y="46"/>
                          <a:pt x="88" y="49"/>
                        </a:cubicBezTo>
                        <a:cubicBezTo>
                          <a:pt x="63" y="43"/>
                          <a:pt x="100" y="42"/>
                          <a:pt x="52" y="38"/>
                        </a:cubicBezTo>
                        <a:cubicBezTo>
                          <a:pt x="42" y="35"/>
                          <a:pt x="33" y="34"/>
                          <a:pt x="24" y="37"/>
                        </a:cubicBezTo>
                        <a:cubicBezTo>
                          <a:pt x="8" y="36"/>
                          <a:pt x="3" y="45"/>
                          <a:pt x="0" y="32"/>
                        </a:cubicBezTo>
                        <a:cubicBezTo>
                          <a:pt x="1" y="31"/>
                          <a:pt x="2" y="30"/>
                          <a:pt x="2" y="29"/>
                        </a:cubicBezTo>
                        <a:cubicBezTo>
                          <a:pt x="4" y="28"/>
                          <a:pt x="10" y="24"/>
                          <a:pt x="11" y="23"/>
                        </a:cubicBezTo>
                        <a:lnTo>
                          <a:pt x="8" y="24"/>
                        </a:ln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91" name="Freeform 2474">
                    <a:extLst>
                      <a:ext uri="{FF2B5EF4-FFF2-40B4-BE49-F238E27FC236}">
                        <a16:creationId xmlns:a16="http://schemas.microsoft.com/office/drawing/2014/main" id="{1406E279-7F4D-4526-E9B7-B46222D66C9C}"/>
                      </a:ext>
                    </a:extLst>
                  </p:cNvPr>
                  <p:cNvSpPr>
                    <a:spLocks noChangeAspect="1"/>
                  </p:cNvSpPr>
                  <p:nvPr/>
                </p:nvSpPr>
                <p:spPr bwMode="auto">
                  <a:xfrm>
                    <a:off x="6458" y="9194"/>
                    <a:ext cx="84" cy="72"/>
                  </a:xfrm>
                  <a:custGeom>
                    <a:avLst/>
                    <a:gdLst>
                      <a:gd name="T0" fmla="*/ 17 w 21"/>
                      <a:gd name="T1" fmla="*/ 2 h 18"/>
                      <a:gd name="T2" fmla="*/ 8 w 21"/>
                      <a:gd name="T3" fmla="*/ 7 h 18"/>
                      <a:gd name="T4" fmla="*/ 0 w 21"/>
                      <a:gd name="T5" fmla="*/ 17 h 18"/>
                      <a:gd name="T6" fmla="*/ 10 w 21"/>
                      <a:gd name="T7" fmla="*/ 13 h 18"/>
                      <a:gd name="T8" fmla="*/ 19 w 21"/>
                      <a:gd name="T9" fmla="*/ 5 h 18"/>
                      <a:gd name="T10" fmla="*/ 17 w 21"/>
                      <a:gd name="T11" fmla="*/ 2 h 18"/>
                      <a:gd name="T12" fmla="*/ 0 60000 65536"/>
                      <a:gd name="T13" fmla="*/ 0 60000 65536"/>
                      <a:gd name="T14" fmla="*/ 0 60000 65536"/>
                      <a:gd name="T15" fmla="*/ 0 60000 65536"/>
                      <a:gd name="T16" fmla="*/ 0 60000 65536"/>
                      <a:gd name="T17" fmla="*/ 0 60000 65536"/>
                      <a:gd name="T18" fmla="*/ 0 w 21"/>
                      <a:gd name="T19" fmla="*/ 0 h 18"/>
                      <a:gd name="T20" fmla="*/ 21 w 2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1" h="18">
                        <a:moveTo>
                          <a:pt x="17" y="2"/>
                        </a:moveTo>
                        <a:cubicBezTo>
                          <a:pt x="13" y="3"/>
                          <a:pt x="12" y="6"/>
                          <a:pt x="8" y="7"/>
                        </a:cubicBezTo>
                        <a:cubicBezTo>
                          <a:pt x="6" y="13"/>
                          <a:pt x="3" y="11"/>
                          <a:pt x="0" y="17"/>
                        </a:cubicBezTo>
                        <a:cubicBezTo>
                          <a:pt x="6" y="18"/>
                          <a:pt x="5" y="16"/>
                          <a:pt x="10" y="13"/>
                        </a:cubicBezTo>
                        <a:cubicBezTo>
                          <a:pt x="13" y="9"/>
                          <a:pt x="15" y="9"/>
                          <a:pt x="19" y="5"/>
                        </a:cubicBezTo>
                        <a:cubicBezTo>
                          <a:pt x="20" y="0"/>
                          <a:pt x="21" y="1"/>
                          <a:pt x="17" y="2"/>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92" name="Freeform 2475">
                    <a:extLst>
                      <a:ext uri="{FF2B5EF4-FFF2-40B4-BE49-F238E27FC236}">
                        <a16:creationId xmlns:a16="http://schemas.microsoft.com/office/drawing/2014/main" id="{AD72E6BE-E23A-F0A1-76C7-F0565FA33F2F}"/>
                      </a:ext>
                    </a:extLst>
                  </p:cNvPr>
                  <p:cNvSpPr>
                    <a:spLocks noChangeAspect="1"/>
                  </p:cNvSpPr>
                  <p:nvPr/>
                </p:nvSpPr>
                <p:spPr bwMode="auto">
                  <a:xfrm>
                    <a:off x="6718" y="9378"/>
                    <a:ext cx="84" cy="96"/>
                  </a:xfrm>
                  <a:custGeom>
                    <a:avLst/>
                    <a:gdLst>
                      <a:gd name="T0" fmla="*/ 12 w 21"/>
                      <a:gd name="T1" fmla="*/ 5 h 24"/>
                      <a:gd name="T2" fmla="*/ 3 w 21"/>
                      <a:gd name="T3" fmla="*/ 16 h 24"/>
                      <a:gd name="T4" fmla="*/ 12 w 21"/>
                      <a:gd name="T5" fmla="*/ 21 h 24"/>
                      <a:gd name="T6" fmla="*/ 21 w 21"/>
                      <a:gd name="T7" fmla="*/ 4 h 24"/>
                      <a:gd name="T8" fmla="*/ 9 w 21"/>
                      <a:gd name="T9" fmla="*/ 0 h 24"/>
                      <a:gd name="T10" fmla="*/ 12 w 21"/>
                      <a:gd name="T11" fmla="*/ 5 h 24"/>
                      <a:gd name="T12" fmla="*/ 0 60000 65536"/>
                      <a:gd name="T13" fmla="*/ 0 60000 65536"/>
                      <a:gd name="T14" fmla="*/ 0 60000 65536"/>
                      <a:gd name="T15" fmla="*/ 0 60000 65536"/>
                      <a:gd name="T16" fmla="*/ 0 60000 65536"/>
                      <a:gd name="T17" fmla="*/ 0 60000 65536"/>
                      <a:gd name="T18" fmla="*/ 0 w 21"/>
                      <a:gd name="T19" fmla="*/ 0 h 24"/>
                      <a:gd name="T20" fmla="*/ 21 w 21"/>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21" h="24">
                        <a:moveTo>
                          <a:pt x="12" y="5"/>
                        </a:moveTo>
                        <a:cubicBezTo>
                          <a:pt x="11" y="9"/>
                          <a:pt x="7" y="13"/>
                          <a:pt x="3" y="16"/>
                        </a:cubicBezTo>
                        <a:cubicBezTo>
                          <a:pt x="0" y="24"/>
                          <a:pt x="4" y="22"/>
                          <a:pt x="12" y="21"/>
                        </a:cubicBezTo>
                        <a:cubicBezTo>
                          <a:pt x="16" y="14"/>
                          <a:pt x="19" y="14"/>
                          <a:pt x="21" y="4"/>
                        </a:cubicBezTo>
                        <a:cubicBezTo>
                          <a:pt x="21" y="1"/>
                          <a:pt x="10" y="0"/>
                          <a:pt x="9" y="0"/>
                        </a:cubicBezTo>
                        <a:cubicBezTo>
                          <a:pt x="8" y="0"/>
                          <a:pt x="13" y="2"/>
                          <a:pt x="12" y="5"/>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93" name="Freeform 2476">
                    <a:extLst>
                      <a:ext uri="{FF2B5EF4-FFF2-40B4-BE49-F238E27FC236}">
                        <a16:creationId xmlns:a16="http://schemas.microsoft.com/office/drawing/2014/main" id="{2B2DE543-83C7-BBBB-0B47-2AADFE1D2208}"/>
                      </a:ext>
                    </a:extLst>
                  </p:cNvPr>
                  <p:cNvSpPr>
                    <a:spLocks noChangeAspect="1"/>
                  </p:cNvSpPr>
                  <p:nvPr/>
                </p:nvSpPr>
                <p:spPr bwMode="auto">
                  <a:xfrm>
                    <a:off x="5022" y="8018"/>
                    <a:ext cx="1316" cy="1284"/>
                  </a:xfrm>
                  <a:custGeom>
                    <a:avLst/>
                    <a:gdLst>
                      <a:gd name="T0" fmla="*/ 312 w 329"/>
                      <a:gd name="T1" fmla="*/ 75 h 321"/>
                      <a:gd name="T2" fmla="*/ 321 w 329"/>
                      <a:gd name="T3" fmla="*/ 57 h 321"/>
                      <a:gd name="T4" fmla="*/ 305 w 329"/>
                      <a:gd name="T5" fmla="*/ 5 h 321"/>
                      <a:gd name="T6" fmla="*/ 304 w 329"/>
                      <a:gd name="T7" fmla="*/ 26 h 321"/>
                      <a:gd name="T8" fmla="*/ 250 w 329"/>
                      <a:gd name="T9" fmla="*/ 49 h 321"/>
                      <a:gd name="T10" fmla="*/ 216 w 329"/>
                      <a:gd name="T11" fmla="*/ 42 h 321"/>
                      <a:gd name="T12" fmla="*/ 187 w 329"/>
                      <a:gd name="T13" fmla="*/ 47 h 321"/>
                      <a:gd name="T14" fmla="*/ 178 w 329"/>
                      <a:gd name="T15" fmla="*/ 59 h 321"/>
                      <a:gd name="T16" fmla="*/ 132 w 329"/>
                      <a:gd name="T17" fmla="*/ 67 h 321"/>
                      <a:gd name="T18" fmla="*/ 75 w 329"/>
                      <a:gd name="T19" fmla="*/ 103 h 321"/>
                      <a:gd name="T20" fmla="*/ 22 w 329"/>
                      <a:gd name="T21" fmla="*/ 126 h 321"/>
                      <a:gd name="T22" fmla="*/ 35 w 329"/>
                      <a:gd name="T23" fmla="*/ 149 h 321"/>
                      <a:gd name="T24" fmla="*/ 19 w 329"/>
                      <a:gd name="T25" fmla="*/ 157 h 321"/>
                      <a:gd name="T26" fmla="*/ 4 w 329"/>
                      <a:gd name="T27" fmla="*/ 188 h 321"/>
                      <a:gd name="T28" fmla="*/ 4 w 329"/>
                      <a:gd name="T29" fmla="*/ 233 h 321"/>
                      <a:gd name="T30" fmla="*/ 19 w 329"/>
                      <a:gd name="T31" fmla="*/ 245 h 321"/>
                      <a:gd name="T32" fmla="*/ 43 w 329"/>
                      <a:gd name="T33" fmla="*/ 254 h 321"/>
                      <a:gd name="T34" fmla="*/ 43 w 329"/>
                      <a:gd name="T35" fmla="*/ 269 h 321"/>
                      <a:gd name="T36" fmla="*/ 66 w 329"/>
                      <a:gd name="T37" fmla="*/ 302 h 321"/>
                      <a:gd name="T38" fmla="*/ 90 w 329"/>
                      <a:gd name="T39" fmla="*/ 302 h 321"/>
                      <a:gd name="T40" fmla="*/ 154 w 329"/>
                      <a:gd name="T41" fmla="*/ 295 h 321"/>
                      <a:gd name="T42" fmla="*/ 178 w 329"/>
                      <a:gd name="T43" fmla="*/ 301 h 321"/>
                      <a:gd name="T44" fmla="*/ 198 w 329"/>
                      <a:gd name="T45" fmla="*/ 308 h 321"/>
                      <a:gd name="T46" fmla="*/ 231 w 329"/>
                      <a:gd name="T47" fmla="*/ 319 h 321"/>
                      <a:gd name="T48" fmla="*/ 239 w 329"/>
                      <a:gd name="T49" fmla="*/ 312 h 321"/>
                      <a:gd name="T50" fmla="*/ 216 w 329"/>
                      <a:gd name="T51" fmla="*/ 277 h 321"/>
                      <a:gd name="T52" fmla="*/ 135 w 329"/>
                      <a:gd name="T53" fmla="*/ 253 h 321"/>
                      <a:gd name="T54" fmla="*/ 156 w 329"/>
                      <a:gd name="T55" fmla="*/ 234 h 321"/>
                      <a:gd name="T56" fmla="*/ 180 w 329"/>
                      <a:gd name="T57" fmla="*/ 222 h 321"/>
                      <a:gd name="T58" fmla="*/ 157 w 329"/>
                      <a:gd name="T59" fmla="*/ 197 h 321"/>
                      <a:gd name="T60" fmla="*/ 144 w 329"/>
                      <a:gd name="T61" fmla="*/ 180 h 321"/>
                      <a:gd name="T62" fmla="*/ 127 w 329"/>
                      <a:gd name="T63" fmla="*/ 162 h 321"/>
                      <a:gd name="T64" fmla="*/ 130 w 329"/>
                      <a:gd name="T65" fmla="*/ 125 h 321"/>
                      <a:gd name="T66" fmla="*/ 147 w 329"/>
                      <a:gd name="T67" fmla="*/ 135 h 321"/>
                      <a:gd name="T68" fmla="*/ 177 w 329"/>
                      <a:gd name="T69" fmla="*/ 168 h 321"/>
                      <a:gd name="T70" fmla="*/ 177 w 329"/>
                      <a:gd name="T71" fmla="*/ 144 h 321"/>
                      <a:gd name="T72" fmla="*/ 172 w 329"/>
                      <a:gd name="T73" fmla="*/ 137 h 321"/>
                      <a:gd name="T74" fmla="*/ 199 w 329"/>
                      <a:gd name="T75" fmla="*/ 144 h 321"/>
                      <a:gd name="T76" fmla="*/ 207 w 329"/>
                      <a:gd name="T77" fmla="*/ 135 h 321"/>
                      <a:gd name="T78" fmla="*/ 228 w 329"/>
                      <a:gd name="T79" fmla="*/ 141 h 321"/>
                      <a:gd name="T80" fmla="*/ 199 w 329"/>
                      <a:gd name="T81" fmla="*/ 121 h 321"/>
                      <a:gd name="T82" fmla="*/ 186 w 329"/>
                      <a:gd name="T83" fmla="*/ 105 h 321"/>
                      <a:gd name="T84" fmla="*/ 217 w 329"/>
                      <a:gd name="T85" fmla="*/ 87 h 321"/>
                      <a:gd name="T86" fmla="*/ 257 w 329"/>
                      <a:gd name="T87" fmla="*/ 77 h 321"/>
                      <a:gd name="T88" fmla="*/ 297 w 329"/>
                      <a:gd name="T89" fmla="*/ 75 h 3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29"/>
                      <a:gd name="T136" fmla="*/ 0 h 321"/>
                      <a:gd name="T137" fmla="*/ 329 w 329"/>
                      <a:gd name="T138" fmla="*/ 321 h 32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29" h="321">
                        <a:moveTo>
                          <a:pt x="310" y="79"/>
                        </a:moveTo>
                        <a:cubicBezTo>
                          <a:pt x="311" y="78"/>
                          <a:pt x="311" y="76"/>
                          <a:pt x="312" y="75"/>
                        </a:cubicBezTo>
                        <a:cubicBezTo>
                          <a:pt x="313" y="74"/>
                          <a:pt x="314" y="74"/>
                          <a:pt x="315" y="73"/>
                        </a:cubicBezTo>
                        <a:cubicBezTo>
                          <a:pt x="318" y="69"/>
                          <a:pt x="318" y="62"/>
                          <a:pt x="321" y="57"/>
                        </a:cubicBezTo>
                        <a:cubicBezTo>
                          <a:pt x="317" y="41"/>
                          <a:pt x="321" y="36"/>
                          <a:pt x="329" y="24"/>
                        </a:cubicBezTo>
                        <a:cubicBezTo>
                          <a:pt x="326" y="15"/>
                          <a:pt x="310" y="8"/>
                          <a:pt x="305" y="5"/>
                        </a:cubicBezTo>
                        <a:cubicBezTo>
                          <a:pt x="301" y="0"/>
                          <a:pt x="299" y="0"/>
                          <a:pt x="297" y="6"/>
                        </a:cubicBezTo>
                        <a:cubicBezTo>
                          <a:pt x="299" y="13"/>
                          <a:pt x="302" y="19"/>
                          <a:pt x="304" y="26"/>
                        </a:cubicBezTo>
                        <a:cubicBezTo>
                          <a:pt x="302" y="37"/>
                          <a:pt x="297" y="36"/>
                          <a:pt x="287" y="37"/>
                        </a:cubicBezTo>
                        <a:cubicBezTo>
                          <a:pt x="273" y="48"/>
                          <a:pt x="271" y="48"/>
                          <a:pt x="250" y="49"/>
                        </a:cubicBezTo>
                        <a:cubicBezTo>
                          <a:pt x="243" y="49"/>
                          <a:pt x="235" y="50"/>
                          <a:pt x="228" y="47"/>
                        </a:cubicBezTo>
                        <a:cubicBezTo>
                          <a:pt x="224" y="45"/>
                          <a:pt x="216" y="42"/>
                          <a:pt x="216" y="42"/>
                        </a:cubicBezTo>
                        <a:cubicBezTo>
                          <a:pt x="213" y="39"/>
                          <a:pt x="203" y="37"/>
                          <a:pt x="203" y="37"/>
                        </a:cubicBezTo>
                        <a:cubicBezTo>
                          <a:pt x="197" y="38"/>
                          <a:pt x="192" y="43"/>
                          <a:pt x="187" y="47"/>
                        </a:cubicBezTo>
                        <a:cubicBezTo>
                          <a:pt x="185" y="49"/>
                          <a:pt x="181" y="53"/>
                          <a:pt x="181" y="53"/>
                        </a:cubicBezTo>
                        <a:cubicBezTo>
                          <a:pt x="180" y="55"/>
                          <a:pt x="180" y="58"/>
                          <a:pt x="178" y="59"/>
                        </a:cubicBezTo>
                        <a:cubicBezTo>
                          <a:pt x="176" y="60"/>
                          <a:pt x="172" y="61"/>
                          <a:pt x="172" y="61"/>
                        </a:cubicBezTo>
                        <a:cubicBezTo>
                          <a:pt x="155" y="60"/>
                          <a:pt x="147" y="62"/>
                          <a:pt x="132" y="67"/>
                        </a:cubicBezTo>
                        <a:cubicBezTo>
                          <a:pt x="126" y="92"/>
                          <a:pt x="119" y="89"/>
                          <a:pt x="90" y="90"/>
                        </a:cubicBezTo>
                        <a:cubicBezTo>
                          <a:pt x="82" y="97"/>
                          <a:pt x="79" y="99"/>
                          <a:pt x="75" y="103"/>
                        </a:cubicBezTo>
                        <a:cubicBezTo>
                          <a:pt x="71" y="108"/>
                          <a:pt x="71" y="110"/>
                          <a:pt x="64" y="113"/>
                        </a:cubicBezTo>
                        <a:cubicBezTo>
                          <a:pt x="51" y="119"/>
                          <a:pt x="36" y="121"/>
                          <a:pt x="22" y="126"/>
                        </a:cubicBezTo>
                        <a:cubicBezTo>
                          <a:pt x="31" y="128"/>
                          <a:pt x="27" y="133"/>
                          <a:pt x="31" y="140"/>
                        </a:cubicBezTo>
                        <a:cubicBezTo>
                          <a:pt x="33" y="143"/>
                          <a:pt x="35" y="149"/>
                          <a:pt x="35" y="149"/>
                        </a:cubicBezTo>
                        <a:cubicBezTo>
                          <a:pt x="33" y="155"/>
                          <a:pt x="36" y="150"/>
                          <a:pt x="27" y="153"/>
                        </a:cubicBezTo>
                        <a:cubicBezTo>
                          <a:pt x="24" y="154"/>
                          <a:pt x="19" y="157"/>
                          <a:pt x="19" y="157"/>
                        </a:cubicBezTo>
                        <a:cubicBezTo>
                          <a:pt x="22" y="163"/>
                          <a:pt x="22" y="179"/>
                          <a:pt x="16" y="183"/>
                        </a:cubicBezTo>
                        <a:cubicBezTo>
                          <a:pt x="12" y="185"/>
                          <a:pt x="4" y="188"/>
                          <a:pt x="4" y="188"/>
                        </a:cubicBezTo>
                        <a:cubicBezTo>
                          <a:pt x="2" y="193"/>
                          <a:pt x="0" y="193"/>
                          <a:pt x="3" y="198"/>
                        </a:cubicBezTo>
                        <a:cubicBezTo>
                          <a:pt x="2" y="205"/>
                          <a:pt x="6" y="224"/>
                          <a:pt x="4" y="233"/>
                        </a:cubicBezTo>
                        <a:cubicBezTo>
                          <a:pt x="5" y="238"/>
                          <a:pt x="15" y="240"/>
                          <a:pt x="15" y="240"/>
                        </a:cubicBezTo>
                        <a:cubicBezTo>
                          <a:pt x="17" y="241"/>
                          <a:pt x="17" y="244"/>
                          <a:pt x="19" y="245"/>
                        </a:cubicBezTo>
                        <a:cubicBezTo>
                          <a:pt x="22" y="246"/>
                          <a:pt x="31" y="248"/>
                          <a:pt x="34" y="249"/>
                        </a:cubicBezTo>
                        <a:cubicBezTo>
                          <a:pt x="37" y="251"/>
                          <a:pt x="40" y="252"/>
                          <a:pt x="43" y="254"/>
                        </a:cubicBezTo>
                        <a:cubicBezTo>
                          <a:pt x="47" y="260"/>
                          <a:pt x="51" y="260"/>
                          <a:pt x="57" y="261"/>
                        </a:cubicBezTo>
                        <a:cubicBezTo>
                          <a:pt x="49" y="263"/>
                          <a:pt x="46" y="262"/>
                          <a:pt x="43" y="269"/>
                        </a:cubicBezTo>
                        <a:cubicBezTo>
                          <a:pt x="44" y="273"/>
                          <a:pt x="44" y="283"/>
                          <a:pt x="47" y="287"/>
                        </a:cubicBezTo>
                        <a:cubicBezTo>
                          <a:pt x="52" y="293"/>
                          <a:pt x="60" y="296"/>
                          <a:pt x="66" y="302"/>
                        </a:cubicBezTo>
                        <a:cubicBezTo>
                          <a:pt x="67" y="306"/>
                          <a:pt x="69" y="306"/>
                          <a:pt x="73" y="305"/>
                        </a:cubicBezTo>
                        <a:cubicBezTo>
                          <a:pt x="80" y="298"/>
                          <a:pt x="79" y="298"/>
                          <a:pt x="90" y="302"/>
                        </a:cubicBezTo>
                        <a:cubicBezTo>
                          <a:pt x="98" y="301"/>
                          <a:pt x="100" y="297"/>
                          <a:pt x="108" y="294"/>
                        </a:cubicBezTo>
                        <a:cubicBezTo>
                          <a:pt x="124" y="296"/>
                          <a:pt x="138" y="296"/>
                          <a:pt x="154" y="295"/>
                        </a:cubicBezTo>
                        <a:cubicBezTo>
                          <a:pt x="160" y="294"/>
                          <a:pt x="168" y="293"/>
                          <a:pt x="174" y="295"/>
                        </a:cubicBezTo>
                        <a:cubicBezTo>
                          <a:pt x="176" y="296"/>
                          <a:pt x="176" y="300"/>
                          <a:pt x="178" y="301"/>
                        </a:cubicBezTo>
                        <a:cubicBezTo>
                          <a:pt x="187" y="299"/>
                          <a:pt x="185" y="303"/>
                          <a:pt x="183" y="311"/>
                        </a:cubicBezTo>
                        <a:cubicBezTo>
                          <a:pt x="185" y="321"/>
                          <a:pt x="193" y="310"/>
                          <a:pt x="198" y="308"/>
                        </a:cubicBezTo>
                        <a:cubicBezTo>
                          <a:pt x="212" y="309"/>
                          <a:pt x="211" y="311"/>
                          <a:pt x="221" y="315"/>
                        </a:cubicBezTo>
                        <a:cubicBezTo>
                          <a:pt x="224" y="316"/>
                          <a:pt x="231" y="319"/>
                          <a:pt x="231" y="319"/>
                        </a:cubicBezTo>
                        <a:cubicBezTo>
                          <a:pt x="234" y="319"/>
                          <a:pt x="238" y="320"/>
                          <a:pt x="241" y="318"/>
                        </a:cubicBezTo>
                        <a:cubicBezTo>
                          <a:pt x="243" y="317"/>
                          <a:pt x="239" y="312"/>
                          <a:pt x="239" y="312"/>
                        </a:cubicBezTo>
                        <a:cubicBezTo>
                          <a:pt x="238" y="298"/>
                          <a:pt x="235" y="297"/>
                          <a:pt x="226" y="288"/>
                        </a:cubicBezTo>
                        <a:cubicBezTo>
                          <a:pt x="225" y="285"/>
                          <a:pt x="220" y="278"/>
                          <a:pt x="216" y="277"/>
                        </a:cubicBezTo>
                        <a:cubicBezTo>
                          <a:pt x="212" y="269"/>
                          <a:pt x="205" y="271"/>
                          <a:pt x="197" y="270"/>
                        </a:cubicBezTo>
                        <a:cubicBezTo>
                          <a:pt x="180" y="257"/>
                          <a:pt x="154" y="259"/>
                          <a:pt x="135" y="253"/>
                        </a:cubicBezTo>
                        <a:cubicBezTo>
                          <a:pt x="139" y="245"/>
                          <a:pt x="150" y="248"/>
                          <a:pt x="159" y="247"/>
                        </a:cubicBezTo>
                        <a:cubicBezTo>
                          <a:pt x="162" y="242"/>
                          <a:pt x="161" y="237"/>
                          <a:pt x="156" y="234"/>
                        </a:cubicBezTo>
                        <a:cubicBezTo>
                          <a:pt x="154" y="231"/>
                          <a:pt x="153" y="228"/>
                          <a:pt x="151" y="225"/>
                        </a:cubicBezTo>
                        <a:cubicBezTo>
                          <a:pt x="156" y="217"/>
                          <a:pt x="171" y="223"/>
                          <a:pt x="180" y="222"/>
                        </a:cubicBezTo>
                        <a:cubicBezTo>
                          <a:pt x="179" y="218"/>
                          <a:pt x="178" y="216"/>
                          <a:pt x="174" y="215"/>
                        </a:cubicBezTo>
                        <a:cubicBezTo>
                          <a:pt x="172" y="208"/>
                          <a:pt x="164" y="199"/>
                          <a:pt x="157" y="197"/>
                        </a:cubicBezTo>
                        <a:cubicBezTo>
                          <a:pt x="156" y="193"/>
                          <a:pt x="154" y="193"/>
                          <a:pt x="150" y="191"/>
                        </a:cubicBezTo>
                        <a:cubicBezTo>
                          <a:pt x="148" y="185"/>
                          <a:pt x="149" y="183"/>
                          <a:pt x="144" y="180"/>
                        </a:cubicBezTo>
                        <a:cubicBezTo>
                          <a:pt x="142" y="177"/>
                          <a:pt x="136" y="175"/>
                          <a:pt x="136" y="175"/>
                        </a:cubicBezTo>
                        <a:cubicBezTo>
                          <a:pt x="133" y="171"/>
                          <a:pt x="131" y="166"/>
                          <a:pt x="127" y="162"/>
                        </a:cubicBezTo>
                        <a:cubicBezTo>
                          <a:pt x="125" y="157"/>
                          <a:pt x="124" y="152"/>
                          <a:pt x="121" y="147"/>
                        </a:cubicBezTo>
                        <a:cubicBezTo>
                          <a:pt x="122" y="136"/>
                          <a:pt x="120" y="128"/>
                          <a:pt x="130" y="125"/>
                        </a:cubicBezTo>
                        <a:cubicBezTo>
                          <a:pt x="132" y="122"/>
                          <a:pt x="138" y="120"/>
                          <a:pt x="138" y="120"/>
                        </a:cubicBezTo>
                        <a:cubicBezTo>
                          <a:pt x="150" y="122"/>
                          <a:pt x="152" y="127"/>
                          <a:pt x="147" y="135"/>
                        </a:cubicBezTo>
                        <a:cubicBezTo>
                          <a:pt x="150" y="145"/>
                          <a:pt x="161" y="139"/>
                          <a:pt x="169" y="144"/>
                        </a:cubicBezTo>
                        <a:cubicBezTo>
                          <a:pt x="170" y="150"/>
                          <a:pt x="170" y="166"/>
                          <a:pt x="177" y="168"/>
                        </a:cubicBezTo>
                        <a:cubicBezTo>
                          <a:pt x="186" y="167"/>
                          <a:pt x="197" y="168"/>
                          <a:pt x="187" y="162"/>
                        </a:cubicBezTo>
                        <a:cubicBezTo>
                          <a:pt x="185" y="156"/>
                          <a:pt x="181" y="149"/>
                          <a:pt x="177" y="144"/>
                        </a:cubicBezTo>
                        <a:cubicBezTo>
                          <a:pt x="174" y="141"/>
                          <a:pt x="166" y="133"/>
                          <a:pt x="169" y="135"/>
                        </a:cubicBezTo>
                        <a:cubicBezTo>
                          <a:pt x="170" y="136"/>
                          <a:pt x="171" y="136"/>
                          <a:pt x="172" y="137"/>
                        </a:cubicBezTo>
                        <a:cubicBezTo>
                          <a:pt x="178" y="147"/>
                          <a:pt x="194" y="153"/>
                          <a:pt x="205" y="156"/>
                        </a:cubicBezTo>
                        <a:cubicBezTo>
                          <a:pt x="215" y="153"/>
                          <a:pt x="207" y="147"/>
                          <a:pt x="199" y="144"/>
                        </a:cubicBezTo>
                        <a:cubicBezTo>
                          <a:pt x="197" y="138"/>
                          <a:pt x="195" y="138"/>
                          <a:pt x="190" y="135"/>
                        </a:cubicBezTo>
                        <a:cubicBezTo>
                          <a:pt x="195" y="131"/>
                          <a:pt x="201" y="134"/>
                          <a:pt x="207" y="135"/>
                        </a:cubicBezTo>
                        <a:cubicBezTo>
                          <a:pt x="210" y="140"/>
                          <a:pt x="217" y="140"/>
                          <a:pt x="222" y="143"/>
                        </a:cubicBezTo>
                        <a:cubicBezTo>
                          <a:pt x="224" y="142"/>
                          <a:pt x="227" y="142"/>
                          <a:pt x="228" y="141"/>
                        </a:cubicBezTo>
                        <a:cubicBezTo>
                          <a:pt x="230" y="139"/>
                          <a:pt x="225" y="136"/>
                          <a:pt x="223" y="135"/>
                        </a:cubicBezTo>
                        <a:cubicBezTo>
                          <a:pt x="215" y="131"/>
                          <a:pt x="207" y="124"/>
                          <a:pt x="199" y="121"/>
                        </a:cubicBezTo>
                        <a:cubicBezTo>
                          <a:pt x="197" y="117"/>
                          <a:pt x="196" y="114"/>
                          <a:pt x="192" y="113"/>
                        </a:cubicBezTo>
                        <a:cubicBezTo>
                          <a:pt x="191" y="109"/>
                          <a:pt x="187" y="109"/>
                          <a:pt x="186" y="105"/>
                        </a:cubicBezTo>
                        <a:cubicBezTo>
                          <a:pt x="188" y="96"/>
                          <a:pt x="197" y="98"/>
                          <a:pt x="205" y="97"/>
                        </a:cubicBezTo>
                        <a:cubicBezTo>
                          <a:pt x="211" y="95"/>
                          <a:pt x="212" y="90"/>
                          <a:pt x="217" y="87"/>
                        </a:cubicBezTo>
                        <a:cubicBezTo>
                          <a:pt x="222" y="84"/>
                          <a:pt x="232" y="83"/>
                          <a:pt x="237" y="83"/>
                        </a:cubicBezTo>
                        <a:cubicBezTo>
                          <a:pt x="243" y="79"/>
                          <a:pt x="250" y="78"/>
                          <a:pt x="257" y="77"/>
                        </a:cubicBezTo>
                        <a:cubicBezTo>
                          <a:pt x="262" y="74"/>
                          <a:pt x="268" y="73"/>
                          <a:pt x="274" y="72"/>
                        </a:cubicBezTo>
                        <a:cubicBezTo>
                          <a:pt x="282" y="73"/>
                          <a:pt x="297" y="75"/>
                          <a:pt x="297" y="75"/>
                        </a:cubicBezTo>
                        <a:cubicBezTo>
                          <a:pt x="301" y="78"/>
                          <a:pt x="305" y="79"/>
                          <a:pt x="310" y="79"/>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sp>
              <p:nvSpPr>
                <p:cNvPr id="81" name="Freeform 2477">
                  <a:extLst>
                    <a:ext uri="{FF2B5EF4-FFF2-40B4-BE49-F238E27FC236}">
                      <a16:creationId xmlns:a16="http://schemas.microsoft.com/office/drawing/2014/main" id="{4C3D5902-6479-2027-B027-0D5AA0233801}"/>
                    </a:ext>
                  </a:extLst>
                </p:cNvPr>
                <p:cNvSpPr>
                  <a:spLocks noChangeAspect="1"/>
                </p:cNvSpPr>
                <p:nvPr/>
              </p:nvSpPr>
              <p:spPr bwMode="auto">
                <a:xfrm>
                  <a:off x="4778376" y="4457700"/>
                  <a:ext cx="427038" cy="225425"/>
                </a:xfrm>
                <a:custGeom>
                  <a:avLst/>
                  <a:gdLst>
                    <a:gd name="T0" fmla="*/ 254 w 270"/>
                    <a:gd name="T1" fmla="*/ 67 h 142"/>
                    <a:gd name="T2" fmla="*/ 266 w 270"/>
                    <a:gd name="T3" fmla="*/ 26 h 142"/>
                    <a:gd name="T4" fmla="*/ 270 w 270"/>
                    <a:gd name="T5" fmla="*/ 16 h 142"/>
                    <a:gd name="T6" fmla="*/ 216 w 270"/>
                    <a:gd name="T7" fmla="*/ 0 h 142"/>
                    <a:gd name="T8" fmla="*/ 185 w 270"/>
                    <a:gd name="T9" fmla="*/ 9 h 142"/>
                    <a:gd name="T10" fmla="*/ 171 w 270"/>
                    <a:gd name="T11" fmla="*/ 9 h 142"/>
                    <a:gd name="T12" fmla="*/ 147 w 270"/>
                    <a:gd name="T13" fmla="*/ 18 h 142"/>
                    <a:gd name="T14" fmla="*/ 136 w 270"/>
                    <a:gd name="T15" fmla="*/ 25 h 142"/>
                    <a:gd name="T16" fmla="*/ 126 w 270"/>
                    <a:gd name="T17" fmla="*/ 18 h 142"/>
                    <a:gd name="T18" fmla="*/ 113 w 270"/>
                    <a:gd name="T19" fmla="*/ 7 h 142"/>
                    <a:gd name="T20" fmla="*/ 108 w 270"/>
                    <a:gd name="T21" fmla="*/ 2 h 142"/>
                    <a:gd name="T22" fmla="*/ 101 w 270"/>
                    <a:gd name="T23" fmla="*/ 14 h 142"/>
                    <a:gd name="T24" fmla="*/ 86 w 270"/>
                    <a:gd name="T25" fmla="*/ 8 h 142"/>
                    <a:gd name="T26" fmla="*/ 70 w 270"/>
                    <a:gd name="T27" fmla="*/ 13 h 142"/>
                    <a:gd name="T28" fmla="*/ 63 w 270"/>
                    <a:gd name="T29" fmla="*/ 22 h 142"/>
                    <a:gd name="T30" fmla="*/ 54 w 270"/>
                    <a:gd name="T31" fmla="*/ 36 h 142"/>
                    <a:gd name="T32" fmla="*/ 47 w 270"/>
                    <a:gd name="T33" fmla="*/ 46 h 142"/>
                    <a:gd name="T34" fmla="*/ 41 w 270"/>
                    <a:gd name="T35" fmla="*/ 57 h 142"/>
                    <a:gd name="T36" fmla="*/ 6 w 270"/>
                    <a:gd name="T37" fmla="*/ 69 h 142"/>
                    <a:gd name="T38" fmla="*/ 0 w 270"/>
                    <a:gd name="T39" fmla="*/ 92 h 142"/>
                    <a:gd name="T40" fmla="*/ 6 w 270"/>
                    <a:gd name="T41" fmla="*/ 103 h 142"/>
                    <a:gd name="T42" fmla="*/ 10 w 270"/>
                    <a:gd name="T43" fmla="*/ 124 h 142"/>
                    <a:gd name="T44" fmla="*/ 23 w 270"/>
                    <a:gd name="T45" fmla="*/ 128 h 142"/>
                    <a:gd name="T46" fmla="*/ 26 w 270"/>
                    <a:gd name="T47" fmla="*/ 129 h 142"/>
                    <a:gd name="T48" fmla="*/ 35 w 270"/>
                    <a:gd name="T49" fmla="*/ 135 h 142"/>
                    <a:gd name="T50" fmla="*/ 41 w 270"/>
                    <a:gd name="T51" fmla="*/ 142 h 142"/>
                    <a:gd name="T52" fmla="*/ 92 w 270"/>
                    <a:gd name="T53" fmla="*/ 139 h 142"/>
                    <a:gd name="T54" fmla="*/ 101 w 270"/>
                    <a:gd name="T55" fmla="*/ 130 h 142"/>
                    <a:gd name="T56" fmla="*/ 124 w 270"/>
                    <a:gd name="T57" fmla="*/ 108 h 142"/>
                    <a:gd name="T58" fmla="*/ 134 w 270"/>
                    <a:gd name="T59" fmla="*/ 100 h 142"/>
                    <a:gd name="T60" fmla="*/ 138 w 270"/>
                    <a:gd name="T61" fmla="*/ 96 h 142"/>
                    <a:gd name="T62" fmla="*/ 147 w 270"/>
                    <a:gd name="T63" fmla="*/ 99 h 142"/>
                    <a:gd name="T64" fmla="*/ 164 w 270"/>
                    <a:gd name="T65" fmla="*/ 96 h 142"/>
                    <a:gd name="T66" fmla="*/ 186 w 270"/>
                    <a:gd name="T67" fmla="*/ 66 h 142"/>
                    <a:gd name="T68" fmla="*/ 212 w 270"/>
                    <a:gd name="T69" fmla="*/ 66 h 142"/>
                    <a:gd name="T70" fmla="*/ 228 w 270"/>
                    <a:gd name="T71" fmla="*/ 67 h 142"/>
                    <a:gd name="T72" fmla="*/ 237 w 270"/>
                    <a:gd name="T73" fmla="*/ 72 h 142"/>
                    <a:gd name="T74" fmla="*/ 254 w 270"/>
                    <a:gd name="T75" fmla="*/ 67 h 14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0"/>
                    <a:gd name="T115" fmla="*/ 0 h 142"/>
                    <a:gd name="T116" fmla="*/ 270 w 270"/>
                    <a:gd name="T117" fmla="*/ 142 h 14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0" h="142">
                      <a:moveTo>
                        <a:pt x="254" y="67"/>
                      </a:moveTo>
                      <a:cubicBezTo>
                        <a:pt x="257" y="58"/>
                        <a:pt x="256" y="33"/>
                        <a:pt x="266" y="26"/>
                      </a:cubicBezTo>
                      <a:cubicBezTo>
                        <a:pt x="267" y="22"/>
                        <a:pt x="269" y="20"/>
                        <a:pt x="270" y="16"/>
                      </a:cubicBezTo>
                      <a:cubicBezTo>
                        <a:pt x="251" y="13"/>
                        <a:pt x="234" y="4"/>
                        <a:pt x="216" y="0"/>
                      </a:cubicBezTo>
                      <a:cubicBezTo>
                        <a:pt x="202" y="1"/>
                        <a:pt x="197" y="5"/>
                        <a:pt x="185" y="9"/>
                      </a:cubicBezTo>
                      <a:cubicBezTo>
                        <a:pt x="182" y="17"/>
                        <a:pt x="176" y="11"/>
                        <a:pt x="171" y="9"/>
                      </a:cubicBezTo>
                      <a:cubicBezTo>
                        <a:pt x="158" y="10"/>
                        <a:pt x="154" y="9"/>
                        <a:pt x="147" y="18"/>
                      </a:cubicBezTo>
                      <a:cubicBezTo>
                        <a:pt x="146" y="27"/>
                        <a:pt x="145" y="26"/>
                        <a:pt x="136" y="25"/>
                      </a:cubicBezTo>
                      <a:cubicBezTo>
                        <a:pt x="133" y="23"/>
                        <a:pt x="126" y="18"/>
                        <a:pt x="126" y="18"/>
                      </a:cubicBezTo>
                      <a:cubicBezTo>
                        <a:pt x="124" y="12"/>
                        <a:pt x="117" y="11"/>
                        <a:pt x="113" y="7"/>
                      </a:cubicBezTo>
                      <a:cubicBezTo>
                        <a:pt x="112" y="5"/>
                        <a:pt x="112" y="1"/>
                        <a:pt x="108" y="2"/>
                      </a:cubicBezTo>
                      <a:cubicBezTo>
                        <a:pt x="108" y="2"/>
                        <a:pt x="104" y="12"/>
                        <a:pt x="101" y="14"/>
                      </a:cubicBezTo>
                      <a:cubicBezTo>
                        <a:pt x="96" y="23"/>
                        <a:pt x="91" y="11"/>
                        <a:pt x="86" y="8"/>
                      </a:cubicBezTo>
                      <a:cubicBezTo>
                        <a:pt x="80" y="9"/>
                        <a:pt x="76" y="12"/>
                        <a:pt x="70" y="13"/>
                      </a:cubicBezTo>
                      <a:cubicBezTo>
                        <a:pt x="69" y="17"/>
                        <a:pt x="63" y="22"/>
                        <a:pt x="63" y="22"/>
                      </a:cubicBezTo>
                      <a:cubicBezTo>
                        <a:pt x="62" y="28"/>
                        <a:pt x="58" y="32"/>
                        <a:pt x="54" y="36"/>
                      </a:cubicBezTo>
                      <a:cubicBezTo>
                        <a:pt x="52" y="41"/>
                        <a:pt x="52" y="44"/>
                        <a:pt x="47" y="46"/>
                      </a:cubicBezTo>
                      <a:cubicBezTo>
                        <a:pt x="45" y="52"/>
                        <a:pt x="46" y="54"/>
                        <a:pt x="41" y="57"/>
                      </a:cubicBezTo>
                      <a:cubicBezTo>
                        <a:pt x="32" y="70"/>
                        <a:pt x="22" y="68"/>
                        <a:pt x="6" y="69"/>
                      </a:cubicBezTo>
                      <a:cubicBezTo>
                        <a:pt x="1" y="76"/>
                        <a:pt x="3" y="84"/>
                        <a:pt x="0" y="92"/>
                      </a:cubicBezTo>
                      <a:cubicBezTo>
                        <a:pt x="2" y="98"/>
                        <a:pt x="4" y="98"/>
                        <a:pt x="6" y="103"/>
                      </a:cubicBezTo>
                      <a:cubicBezTo>
                        <a:pt x="4" y="109"/>
                        <a:pt x="3" y="120"/>
                        <a:pt x="10" y="124"/>
                      </a:cubicBezTo>
                      <a:cubicBezTo>
                        <a:pt x="14" y="126"/>
                        <a:pt x="19" y="127"/>
                        <a:pt x="23" y="128"/>
                      </a:cubicBezTo>
                      <a:cubicBezTo>
                        <a:pt x="24" y="128"/>
                        <a:pt x="26" y="129"/>
                        <a:pt x="26" y="129"/>
                      </a:cubicBezTo>
                      <a:cubicBezTo>
                        <a:pt x="29" y="132"/>
                        <a:pt x="32" y="133"/>
                        <a:pt x="35" y="135"/>
                      </a:cubicBezTo>
                      <a:cubicBezTo>
                        <a:pt x="36" y="139"/>
                        <a:pt x="39" y="138"/>
                        <a:pt x="41" y="142"/>
                      </a:cubicBezTo>
                      <a:cubicBezTo>
                        <a:pt x="58" y="141"/>
                        <a:pt x="75" y="140"/>
                        <a:pt x="92" y="139"/>
                      </a:cubicBezTo>
                      <a:cubicBezTo>
                        <a:pt x="97" y="137"/>
                        <a:pt x="99" y="135"/>
                        <a:pt x="101" y="130"/>
                      </a:cubicBezTo>
                      <a:cubicBezTo>
                        <a:pt x="99" y="106"/>
                        <a:pt x="99" y="109"/>
                        <a:pt x="124" y="108"/>
                      </a:cubicBezTo>
                      <a:cubicBezTo>
                        <a:pt x="129" y="106"/>
                        <a:pt x="131" y="104"/>
                        <a:pt x="134" y="100"/>
                      </a:cubicBezTo>
                      <a:cubicBezTo>
                        <a:pt x="135" y="98"/>
                        <a:pt x="135" y="96"/>
                        <a:pt x="138" y="96"/>
                      </a:cubicBezTo>
                      <a:cubicBezTo>
                        <a:pt x="141" y="96"/>
                        <a:pt x="147" y="99"/>
                        <a:pt x="147" y="99"/>
                      </a:cubicBezTo>
                      <a:cubicBezTo>
                        <a:pt x="153" y="98"/>
                        <a:pt x="164" y="96"/>
                        <a:pt x="164" y="96"/>
                      </a:cubicBezTo>
                      <a:cubicBezTo>
                        <a:pt x="169" y="82"/>
                        <a:pt x="169" y="70"/>
                        <a:pt x="186" y="66"/>
                      </a:cubicBezTo>
                      <a:cubicBezTo>
                        <a:pt x="195" y="67"/>
                        <a:pt x="203" y="69"/>
                        <a:pt x="212" y="66"/>
                      </a:cubicBezTo>
                      <a:cubicBezTo>
                        <a:pt x="217" y="66"/>
                        <a:pt x="223" y="66"/>
                        <a:pt x="228" y="67"/>
                      </a:cubicBezTo>
                      <a:cubicBezTo>
                        <a:pt x="231" y="67"/>
                        <a:pt x="237" y="72"/>
                        <a:pt x="237" y="72"/>
                      </a:cubicBezTo>
                      <a:cubicBezTo>
                        <a:pt x="238" y="72"/>
                        <a:pt x="254" y="72"/>
                        <a:pt x="254" y="67"/>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nvGrpSpPr>
                <p:cNvPr id="82" name="Group 73">
                  <a:extLst>
                    <a:ext uri="{FF2B5EF4-FFF2-40B4-BE49-F238E27FC236}">
                      <a16:creationId xmlns:a16="http://schemas.microsoft.com/office/drawing/2014/main" id="{13AEB6A1-28B3-6170-774C-D7B14ADD46B6}"/>
                    </a:ext>
                  </a:extLst>
                </p:cNvPr>
                <p:cNvGrpSpPr>
                  <a:grpSpLocks noChangeAspect="1"/>
                </p:cNvGrpSpPr>
                <p:nvPr/>
              </p:nvGrpSpPr>
              <p:grpSpPr bwMode="auto">
                <a:xfrm>
                  <a:off x="4537104" y="4832402"/>
                  <a:ext cx="477841" cy="458793"/>
                  <a:chOff x="2859" y="3044"/>
                  <a:chExt cx="302" cy="289"/>
                </a:xfrm>
                <a:grpFill/>
              </p:grpSpPr>
              <p:sp>
                <p:nvSpPr>
                  <p:cNvPr id="164" name="Freeform 2479">
                    <a:extLst>
                      <a:ext uri="{FF2B5EF4-FFF2-40B4-BE49-F238E27FC236}">
                        <a16:creationId xmlns:a16="http://schemas.microsoft.com/office/drawing/2014/main" id="{E179FD25-7897-D1C5-0EF2-E8F9142661A1}"/>
                      </a:ext>
                    </a:extLst>
                  </p:cNvPr>
                  <p:cNvSpPr>
                    <a:spLocks noChangeAspect="1"/>
                  </p:cNvSpPr>
                  <p:nvPr/>
                </p:nvSpPr>
                <p:spPr bwMode="auto">
                  <a:xfrm>
                    <a:off x="2901" y="3158"/>
                    <a:ext cx="24" cy="49"/>
                  </a:xfrm>
                  <a:custGeom>
                    <a:avLst/>
                    <a:gdLst>
                      <a:gd name="T0" fmla="*/ 0 w 24"/>
                      <a:gd name="T1" fmla="*/ 0 h 49"/>
                      <a:gd name="T2" fmla="*/ 16 w 24"/>
                      <a:gd name="T3" fmla="*/ 43 h 49"/>
                      <a:gd name="T4" fmla="*/ 22 w 24"/>
                      <a:gd name="T5" fmla="*/ 43 h 49"/>
                      <a:gd name="T6" fmla="*/ 14 w 24"/>
                      <a:gd name="T7" fmla="*/ 10 h 49"/>
                      <a:gd name="T8" fmla="*/ 0 w 24"/>
                      <a:gd name="T9" fmla="*/ 0 h 49"/>
                      <a:gd name="T10" fmla="*/ 0 60000 65536"/>
                      <a:gd name="T11" fmla="*/ 0 60000 65536"/>
                      <a:gd name="T12" fmla="*/ 0 60000 65536"/>
                      <a:gd name="T13" fmla="*/ 0 60000 65536"/>
                      <a:gd name="T14" fmla="*/ 0 60000 65536"/>
                      <a:gd name="T15" fmla="*/ 0 w 24"/>
                      <a:gd name="T16" fmla="*/ 0 h 49"/>
                      <a:gd name="T17" fmla="*/ 24 w 24"/>
                      <a:gd name="T18" fmla="*/ 49 h 49"/>
                    </a:gdLst>
                    <a:ahLst/>
                    <a:cxnLst>
                      <a:cxn ang="T10">
                        <a:pos x="T0" y="T1"/>
                      </a:cxn>
                      <a:cxn ang="T11">
                        <a:pos x="T2" y="T3"/>
                      </a:cxn>
                      <a:cxn ang="T12">
                        <a:pos x="T4" y="T5"/>
                      </a:cxn>
                      <a:cxn ang="T13">
                        <a:pos x="T6" y="T7"/>
                      </a:cxn>
                      <a:cxn ang="T14">
                        <a:pos x="T8" y="T9"/>
                      </a:cxn>
                    </a:cxnLst>
                    <a:rect l="T15" t="T16" r="T17" b="T18"/>
                    <a:pathLst>
                      <a:path w="24" h="49">
                        <a:moveTo>
                          <a:pt x="0" y="0"/>
                        </a:moveTo>
                        <a:cubicBezTo>
                          <a:pt x="2" y="12"/>
                          <a:pt x="7" y="34"/>
                          <a:pt x="16" y="43"/>
                        </a:cubicBezTo>
                        <a:cubicBezTo>
                          <a:pt x="18" y="49"/>
                          <a:pt x="19" y="49"/>
                          <a:pt x="22" y="43"/>
                        </a:cubicBezTo>
                        <a:cubicBezTo>
                          <a:pt x="21" y="34"/>
                          <a:pt x="24" y="17"/>
                          <a:pt x="14" y="10"/>
                        </a:cubicBezTo>
                        <a:cubicBezTo>
                          <a:pt x="11" y="5"/>
                          <a:pt x="6" y="0"/>
                          <a:pt x="0"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65" name="Freeform 2480">
                    <a:extLst>
                      <a:ext uri="{FF2B5EF4-FFF2-40B4-BE49-F238E27FC236}">
                        <a16:creationId xmlns:a16="http://schemas.microsoft.com/office/drawing/2014/main" id="{35D51D11-9D40-8F28-F079-E9494F84A7EC}"/>
                      </a:ext>
                    </a:extLst>
                  </p:cNvPr>
                  <p:cNvSpPr>
                    <a:spLocks noChangeAspect="1"/>
                  </p:cNvSpPr>
                  <p:nvPr/>
                </p:nvSpPr>
                <p:spPr bwMode="auto">
                  <a:xfrm>
                    <a:off x="2933" y="3220"/>
                    <a:ext cx="39" cy="37"/>
                  </a:xfrm>
                  <a:custGeom>
                    <a:avLst/>
                    <a:gdLst>
                      <a:gd name="T0" fmla="*/ 0 w 39"/>
                      <a:gd name="T1" fmla="*/ 0 h 37"/>
                      <a:gd name="T2" fmla="*/ 20 w 39"/>
                      <a:gd name="T3" fmla="*/ 11 h 37"/>
                      <a:gd name="T4" fmla="*/ 26 w 39"/>
                      <a:gd name="T5" fmla="*/ 15 h 37"/>
                      <a:gd name="T6" fmla="*/ 36 w 39"/>
                      <a:gd name="T7" fmla="*/ 33 h 37"/>
                      <a:gd name="T8" fmla="*/ 38 w 39"/>
                      <a:gd name="T9" fmla="*/ 36 h 37"/>
                      <a:gd name="T10" fmla="*/ 34 w 39"/>
                      <a:gd name="T11" fmla="*/ 35 h 37"/>
                      <a:gd name="T12" fmla="*/ 0 w 39"/>
                      <a:gd name="T13" fmla="*/ 0 h 37"/>
                      <a:gd name="T14" fmla="*/ 0 60000 65536"/>
                      <a:gd name="T15" fmla="*/ 0 60000 65536"/>
                      <a:gd name="T16" fmla="*/ 0 60000 65536"/>
                      <a:gd name="T17" fmla="*/ 0 60000 65536"/>
                      <a:gd name="T18" fmla="*/ 0 60000 65536"/>
                      <a:gd name="T19" fmla="*/ 0 60000 65536"/>
                      <a:gd name="T20" fmla="*/ 0 60000 65536"/>
                      <a:gd name="T21" fmla="*/ 0 w 39"/>
                      <a:gd name="T22" fmla="*/ 0 h 37"/>
                      <a:gd name="T23" fmla="*/ 39 w 39"/>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7">
                        <a:moveTo>
                          <a:pt x="0" y="0"/>
                        </a:moveTo>
                        <a:cubicBezTo>
                          <a:pt x="8" y="3"/>
                          <a:pt x="12" y="8"/>
                          <a:pt x="20" y="11"/>
                        </a:cubicBezTo>
                        <a:cubicBezTo>
                          <a:pt x="22" y="13"/>
                          <a:pt x="24" y="13"/>
                          <a:pt x="26" y="15"/>
                        </a:cubicBezTo>
                        <a:cubicBezTo>
                          <a:pt x="31" y="20"/>
                          <a:pt x="33" y="27"/>
                          <a:pt x="36" y="33"/>
                        </a:cubicBezTo>
                        <a:cubicBezTo>
                          <a:pt x="37" y="34"/>
                          <a:pt x="39" y="35"/>
                          <a:pt x="38" y="36"/>
                        </a:cubicBezTo>
                        <a:cubicBezTo>
                          <a:pt x="37" y="37"/>
                          <a:pt x="35" y="35"/>
                          <a:pt x="34" y="35"/>
                        </a:cubicBezTo>
                        <a:cubicBezTo>
                          <a:pt x="28" y="29"/>
                          <a:pt x="2" y="4"/>
                          <a:pt x="0"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66" name="Freeform 2481">
                    <a:extLst>
                      <a:ext uri="{FF2B5EF4-FFF2-40B4-BE49-F238E27FC236}">
                        <a16:creationId xmlns:a16="http://schemas.microsoft.com/office/drawing/2014/main" id="{0E4D613A-6620-BA14-FBBB-1F55FC02614E}"/>
                      </a:ext>
                    </a:extLst>
                  </p:cNvPr>
                  <p:cNvSpPr>
                    <a:spLocks noChangeAspect="1"/>
                  </p:cNvSpPr>
                  <p:nvPr/>
                </p:nvSpPr>
                <p:spPr bwMode="auto">
                  <a:xfrm>
                    <a:off x="2926" y="3185"/>
                    <a:ext cx="31" cy="34"/>
                  </a:xfrm>
                  <a:custGeom>
                    <a:avLst/>
                    <a:gdLst>
                      <a:gd name="T0" fmla="*/ 5 w 31"/>
                      <a:gd name="T1" fmla="*/ 2 h 34"/>
                      <a:gd name="T2" fmla="*/ 27 w 31"/>
                      <a:gd name="T3" fmla="*/ 23 h 34"/>
                      <a:gd name="T4" fmla="*/ 21 w 31"/>
                      <a:gd name="T5" fmla="*/ 27 h 34"/>
                      <a:gd name="T6" fmla="*/ 10 w 31"/>
                      <a:gd name="T7" fmla="*/ 13 h 34"/>
                      <a:gd name="T8" fmla="*/ 5 w 31"/>
                      <a:gd name="T9" fmla="*/ 2 h 34"/>
                      <a:gd name="T10" fmla="*/ 0 60000 65536"/>
                      <a:gd name="T11" fmla="*/ 0 60000 65536"/>
                      <a:gd name="T12" fmla="*/ 0 60000 65536"/>
                      <a:gd name="T13" fmla="*/ 0 60000 65536"/>
                      <a:gd name="T14" fmla="*/ 0 60000 65536"/>
                      <a:gd name="T15" fmla="*/ 0 w 31"/>
                      <a:gd name="T16" fmla="*/ 0 h 34"/>
                      <a:gd name="T17" fmla="*/ 31 w 31"/>
                      <a:gd name="T18" fmla="*/ 34 h 34"/>
                    </a:gdLst>
                    <a:ahLst/>
                    <a:cxnLst>
                      <a:cxn ang="T10">
                        <a:pos x="T0" y="T1"/>
                      </a:cxn>
                      <a:cxn ang="T11">
                        <a:pos x="T2" y="T3"/>
                      </a:cxn>
                      <a:cxn ang="T12">
                        <a:pos x="T4" y="T5"/>
                      </a:cxn>
                      <a:cxn ang="T13">
                        <a:pos x="T6" y="T7"/>
                      </a:cxn>
                      <a:cxn ang="T14">
                        <a:pos x="T8" y="T9"/>
                      </a:cxn>
                    </a:cxnLst>
                    <a:rect l="T15" t="T16" r="T17" b="T18"/>
                    <a:pathLst>
                      <a:path w="31" h="34">
                        <a:moveTo>
                          <a:pt x="5" y="2"/>
                        </a:moveTo>
                        <a:cubicBezTo>
                          <a:pt x="13" y="8"/>
                          <a:pt x="19" y="17"/>
                          <a:pt x="27" y="23"/>
                        </a:cubicBezTo>
                        <a:cubicBezTo>
                          <a:pt x="31" y="34"/>
                          <a:pt x="31" y="33"/>
                          <a:pt x="21" y="27"/>
                        </a:cubicBezTo>
                        <a:cubicBezTo>
                          <a:pt x="18" y="21"/>
                          <a:pt x="15" y="16"/>
                          <a:pt x="10" y="13"/>
                        </a:cubicBezTo>
                        <a:cubicBezTo>
                          <a:pt x="9" y="11"/>
                          <a:pt x="0" y="0"/>
                          <a:pt x="5" y="2"/>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67" name="Freeform 2482">
                    <a:extLst>
                      <a:ext uri="{FF2B5EF4-FFF2-40B4-BE49-F238E27FC236}">
                        <a16:creationId xmlns:a16="http://schemas.microsoft.com/office/drawing/2014/main" id="{6C05C008-C56E-E6CB-C76C-8C09B1FAA888}"/>
                      </a:ext>
                    </a:extLst>
                  </p:cNvPr>
                  <p:cNvSpPr>
                    <a:spLocks noChangeAspect="1"/>
                  </p:cNvSpPr>
                  <p:nvPr/>
                </p:nvSpPr>
                <p:spPr bwMode="auto">
                  <a:xfrm>
                    <a:off x="3023" y="3273"/>
                    <a:ext cx="27" cy="13"/>
                  </a:xfrm>
                  <a:custGeom>
                    <a:avLst/>
                    <a:gdLst>
                      <a:gd name="T0" fmla="*/ 0 w 27"/>
                      <a:gd name="T1" fmla="*/ 0 h 13"/>
                      <a:gd name="T2" fmla="*/ 11 w 27"/>
                      <a:gd name="T3" fmla="*/ 6 h 13"/>
                      <a:gd name="T4" fmla="*/ 27 w 27"/>
                      <a:gd name="T5" fmla="*/ 4 h 13"/>
                      <a:gd name="T6" fmla="*/ 12 w 27"/>
                      <a:gd name="T7" fmla="*/ 13 h 13"/>
                      <a:gd name="T8" fmla="*/ 0 w 27"/>
                      <a:gd name="T9" fmla="*/ 0 h 13"/>
                      <a:gd name="T10" fmla="*/ 0 60000 65536"/>
                      <a:gd name="T11" fmla="*/ 0 60000 65536"/>
                      <a:gd name="T12" fmla="*/ 0 60000 65536"/>
                      <a:gd name="T13" fmla="*/ 0 60000 65536"/>
                      <a:gd name="T14" fmla="*/ 0 60000 65536"/>
                      <a:gd name="T15" fmla="*/ 0 w 27"/>
                      <a:gd name="T16" fmla="*/ 0 h 13"/>
                      <a:gd name="T17" fmla="*/ 27 w 27"/>
                      <a:gd name="T18" fmla="*/ 13 h 13"/>
                    </a:gdLst>
                    <a:ahLst/>
                    <a:cxnLst>
                      <a:cxn ang="T10">
                        <a:pos x="T0" y="T1"/>
                      </a:cxn>
                      <a:cxn ang="T11">
                        <a:pos x="T2" y="T3"/>
                      </a:cxn>
                      <a:cxn ang="T12">
                        <a:pos x="T4" y="T5"/>
                      </a:cxn>
                      <a:cxn ang="T13">
                        <a:pos x="T6" y="T7"/>
                      </a:cxn>
                      <a:cxn ang="T14">
                        <a:pos x="T8" y="T9"/>
                      </a:cxn>
                    </a:cxnLst>
                    <a:rect l="T15" t="T16" r="T17" b="T18"/>
                    <a:pathLst>
                      <a:path w="27" h="13">
                        <a:moveTo>
                          <a:pt x="0" y="0"/>
                        </a:moveTo>
                        <a:cubicBezTo>
                          <a:pt x="3" y="3"/>
                          <a:pt x="11" y="6"/>
                          <a:pt x="11" y="6"/>
                        </a:cubicBezTo>
                        <a:cubicBezTo>
                          <a:pt x="17" y="5"/>
                          <a:pt x="22" y="3"/>
                          <a:pt x="27" y="4"/>
                        </a:cubicBezTo>
                        <a:cubicBezTo>
                          <a:pt x="24" y="12"/>
                          <a:pt x="19" y="12"/>
                          <a:pt x="12" y="13"/>
                        </a:cubicBezTo>
                        <a:cubicBezTo>
                          <a:pt x="5" y="11"/>
                          <a:pt x="0" y="8"/>
                          <a:pt x="0"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68" name="Freeform 2483">
                    <a:extLst>
                      <a:ext uri="{FF2B5EF4-FFF2-40B4-BE49-F238E27FC236}">
                        <a16:creationId xmlns:a16="http://schemas.microsoft.com/office/drawing/2014/main" id="{D26A275A-398D-3128-E07C-0226CF9683B2}"/>
                      </a:ext>
                    </a:extLst>
                  </p:cNvPr>
                  <p:cNvSpPr>
                    <a:spLocks noChangeAspect="1"/>
                  </p:cNvSpPr>
                  <p:nvPr/>
                </p:nvSpPr>
                <p:spPr bwMode="auto">
                  <a:xfrm>
                    <a:off x="3008" y="3284"/>
                    <a:ext cx="55" cy="11"/>
                  </a:xfrm>
                  <a:custGeom>
                    <a:avLst/>
                    <a:gdLst>
                      <a:gd name="T0" fmla="*/ 12 w 55"/>
                      <a:gd name="T1" fmla="*/ 4 h 11"/>
                      <a:gd name="T2" fmla="*/ 55 w 55"/>
                      <a:gd name="T3" fmla="*/ 4 h 11"/>
                      <a:gd name="T4" fmla="*/ 31 w 55"/>
                      <a:gd name="T5" fmla="*/ 8 h 11"/>
                      <a:gd name="T6" fmla="*/ 12 w 55"/>
                      <a:gd name="T7" fmla="*/ 4 h 11"/>
                      <a:gd name="T8" fmla="*/ 0 60000 65536"/>
                      <a:gd name="T9" fmla="*/ 0 60000 65536"/>
                      <a:gd name="T10" fmla="*/ 0 60000 65536"/>
                      <a:gd name="T11" fmla="*/ 0 60000 65536"/>
                      <a:gd name="T12" fmla="*/ 0 w 55"/>
                      <a:gd name="T13" fmla="*/ 0 h 11"/>
                      <a:gd name="T14" fmla="*/ 55 w 55"/>
                      <a:gd name="T15" fmla="*/ 11 h 11"/>
                    </a:gdLst>
                    <a:ahLst/>
                    <a:cxnLst>
                      <a:cxn ang="T8">
                        <a:pos x="T0" y="T1"/>
                      </a:cxn>
                      <a:cxn ang="T9">
                        <a:pos x="T2" y="T3"/>
                      </a:cxn>
                      <a:cxn ang="T10">
                        <a:pos x="T4" y="T5"/>
                      </a:cxn>
                      <a:cxn ang="T11">
                        <a:pos x="T6" y="T7"/>
                      </a:cxn>
                    </a:cxnLst>
                    <a:rect l="T12" t="T13" r="T14" b="T15"/>
                    <a:pathLst>
                      <a:path w="55" h="11">
                        <a:moveTo>
                          <a:pt x="12" y="4"/>
                        </a:moveTo>
                        <a:cubicBezTo>
                          <a:pt x="27" y="0"/>
                          <a:pt x="39" y="2"/>
                          <a:pt x="55" y="4"/>
                        </a:cubicBezTo>
                        <a:cubicBezTo>
                          <a:pt x="53" y="11"/>
                          <a:pt x="38" y="7"/>
                          <a:pt x="31" y="8"/>
                        </a:cubicBezTo>
                        <a:cubicBezTo>
                          <a:pt x="25" y="7"/>
                          <a:pt x="0" y="11"/>
                          <a:pt x="12" y="4"/>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69" name="Freeform 2484">
                    <a:extLst>
                      <a:ext uri="{FF2B5EF4-FFF2-40B4-BE49-F238E27FC236}">
                        <a16:creationId xmlns:a16="http://schemas.microsoft.com/office/drawing/2014/main" id="{8377EA89-2DDF-4B56-4B59-2FFC8982E26E}"/>
                      </a:ext>
                    </a:extLst>
                  </p:cNvPr>
                  <p:cNvSpPr>
                    <a:spLocks noChangeAspect="1"/>
                  </p:cNvSpPr>
                  <p:nvPr/>
                </p:nvSpPr>
                <p:spPr bwMode="auto">
                  <a:xfrm>
                    <a:off x="3032" y="3300"/>
                    <a:ext cx="33" cy="9"/>
                  </a:xfrm>
                  <a:custGeom>
                    <a:avLst/>
                    <a:gdLst>
                      <a:gd name="T0" fmla="*/ 5 w 33"/>
                      <a:gd name="T1" fmla="*/ 2 h 9"/>
                      <a:gd name="T2" fmla="*/ 30 w 33"/>
                      <a:gd name="T3" fmla="*/ 2 h 9"/>
                      <a:gd name="T4" fmla="*/ 19 w 33"/>
                      <a:gd name="T5" fmla="*/ 9 h 9"/>
                      <a:gd name="T6" fmla="*/ 5 w 33"/>
                      <a:gd name="T7" fmla="*/ 8 h 9"/>
                      <a:gd name="T8" fmla="*/ 5 w 33"/>
                      <a:gd name="T9" fmla="*/ 2 h 9"/>
                      <a:gd name="T10" fmla="*/ 0 60000 65536"/>
                      <a:gd name="T11" fmla="*/ 0 60000 65536"/>
                      <a:gd name="T12" fmla="*/ 0 60000 65536"/>
                      <a:gd name="T13" fmla="*/ 0 60000 65536"/>
                      <a:gd name="T14" fmla="*/ 0 60000 65536"/>
                      <a:gd name="T15" fmla="*/ 0 w 33"/>
                      <a:gd name="T16" fmla="*/ 0 h 9"/>
                      <a:gd name="T17" fmla="*/ 33 w 33"/>
                      <a:gd name="T18" fmla="*/ 9 h 9"/>
                    </a:gdLst>
                    <a:ahLst/>
                    <a:cxnLst>
                      <a:cxn ang="T10">
                        <a:pos x="T0" y="T1"/>
                      </a:cxn>
                      <a:cxn ang="T11">
                        <a:pos x="T2" y="T3"/>
                      </a:cxn>
                      <a:cxn ang="T12">
                        <a:pos x="T4" y="T5"/>
                      </a:cxn>
                      <a:cxn ang="T13">
                        <a:pos x="T6" y="T7"/>
                      </a:cxn>
                      <a:cxn ang="T14">
                        <a:pos x="T8" y="T9"/>
                      </a:cxn>
                    </a:cxnLst>
                    <a:rect l="T15" t="T16" r="T17" b="T18"/>
                    <a:pathLst>
                      <a:path w="33" h="9">
                        <a:moveTo>
                          <a:pt x="5" y="2"/>
                        </a:moveTo>
                        <a:cubicBezTo>
                          <a:pt x="6" y="2"/>
                          <a:pt x="27" y="0"/>
                          <a:pt x="30" y="2"/>
                        </a:cubicBezTo>
                        <a:cubicBezTo>
                          <a:pt x="33" y="4"/>
                          <a:pt x="19" y="9"/>
                          <a:pt x="19" y="9"/>
                        </a:cubicBezTo>
                        <a:cubicBezTo>
                          <a:pt x="14" y="9"/>
                          <a:pt x="9" y="9"/>
                          <a:pt x="5" y="8"/>
                        </a:cubicBezTo>
                        <a:cubicBezTo>
                          <a:pt x="0" y="6"/>
                          <a:pt x="5" y="0"/>
                          <a:pt x="5" y="2"/>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70" name="Freeform 2485">
                    <a:extLst>
                      <a:ext uri="{FF2B5EF4-FFF2-40B4-BE49-F238E27FC236}">
                        <a16:creationId xmlns:a16="http://schemas.microsoft.com/office/drawing/2014/main" id="{2B5E2811-0AA2-9377-A596-B55C1E8DA424}"/>
                      </a:ext>
                    </a:extLst>
                  </p:cNvPr>
                  <p:cNvSpPr>
                    <a:spLocks noChangeAspect="1"/>
                  </p:cNvSpPr>
                  <p:nvPr/>
                </p:nvSpPr>
                <p:spPr bwMode="auto">
                  <a:xfrm>
                    <a:off x="3074" y="3312"/>
                    <a:ext cx="20" cy="10"/>
                  </a:xfrm>
                  <a:custGeom>
                    <a:avLst/>
                    <a:gdLst>
                      <a:gd name="T0" fmla="*/ 0 w 20"/>
                      <a:gd name="T1" fmla="*/ 2 h 10"/>
                      <a:gd name="T2" fmla="*/ 20 w 20"/>
                      <a:gd name="T3" fmla="*/ 4 h 10"/>
                      <a:gd name="T4" fmla="*/ 0 w 20"/>
                      <a:gd name="T5" fmla="*/ 2 h 10"/>
                      <a:gd name="T6" fmla="*/ 0 60000 65536"/>
                      <a:gd name="T7" fmla="*/ 0 60000 65536"/>
                      <a:gd name="T8" fmla="*/ 0 60000 65536"/>
                      <a:gd name="T9" fmla="*/ 0 w 20"/>
                      <a:gd name="T10" fmla="*/ 0 h 10"/>
                      <a:gd name="T11" fmla="*/ 20 w 20"/>
                      <a:gd name="T12" fmla="*/ 10 h 10"/>
                    </a:gdLst>
                    <a:ahLst/>
                    <a:cxnLst>
                      <a:cxn ang="T6">
                        <a:pos x="T0" y="T1"/>
                      </a:cxn>
                      <a:cxn ang="T7">
                        <a:pos x="T2" y="T3"/>
                      </a:cxn>
                      <a:cxn ang="T8">
                        <a:pos x="T4" y="T5"/>
                      </a:cxn>
                    </a:cxnLst>
                    <a:rect l="T9" t="T10" r="T11" b="T12"/>
                    <a:pathLst>
                      <a:path w="20" h="10">
                        <a:moveTo>
                          <a:pt x="0" y="2"/>
                        </a:moveTo>
                        <a:cubicBezTo>
                          <a:pt x="6" y="0"/>
                          <a:pt x="14" y="2"/>
                          <a:pt x="20" y="4"/>
                        </a:cubicBezTo>
                        <a:cubicBezTo>
                          <a:pt x="20" y="4"/>
                          <a:pt x="0" y="10"/>
                          <a:pt x="0" y="2"/>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71" name="Freeform 2486">
                    <a:extLst>
                      <a:ext uri="{FF2B5EF4-FFF2-40B4-BE49-F238E27FC236}">
                        <a16:creationId xmlns:a16="http://schemas.microsoft.com/office/drawing/2014/main" id="{9D4F5FC5-4E67-EA67-7CEF-41E76246088A}"/>
                      </a:ext>
                    </a:extLst>
                  </p:cNvPr>
                  <p:cNvSpPr>
                    <a:spLocks noChangeAspect="1"/>
                  </p:cNvSpPr>
                  <p:nvPr/>
                </p:nvSpPr>
                <p:spPr bwMode="auto">
                  <a:xfrm>
                    <a:off x="2859" y="3044"/>
                    <a:ext cx="302" cy="289"/>
                  </a:xfrm>
                  <a:custGeom>
                    <a:avLst/>
                    <a:gdLst>
                      <a:gd name="T0" fmla="*/ 248 w 302"/>
                      <a:gd name="T1" fmla="*/ 268 h 289"/>
                      <a:gd name="T2" fmla="*/ 235 w 302"/>
                      <a:gd name="T3" fmla="*/ 256 h 289"/>
                      <a:gd name="T4" fmla="*/ 220 w 302"/>
                      <a:gd name="T5" fmla="*/ 244 h 289"/>
                      <a:gd name="T6" fmla="*/ 192 w 302"/>
                      <a:gd name="T7" fmla="*/ 215 h 289"/>
                      <a:gd name="T8" fmla="*/ 170 w 302"/>
                      <a:gd name="T9" fmla="*/ 193 h 289"/>
                      <a:gd name="T10" fmla="*/ 131 w 302"/>
                      <a:gd name="T11" fmla="*/ 140 h 289"/>
                      <a:gd name="T12" fmla="*/ 119 w 302"/>
                      <a:gd name="T13" fmla="*/ 98 h 289"/>
                      <a:gd name="T14" fmla="*/ 158 w 302"/>
                      <a:gd name="T15" fmla="*/ 101 h 289"/>
                      <a:gd name="T16" fmla="*/ 196 w 302"/>
                      <a:gd name="T17" fmla="*/ 101 h 289"/>
                      <a:gd name="T18" fmla="*/ 244 w 302"/>
                      <a:gd name="T19" fmla="*/ 94 h 289"/>
                      <a:gd name="T20" fmla="*/ 277 w 302"/>
                      <a:gd name="T21" fmla="*/ 110 h 289"/>
                      <a:gd name="T22" fmla="*/ 293 w 302"/>
                      <a:gd name="T23" fmla="*/ 91 h 289"/>
                      <a:gd name="T24" fmla="*/ 295 w 302"/>
                      <a:gd name="T25" fmla="*/ 77 h 289"/>
                      <a:gd name="T26" fmla="*/ 283 w 302"/>
                      <a:gd name="T27" fmla="*/ 67 h 289"/>
                      <a:gd name="T28" fmla="*/ 275 w 302"/>
                      <a:gd name="T29" fmla="*/ 53 h 289"/>
                      <a:gd name="T30" fmla="*/ 250 w 302"/>
                      <a:gd name="T31" fmla="*/ 44 h 289"/>
                      <a:gd name="T32" fmla="*/ 204 w 302"/>
                      <a:gd name="T33" fmla="*/ 44 h 289"/>
                      <a:gd name="T34" fmla="*/ 186 w 302"/>
                      <a:gd name="T35" fmla="*/ 30 h 289"/>
                      <a:gd name="T36" fmla="*/ 145 w 302"/>
                      <a:gd name="T37" fmla="*/ 4 h 289"/>
                      <a:gd name="T38" fmla="*/ 133 w 302"/>
                      <a:gd name="T39" fmla="*/ 7 h 289"/>
                      <a:gd name="T40" fmla="*/ 109 w 302"/>
                      <a:gd name="T41" fmla="*/ 25 h 289"/>
                      <a:gd name="T42" fmla="*/ 91 w 302"/>
                      <a:gd name="T43" fmla="*/ 64 h 289"/>
                      <a:gd name="T44" fmla="*/ 85 w 302"/>
                      <a:gd name="T45" fmla="*/ 90 h 289"/>
                      <a:gd name="T46" fmla="*/ 62 w 302"/>
                      <a:gd name="T47" fmla="*/ 86 h 289"/>
                      <a:gd name="T48" fmla="*/ 54 w 302"/>
                      <a:gd name="T49" fmla="*/ 76 h 289"/>
                      <a:gd name="T50" fmla="*/ 47 w 302"/>
                      <a:gd name="T51" fmla="*/ 88 h 289"/>
                      <a:gd name="T52" fmla="*/ 34 w 302"/>
                      <a:gd name="T53" fmla="*/ 89 h 289"/>
                      <a:gd name="T54" fmla="*/ 20 w 302"/>
                      <a:gd name="T55" fmla="*/ 89 h 289"/>
                      <a:gd name="T56" fmla="*/ 1 w 302"/>
                      <a:gd name="T57" fmla="*/ 95 h 289"/>
                      <a:gd name="T58" fmla="*/ 16 w 302"/>
                      <a:gd name="T59" fmla="*/ 122 h 289"/>
                      <a:gd name="T60" fmla="*/ 34 w 302"/>
                      <a:gd name="T61" fmla="*/ 115 h 289"/>
                      <a:gd name="T62" fmla="*/ 52 w 302"/>
                      <a:gd name="T63" fmla="*/ 97 h 289"/>
                      <a:gd name="T64" fmla="*/ 76 w 302"/>
                      <a:gd name="T65" fmla="*/ 112 h 289"/>
                      <a:gd name="T66" fmla="*/ 88 w 302"/>
                      <a:gd name="T67" fmla="*/ 145 h 289"/>
                      <a:gd name="T68" fmla="*/ 103 w 302"/>
                      <a:gd name="T69" fmla="*/ 168 h 289"/>
                      <a:gd name="T70" fmla="*/ 121 w 302"/>
                      <a:gd name="T71" fmla="*/ 199 h 289"/>
                      <a:gd name="T72" fmla="*/ 192 w 302"/>
                      <a:gd name="T73" fmla="*/ 229 h 289"/>
                      <a:gd name="T74" fmla="*/ 209 w 302"/>
                      <a:gd name="T75" fmla="*/ 246 h 289"/>
                      <a:gd name="T76" fmla="*/ 239 w 302"/>
                      <a:gd name="T77" fmla="*/ 266 h 289"/>
                      <a:gd name="T78" fmla="*/ 262 w 302"/>
                      <a:gd name="T79" fmla="*/ 278 h 289"/>
                      <a:gd name="T80" fmla="*/ 275 w 302"/>
                      <a:gd name="T81" fmla="*/ 289 h 28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2"/>
                      <a:gd name="T124" fmla="*/ 0 h 289"/>
                      <a:gd name="T125" fmla="*/ 302 w 302"/>
                      <a:gd name="T126" fmla="*/ 289 h 28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2" h="289">
                        <a:moveTo>
                          <a:pt x="275" y="289"/>
                        </a:moveTo>
                        <a:cubicBezTo>
                          <a:pt x="272" y="273"/>
                          <a:pt x="260" y="274"/>
                          <a:pt x="248" y="268"/>
                        </a:cubicBezTo>
                        <a:cubicBezTo>
                          <a:pt x="246" y="265"/>
                          <a:pt x="243" y="262"/>
                          <a:pt x="241" y="260"/>
                        </a:cubicBezTo>
                        <a:cubicBezTo>
                          <a:pt x="239" y="258"/>
                          <a:pt x="235" y="256"/>
                          <a:pt x="235" y="256"/>
                        </a:cubicBezTo>
                        <a:cubicBezTo>
                          <a:pt x="233" y="251"/>
                          <a:pt x="231" y="248"/>
                          <a:pt x="226" y="246"/>
                        </a:cubicBezTo>
                        <a:cubicBezTo>
                          <a:pt x="224" y="245"/>
                          <a:pt x="220" y="244"/>
                          <a:pt x="220" y="244"/>
                        </a:cubicBezTo>
                        <a:cubicBezTo>
                          <a:pt x="213" y="237"/>
                          <a:pt x="210" y="232"/>
                          <a:pt x="204" y="223"/>
                        </a:cubicBezTo>
                        <a:cubicBezTo>
                          <a:pt x="199" y="218"/>
                          <a:pt x="196" y="218"/>
                          <a:pt x="192" y="215"/>
                        </a:cubicBezTo>
                        <a:cubicBezTo>
                          <a:pt x="190" y="206"/>
                          <a:pt x="189" y="204"/>
                          <a:pt x="180" y="203"/>
                        </a:cubicBezTo>
                        <a:cubicBezTo>
                          <a:pt x="175" y="201"/>
                          <a:pt x="175" y="196"/>
                          <a:pt x="170" y="193"/>
                        </a:cubicBezTo>
                        <a:cubicBezTo>
                          <a:pt x="158" y="185"/>
                          <a:pt x="152" y="173"/>
                          <a:pt x="145" y="162"/>
                        </a:cubicBezTo>
                        <a:cubicBezTo>
                          <a:pt x="141" y="154"/>
                          <a:pt x="137" y="146"/>
                          <a:pt x="131" y="140"/>
                        </a:cubicBezTo>
                        <a:cubicBezTo>
                          <a:pt x="127" y="136"/>
                          <a:pt x="119" y="131"/>
                          <a:pt x="119" y="131"/>
                        </a:cubicBezTo>
                        <a:cubicBezTo>
                          <a:pt x="115" y="120"/>
                          <a:pt x="115" y="110"/>
                          <a:pt x="119" y="98"/>
                        </a:cubicBezTo>
                        <a:cubicBezTo>
                          <a:pt x="129" y="100"/>
                          <a:pt x="132" y="105"/>
                          <a:pt x="140" y="110"/>
                        </a:cubicBezTo>
                        <a:cubicBezTo>
                          <a:pt x="153" y="109"/>
                          <a:pt x="150" y="107"/>
                          <a:pt x="158" y="101"/>
                        </a:cubicBezTo>
                        <a:cubicBezTo>
                          <a:pt x="160" y="98"/>
                          <a:pt x="162" y="96"/>
                          <a:pt x="166" y="95"/>
                        </a:cubicBezTo>
                        <a:cubicBezTo>
                          <a:pt x="181" y="96"/>
                          <a:pt x="184" y="97"/>
                          <a:pt x="196" y="101"/>
                        </a:cubicBezTo>
                        <a:cubicBezTo>
                          <a:pt x="209" y="100"/>
                          <a:pt x="219" y="98"/>
                          <a:pt x="232" y="97"/>
                        </a:cubicBezTo>
                        <a:cubicBezTo>
                          <a:pt x="236" y="96"/>
                          <a:pt x="244" y="94"/>
                          <a:pt x="244" y="94"/>
                        </a:cubicBezTo>
                        <a:cubicBezTo>
                          <a:pt x="250" y="96"/>
                          <a:pt x="262" y="96"/>
                          <a:pt x="268" y="97"/>
                        </a:cubicBezTo>
                        <a:cubicBezTo>
                          <a:pt x="274" y="103"/>
                          <a:pt x="269" y="109"/>
                          <a:pt x="277" y="110"/>
                        </a:cubicBezTo>
                        <a:cubicBezTo>
                          <a:pt x="284" y="113"/>
                          <a:pt x="286" y="111"/>
                          <a:pt x="292" y="107"/>
                        </a:cubicBezTo>
                        <a:cubicBezTo>
                          <a:pt x="293" y="102"/>
                          <a:pt x="290" y="96"/>
                          <a:pt x="293" y="91"/>
                        </a:cubicBezTo>
                        <a:cubicBezTo>
                          <a:pt x="295" y="88"/>
                          <a:pt x="302" y="84"/>
                          <a:pt x="302" y="84"/>
                        </a:cubicBezTo>
                        <a:cubicBezTo>
                          <a:pt x="301" y="79"/>
                          <a:pt x="300" y="79"/>
                          <a:pt x="295" y="77"/>
                        </a:cubicBezTo>
                        <a:cubicBezTo>
                          <a:pt x="293" y="73"/>
                          <a:pt x="288" y="71"/>
                          <a:pt x="284" y="70"/>
                        </a:cubicBezTo>
                        <a:cubicBezTo>
                          <a:pt x="284" y="69"/>
                          <a:pt x="284" y="68"/>
                          <a:pt x="283" y="67"/>
                        </a:cubicBezTo>
                        <a:cubicBezTo>
                          <a:pt x="282" y="66"/>
                          <a:pt x="280" y="67"/>
                          <a:pt x="280" y="66"/>
                        </a:cubicBezTo>
                        <a:cubicBezTo>
                          <a:pt x="274" y="51"/>
                          <a:pt x="282" y="58"/>
                          <a:pt x="275" y="53"/>
                        </a:cubicBezTo>
                        <a:cubicBezTo>
                          <a:pt x="272" y="44"/>
                          <a:pt x="272" y="47"/>
                          <a:pt x="271" y="34"/>
                        </a:cubicBezTo>
                        <a:cubicBezTo>
                          <a:pt x="263" y="37"/>
                          <a:pt x="258" y="41"/>
                          <a:pt x="250" y="44"/>
                        </a:cubicBezTo>
                        <a:cubicBezTo>
                          <a:pt x="248" y="45"/>
                          <a:pt x="244" y="48"/>
                          <a:pt x="244" y="48"/>
                        </a:cubicBezTo>
                        <a:cubicBezTo>
                          <a:pt x="230" y="47"/>
                          <a:pt x="218" y="46"/>
                          <a:pt x="204" y="44"/>
                        </a:cubicBezTo>
                        <a:cubicBezTo>
                          <a:pt x="201" y="41"/>
                          <a:pt x="200" y="36"/>
                          <a:pt x="196" y="35"/>
                        </a:cubicBezTo>
                        <a:cubicBezTo>
                          <a:pt x="193" y="31"/>
                          <a:pt x="191" y="31"/>
                          <a:pt x="186" y="30"/>
                        </a:cubicBezTo>
                        <a:cubicBezTo>
                          <a:pt x="183" y="22"/>
                          <a:pt x="163" y="16"/>
                          <a:pt x="155" y="13"/>
                        </a:cubicBezTo>
                        <a:cubicBezTo>
                          <a:pt x="150" y="6"/>
                          <a:pt x="150" y="6"/>
                          <a:pt x="145" y="4"/>
                        </a:cubicBezTo>
                        <a:cubicBezTo>
                          <a:pt x="145" y="4"/>
                          <a:pt x="141" y="0"/>
                          <a:pt x="139" y="1"/>
                        </a:cubicBezTo>
                        <a:cubicBezTo>
                          <a:pt x="137" y="2"/>
                          <a:pt x="133" y="7"/>
                          <a:pt x="133" y="7"/>
                        </a:cubicBezTo>
                        <a:cubicBezTo>
                          <a:pt x="132" y="13"/>
                          <a:pt x="126" y="19"/>
                          <a:pt x="119" y="22"/>
                        </a:cubicBezTo>
                        <a:cubicBezTo>
                          <a:pt x="116" y="23"/>
                          <a:pt x="109" y="25"/>
                          <a:pt x="109" y="25"/>
                        </a:cubicBezTo>
                        <a:cubicBezTo>
                          <a:pt x="104" y="32"/>
                          <a:pt x="107" y="41"/>
                          <a:pt x="110" y="49"/>
                        </a:cubicBezTo>
                        <a:cubicBezTo>
                          <a:pt x="108" y="54"/>
                          <a:pt x="96" y="58"/>
                          <a:pt x="91" y="64"/>
                        </a:cubicBezTo>
                        <a:cubicBezTo>
                          <a:pt x="93" y="71"/>
                          <a:pt x="94" y="74"/>
                          <a:pt x="95" y="82"/>
                        </a:cubicBezTo>
                        <a:cubicBezTo>
                          <a:pt x="92" y="84"/>
                          <a:pt x="88" y="89"/>
                          <a:pt x="85" y="90"/>
                        </a:cubicBezTo>
                        <a:cubicBezTo>
                          <a:pt x="78" y="89"/>
                          <a:pt x="78" y="89"/>
                          <a:pt x="76" y="83"/>
                        </a:cubicBezTo>
                        <a:cubicBezTo>
                          <a:pt x="71" y="84"/>
                          <a:pt x="67" y="85"/>
                          <a:pt x="62" y="86"/>
                        </a:cubicBezTo>
                        <a:cubicBezTo>
                          <a:pt x="52" y="84"/>
                          <a:pt x="63" y="88"/>
                          <a:pt x="56" y="72"/>
                        </a:cubicBezTo>
                        <a:cubicBezTo>
                          <a:pt x="55" y="71"/>
                          <a:pt x="55" y="75"/>
                          <a:pt x="54" y="76"/>
                        </a:cubicBezTo>
                        <a:cubicBezTo>
                          <a:pt x="52" y="79"/>
                          <a:pt x="52" y="79"/>
                          <a:pt x="49" y="82"/>
                        </a:cubicBezTo>
                        <a:cubicBezTo>
                          <a:pt x="48" y="84"/>
                          <a:pt x="48" y="86"/>
                          <a:pt x="47" y="88"/>
                        </a:cubicBezTo>
                        <a:cubicBezTo>
                          <a:pt x="46" y="90"/>
                          <a:pt x="41" y="90"/>
                          <a:pt x="41" y="90"/>
                        </a:cubicBezTo>
                        <a:cubicBezTo>
                          <a:pt x="39" y="90"/>
                          <a:pt x="36" y="90"/>
                          <a:pt x="34" y="89"/>
                        </a:cubicBezTo>
                        <a:cubicBezTo>
                          <a:pt x="33" y="89"/>
                          <a:pt x="33" y="86"/>
                          <a:pt x="32" y="86"/>
                        </a:cubicBezTo>
                        <a:cubicBezTo>
                          <a:pt x="28" y="86"/>
                          <a:pt x="20" y="89"/>
                          <a:pt x="20" y="89"/>
                        </a:cubicBezTo>
                        <a:cubicBezTo>
                          <a:pt x="15" y="92"/>
                          <a:pt x="10" y="95"/>
                          <a:pt x="5" y="96"/>
                        </a:cubicBezTo>
                        <a:cubicBezTo>
                          <a:pt x="4" y="96"/>
                          <a:pt x="0" y="95"/>
                          <a:pt x="1" y="95"/>
                        </a:cubicBezTo>
                        <a:cubicBezTo>
                          <a:pt x="3" y="95"/>
                          <a:pt x="5" y="94"/>
                          <a:pt x="6" y="96"/>
                        </a:cubicBezTo>
                        <a:cubicBezTo>
                          <a:pt x="12" y="113"/>
                          <a:pt x="3" y="113"/>
                          <a:pt x="16" y="122"/>
                        </a:cubicBezTo>
                        <a:cubicBezTo>
                          <a:pt x="18" y="127"/>
                          <a:pt x="18" y="133"/>
                          <a:pt x="22" y="136"/>
                        </a:cubicBezTo>
                        <a:cubicBezTo>
                          <a:pt x="30" y="132"/>
                          <a:pt x="30" y="123"/>
                          <a:pt x="34" y="115"/>
                        </a:cubicBezTo>
                        <a:cubicBezTo>
                          <a:pt x="35" y="109"/>
                          <a:pt x="35" y="104"/>
                          <a:pt x="40" y="101"/>
                        </a:cubicBezTo>
                        <a:cubicBezTo>
                          <a:pt x="45" y="94"/>
                          <a:pt x="44" y="94"/>
                          <a:pt x="52" y="97"/>
                        </a:cubicBezTo>
                        <a:cubicBezTo>
                          <a:pt x="55" y="101"/>
                          <a:pt x="64" y="104"/>
                          <a:pt x="64" y="104"/>
                        </a:cubicBezTo>
                        <a:cubicBezTo>
                          <a:pt x="67" y="108"/>
                          <a:pt x="72" y="109"/>
                          <a:pt x="76" y="112"/>
                        </a:cubicBezTo>
                        <a:cubicBezTo>
                          <a:pt x="78" y="113"/>
                          <a:pt x="82" y="114"/>
                          <a:pt x="82" y="114"/>
                        </a:cubicBezTo>
                        <a:cubicBezTo>
                          <a:pt x="75" y="123"/>
                          <a:pt x="78" y="138"/>
                          <a:pt x="88" y="145"/>
                        </a:cubicBezTo>
                        <a:cubicBezTo>
                          <a:pt x="90" y="151"/>
                          <a:pt x="90" y="153"/>
                          <a:pt x="95" y="156"/>
                        </a:cubicBezTo>
                        <a:cubicBezTo>
                          <a:pt x="96" y="161"/>
                          <a:pt x="98" y="165"/>
                          <a:pt x="103" y="168"/>
                        </a:cubicBezTo>
                        <a:cubicBezTo>
                          <a:pt x="104" y="174"/>
                          <a:pt x="107" y="186"/>
                          <a:pt x="112" y="191"/>
                        </a:cubicBezTo>
                        <a:cubicBezTo>
                          <a:pt x="115" y="194"/>
                          <a:pt x="121" y="199"/>
                          <a:pt x="121" y="199"/>
                        </a:cubicBezTo>
                        <a:cubicBezTo>
                          <a:pt x="122" y="203"/>
                          <a:pt x="126" y="208"/>
                          <a:pt x="130" y="210"/>
                        </a:cubicBezTo>
                        <a:cubicBezTo>
                          <a:pt x="136" y="233"/>
                          <a:pt x="173" y="228"/>
                          <a:pt x="192" y="229"/>
                        </a:cubicBezTo>
                        <a:cubicBezTo>
                          <a:pt x="195" y="231"/>
                          <a:pt x="202" y="236"/>
                          <a:pt x="202" y="236"/>
                        </a:cubicBezTo>
                        <a:cubicBezTo>
                          <a:pt x="203" y="240"/>
                          <a:pt x="205" y="245"/>
                          <a:pt x="209" y="246"/>
                        </a:cubicBezTo>
                        <a:cubicBezTo>
                          <a:pt x="212" y="252"/>
                          <a:pt x="221" y="257"/>
                          <a:pt x="226" y="262"/>
                        </a:cubicBezTo>
                        <a:cubicBezTo>
                          <a:pt x="229" y="265"/>
                          <a:pt x="239" y="266"/>
                          <a:pt x="239" y="266"/>
                        </a:cubicBezTo>
                        <a:cubicBezTo>
                          <a:pt x="242" y="270"/>
                          <a:pt x="246" y="274"/>
                          <a:pt x="251" y="275"/>
                        </a:cubicBezTo>
                        <a:cubicBezTo>
                          <a:pt x="255" y="276"/>
                          <a:pt x="262" y="278"/>
                          <a:pt x="262" y="278"/>
                        </a:cubicBezTo>
                        <a:cubicBezTo>
                          <a:pt x="264" y="280"/>
                          <a:pt x="265" y="281"/>
                          <a:pt x="266" y="282"/>
                        </a:cubicBezTo>
                        <a:lnTo>
                          <a:pt x="275" y="289"/>
                        </a:ln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grpSp>
              <p:nvGrpSpPr>
                <p:cNvPr id="83" name="Group 74">
                  <a:extLst>
                    <a:ext uri="{FF2B5EF4-FFF2-40B4-BE49-F238E27FC236}">
                      <a16:creationId xmlns:a16="http://schemas.microsoft.com/office/drawing/2014/main" id="{EF54B911-D0EF-1C4C-8290-8C66D09BBCDE}"/>
                    </a:ext>
                  </a:extLst>
                </p:cNvPr>
                <p:cNvGrpSpPr>
                  <a:grpSpLocks/>
                </p:cNvGrpSpPr>
                <p:nvPr/>
              </p:nvGrpSpPr>
              <p:grpSpPr bwMode="auto">
                <a:xfrm>
                  <a:off x="3967161" y="4796235"/>
                  <a:ext cx="1046559" cy="1199753"/>
                  <a:chOff x="1975" y="6876"/>
                  <a:chExt cx="2640" cy="3022"/>
                </a:xfrm>
                <a:grpFill/>
              </p:grpSpPr>
              <p:sp>
                <p:nvSpPr>
                  <p:cNvPr id="159" name="Freeform 2488">
                    <a:extLst>
                      <a:ext uri="{FF2B5EF4-FFF2-40B4-BE49-F238E27FC236}">
                        <a16:creationId xmlns:a16="http://schemas.microsoft.com/office/drawing/2014/main" id="{FF821F5E-EBD1-30E9-711B-8AB0FF26511B}"/>
                      </a:ext>
                    </a:extLst>
                  </p:cNvPr>
                  <p:cNvSpPr>
                    <a:spLocks noChangeAspect="1"/>
                  </p:cNvSpPr>
                  <p:nvPr/>
                </p:nvSpPr>
                <p:spPr bwMode="auto">
                  <a:xfrm>
                    <a:off x="3259" y="9410"/>
                    <a:ext cx="764" cy="488"/>
                  </a:xfrm>
                  <a:custGeom>
                    <a:avLst/>
                    <a:gdLst>
                      <a:gd name="T0" fmla="*/ 180 w 191"/>
                      <a:gd name="T1" fmla="*/ 0 h 122"/>
                      <a:gd name="T2" fmla="*/ 165 w 191"/>
                      <a:gd name="T3" fmla="*/ 8 h 122"/>
                      <a:gd name="T4" fmla="*/ 156 w 191"/>
                      <a:gd name="T5" fmla="*/ 14 h 122"/>
                      <a:gd name="T6" fmla="*/ 135 w 191"/>
                      <a:gd name="T7" fmla="*/ 13 h 122"/>
                      <a:gd name="T8" fmla="*/ 114 w 191"/>
                      <a:gd name="T9" fmla="*/ 25 h 122"/>
                      <a:gd name="T10" fmla="*/ 97 w 191"/>
                      <a:gd name="T11" fmla="*/ 24 h 122"/>
                      <a:gd name="T12" fmla="*/ 78 w 191"/>
                      <a:gd name="T13" fmla="*/ 33 h 122"/>
                      <a:gd name="T14" fmla="*/ 63 w 191"/>
                      <a:gd name="T15" fmla="*/ 26 h 122"/>
                      <a:gd name="T16" fmla="*/ 62 w 191"/>
                      <a:gd name="T17" fmla="*/ 21 h 122"/>
                      <a:gd name="T18" fmla="*/ 58 w 191"/>
                      <a:gd name="T19" fmla="*/ 20 h 122"/>
                      <a:gd name="T20" fmla="*/ 52 w 191"/>
                      <a:gd name="T21" fmla="*/ 13 h 122"/>
                      <a:gd name="T22" fmla="*/ 38 w 191"/>
                      <a:gd name="T23" fmla="*/ 18 h 122"/>
                      <a:gd name="T24" fmla="*/ 30 w 191"/>
                      <a:gd name="T25" fmla="*/ 27 h 122"/>
                      <a:gd name="T26" fmla="*/ 18 w 191"/>
                      <a:gd name="T27" fmla="*/ 19 h 122"/>
                      <a:gd name="T28" fmla="*/ 3 w 191"/>
                      <a:gd name="T29" fmla="*/ 27 h 122"/>
                      <a:gd name="T30" fmla="*/ 0 w 191"/>
                      <a:gd name="T31" fmla="*/ 33 h 122"/>
                      <a:gd name="T32" fmla="*/ 2 w 191"/>
                      <a:gd name="T33" fmla="*/ 39 h 122"/>
                      <a:gd name="T34" fmla="*/ 3 w 191"/>
                      <a:gd name="T35" fmla="*/ 55 h 122"/>
                      <a:gd name="T36" fmla="*/ 9 w 191"/>
                      <a:gd name="T37" fmla="*/ 57 h 122"/>
                      <a:gd name="T38" fmla="*/ 18 w 191"/>
                      <a:gd name="T39" fmla="*/ 66 h 122"/>
                      <a:gd name="T40" fmla="*/ 36 w 191"/>
                      <a:gd name="T41" fmla="*/ 65 h 122"/>
                      <a:gd name="T42" fmla="*/ 46 w 191"/>
                      <a:gd name="T43" fmla="*/ 69 h 122"/>
                      <a:gd name="T44" fmla="*/ 55 w 191"/>
                      <a:gd name="T45" fmla="*/ 73 h 122"/>
                      <a:gd name="T46" fmla="*/ 72 w 191"/>
                      <a:gd name="T47" fmla="*/ 85 h 122"/>
                      <a:gd name="T48" fmla="*/ 82 w 191"/>
                      <a:gd name="T49" fmla="*/ 92 h 122"/>
                      <a:gd name="T50" fmla="*/ 111 w 191"/>
                      <a:gd name="T51" fmla="*/ 95 h 122"/>
                      <a:gd name="T52" fmla="*/ 121 w 191"/>
                      <a:gd name="T53" fmla="*/ 103 h 122"/>
                      <a:gd name="T54" fmla="*/ 136 w 191"/>
                      <a:gd name="T55" fmla="*/ 120 h 122"/>
                      <a:gd name="T56" fmla="*/ 164 w 191"/>
                      <a:gd name="T57" fmla="*/ 122 h 122"/>
                      <a:gd name="T58" fmla="*/ 164 w 191"/>
                      <a:gd name="T59" fmla="*/ 111 h 122"/>
                      <a:gd name="T60" fmla="*/ 169 w 191"/>
                      <a:gd name="T61" fmla="*/ 102 h 122"/>
                      <a:gd name="T62" fmla="*/ 177 w 191"/>
                      <a:gd name="T63" fmla="*/ 92 h 122"/>
                      <a:gd name="T64" fmla="*/ 171 w 191"/>
                      <a:gd name="T65" fmla="*/ 84 h 122"/>
                      <a:gd name="T66" fmla="*/ 160 w 191"/>
                      <a:gd name="T67" fmla="*/ 73 h 122"/>
                      <a:gd name="T68" fmla="*/ 164 w 191"/>
                      <a:gd name="T69" fmla="*/ 56 h 122"/>
                      <a:gd name="T70" fmla="*/ 168 w 191"/>
                      <a:gd name="T71" fmla="*/ 50 h 122"/>
                      <a:gd name="T72" fmla="*/ 184 w 191"/>
                      <a:gd name="T73" fmla="*/ 18 h 122"/>
                      <a:gd name="T74" fmla="*/ 180 w 191"/>
                      <a:gd name="T75" fmla="*/ 0 h 12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1"/>
                      <a:gd name="T115" fmla="*/ 0 h 122"/>
                      <a:gd name="T116" fmla="*/ 191 w 191"/>
                      <a:gd name="T117" fmla="*/ 122 h 12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1" h="122">
                        <a:moveTo>
                          <a:pt x="180" y="0"/>
                        </a:moveTo>
                        <a:cubicBezTo>
                          <a:pt x="174" y="2"/>
                          <a:pt x="171" y="6"/>
                          <a:pt x="165" y="8"/>
                        </a:cubicBezTo>
                        <a:cubicBezTo>
                          <a:pt x="162" y="11"/>
                          <a:pt x="159" y="12"/>
                          <a:pt x="156" y="14"/>
                        </a:cubicBezTo>
                        <a:cubicBezTo>
                          <a:pt x="149" y="13"/>
                          <a:pt x="142" y="11"/>
                          <a:pt x="135" y="13"/>
                        </a:cubicBezTo>
                        <a:cubicBezTo>
                          <a:pt x="129" y="21"/>
                          <a:pt x="124" y="24"/>
                          <a:pt x="114" y="25"/>
                        </a:cubicBezTo>
                        <a:cubicBezTo>
                          <a:pt x="107" y="27"/>
                          <a:pt x="104" y="26"/>
                          <a:pt x="97" y="24"/>
                        </a:cubicBezTo>
                        <a:cubicBezTo>
                          <a:pt x="89" y="25"/>
                          <a:pt x="86" y="30"/>
                          <a:pt x="78" y="33"/>
                        </a:cubicBezTo>
                        <a:cubicBezTo>
                          <a:pt x="71" y="31"/>
                          <a:pt x="72" y="27"/>
                          <a:pt x="63" y="26"/>
                        </a:cubicBezTo>
                        <a:cubicBezTo>
                          <a:pt x="63" y="24"/>
                          <a:pt x="63" y="22"/>
                          <a:pt x="62" y="21"/>
                        </a:cubicBezTo>
                        <a:cubicBezTo>
                          <a:pt x="61" y="20"/>
                          <a:pt x="59" y="21"/>
                          <a:pt x="58" y="20"/>
                        </a:cubicBezTo>
                        <a:cubicBezTo>
                          <a:pt x="51" y="11"/>
                          <a:pt x="61" y="15"/>
                          <a:pt x="52" y="13"/>
                        </a:cubicBezTo>
                        <a:cubicBezTo>
                          <a:pt x="46" y="15"/>
                          <a:pt x="45" y="17"/>
                          <a:pt x="38" y="18"/>
                        </a:cubicBezTo>
                        <a:cubicBezTo>
                          <a:pt x="36" y="24"/>
                          <a:pt x="36" y="25"/>
                          <a:pt x="30" y="27"/>
                        </a:cubicBezTo>
                        <a:cubicBezTo>
                          <a:pt x="21" y="26"/>
                          <a:pt x="25" y="21"/>
                          <a:pt x="18" y="19"/>
                        </a:cubicBezTo>
                        <a:cubicBezTo>
                          <a:pt x="13" y="28"/>
                          <a:pt x="18" y="26"/>
                          <a:pt x="3" y="27"/>
                        </a:cubicBezTo>
                        <a:cubicBezTo>
                          <a:pt x="2" y="28"/>
                          <a:pt x="0" y="31"/>
                          <a:pt x="0" y="33"/>
                        </a:cubicBezTo>
                        <a:cubicBezTo>
                          <a:pt x="0" y="35"/>
                          <a:pt x="2" y="39"/>
                          <a:pt x="2" y="39"/>
                        </a:cubicBezTo>
                        <a:cubicBezTo>
                          <a:pt x="2" y="44"/>
                          <a:pt x="1" y="50"/>
                          <a:pt x="3" y="55"/>
                        </a:cubicBezTo>
                        <a:cubicBezTo>
                          <a:pt x="4" y="57"/>
                          <a:pt x="9" y="57"/>
                          <a:pt x="9" y="57"/>
                        </a:cubicBezTo>
                        <a:cubicBezTo>
                          <a:pt x="11" y="62"/>
                          <a:pt x="13" y="64"/>
                          <a:pt x="18" y="66"/>
                        </a:cubicBezTo>
                        <a:cubicBezTo>
                          <a:pt x="28" y="64"/>
                          <a:pt x="25" y="63"/>
                          <a:pt x="36" y="65"/>
                        </a:cubicBezTo>
                        <a:cubicBezTo>
                          <a:pt x="39" y="67"/>
                          <a:pt x="42" y="68"/>
                          <a:pt x="46" y="69"/>
                        </a:cubicBezTo>
                        <a:cubicBezTo>
                          <a:pt x="49" y="71"/>
                          <a:pt x="55" y="73"/>
                          <a:pt x="55" y="73"/>
                        </a:cubicBezTo>
                        <a:cubicBezTo>
                          <a:pt x="58" y="84"/>
                          <a:pt x="61" y="84"/>
                          <a:pt x="72" y="85"/>
                        </a:cubicBezTo>
                        <a:cubicBezTo>
                          <a:pt x="78" y="87"/>
                          <a:pt x="77" y="91"/>
                          <a:pt x="82" y="92"/>
                        </a:cubicBezTo>
                        <a:cubicBezTo>
                          <a:pt x="91" y="95"/>
                          <a:pt x="101" y="94"/>
                          <a:pt x="111" y="95"/>
                        </a:cubicBezTo>
                        <a:cubicBezTo>
                          <a:pt x="113" y="101"/>
                          <a:pt x="116" y="100"/>
                          <a:pt x="121" y="103"/>
                        </a:cubicBezTo>
                        <a:cubicBezTo>
                          <a:pt x="123" y="113"/>
                          <a:pt x="126" y="117"/>
                          <a:pt x="136" y="120"/>
                        </a:cubicBezTo>
                        <a:cubicBezTo>
                          <a:pt x="150" y="118"/>
                          <a:pt x="150" y="119"/>
                          <a:pt x="164" y="122"/>
                        </a:cubicBezTo>
                        <a:cubicBezTo>
                          <a:pt x="166" y="119"/>
                          <a:pt x="164" y="111"/>
                          <a:pt x="164" y="111"/>
                        </a:cubicBezTo>
                        <a:cubicBezTo>
                          <a:pt x="165" y="106"/>
                          <a:pt x="165" y="105"/>
                          <a:pt x="169" y="102"/>
                        </a:cubicBezTo>
                        <a:cubicBezTo>
                          <a:pt x="172" y="98"/>
                          <a:pt x="175" y="98"/>
                          <a:pt x="177" y="92"/>
                        </a:cubicBezTo>
                        <a:cubicBezTo>
                          <a:pt x="176" y="88"/>
                          <a:pt x="174" y="86"/>
                          <a:pt x="171" y="84"/>
                        </a:cubicBezTo>
                        <a:cubicBezTo>
                          <a:pt x="168" y="75"/>
                          <a:pt x="170" y="75"/>
                          <a:pt x="160" y="73"/>
                        </a:cubicBezTo>
                        <a:cubicBezTo>
                          <a:pt x="162" y="68"/>
                          <a:pt x="162" y="61"/>
                          <a:pt x="164" y="56"/>
                        </a:cubicBezTo>
                        <a:cubicBezTo>
                          <a:pt x="165" y="54"/>
                          <a:pt x="168" y="50"/>
                          <a:pt x="168" y="50"/>
                        </a:cubicBezTo>
                        <a:cubicBezTo>
                          <a:pt x="170" y="21"/>
                          <a:pt x="169" y="33"/>
                          <a:pt x="184" y="18"/>
                        </a:cubicBezTo>
                        <a:cubicBezTo>
                          <a:pt x="186" y="1"/>
                          <a:pt x="191" y="5"/>
                          <a:pt x="180"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nvGrpSpPr>
                  <p:cNvPr id="160" name="Group 151">
                    <a:extLst>
                      <a:ext uri="{FF2B5EF4-FFF2-40B4-BE49-F238E27FC236}">
                        <a16:creationId xmlns:a16="http://schemas.microsoft.com/office/drawing/2014/main" id="{9A81A7E6-FE75-A8A7-65B6-CC4DEFC5C497}"/>
                      </a:ext>
                    </a:extLst>
                  </p:cNvPr>
                  <p:cNvGrpSpPr>
                    <a:grpSpLocks noChangeAspect="1"/>
                  </p:cNvGrpSpPr>
                  <p:nvPr/>
                </p:nvGrpSpPr>
                <p:grpSpPr bwMode="auto">
                  <a:xfrm>
                    <a:off x="1975" y="6876"/>
                    <a:ext cx="2640" cy="2668"/>
                    <a:chOff x="2499" y="3020"/>
                    <a:chExt cx="660" cy="667"/>
                  </a:xfrm>
                  <a:grpFill/>
                </p:grpSpPr>
                <p:sp>
                  <p:nvSpPr>
                    <p:cNvPr id="161" name="Freeform 2490">
                      <a:extLst>
                        <a:ext uri="{FF2B5EF4-FFF2-40B4-BE49-F238E27FC236}">
                          <a16:creationId xmlns:a16="http://schemas.microsoft.com/office/drawing/2014/main" id="{3BB9C52B-EF8D-DD28-04A1-9F052E03D994}"/>
                        </a:ext>
                      </a:extLst>
                    </p:cNvPr>
                    <p:cNvSpPr>
                      <a:spLocks noChangeAspect="1"/>
                    </p:cNvSpPr>
                    <p:nvPr/>
                  </p:nvSpPr>
                  <p:spPr bwMode="auto">
                    <a:xfrm>
                      <a:off x="2575" y="3447"/>
                      <a:ext cx="92" cy="181"/>
                    </a:xfrm>
                    <a:custGeom>
                      <a:avLst/>
                      <a:gdLst>
                        <a:gd name="T0" fmla="*/ 61 w 92"/>
                        <a:gd name="T1" fmla="*/ 0 h 181"/>
                        <a:gd name="T2" fmla="*/ 52 w 92"/>
                        <a:gd name="T3" fmla="*/ 6 h 181"/>
                        <a:gd name="T4" fmla="*/ 45 w 92"/>
                        <a:gd name="T5" fmla="*/ 13 h 181"/>
                        <a:gd name="T6" fmla="*/ 33 w 92"/>
                        <a:gd name="T7" fmla="*/ 24 h 181"/>
                        <a:gd name="T8" fmla="*/ 21 w 92"/>
                        <a:gd name="T9" fmla="*/ 30 h 181"/>
                        <a:gd name="T10" fmla="*/ 10 w 92"/>
                        <a:gd name="T11" fmla="*/ 29 h 181"/>
                        <a:gd name="T12" fmla="*/ 3 w 92"/>
                        <a:gd name="T13" fmla="*/ 18 h 181"/>
                        <a:gd name="T14" fmla="*/ 0 w 92"/>
                        <a:gd name="T15" fmla="*/ 36 h 181"/>
                        <a:gd name="T16" fmla="*/ 7 w 92"/>
                        <a:gd name="T17" fmla="*/ 49 h 181"/>
                        <a:gd name="T18" fmla="*/ 13 w 92"/>
                        <a:gd name="T19" fmla="*/ 58 h 181"/>
                        <a:gd name="T20" fmla="*/ 18 w 92"/>
                        <a:gd name="T21" fmla="*/ 76 h 181"/>
                        <a:gd name="T22" fmla="*/ 21 w 92"/>
                        <a:gd name="T23" fmla="*/ 106 h 181"/>
                        <a:gd name="T24" fmla="*/ 15 w 92"/>
                        <a:gd name="T25" fmla="*/ 118 h 181"/>
                        <a:gd name="T26" fmla="*/ 12 w 92"/>
                        <a:gd name="T27" fmla="*/ 132 h 181"/>
                        <a:gd name="T28" fmla="*/ 14 w 92"/>
                        <a:gd name="T29" fmla="*/ 145 h 181"/>
                        <a:gd name="T30" fmla="*/ 8 w 92"/>
                        <a:gd name="T31" fmla="*/ 154 h 181"/>
                        <a:gd name="T32" fmla="*/ 8 w 92"/>
                        <a:gd name="T33" fmla="*/ 168 h 181"/>
                        <a:gd name="T34" fmla="*/ 18 w 92"/>
                        <a:gd name="T35" fmla="*/ 165 h 181"/>
                        <a:gd name="T36" fmla="*/ 24 w 92"/>
                        <a:gd name="T37" fmla="*/ 177 h 181"/>
                        <a:gd name="T38" fmla="*/ 36 w 92"/>
                        <a:gd name="T39" fmla="*/ 180 h 181"/>
                        <a:gd name="T40" fmla="*/ 48 w 92"/>
                        <a:gd name="T41" fmla="*/ 159 h 181"/>
                        <a:gd name="T42" fmla="*/ 55 w 92"/>
                        <a:gd name="T43" fmla="*/ 154 h 181"/>
                        <a:gd name="T44" fmla="*/ 72 w 92"/>
                        <a:gd name="T45" fmla="*/ 160 h 181"/>
                        <a:gd name="T46" fmla="*/ 84 w 92"/>
                        <a:gd name="T47" fmla="*/ 145 h 181"/>
                        <a:gd name="T48" fmla="*/ 91 w 92"/>
                        <a:gd name="T49" fmla="*/ 96 h 181"/>
                        <a:gd name="T50" fmla="*/ 81 w 92"/>
                        <a:gd name="T51" fmla="*/ 72 h 181"/>
                        <a:gd name="T52" fmla="*/ 86 w 92"/>
                        <a:gd name="T53" fmla="*/ 63 h 181"/>
                        <a:gd name="T54" fmla="*/ 90 w 92"/>
                        <a:gd name="T55" fmla="*/ 57 h 181"/>
                        <a:gd name="T56" fmla="*/ 90 w 92"/>
                        <a:gd name="T57" fmla="*/ 28 h 181"/>
                        <a:gd name="T58" fmla="*/ 79 w 92"/>
                        <a:gd name="T59" fmla="*/ 21 h 181"/>
                        <a:gd name="T60" fmla="*/ 79 w 92"/>
                        <a:gd name="T61" fmla="*/ 4 h 181"/>
                        <a:gd name="T62" fmla="*/ 61 w 92"/>
                        <a:gd name="T63" fmla="*/ 0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2"/>
                        <a:gd name="T97" fmla="*/ 0 h 181"/>
                        <a:gd name="T98" fmla="*/ 92 w 92"/>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2" h="181">
                          <a:moveTo>
                            <a:pt x="61" y="0"/>
                          </a:moveTo>
                          <a:cubicBezTo>
                            <a:pt x="58" y="3"/>
                            <a:pt x="55" y="4"/>
                            <a:pt x="52" y="6"/>
                          </a:cubicBezTo>
                          <a:cubicBezTo>
                            <a:pt x="47" y="13"/>
                            <a:pt x="50" y="11"/>
                            <a:pt x="45" y="13"/>
                          </a:cubicBezTo>
                          <a:cubicBezTo>
                            <a:pt x="44" y="17"/>
                            <a:pt x="38" y="22"/>
                            <a:pt x="33" y="24"/>
                          </a:cubicBezTo>
                          <a:cubicBezTo>
                            <a:pt x="30" y="28"/>
                            <a:pt x="26" y="29"/>
                            <a:pt x="21" y="30"/>
                          </a:cubicBezTo>
                          <a:cubicBezTo>
                            <a:pt x="17" y="30"/>
                            <a:pt x="13" y="30"/>
                            <a:pt x="10" y="29"/>
                          </a:cubicBezTo>
                          <a:cubicBezTo>
                            <a:pt x="4" y="27"/>
                            <a:pt x="9" y="20"/>
                            <a:pt x="3" y="18"/>
                          </a:cubicBezTo>
                          <a:cubicBezTo>
                            <a:pt x="2" y="24"/>
                            <a:pt x="2" y="30"/>
                            <a:pt x="0" y="36"/>
                          </a:cubicBezTo>
                          <a:cubicBezTo>
                            <a:pt x="1" y="40"/>
                            <a:pt x="3" y="48"/>
                            <a:pt x="7" y="49"/>
                          </a:cubicBezTo>
                          <a:cubicBezTo>
                            <a:pt x="8" y="53"/>
                            <a:pt x="10" y="55"/>
                            <a:pt x="13" y="58"/>
                          </a:cubicBezTo>
                          <a:cubicBezTo>
                            <a:pt x="15" y="64"/>
                            <a:pt x="15" y="70"/>
                            <a:pt x="18" y="76"/>
                          </a:cubicBezTo>
                          <a:cubicBezTo>
                            <a:pt x="15" y="93"/>
                            <a:pt x="16" y="92"/>
                            <a:pt x="21" y="106"/>
                          </a:cubicBezTo>
                          <a:cubicBezTo>
                            <a:pt x="20" y="110"/>
                            <a:pt x="16" y="114"/>
                            <a:pt x="15" y="118"/>
                          </a:cubicBezTo>
                          <a:cubicBezTo>
                            <a:pt x="16" y="124"/>
                            <a:pt x="18" y="128"/>
                            <a:pt x="12" y="132"/>
                          </a:cubicBezTo>
                          <a:cubicBezTo>
                            <a:pt x="9" y="137"/>
                            <a:pt x="11" y="140"/>
                            <a:pt x="14" y="145"/>
                          </a:cubicBezTo>
                          <a:cubicBezTo>
                            <a:pt x="12" y="148"/>
                            <a:pt x="9" y="150"/>
                            <a:pt x="8" y="154"/>
                          </a:cubicBezTo>
                          <a:cubicBezTo>
                            <a:pt x="10" y="160"/>
                            <a:pt x="10" y="162"/>
                            <a:pt x="8" y="168"/>
                          </a:cubicBezTo>
                          <a:cubicBezTo>
                            <a:pt x="11" y="169"/>
                            <a:pt x="18" y="165"/>
                            <a:pt x="18" y="165"/>
                          </a:cubicBezTo>
                          <a:cubicBezTo>
                            <a:pt x="23" y="157"/>
                            <a:pt x="23" y="175"/>
                            <a:pt x="24" y="177"/>
                          </a:cubicBezTo>
                          <a:cubicBezTo>
                            <a:pt x="25" y="181"/>
                            <a:pt x="32" y="179"/>
                            <a:pt x="36" y="180"/>
                          </a:cubicBezTo>
                          <a:cubicBezTo>
                            <a:pt x="52" y="178"/>
                            <a:pt x="36" y="167"/>
                            <a:pt x="48" y="159"/>
                          </a:cubicBezTo>
                          <a:cubicBezTo>
                            <a:pt x="49" y="156"/>
                            <a:pt x="55" y="154"/>
                            <a:pt x="55" y="154"/>
                          </a:cubicBezTo>
                          <a:cubicBezTo>
                            <a:pt x="63" y="155"/>
                            <a:pt x="65" y="158"/>
                            <a:pt x="72" y="160"/>
                          </a:cubicBezTo>
                          <a:cubicBezTo>
                            <a:pt x="81" y="158"/>
                            <a:pt x="80" y="151"/>
                            <a:pt x="84" y="145"/>
                          </a:cubicBezTo>
                          <a:cubicBezTo>
                            <a:pt x="86" y="128"/>
                            <a:pt x="88" y="112"/>
                            <a:pt x="91" y="96"/>
                          </a:cubicBezTo>
                          <a:cubicBezTo>
                            <a:pt x="90" y="86"/>
                            <a:pt x="86" y="81"/>
                            <a:pt x="81" y="72"/>
                          </a:cubicBezTo>
                          <a:cubicBezTo>
                            <a:pt x="83" y="61"/>
                            <a:pt x="80" y="70"/>
                            <a:pt x="86" y="63"/>
                          </a:cubicBezTo>
                          <a:cubicBezTo>
                            <a:pt x="88" y="61"/>
                            <a:pt x="90" y="57"/>
                            <a:pt x="90" y="57"/>
                          </a:cubicBezTo>
                          <a:cubicBezTo>
                            <a:pt x="91" y="55"/>
                            <a:pt x="92" y="34"/>
                            <a:pt x="90" y="28"/>
                          </a:cubicBezTo>
                          <a:lnTo>
                            <a:pt x="79" y="21"/>
                          </a:lnTo>
                          <a:lnTo>
                            <a:pt x="79" y="4"/>
                          </a:lnTo>
                          <a:lnTo>
                            <a:pt x="61" y="0"/>
                          </a:ln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62" name="Freeform 2491">
                      <a:extLst>
                        <a:ext uri="{FF2B5EF4-FFF2-40B4-BE49-F238E27FC236}">
                          <a16:creationId xmlns:a16="http://schemas.microsoft.com/office/drawing/2014/main" id="{CF848B67-3F3C-985D-0C33-F8FACA2C8085}"/>
                        </a:ext>
                      </a:extLst>
                    </p:cNvPr>
                    <p:cNvSpPr>
                      <a:spLocks noChangeAspect="1"/>
                    </p:cNvSpPr>
                    <p:nvPr/>
                  </p:nvSpPr>
                  <p:spPr bwMode="auto">
                    <a:xfrm>
                      <a:off x="2686" y="3330"/>
                      <a:ext cx="17" cy="14"/>
                    </a:xfrm>
                    <a:custGeom>
                      <a:avLst/>
                      <a:gdLst>
                        <a:gd name="T0" fmla="*/ 0 w 17"/>
                        <a:gd name="T1" fmla="*/ 3 h 14"/>
                        <a:gd name="T2" fmla="*/ 16 w 17"/>
                        <a:gd name="T3" fmla="*/ 2 h 14"/>
                        <a:gd name="T4" fmla="*/ 15 w 17"/>
                        <a:gd name="T5" fmla="*/ 14 h 14"/>
                        <a:gd name="T6" fmla="*/ 0 w 17"/>
                        <a:gd name="T7" fmla="*/ 3 h 14"/>
                        <a:gd name="T8" fmla="*/ 0 60000 65536"/>
                        <a:gd name="T9" fmla="*/ 0 60000 65536"/>
                        <a:gd name="T10" fmla="*/ 0 60000 65536"/>
                        <a:gd name="T11" fmla="*/ 0 60000 65536"/>
                        <a:gd name="T12" fmla="*/ 0 w 17"/>
                        <a:gd name="T13" fmla="*/ 0 h 14"/>
                        <a:gd name="T14" fmla="*/ 17 w 17"/>
                        <a:gd name="T15" fmla="*/ 14 h 14"/>
                      </a:gdLst>
                      <a:ahLst/>
                      <a:cxnLst>
                        <a:cxn ang="T8">
                          <a:pos x="T0" y="T1"/>
                        </a:cxn>
                        <a:cxn ang="T9">
                          <a:pos x="T2" y="T3"/>
                        </a:cxn>
                        <a:cxn ang="T10">
                          <a:pos x="T4" y="T5"/>
                        </a:cxn>
                        <a:cxn ang="T11">
                          <a:pos x="T6" y="T7"/>
                        </a:cxn>
                      </a:cxnLst>
                      <a:rect l="T12" t="T13" r="T14" b="T15"/>
                      <a:pathLst>
                        <a:path w="17" h="14">
                          <a:moveTo>
                            <a:pt x="0" y="3"/>
                          </a:moveTo>
                          <a:cubicBezTo>
                            <a:pt x="5" y="3"/>
                            <a:pt x="11" y="0"/>
                            <a:pt x="16" y="2"/>
                          </a:cubicBezTo>
                          <a:cubicBezTo>
                            <a:pt x="16" y="6"/>
                            <a:pt x="17" y="10"/>
                            <a:pt x="15" y="14"/>
                          </a:cubicBezTo>
                          <a:cubicBezTo>
                            <a:pt x="12" y="14"/>
                            <a:pt x="0" y="5"/>
                            <a:pt x="0" y="3"/>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63" name="Freeform 2492">
                      <a:extLst>
                        <a:ext uri="{FF2B5EF4-FFF2-40B4-BE49-F238E27FC236}">
                          <a16:creationId xmlns:a16="http://schemas.microsoft.com/office/drawing/2014/main" id="{18D98118-6282-8094-FF66-753BC033D899}"/>
                        </a:ext>
                      </a:extLst>
                    </p:cNvPr>
                    <p:cNvSpPr>
                      <a:spLocks noChangeAspect="1"/>
                    </p:cNvSpPr>
                    <p:nvPr/>
                  </p:nvSpPr>
                  <p:spPr bwMode="auto">
                    <a:xfrm>
                      <a:off x="2499" y="3020"/>
                      <a:ext cx="660" cy="667"/>
                    </a:xfrm>
                    <a:custGeom>
                      <a:avLst/>
                      <a:gdLst>
                        <a:gd name="T0" fmla="*/ 355 w 660"/>
                        <a:gd name="T1" fmla="*/ 73 h 667"/>
                        <a:gd name="T2" fmla="*/ 353 w 660"/>
                        <a:gd name="T3" fmla="*/ 58 h 667"/>
                        <a:gd name="T4" fmla="*/ 302 w 660"/>
                        <a:gd name="T5" fmla="*/ 24 h 667"/>
                        <a:gd name="T6" fmla="*/ 280 w 660"/>
                        <a:gd name="T7" fmla="*/ 0 h 667"/>
                        <a:gd name="T8" fmla="*/ 211 w 660"/>
                        <a:gd name="T9" fmla="*/ 14 h 667"/>
                        <a:gd name="T10" fmla="*/ 184 w 660"/>
                        <a:gd name="T11" fmla="*/ 48 h 667"/>
                        <a:gd name="T12" fmla="*/ 155 w 660"/>
                        <a:gd name="T13" fmla="*/ 52 h 667"/>
                        <a:gd name="T14" fmla="*/ 137 w 660"/>
                        <a:gd name="T15" fmla="*/ 62 h 667"/>
                        <a:gd name="T16" fmla="*/ 118 w 660"/>
                        <a:gd name="T17" fmla="*/ 80 h 667"/>
                        <a:gd name="T18" fmla="*/ 88 w 660"/>
                        <a:gd name="T19" fmla="*/ 62 h 667"/>
                        <a:gd name="T20" fmla="*/ 53 w 660"/>
                        <a:gd name="T21" fmla="*/ 80 h 667"/>
                        <a:gd name="T22" fmla="*/ 22 w 660"/>
                        <a:gd name="T23" fmla="*/ 91 h 667"/>
                        <a:gd name="T24" fmla="*/ 5 w 660"/>
                        <a:gd name="T25" fmla="*/ 150 h 667"/>
                        <a:gd name="T26" fmla="*/ 32 w 660"/>
                        <a:gd name="T27" fmla="*/ 212 h 667"/>
                        <a:gd name="T28" fmla="*/ 64 w 660"/>
                        <a:gd name="T29" fmla="*/ 238 h 667"/>
                        <a:gd name="T30" fmla="*/ 100 w 660"/>
                        <a:gd name="T31" fmla="*/ 208 h 667"/>
                        <a:gd name="T32" fmla="*/ 131 w 660"/>
                        <a:gd name="T33" fmla="*/ 194 h 667"/>
                        <a:gd name="T34" fmla="*/ 176 w 660"/>
                        <a:gd name="T35" fmla="*/ 218 h 667"/>
                        <a:gd name="T36" fmla="*/ 236 w 660"/>
                        <a:gd name="T37" fmla="*/ 323 h 667"/>
                        <a:gd name="T38" fmla="*/ 266 w 660"/>
                        <a:gd name="T39" fmla="*/ 350 h 667"/>
                        <a:gd name="T40" fmla="*/ 335 w 660"/>
                        <a:gd name="T41" fmla="*/ 409 h 667"/>
                        <a:gd name="T42" fmla="*/ 388 w 660"/>
                        <a:gd name="T43" fmla="*/ 420 h 667"/>
                        <a:gd name="T44" fmla="*/ 424 w 660"/>
                        <a:gd name="T45" fmla="*/ 454 h 667"/>
                        <a:gd name="T46" fmla="*/ 502 w 660"/>
                        <a:gd name="T47" fmla="*/ 503 h 667"/>
                        <a:gd name="T48" fmla="*/ 535 w 660"/>
                        <a:gd name="T49" fmla="*/ 571 h 667"/>
                        <a:gd name="T50" fmla="*/ 527 w 660"/>
                        <a:gd name="T51" fmla="*/ 662 h 667"/>
                        <a:gd name="T52" fmla="*/ 551 w 660"/>
                        <a:gd name="T53" fmla="*/ 638 h 667"/>
                        <a:gd name="T54" fmla="*/ 592 w 660"/>
                        <a:gd name="T55" fmla="*/ 582 h 667"/>
                        <a:gd name="T56" fmla="*/ 557 w 660"/>
                        <a:gd name="T57" fmla="*/ 526 h 667"/>
                        <a:gd name="T58" fmla="*/ 583 w 660"/>
                        <a:gd name="T59" fmla="*/ 467 h 667"/>
                        <a:gd name="T60" fmla="*/ 635 w 660"/>
                        <a:gd name="T61" fmla="*/ 498 h 667"/>
                        <a:gd name="T62" fmla="*/ 659 w 660"/>
                        <a:gd name="T63" fmla="*/ 469 h 667"/>
                        <a:gd name="T64" fmla="*/ 608 w 660"/>
                        <a:gd name="T65" fmla="*/ 437 h 667"/>
                        <a:gd name="T66" fmla="*/ 566 w 660"/>
                        <a:gd name="T67" fmla="*/ 424 h 667"/>
                        <a:gd name="T68" fmla="*/ 516 w 660"/>
                        <a:gd name="T69" fmla="*/ 377 h 667"/>
                        <a:gd name="T70" fmla="*/ 469 w 660"/>
                        <a:gd name="T71" fmla="*/ 367 h 667"/>
                        <a:gd name="T72" fmla="*/ 398 w 660"/>
                        <a:gd name="T73" fmla="*/ 323 h 667"/>
                        <a:gd name="T74" fmla="*/ 350 w 660"/>
                        <a:gd name="T75" fmla="*/ 244 h 667"/>
                        <a:gd name="T76" fmla="*/ 314 w 660"/>
                        <a:gd name="T77" fmla="*/ 217 h 667"/>
                        <a:gd name="T78" fmla="*/ 305 w 660"/>
                        <a:gd name="T79" fmla="*/ 168 h 667"/>
                        <a:gd name="T80" fmla="*/ 299 w 660"/>
                        <a:gd name="T81" fmla="*/ 142 h 667"/>
                        <a:gd name="T82" fmla="*/ 336 w 660"/>
                        <a:gd name="T83" fmla="*/ 107 h 6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0"/>
                        <a:gd name="T127" fmla="*/ 0 h 667"/>
                        <a:gd name="T128" fmla="*/ 660 w 660"/>
                        <a:gd name="T129" fmla="*/ 667 h 6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0" h="667">
                          <a:moveTo>
                            <a:pt x="359" y="90"/>
                          </a:moveTo>
                          <a:cubicBezTo>
                            <a:pt x="360" y="87"/>
                            <a:pt x="362" y="80"/>
                            <a:pt x="362" y="80"/>
                          </a:cubicBezTo>
                          <a:cubicBezTo>
                            <a:pt x="360" y="75"/>
                            <a:pt x="360" y="74"/>
                            <a:pt x="355" y="73"/>
                          </a:cubicBezTo>
                          <a:cubicBezTo>
                            <a:pt x="354" y="71"/>
                            <a:pt x="356" y="69"/>
                            <a:pt x="357" y="68"/>
                          </a:cubicBezTo>
                          <a:cubicBezTo>
                            <a:pt x="358" y="67"/>
                            <a:pt x="361" y="66"/>
                            <a:pt x="360" y="64"/>
                          </a:cubicBezTo>
                          <a:cubicBezTo>
                            <a:pt x="359" y="61"/>
                            <a:pt x="353" y="58"/>
                            <a:pt x="353" y="58"/>
                          </a:cubicBezTo>
                          <a:cubicBezTo>
                            <a:pt x="352" y="54"/>
                            <a:pt x="365" y="41"/>
                            <a:pt x="358" y="36"/>
                          </a:cubicBezTo>
                          <a:cubicBezTo>
                            <a:pt x="345" y="32"/>
                            <a:pt x="327" y="33"/>
                            <a:pt x="314" y="30"/>
                          </a:cubicBezTo>
                          <a:cubicBezTo>
                            <a:pt x="310" y="28"/>
                            <a:pt x="302" y="24"/>
                            <a:pt x="302" y="24"/>
                          </a:cubicBezTo>
                          <a:cubicBezTo>
                            <a:pt x="299" y="21"/>
                            <a:pt x="294" y="14"/>
                            <a:pt x="294" y="14"/>
                          </a:cubicBezTo>
                          <a:cubicBezTo>
                            <a:pt x="293" y="10"/>
                            <a:pt x="293" y="7"/>
                            <a:pt x="289" y="6"/>
                          </a:cubicBezTo>
                          <a:cubicBezTo>
                            <a:pt x="286" y="1"/>
                            <a:pt x="285" y="1"/>
                            <a:pt x="280" y="0"/>
                          </a:cubicBezTo>
                          <a:cubicBezTo>
                            <a:pt x="266" y="5"/>
                            <a:pt x="257" y="6"/>
                            <a:pt x="241" y="7"/>
                          </a:cubicBezTo>
                          <a:cubicBezTo>
                            <a:pt x="238" y="11"/>
                            <a:pt x="236" y="15"/>
                            <a:pt x="233" y="19"/>
                          </a:cubicBezTo>
                          <a:cubicBezTo>
                            <a:pt x="224" y="18"/>
                            <a:pt x="219" y="18"/>
                            <a:pt x="211" y="14"/>
                          </a:cubicBezTo>
                          <a:cubicBezTo>
                            <a:pt x="199" y="19"/>
                            <a:pt x="206" y="22"/>
                            <a:pt x="200" y="31"/>
                          </a:cubicBezTo>
                          <a:cubicBezTo>
                            <a:pt x="198" y="38"/>
                            <a:pt x="195" y="36"/>
                            <a:pt x="188" y="37"/>
                          </a:cubicBezTo>
                          <a:cubicBezTo>
                            <a:pt x="187" y="41"/>
                            <a:pt x="185" y="44"/>
                            <a:pt x="184" y="48"/>
                          </a:cubicBezTo>
                          <a:cubicBezTo>
                            <a:pt x="182" y="51"/>
                            <a:pt x="177" y="51"/>
                            <a:pt x="174" y="53"/>
                          </a:cubicBezTo>
                          <a:cubicBezTo>
                            <a:pt x="171" y="54"/>
                            <a:pt x="164" y="61"/>
                            <a:pt x="164" y="61"/>
                          </a:cubicBezTo>
                          <a:cubicBezTo>
                            <a:pt x="162" y="54"/>
                            <a:pt x="162" y="54"/>
                            <a:pt x="155" y="52"/>
                          </a:cubicBezTo>
                          <a:cubicBezTo>
                            <a:pt x="154" y="50"/>
                            <a:pt x="154" y="48"/>
                            <a:pt x="151" y="48"/>
                          </a:cubicBezTo>
                          <a:cubicBezTo>
                            <a:pt x="149" y="48"/>
                            <a:pt x="145" y="50"/>
                            <a:pt x="145" y="50"/>
                          </a:cubicBezTo>
                          <a:cubicBezTo>
                            <a:pt x="143" y="55"/>
                            <a:pt x="141" y="58"/>
                            <a:pt x="137" y="62"/>
                          </a:cubicBezTo>
                          <a:cubicBezTo>
                            <a:pt x="135" y="69"/>
                            <a:pt x="131" y="75"/>
                            <a:pt x="128" y="82"/>
                          </a:cubicBezTo>
                          <a:cubicBezTo>
                            <a:pt x="126" y="86"/>
                            <a:pt x="124" y="94"/>
                            <a:pt x="124" y="94"/>
                          </a:cubicBezTo>
                          <a:cubicBezTo>
                            <a:pt x="122" y="92"/>
                            <a:pt x="118" y="80"/>
                            <a:pt x="118" y="80"/>
                          </a:cubicBezTo>
                          <a:cubicBezTo>
                            <a:pt x="117" y="71"/>
                            <a:pt x="119" y="68"/>
                            <a:pt x="110" y="66"/>
                          </a:cubicBezTo>
                          <a:cubicBezTo>
                            <a:pt x="108" y="59"/>
                            <a:pt x="107" y="55"/>
                            <a:pt x="100" y="53"/>
                          </a:cubicBezTo>
                          <a:cubicBezTo>
                            <a:pt x="95" y="55"/>
                            <a:pt x="94" y="60"/>
                            <a:pt x="88" y="62"/>
                          </a:cubicBezTo>
                          <a:cubicBezTo>
                            <a:pt x="85" y="66"/>
                            <a:pt x="85" y="72"/>
                            <a:pt x="82" y="76"/>
                          </a:cubicBezTo>
                          <a:cubicBezTo>
                            <a:pt x="80" y="79"/>
                            <a:pt x="73" y="80"/>
                            <a:pt x="73" y="80"/>
                          </a:cubicBezTo>
                          <a:cubicBezTo>
                            <a:pt x="65" y="79"/>
                            <a:pt x="61" y="78"/>
                            <a:pt x="53" y="80"/>
                          </a:cubicBezTo>
                          <a:cubicBezTo>
                            <a:pt x="48" y="81"/>
                            <a:pt x="40" y="85"/>
                            <a:pt x="40" y="85"/>
                          </a:cubicBezTo>
                          <a:cubicBezTo>
                            <a:pt x="34" y="84"/>
                            <a:pt x="28" y="81"/>
                            <a:pt x="23" y="85"/>
                          </a:cubicBezTo>
                          <a:cubicBezTo>
                            <a:pt x="25" y="92"/>
                            <a:pt x="24" y="86"/>
                            <a:pt x="22" y="91"/>
                          </a:cubicBezTo>
                          <a:cubicBezTo>
                            <a:pt x="23" y="101"/>
                            <a:pt x="26" y="117"/>
                            <a:pt x="32" y="125"/>
                          </a:cubicBezTo>
                          <a:cubicBezTo>
                            <a:pt x="19" y="136"/>
                            <a:pt x="18" y="139"/>
                            <a:pt x="2" y="140"/>
                          </a:cubicBezTo>
                          <a:cubicBezTo>
                            <a:pt x="0" y="145"/>
                            <a:pt x="0" y="148"/>
                            <a:pt x="5" y="150"/>
                          </a:cubicBezTo>
                          <a:cubicBezTo>
                            <a:pt x="7" y="159"/>
                            <a:pt x="16" y="157"/>
                            <a:pt x="25" y="158"/>
                          </a:cubicBezTo>
                          <a:cubicBezTo>
                            <a:pt x="30" y="165"/>
                            <a:pt x="20" y="179"/>
                            <a:pt x="17" y="186"/>
                          </a:cubicBezTo>
                          <a:cubicBezTo>
                            <a:pt x="19" y="199"/>
                            <a:pt x="21" y="205"/>
                            <a:pt x="32" y="212"/>
                          </a:cubicBezTo>
                          <a:cubicBezTo>
                            <a:pt x="41" y="211"/>
                            <a:pt x="51" y="209"/>
                            <a:pt x="59" y="214"/>
                          </a:cubicBezTo>
                          <a:cubicBezTo>
                            <a:pt x="62" y="219"/>
                            <a:pt x="56" y="232"/>
                            <a:pt x="50" y="234"/>
                          </a:cubicBezTo>
                          <a:cubicBezTo>
                            <a:pt x="46" y="243"/>
                            <a:pt x="58" y="239"/>
                            <a:pt x="64" y="238"/>
                          </a:cubicBezTo>
                          <a:cubicBezTo>
                            <a:pt x="70" y="234"/>
                            <a:pt x="78" y="234"/>
                            <a:pt x="83" y="230"/>
                          </a:cubicBezTo>
                          <a:cubicBezTo>
                            <a:pt x="86" y="228"/>
                            <a:pt x="90" y="221"/>
                            <a:pt x="90" y="221"/>
                          </a:cubicBezTo>
                          <a:cubicBezTo>
                            <a:pt x="91" y="217"/>
                            <a:pt x="95" y="210"/>
                            <a:pt x="100" y="208"/>
                          </a:cubicBezTo>
                          <a:cubicBezTo>
                            <a:pt x="102" y="205"/>
                            <a:pt x="105" y="202"/>
                            <a:pt x="107" y="200"/>
                          </a:cubicBezTo>
                          <a:cubicBezTo>
                            <a:pt x="109" y="198"/>
                            <a:pt x="113" y="196"/>
                            <a:pt x="113" y="196"/>
                          </a:cubicBezTo>
                          <a:cubicBezTo>
                            <a:pt x="118" y="189"/>
                            <a:pt x="115" y="191"/>
                            <a:pt x="131" y="194"/>
                          </a:cubicBezTo>
                          <a:cubicBezTo>
                            <a:pt x="136" y="195"/>
                            <a:pt x="141" y="201"/>
                            <a:pt x="145" y="203"/>
                          </a:cubicBezTo>
                          <a:cubicBezTo>
                            <a:pt x="151" y="206"/>
                            <a:pt x="160" y="209"/>
                            <a:pt x="166" y="210"/>
                          </a:cubicBezTo>
                          <a:cubicBezTo>
                            <a:pt x="170" y="213"/>
                            <a:pt x="172" y="215"/>
                            <a:pt x="176" y="218"/>
                          </a:cubicBezTo>
                          <a:cubicBezTo>
                            <a:pt x="180" y="224"/>
                            <a:pt x="187" y="227"/>
                            <a:pt x="190" y="235"/>
                          </a:cubicBezTo>
                          <a:cubicBezTo>
                            <a:pt x="205" y="250"/>
                            <a:pt x="194" y="277"/>
                            <a:pt x="212" y="289"/>
                          </a:cubicBezTo>
                          <a:cubicBezTo>
                            <a:pt x="219" y="304"/>
                            <a:pt x="230" y="314"/>
                            <a:pt x="236" y="323"/>
                          </a:cubicBezTo>
                          <a:cubicBezTo>
                            <a:pt x="238" y="326"/>
                            <a:pt x="248" y="341"/>
                            <a:pt x="250" y="342"/>
                          </a:cubicBezTo>
                          <a:cubicBezTo>
                            <a:pt x="252" y="343"/>
                            <a:pt x="256" y="344"/>
                            <a:pt x="256" y="344"/>
                          </a:cubicBezTo>
                          <a:cubicBezTo>
                            <a:pt x="259" y="347"/>
                            <a:pt x="263" y="348"/>
                            <a:pt x="266" y="350"/>
                          </a:cubicBezTo>
                          <a:cubicBezTo>
                            <a:pt x="272" y="355"/>
                            <a:pt x="285" y="364"/>
                            <a:pt x="294" y="372"/>
                          </a:cubicBezTo>
                          <a:cubicBezTo>
                            <a:pt x="304" y="377"/>
                            <a:pt x="311" y="392"/>
                            <a:pt x="322" y="398"/>
                          </a:cubicBezTo>
                          <a:cubicBezTo>
                            <a:pt x="324" y="404"/>
                            <a:pt x="329" y="407"/>
                            <a:pt x="335" y="409"/>
                          </a:cubicBezTo>
                          <a:cubicBezTo>
                            <a:pt x="340" y="417"/>
                            <a:pt x="345" y="419"/>
                            <a:pt x="352" y="424"/>
                          </a:cubicBezTo>
                          <a:cubicBezTo>
                            <a:pt x="365" y="422"/>
                            <a:pt x="364" y="421"/>
                            <a:pt x="373" y="418"/>
                          </a:cubicBezTo>
                          <a:cubicBezTo>
                            <a:pt x="378" y="418"/>
                            <a:pt x="384" y="416"/>
                            <a:pt x="388" y="420"/>
                          </a:cubicBezTo>
                          <a:cubicBezTo>
                            <a:pt x="391" y="423"/>
                            <a:pt x="395" y="428"/>
                            <a:pt x="395" y="428"/>
                          </a:cubicBezTo>
                          <a:cubicBezTo>
                            <a:pt x="397" y="435"/>
                            <a:pt x="398" y="442"/>
                            <a:pt x="400" y="449"/>
                          </a:cubicBezTo>
                          <a:cubicBezTo>
                            <a:pt x="405" y="453"/>
                            <a:pt x="415" y="452"/>
                            <a:pt x="424" y="454"/>
                          </a:cubicBezTo>
                          <a:cubicBezTo>
                            <a:pt x="432" y="460"/>
                            <a:pt x="442" y="458"/>
                            <a:pt x="452" y="460"/>
                          </a:cubicBezTo>
                          <a:cubicBezTo>
                            <a:pt x="457" y="468"/>
                            <a:pt x="458" y="489"/>
                            <a:pt x="467" y="492"/>
                          </a:cubicBezTo>
                          <a:cubicBezTo>
                            <a:pt x="475" y="503"/>
                            <a:pt x="489" y="501"/>
                            <a:pt x="502" y="503"/>
                          </a:cubicBezTo>
                          <a:cubicBezTo>
                            <a:pt x="508" y="511"/>
                            <a:pt x="514" y="524"/>
                            <a:pt x="516" y="534"/>
                          </a:cubicBezTo>
                          <a:cubicBezTo>
                            <a:pt x="517" y="539"/>
                            <a:pt x="522" y="547"/>
                            <a:pt x="522" y="547"/>
                          </a:cubicBezTo>
                          <a:cubicBezTo>
                            <a:pt x="524" y="553"/>
                            <a:pt x="530" y="566"/>
                            <a:pt x="535" y="571"/>
                          </a:cubicBezTo>
                          <a:cubicBezTo>
                            <a:pt x="539" y="584"/>
                            <a:pt x="534" y="599"/>
                            <a:pt x="523" y="607"/>
                          </a:cubicBezTo>
                          <a:cubicBezTo>
                            <a:pt x="519" y="620"/>
                            <a:pt x="516" y="633"/>
                            <a:pt x="515" y="647"/>
                          </a:cubicBezTo>
                          <a:cubicBezTo>
                            <a:pt x="516" y="658"/>
                            <a:pt x="517" y="659"/>
                            <a:pt x="527" y="662"/>
                          </a:cubicBezTo>
                          <a:cubicBezTo>
                            <a:pt x="534" y="661"/>
                            <a:pt x="531" y="667"/>
                            <a:pt x="535" y="662"/>
                          </a:cubicBezTo>
                          <a:cubicBezTo>
                            <a:pt x="536" y="658"/>
                            <a:pt x="538" y="656"/>
                            <a:pt x="541" y="653"/>
                          </a:cubicBezTo>
                          <a:cubicBezTo>
                            <a:pt x="543" y="648"/>
                            <a:pt x="547" y="642"/>
                            <a:pt x="551" y="638"/>
                          </a:cubicBezTo>
                          <a:cubicBezTo>
                            <a:pt x="553" y="631"/>
                            <a:pt x="559" y="627"/>
                            <a:pt x="560" y="620"/>
                          </a:cubicBezTo>
                          <a:cubicBezTo>
                            <a:pt x="562" y="606"/>
                            <a:pt x="566" y="589"/>
                            <a:pt x="582" y="586"/>
                          </a:cubicBezTo>
                          <a:cubicBezTo>
                            <a:pt x="585" y="584"/>
                            <a:pt x="592" y="582"/>
                            <a:pt x="592" y="582"/>
                          </a:cubicBezTo>
                          <a:cubicBezTo>
                            <a:pt x="592" y="581"/>
                            <a:pt x="595" y="576"/>
                            <a:pt x="595" y="575"/>
                          </a:cubicBezTo>
                          <a:cubicBezTo>
                            <a:pt x="595" y="568"/>
                            <a:pt x="595" y="561"/>
                            <a:pt x="594" y="554"/>
                          </a:cubicBezTo>
                          <a:cubicBezTo>
                            <a:pt x="592" y="532"/>
                            <a:pt x="571" y="535"/>
                            <a:pt x="557" y="526"/>
                          </a:cubicBezTo>
                          <a:cubicBezTo>
                            <a:pt x="556" y="523"/>
                            <a:pt x="554" y="520"/>
                            <a:pt x="553" y="517"/>
                          </a:cubicBezTo>
                          <a:cubicBezTo>
                            <a:pt x="554" y="494"/>
                            <a:pt x="556" y="491"/>
                            <a:pt x="563" y="479"/>
                          </a:cubicBezTo>
                          <a:cubicBezTo>
                            <a:pt x="566" y="471"/>
                            <a:pt x="575" y="468"/>
                            <a:pt x="583" y="467"/>
                          </a:cubicBezTo>
                          <a:cubicBezTo>
                            <a:pt x="595" y="468"/>
                            <a:pt x="592" y="471"/>
                            <a:pt x="601" y="474"/>
                          </a:cubicBezTo>
                          <a:cubicBezTo>
                            <a:pt x="607" y="474"/>
                            <a:pt x="628" y="469"/>
                            <a:pt x="630" y="478"/>
                          </a:cubicBezTo>
                          <a:cubicBezTo>
                            <a:pt x="629" y="484"/>
                            <a:pt x="627" y="495"/>
                            <a:pt x="635" y="498"/>
                          </a:cubicBezTo>
                          <a:cubicBezTo>
                            <a:pt x="639" y="506"/>
                            <a:pt x="649" y="504"/>
                            <a:pt x="656" y="509"/>
                          </a:cubicBezTo>
                          <a:cubicBezTo>
                            <a:pt x="659" y="501"/>
                            <a:pt x="659" y="498"/>
                            <a:pt x="660" y="490"/>
                          </a:cubicBezTo>
                          <a:cubicBezTo>
                            <a:pt x="660" y="483"/>
                            <a:pt x="660" y="476"/>
                            <a:pt x="659" y="469"/>
                          </a:cubicBezTo>
                          <a:cubicBezTo>
                            <a:pt x="658" y="464"/>
                            <a:pt x="644" y="462"/>
                            <a:pt x="644" y="462"/>
                          </a:cubicBezTo>
                          <a:cubicBezTo>
                            <a:pt x="638" y="450"/>
                            <a:pt x="632" y="450"/>
                            <a:pt x="622" y="443"/>
                          </a:cubicBezTo>
                          <a:cubicBezTo>
                            <a:pt x="618" y="440"/>
                            <a:pt x="608" y="437"/>
                            <a:pt x="608" y="437"/>
                          </a:cubicBezTo>
                          <a:cubicBezTo>
                            <a:pt x="604" y="434"/>
                            <a:pt x="595" y="431"/>
                            <a:pt x="595" y="431"/>
                          </a:cubicBezTo>
                          <a:cubicBezTo>
                            <a:pt x="591" y="425"/>
                            <a:pt x="584" y="427"/>
                            <a:pt x="578" y="426"/>
                          </a:cubicBezTo>
                          <a:cubicBezTo>
                            <a:pt x="574" y="425"/>
                            <a:pt x="570" y="425"/>
                            <a:pt x="566" y="424"/>
                          </a:cubicBezTo>
                          <a:cubicBezTo>
                            <a:pt x="556" y="420"/>
                            <a:pt x="527" y="408"/>
                            <a:pt x="518" y="403"/>
                          </a:cubicBezTo>
                          <a:cubicBezTo>
                            <a:pt x="512" y="401"/>
                            <a:pt x="512" y="399"/>
                            <a:pt x="509" y="394"/>
                          </a:cubicBezTo>
                          <a:cubicBezTo>
                            <a:pt x="511" y="388"/>
                            <a:pt x="513" y="383"/>
                            <a:pt x="516" y="377"/>
                          </a:cubicBezTo>
                          <a:cubicBezTo>
                            <a:pt x="517" y="375"/>
                            <a:pt x="520" y="362"/>
                            <a:pt x="520" y="362"/>
                          </a:cubicBezTo>
                          <a:cubicBezTo>
                            <a:pt x="518" y="351"/>
                            <a:pt x="509" y="361"/>
                            <a:pt x="499" y="360"/>
                          </a:cubicBezTo>
                          <a:cubicBezTo>
                            <a:pt x="485" y="362"/>
                            <a:pt x="483" y="368"/>
                            <a:pt x="469" y="367"/>
                          </a:cubicBezTo>
                          <a:cubicBezTo>
                            <a:pt x="457" y="363"/>
                            <a:pt x="434" y="351"/>
                            <a:pt x="422" y="347"/>
                          </a:cubicBezTo>
                          <a:cubicBezTo>
                            <a:pt x="417" y="342"/>
                            <a:pt x="412" y="339"/>
                            <a:pt x="407" y="334"/>
                          </a:cubicBezTo>
                          <a:cubicBezTo>
                            <a:pt x="406" y="330"/>
                            <a:pt x="402" y="325"/>
                            <a:pt x="398" y="323"/>
                          </a:cubicBezTo>
                          <a:cubicBezTo>
                            <a:pt x="387" y="307"/>
                            <a:pt x="395" y="279"/>
                            <a:pt x="378" y="268"/>
                          </a:cubicBezTo>
                          <a:cubicBezTo>
                            <a:pt x="377" y="264"/>
                            <a:pt x="365" y="254"/>
                            <a:pt x="361" y="253"/>
                          </a:cubicBezTo>
                          <a:cubicBezTo>
                            <a:pt x="358" y="249"/>
                            <a:pt x="350" y="244"/>
                            <a:pt x="350" y="244"/>
                          </a:cubicBezTo>
                          <a:cubicBezTo>
                            <a:pt x="347" y="239"/>
                            <a:pt x="341" y="235"/>
                            <a:pt x="335" y="233"/>
                          </a:cubicBezTo>
                          <a:cubicBezTo>
                            <a:pt x="332" y="230"/>
                            <a:pt x="330" y="227"/>
                            <a:pt x="326" y="226"/>
                          </a:cubicBezTo>
                          <a:cubicBezTo>
                            <a:pt x="323" y="222"/>
                            <a:pt x="319" y="218"/>
                            <a:pt x="314" y="217"/>
                          </a:cubicBezTo>
                          <a:cubicBezTo>
                            <a:pt x="310" y="215"/>
                            <a:pt x="311" y="212"/>
                            <a:pt x="307" y="210"/>
                          </a:cubicBezTo>
                          <a:cubicBezTo>
                            <a:pt x="306" y="202"/>
                            <a:pt x="304" y="194"/>
                            <a:pt x="301" y="187"/>
                          </a:cubicBezTo>
                          <a:cubicBezTo>
                            <a:pt x="305" y="155"/>
                            <a:pt x="302" y="181"/>
                            <a:pt x="305" y="168"/>
                          </a:cubicBezTo>
                          <a:cubicBezTo>
                            <a:pt x="306" y="165"/>
                            <a:pt x="307" y="158"/>
                            <a:pt x="307" y="158"/>
                          </a:cubicBezTo>
                          <a:cubicBezTo>
                            <a:pt x="307" y="155"/>
                            <a:pt x="307" y="151"/>
                            <a:pt x="305" y="148"/>
                          </a:cubicBezTo>
                          <a:cubicBezTo>
                            <a:pt x="303" y="146"/>
                            <a:pt x="299" y="142"/>
                            <a:pt x="299" y="142"/>
                          </a:cubicBezTo>
                          <a:cubicBezTo>
                            <a:pt x="298" y="138"/>
                            <a:pt x="295" y="137"/>
                            <a:pt x="294" y="133"/>
                          </a:cubicBezTo>
                          <a:cubicBezTo>
                            <a:pt x="296" y="126"/>
                            <a:pt x="294" y="128"/>
                            <a:pt x="299" y="125"/>
                          </a:cubicBezTo>
                          <a:cubicBezTo>
                            <a:pt x="303" y="114"/>
                            <a:pt x="326" y="109"/>
                            <a:pt x="336" y="107"/>
                          </a:cubicBezTo>
                          <a:cubicBezTo>
                            <a:pt x="339" y="105"/>
                            <a:pt x="346" y="100"/>
                            <a:pt x="346" y="100"/>
                          </a:cubicBezTo>
                          <a:cubicBezTo>
                            <a:pt x="349" y="96"/>
                            <a:pt x="354" y="92"/>
                            <a:pt x="359" y="9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grpSp>
            <p:grpSp>
              <p:nvGrpSpPr>
                <p:cNvPr id="84" name="Group 75">
                  <a:extLst>
                    <a:ext uri="{FF2B5EF4-FFF2-40B4-BE49-F238E27FC236}">
                      <a16:creationId xmlns:a16="http://schemas.microsoft.com/office/drawing/2014/main" id="{675D741E-35CA-16C3-744C-AEA92C8EA823}"/>
                    </a:ext>
                  </a:extLst>
                </p:cNvPr>
                <p:cNvGrpSpPr>
                  <a:grpSpLocks noChangeAspect="1"/>
                </p:cNvGrpSpPr>
                <p:nvPr/>
              </p:nvGrpSpPr>
              <p:grpSpPr bwMode="auto">
                <a:xfrm>
                  <a:off x="2614664" y="4992742"/>
                  <a:ext cx="1122385" cy="936635"/>
                  <a:chOff x="1648" y="3145"/>
                  <a:chExt cx="707" cy="590"/>
                </a:xfrm>
                <a:grpFill/>
              </p:grpSpPr>
              <p:sp>
                <p:nvSpPr>
                  <p:cNvPr id="154" name="Freeform 2494">
                    <a:extLst>
                      <a:ext uri="{FF2B5EF4-FFF2-40B4-BE49-F238E27FC236}">
                        <a16:creationId xmlns:a16="http://schemas.microsoft.com/office/drawing/2014/main" id="{2C497570-C448-7A1D-8BF7-528EC4135BFE}"/>
                      </a:ext>
                    </a:extLst>
                  </p:cNvPr>
                  <p:cNvSpPr>
                    <a:spLocks noChangeAspect="1"/>
                  </p:cNvSpPr>
                  <p:nvPr/>
                </p:nvSpPr>
                <p:spPr bwMode="auto">
                  <a:xfrm>
                    <a:off x="2167" y="3576"/>
                    <a:ext cx="27" cy="21"/>
                  </a:xfrm>
                  <a:custGeom>
                    <a:avLst/>
                    <a:gdLst>
                      <a:gd name="T0" fmla="*/ 25 w 27"/>
                      <a:gd name="T1" fmla="*/ 0 h 21"/>
                      <a:gd name="T2" fmla="*/ 0 w 27"/>
                      <a:gd name="T3" fmla="*/ 10 h 21"/>
                      <a:gd name="T4" fmla="*/ 10 w 27"/>
                      <a:gd name="T5" fmla="*/ 20 h 21"/>
                      <a:gd name="T6" fmla="*/ 27 w 27"/>
                      <a:gd name="T7" fmla="*/ 15 h 21"/>
                      <a:gd name="T8" fmla="*/ 19 w 27"/>
                      <a:gd name="T9" fmla="*/ 1 h 21"/>
                      <a:gd name="T10" fmla="*/ 9 w 27"/>
                      <a:gd name="T11" fmla="*/ 3 h 21"/>
                      <a:gd name="T12" fmla="*/ 0 60000 65536"/>
                      <a:gd name="T13" fmla="*/ 0 60000 65536"/>
                      <a:gd name="T14" fmla="*/ 0 60000 65536"/>
                      <a:gd name="T15" fmla="*/ 0 60000 65536"/>
                      <a:gd name="T16" fmla="*/ 0 60000 65536"/>
                      <a:gd name="T17" fmla="*/ 0 60000 65536"/>
                      <a:gd name="T18" fmla="*/ 0 w 27"/>
                      <a:gd name="T19" fmla="*/ 0 h 21"/>
                      <a:gd name="T20" fmla="*/ 27 w 27"/>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27" h="21">
                        <a:moveTo>
                          <a:pt x="25" y="0"/>
                        </a:moveTo>
                        <a:cubicBezTo>
                          <a:pt x="5" y="2"/>
                          <a:pt x="12" y="2"/>
                          <a:pt x="0" y="10"/>
                        </a:cubicBezTo>
                        <a:cubicBezTo>
                          <a:pt x="1" y="15"/>
                          <a:pt x="10" y="20"/>
                          <a:pt x="10" y="20"/>
                        </a:cubicBezTo>
                        <a:cubicBezTo>
                          <a:pt x="16" y="19"/>
                          <a:pt x="23" y="21"/>
                          <a:pt x="27" y="15"/>
                        </a:cubicBezTo>
                        <a:cubicBezTo>
                          <a:pt x="25" y="10"/>
                          <a:pt x="24" y="3"/>
                          <a:pt x="19" y="1"/>
                        </a:cubicBezTo>
                        <a:cubicBezTo>
                          <a:pt x="16" y="2"/>
                          <a:pt x="9" y="3"/>
                          <a:pt x="9" y="3"/>
                        </a:cubicBezTo>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55" name="Freeform 2495">
                    <a:extLst>
                      <a:ext uri="{FF2B5EF4-FFF2-40B4-BE49-F238E27FC236}">
                        <a16:creationId xmlns:a16="http://schemas.microsoft.com/office/drawing/2014/main" id="{D014D4A9-9778-3614-2AB5-24C7C91ADACE}"/>
                      </a:ext>
                    </a:extLst>
                  </p:cNvPr>
                  <p:cNvSpPr>
                    <a:spLocks noChangeAspect="1"/>
                  </p:cNvSpPr>
                  <p:nvPr/>
                </p:nvSpPr>
                <p:spPr bwMode="auto">
                  <a:xfrm>
                    <a:off x="2178" y="3606"/>
                    <a:ext cx="23" cy="9"/>
                  </a:xfrm>
                  <a:custGeom>
                    <a:avLst/>
                    <a:gdLst>
                      <a:gd name="T0" fmla="*/ 1 w 23"/>
                      <a:gd name="T1" fmla="*/ 0 h 9"/>
                      <a:gd name="T2" fmla="*/ 3 w 23"/>
                      <a:gd name="T3" fmla="*/ 7 h 9"/>
                      <a:gd name="T4" fmla="*/ 1 w 23"/>
                      <a:gd name="T5" fmla="*/ 0 h 9"/>
                      <a:gd name="T6" fmla="*/ 0 60000 65536"/>
                      <a:gd name="T7" fmla="*/ 0 60000 65536"/>
                      <a:gd name="T8" fmla="*/ 0 60000 65536"/>
                      <a:gd name="T9" fmla="*/ 0 w 23"/>
                      <a:gd name="T10" fmla="*/ 0 h 9"/>
                      <a:gd name="T11" fmla="*/ 23 w 23"/>
                      <a:gd name="T12" fmla="*/ 9 h 9"/>
                    </a:gdLst>
                    <a:ahLst/>
                    <a:cxnLst>
                      <a:cxn ang="T6">
                        <a:pos x="T0" y="T1"/>
                      </a:cxn>
                      <a:cxn ang="T7">
                        <a:pos x="T2" y="T3"/>
                      </a:cxn>
                      <a:cxn ang="T8">
                        <a:pos x="T4" y="T5"/>
                      </a:cxn>
                    </a:cxnLst>
                    <a:rect l="T9" t="T10" r="T11" b="T12"/>
                    <a:pathLst>
                      <a:path w="23" h="9">
                        <a:moveTo>
                          <a:pt x="1" y="0"/>
                        </a:moveTo>
                        <a:cubicBezTo>
                          <a:pt x="23" y="2"/>
                          <a:pt x="19" y="9"/>
                          <a:pt x="3" y="7"/>
                        </a:cubicBezTo>
                        <a:cubicBezTo>
                          <a:pt x="0" y="3"/>
                          <a:pt x="1" y="5"/>
                          <a:pt x="1"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56" name="Freeform 2496">
                    <a:extLst>
                      <a:ext uri="{FF2B5EF4-FFF2-40B4-BE49-F238E27FC236}">
                        <a16:creationId xmlns:a16="http://schemas.microsoft.com/office/drawing/2014/main" id="{886DBFF9-DF10-B488-3A70-D7FB1847D121}"/>
                      </a:ext>
                    </a:extLst>
                  </p:cNvPr>
                  <p:cNvSpPr>
                    <a:spLocks noChangeAspect="1"/>
                  </p:cNvSpPr>
                  <p:nvPr/>
                </p:nvSpPr>
                <p:spPr bwMode="auto">
                  <a:xfrm>
                    <a:off x="2239" y="3523"/>
                    <a:ext cx="64" cy="50"/>
                  </a:xfrm>
                  <a:custGeom>
                    <a:avLst/>
                    <a:gdLst>
                      <a:gd name="T0" fmla="*/ 3 w 64"/>
                      <a:gd name="T1" fmla="*/ 19 h 50"/>
                      <a:gd name="T2" fmla="*/ 18 w 64"/>
                      <a:gd name="T3" fmla="*/ 14 h 50"/>
                      <a:gd name="T4" fmla="*/ 30 w 64"/>
                      <a:gd name="T5" fmla="*/ 6 h 50"/>
                      <a:gd name="T6" fmla="*/ 44 w 64"/>
                      <a:gd name="T7" fmla="*/ 0 h 50"/>
                      <a:gd name="T8" fmla="*/ 52 w 64"/>
                      <a:gd name="T9" fmla="*/ 21 h 50"/>
                      <a:gd name="T10" fmla="*/ 64 w 64"/>
                      <a:gd name="T11" fmla="*/ 18 h 50"/>
                      <a:gd name="T12" fmla="*/ 58 w 64"/>
                      <a:gd name="T13" fmla="*/ 32 h 50"/>
                      <a:gd name="T14" fmla="*/ 56 w 64"/>
                      <a:gd name="T15" fmla="*/ 35 h 50"/>
                      <a:gd name="T16" fmla="*/ 52 w 64"/>
                      <a:gd name="T17" fmla="*/ 37 h 50"/>
                      <a:gd name="T18" fmla="*/ 40 w 64"/>
                      <a:gd name="T19" fmla="*/ 50 h 50"/>
                      <a:gd name="T20" fmla="*/ 26 w 64"/>
                      <a:gd name="T21" fmla="*/ 42 h 50"/>
                      <a:gd name="T22" fmla="*/ 19 w 64"/>
                      <a:gd name="T23" fmla="*/ 31 h 50"/>
                      <a:gd name="T24" fmla="*/ 0 w 64"/>
                      <a:gd name="T25" fmla="*/ 25 h 50"/>
                      <a:gd name="T26" fmla="*/ 15 w 64"/>
                      <a:gd name="T27" fmla="*/ 15 h 50"/>
                      <a:gd name="T28" fmla="*/ 18 w 64"/>
                      <a:gd name="T29" fmla="*/ 14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4"/>
                      <a:gd name="T46" fmla="*/ 0 h 50"/>
                      <a:gd name="T47" fmla="*/ 64 w 64"/>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4" h="50">
                        <a:moveTo>
                          <a:pt x="3" y="19"/>
                        </a:moveTo>
                        <a:cubicBezTo>
                          <a:pt x="8" y="17"/>
                          <a:pt x="13" y="16"/>
                          <a:pt x="18" y="14"/>
                        </a:cubicBezTo>
                        <a:cubicBezTo>
                          <a:pt x="23" y="12"/>
                          <a:pt x="25" y="8"/>
                          <a:pt x="30" y="6"/>
                        </a:cubicBezTo>
                        <a:cubicBezTo>
                          <a:pt x="33" y="2"/>
                          <a:pt x="44" y="0"/>
                          <a:pt x="44" y="0"/>
                        </a:cubicBezTo>
                        <a:cubicBezTo>
                          <a:pt x="55" y="3"/>
                          <a:pt x="43" y="15"/>
                          <a:pt x="52" y="21"/>
                        </a:cubicBezTo>
                        <a:cubicBezTo>
                          <a:pt x="60" y="16"/>
                          <a:pt x="56" y="17"/>
                          <a:pt x="64" y="18"/>
                        </a:cubicBezTo>
                        <a:cubicBezTo>
                          <a:pt x="63" y="24"/>
                          <a:pt x="63" y="29"/>
                          <a:pt x="58" y="32"/>
                        </a:cubicBezTo>
                        <a:cubicBezTo>
                          <a:pt x="57" y="33"/>
                          <a:pt x="57" y="34"/>
                          <a:pt x="56" y="35"/>
                        </a:cubicBezTo>
                        <a:cubicBezTo>
                          <a:pt x="55" y="36"/>
                          <a:pt x="53" y="36"/>
                          <a:pt x="52" y="37"/>
                        </a:cubicBezTo>
                        <a:cubicBezTo>
                          <a:pt x="45" y="45"/>
                          <a:pt x="52" y="44"/>
                          <a:pt x="40" y="50"/>
                        </a:cubicBezTo>
                        <a:cubicBezTo>
                          <a:pt x="35" y="46"/>
                          <a:pt x="33" y="43"/>
                          <a:pt x="26" y="42"/>
                        </a:cubicBezTo>
                        <a:cubicBezTo>
                          <a:pt x="24" y="36"/>
                          <a:pt x="24" y="34"/>
                          <a:pt x="19" y="31"/>
                        </a:cubicBezTo>
                        <a:cubicBezTo>
                          <a:pt x="3" y="32"/>
                          <a:pt x="0" y="38"/>
                          <a:pt x="0" y="25"/>
                        </a:cubicBezTo>
                        <a:cubicBezTo>
                          <a:pt x="0" y="19"/>
                          <a:pt x="10" y="17"/>
                          <a:pt x="15" y="15"/>
                        </a:cubicBezTo>
                        <a:cubicBezTo>
                          <a:pt x="16" y="15"/>
                          <a:pt x="18" y="14"/>
                          <a:pt x="18" y="14"/>
                        </a:cubicBezTo>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57" name="Freeform 2497">
                    <a:extLst>
                      <a:ext uri="{FF2B5EF4-FFF2-40B4-BE49-F238E27FC236}">
                        <a16:creationId xmlns:a16="http://schemas.microsoft.com/office/drawing/2014/main" id="{5F1628CA-AC73-4FBC-4E29-639E13866203}"/>
                      </a:ext>
                    </a:extLst>
                  </p:cNvPr>
                  <p:cNvSpPr>
                    <a:spLocks noChangeAspect="1"/>
                  </p:cNvSpPr>
                  <p:nvPr/>
                </p:nvSpPr>
                <p:spPr bwMode="auto">
                  <a:xfrm>
                    <a:off x="2324" y="3522"/>
                    <a:ext cx="31" cy="24"/>
                  </a:xfrm>
                  <a:custGeom>
                    <a:avLst/>
                    <a:gdLst>
                      <a:gd name="T0" fmla="*/ 1 w 31"/>
                      <a:gd name="T1" fmla="*/ 0 h 24"/>
                      <a:gd name="T2" fmla="*/ 24 w 31"/>
                      <a:gd name="T3" fmla="*/ 1 h 24"/>
                      <a:gd name="T4" fmla="*/ 29 w 31"/>
                      <a:gd name="T5" fmla="*/ 21 h 24"/>
                      <a:gd name="T6" fmla="*/ 19 w 31"/>
                      <a:gd name="T7" fmla="*/ 13 h 24"/>
                      <a:gd name="T8" fmla="*/ 6 w 31"/>
                      <a:gd name="T9" fmla="*/ 10 h 24"/>
                      <a:gd name="T10" fmla="*/ 1 w 31"/>
                      <a:gd name="T11" fmla="*/ 0 h 24"/>
                      <a:gd name="T12" fmla="*/ 0 60000 65536"/>
                      <a:gd name="T13" fmla="*/ 0 60000 65536"/>
                      <a:gd name="T14" fmla="*/ 0 60000 65536"/>
                      <a:gd name="T15" fmla="*/ 0 60000 65536"/>
                      <a:gd name="T16" fmla="*/ 0 60000 65536"/>
                      <a:gd name="T17" fmla="*/ 0 60000 65536"/>
                      <a:gd name="T18" fmla="*/ 0 w 31"/>
                      <a:gd name="T19" fmla="*/ 0 h 24"/>
                      <a:gd name="T20" fmla="*/ 31 w 31"/>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1" h="24">
                        <a:moveTo>
                          <a:pt x="1" y="0"/>
                        </a:moveTo>
                        <a:cubicBezTo>
                          <a:pt x="9" y="0"/>
                          <a:pt x="16" y="0"/>
                          <a:pt x="24" y="1"/>
                        </a:cubicBezTo>
                        <a:cubicBezTo>
                          <a:pt x="31" y="2"/>
                          <a:pt x="29" y="21"/>
                          <a:pt x="29" y="21"/>
                        </a:cubicBezTo>
                        <a:cubicBezTo>
                          <a:pt x="21" y="24"/>
                          <a:pt x="24" y="16"/>
                          <a:pt x="19" y="13"/>
                        </a:cubicBezTo>
                        <a:cubicBezTo>
                          <a:pt x="15" y="11"/>
                          <a:pt x="10" y="11"/>
                          <a:pt x="6" y="10"/>
                        </a:cubicBezTo>
                        <a:cubicBezTo>
                          <a:pt x="0" y="6"/>
                          <a:pt x="0" y="9"/>
                          <a:pt x="1"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58" name="Freeform 2498">
                    <a:extLst>
                      <a:ext uri="{FF2B5EF4-FFF2-40B4-BE49-F238E27FC236}">
                        <a16:creationId xmlns:a16="http://schemas.microsoft.com/office/drawing/2014/main" id="{1DF8B374-BBDE-54F2-FC90-DCDFF67250F5}"/>
                      </a:ext>
                    </a:extLst>
                  </p:cNvPr>
                  <p:cNvSpPr>
                    <a:spLocks noChangeAspect="1"/>
                  </p:cNvSpPr>
                  <p:nvPr/>
                </p:nvSpPr>
                <p:spPr bwMode="auto">
                  <a:xfrm>
                    <a:off x="1648" y="3145"/>
                    <a:ext cx="665" cy="590"/>
                  </a:xfrm>
                  <a:custGeom>
                    <a:avLst/>
                    <a:gdLst>
                      <a:gd name="T0" fmla="*/ 395 w 665"/>
                      <a:gd name="T1" fmla="*/ 96 h 590"/>
                      <a:gd name="T2" fmla="*/ 361 w 665"/>
                      <a:gd name="T3" fmla="*/ 90 h 590"/>
                      <a:gd name="T4" fmla="*/ 337 w 665"/>
                      <a:gd name="T5" fmla="*/ 86 h 590"/>
                      <a:gd name="T6" fmla="*/ 310 w 665"/>
                      <a:gd name="T7" fmla="*/ 71 h 590"/>
                      <a:gd name="T8" fmla="*/ 258 w 665"/>
                      <a:gd name="T9" fmla="*/ 61 h 590"/>
                      <a:gd name="T10" fmla="*/ 220 w 665"/>
                      <a:gd name="T11" fmla="*/ 53 h 590"/>
                      <a:gd name="T12" fmla="*/ 137 w 665"/>
                      <a:gd name="T13" fmla="*/ 26 h 590"/>
                      <a:gd name="T14" fmla="*/ 90 w 665"/>
                      <a:gd name="T15" fmla="*/ 2 h 590"/>
                      <a:gd name="T16" fmla="*/ 66 w 665"/>
                      <a:gd name="T17" fmla="*/ 18 h 590"/>
                      <a:gd name="T18" fmla="*/ 40 w 665"/>
                      <a:gd name="T19" fmla="*/ 23 h 590"/>
                      <a:gd name="T20" fmla="*/ 15 w 665"/>
                      <a:gd name="T21" fmla="*/ 20 h 590"/>
                      <a:gd name="T22" fmla="*/ 12 w 665"/>
                      <a:gd name="T23" fmla="*/ 102 h 590"/>
                      <a:gd name="T24" fmla="*/ 29 w 665"/>
                      <a:gd name="T25" fmla="*/ 115 h 590"/>
                      <a:gd name="T26" fmla="*/ 43 w 665"/>
                      <a:gd name="T27" fmla="*/ 133 h 590"/>
                      <a:gd name="T28" fmla="*/ 129 w 665"/>
                      <a:gd name="T29" fmla="*/ 147 h 590"/>
                      <a:gd name="T30" fmla="*/ 138 w 665"/>
                      <a:gd name="T31" fmla="*/ 182 h 590"/>
                      <a:gd name="T32" fmla="*/ 99 w 665"/>
                      <a:gd name="T33" fmla="*/ 212 h 590"/>
                      <a:gd name="T34" fmla="*/ 91 w 665"/>
                      <a:gd name="T35" fmla="*/ 247 h 590"/>
                      <a:gd name="T36" fmla="*/ 82 w 665"/>
                      <a:gd name="T37" fmla="*/ 275 h 590"/>
                      <a:gd name="T38" fmla="*/ 63 w 665"/>
                      <a:gd name="T39" fmla="*/ 303 h 590"/>
                      <a:gd name="T40" fmla="*/ 45 w 665"/>
                      <a:gd name="T41" fmla="*/ 309 h 590"/>
                      <a:gd name="T42" fmla="*/ 48 w 665"/>
                      <a:gd name="T43" fmla="*/ 362 h 590"/>
                      <a:gd name="T44" fmla="*/ 34 w 665"/>
                      <a:gd name="T45" fmla="*/ 392 h 590"/>
                      <a:gd name="T46" fmla="*/ 40 w 665"/>
                      <a:gd name="T47" fmla="*/ 409 h 590"/>
                      <a:gd name="T48" fmla="*/ 23 w 665"/>
                      <a:gd name="T49" fmla="*/ 428 h 590"/>
                      <a:gd name="T50" fmla="*/ 0 w 665"/>
                      <a:gd name="T51" fmla="*/ 461 h 590"/>
                      <a:gd name="T52" fmla="*/ 34 w 665"/>
                      <a:gd name="T53" fmla="*/ 492 h 590"/>
                      <a:gd name="T54" fmla="*/ 57 w 665"/>
                      <a:gd name="T55" fmla="*/ 537 h 590"/>
                      <a:gd name="T56" fmla="*/ 75 w 665"/>
                      <a:gd name="T57" fmla="*/ 590 h 590"/>
                      <a:gd name="T58" fmla="*/ 124 w 665"/>
                      <a:gd name="T59" fmla="*/ 572 h 590"/>
                      <a:gd name="T60" fmla="*/ 186 w 665"/>
                      <a:gd name="T61" fmla="*/ 554 h 590"/>
                      <a:gd name="T62" fmla="*/ 281 w 665"/>
                      <a:gd name="T63" fmla="*/ 567 h 590"/>
                      <a:gd name="T64" fmla="*/ 336 w 665"/>
                      <a:gd name="T65" fmla="*/ 537 h 590"/>
                      <a:gd name="T66" fmla="*/ 402 w 665"/>
                      <a:gd name="T67" fmla="*/ 518 h 590"/>
                      <a:gd name="T68" fmla="*/ 438 w 665"/>
                      <a:gd name="T69" fmla="*/ 455 h 590"/>
                      <a:gd name="T70" fmla="*/ 450 w 665"/>
                      <a:gd name="T71" fmla="*/ 425 h 590"/>
                      <a:gd name="T72" fmla="*/ 435 w 665"/>
                      <a:gd name="T73" fmla="*/ 405 h 590"/>
                      <a:gd name="T74" fmla="*/ 456 w 665"/>
                      <a:gd name="T75" fmla="*/ 371 h 590"/>
                      <a:gd name="T76" fmla="*/ 480 w 665"/>
                      <a:gd name="T77" fmla="*/ 341 h 590"/>
                      <a:gd name="T78" fmla="*/ 497 w 665"/>
                      <a:gd name="T79" fmla="*/ 315 h 590"/>
                      <a:gd name="T80" fmla="*/ 522 w 665"/>
                      <a:gd name="T81" fmla="*/ 297 h 590"/>
                      <a:gd name="T82" fmla="*/ 549 w 665"/>
                      <a:gd name="T83" fmla="*/ 281 h 590"/>
                      <a:gd name="T84" fmla="*/ 607 w 665"/>
                      <a:gd name="T85" fmla="*/ 267 h 590"/>
                      <a:gd name="T86" fmla="*/ 640 w 665"/>
                      <a:gd name="T87" fmla="*/ 251 h 590"/>
                      <a:gd name="T88" fmla="*/ 659 w 665"/>
                      <a:gd name="T89" fmla="*/ 191 h 590"/>
                      <a:gd name="T90" fmla="*/ 598 w 665"/>
                      <a:gd name="T91" fmla="*/ 193 h 590"/>
                      <a:gd name="T92" fmla="*/ 569 w 665"/>
                      <a:gd name="T93" fmla="*/ 170 h 590"/>
                      <a:gd name="T94" fmla="*/ 531 w 665"/>
                      <a:gd name="T95" fmla="*/ 162 h 590"/>
                      <a:gd name="T96" fmla="*/ 504 w 665"/>
                      <a:gd name="T97" fmla="*/ 159 h 590"/>
                      <a:gd name="T98" fmla="*/ 467 w 665"/>
                      <a:gd name="T99" fmla="*/ 143 h 590"/>
                      <a:gd name="T100" fmla="*/ 437 w 665"/>
                      <a:gd name="T101" fmla="*/ 131 h 590"/>
                      <a:gd name="T102" fmla="*/ 418 w 665"/>
                      <a:gd name="T103" fmla="*/ 89 h 5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65"/>
                      <a:gd name="T157" fmla="*/ 0 h 590"/>
                      <a:gd name="T158" fmla="*/ 665 w 665"/>
                      <a:gd name="T159" fmla="*/ 590 h 59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65" h="590">
                        <a:moveTo>
                          <a:pt x="418" y="89"/>
                        </a:moveTo>
                        <a:cubicBezTo>
                          <a:pt x="411" y="90"/>
                          <a:pt x="402" y="95"/>
                          <a:pt x="395" y="96"/>
                        </a:cubicBezTo>
                        <a:cubicBezTo>
                          <a:pt x="384" y="95"/>
                          <a:pt x="382" y="94"/>
                          <a:pt x="373" y="92"/>
                        </a:cubicBezTo>
                        <a:cubicBezTo>
                          <a:pt x="369" y="91"/>
                          <a:pt x="361" y="90"/>
                          <a:pt x="361" y="90"/>
                        </a:cubicBezTo>
                        <a:cubicBezTo>
                          <a:pt x="358" y="86"/>
                          <a:pt x="356" y="84"/>
                          <a:pt x="351" y="83"/>
                        </a:cubicBezTo>
                        <a:cubicBezTo>
                          <a:pt x="346" y="84"/>
                          <a:pt x="337" y="86"/>
                          <a:pt x="337" y="86"/>
                        </a:cubicBezTo>
                        <a:cubicBezTo>
                          <a:pt x="332" y="84"/>
                          <a:pt x="332" y="78"/>
                          <a:pt x="327" y="75"/>
                        </a:cubicBezTo>
                        <a:cubicBezTo>
                          <a:pt x="323" y="73"/>
                          <a:pt x="315" y="72"/>
                          <a:pt x="310" y="71"/>
                        </a:cubicBezTo>
                        <a:cubicBezTo>
                          <a:pt x="302" y="70"/>
                          <a:pt x="285" y="68"/>
                          <a:pt x="285" y="68"/>
                        </a:cubicBezTo>
                        <a:cubicBezTo>
                          <a:pt x="274" y="64"/>
                          <a:pt x="271" y="62"/>
                          <a:pt x="258" y="61"/>
                        </a:cubicBezTo>
                        <a:cubicBezTo>
                          <a:pt x="249" y="58"/>
                          <a:pt x="240" y="57"/>
                          <a:pt x="231" y="56"/>
                        </a:cubicBezTo>
                        <a:cubicBezTo>
                          <a:pt x="227" y="55"/>
                          <a:pt x="224" y="54"/>
                          <a:pt x="220" y="53"/>
                        </a:cubicBezTo>
                        <a:cubicBezTo>
                          <a:pt x="210" y="43"/>
                          <a:pt x="202" y="37"/>
                          <a:pt x="187" y="35"/>
                        </a:cubicBezTo>
                        <a:cubicBezTo>
                          <a:pt x="168" y="29"/>
                          <a:pt x="160" y="27"/>
                          <a:pt x="137" y="26"/>
                        </a:cubicBezTo>
                        <a:cubicBezTo>
                          <a:pt x="128" y="24"/>
                          <a:pt x="125" y="15"/>
                          <a:pt x="115" y="13"/>
                        </a:cubicBezTo>
                        <a:cubicBezTo>
                          <a:pt x="103" y="5"/>
                          <a:pt x="107" y="3"/>
                          <a:pt x="90" y="2"/>
                        </a:cubicBezTo>
                        <a:cubicBezTo>
                          <a:pt x="84" y="0"/>
                          <a:pt x="84" y="4"/>
                          <a:pt x="79" y="7"/>
                        </a:cubicBezTo>
                        <a:cubicBezTo>
                          <a:pt x="77" y="12"/>
                          <a:pt x="71" y="17"/>
                          <a:pt x="66" y="18"/>
                        </a:cubicBezTo>
                        <a:cubicBezTo>
                          <a:pt x="62" y="21"/>
                          <a:pt x="59" y="24"/>
                          <a:pt x="54" y="26"/>
                        </a:cubicBezTo>
                        <a:cubicBezTo>
                          <a:pt x="49" y="25"/>
                          <a:pt x="45" y="25"/>
                          <a:pt x="40" y="23"/>
                        </a:cubicBezTo>
                        <a:cubicBezTo>
                          <a:pt x="38" y="18"/>
                          <a:pt x="33" y="18"/>
                          <a:pt x="28" y="17"/>
                        </a:cubicBezTo>
                        <a:cubicBezTo>
                          <a:pt x="24" y="18"/>
                          <a:pt x="15" y="20"/>
                          <a:pt x="15" y="20"/>
                        </a:cubicBezTo>
                        <a:cubicBezTo>
                          <a:pt x="6" y="33"/>
                          <a:pt x="14" y="53"/>
                          <a:pt x="16" y="68"/>
                        </a:cubicBezTo>
                        <a:cubicBezTo>
                          <a:pt x="15" y="91"/>
                          <a:pt x="15" y="87"/>
                          <a:pt x="12" y="102"/>
                        </a:cubicBezTo>
                        <a:cubicBezTo>
                          <a:pt x="12" y="109"/>
                          <a:pt x="7" y="121"/>
                          <a:pt x="16" y="119"/>
                        </a:cubicBezTo>
                        <a:cubicBezTo>
                          <a:pt x="23" y="120"/>
                          <a:pt x="24" y="116"/>
                          <a:pt x="29" y="115"/>
                        </a:cubicBezTo>
                        <a:cubicBezTo>
                          <a:pt x="42" y="116"/>
                          <a:pt x="45" y="111"/>
                          <a:pt x="49" y="122"/>
                        </a:cubicBezTo>
                        <a:cubicBezTo>
                          <a:pt x="48" y="127"/>
                          <a:pt x="47" y="130"/>
                          <a:pt x="43" y="133"/>
                        </a:cubicBezTo>
                        <a:cubicBezTo>
                          <a:pt x="55" y="141"/>
                          <a:pt x="67" y="139"/>
                          <a:pt x="81" y="141"/>
                        </a:cubicBezTo>
                        <a:cubicBezTo>
                          <a:pt x="97" y="140"/>
                          <a:pt x="117" y="135"/>
                          <a:pt x="129" y="147"/>
                        </a:cubicBezTo>
                        <a:cubicBezTo>
                          <a:pt x="133" y="158"/>
                          <a:pt x="130" y="164"/>
                          <a:pt x="141" y="170"/>
                        </a:cubicBezTo>
                        <a:cubicBezTo>
                          <a:pt x="142" y="175"/>
                          <a:pt x="142" y="178"/>
                          <a:pt x="138" y="182"/>
                        </a:cubicBezTo>
                        <a:cubicBezTo>
                          <a:pt x="133" y="196"/>
                          <a:pt x="121" y="196"/>
                          <a:pt x="109" y="199"/>
                        </a:cubicBezTo>
                        <a:cubicBezTo>
                          <a:pt x="105" y="204"/>
                          <a:pt x="102" y="207"/>
                          <a:pt x="99" y="212"/>
                        </a:cubicBezTo>
                        <a:cubicBezTo>
                          <a:pt x="98" y="217"/>
                          <a:pt x="95" y="227"/>
                          <a:pt x="95" y="227"/>
                        </a:cubicBezTo>
                        <a:cubicBezTo>
                          <a:pt x="94" y="237"/>
                          <a:pt x="95" y="239"/>
                          <a:pt x="91" y="247"/>
                        </a:cubicBezTo>
                        <a:cubicBezTo>
                          <a:pt x="90" y="255"/>
                          <a:pt x="91" y="263"/>
                          <a:pt x="82" y="266"/>
                        </a:cubicBezTo>
                        <a:cubicBezTo>
                          <a:pt x="78" y="270"/>
                          <a:pt x="80" y="270"/>
                          <a:pt x="82" y="275"/>
                        </a:cubicBezTo>
                        <a:cubicBezTo>
                          <a:pt x="81" y="282"/>
                          <a:pt x="78" y="291"/>
                          <a:pt x="73" y="296"/>
                        </a:cubicBezTo>
                        <a:cubicBezTo>
                          <a:pt x="72" y="300"/>
                          <a:pt x="63" y="303"/>
                          <a:pt x="63" y="303"/>
                        </a:cubicBezTo>
                        <a:cubicBezTo>
                          <a:pt x="59" y="302"/>
                          <a:pt x="55" y="301"/>
                          <a:pt x="51" y="300"/>
                        </a:cubicBezTo>
                        <a:cubicBezTo>
                          <a:pt x="40" y="301"/>
                          <a:pt x="41" y="301"/>
                          <a:pt x="45" y="309"/>
                        </a:cubicBezTo>
                        <a:cubicBezTo>
                          <a:pt x="45" y="316"/>
                          <a:pt x="54" y="336"/>
                          <a:pt x="54" y="345"/>
                        </a:cubicBezTo>
                        <a:cubicBezTo>
                          <a:pt x="65" y="351"/>
                          <a:pt x="54" y="358"/>
                          <a:pt x="48" y="362"/>
                        </a:cubicBezTo>
                        <a:cubicBezTo>
                          <a:pt x="44" y="369"/>
                          <a:pt x="40" y="375"/>
                          <a:pt x="37" y="383"/>
                        </a:cubicBezTo>
                        <a:cubicBezTo>
                          <a:pt x="36" y="386"/>
                          <a:pt x="35" y="389"/>
                          <a:pt x="34" y="392"/>
                        </a:cubicBezTo>
                        <a:cubicBezTo>
                          <a:pt x="34" y="393"/>
                          <a:pt x="33" y="395"/>
                          <a:pt x="33" y="395"/>
                        </a:cubicBezTo>
                        <a:cubicBezTo>
                          <a:pt x="35" y="401"/>
                          <a:pt x="35" y="405"/>
                          <a:pt x="40" y="409"/>
                        </a:cubicBezTo>
                        <a:cubicBezTo>
                          <a:pt x="43" y="415"/>
                          <a:pt x="48" y="416"/>
                          <a:pt x="39" y="422"/>
                        </a:cubicBezTo>
                        <a:cubicBezTo>
                          <a:pt x="35" y="427"/>
                          <a:pt x="29" y="427"/>
                          <a:pt x="23" y="428"/>
                        </a:cubicBezTo>
                        <a:cubicBezTo>
                          <a:pt x="21" y="435"/>
                          <a:pt x="24" y="427"/>
                          <a:pt x="13" y="434"/>
                        </a:cubicBezTo>
                        <a:cubicBezTo>
                          <a:pt x="12" y="435"/>
                          <a:pt x="1" y="458"/>
                          <a:pt x="0" y="461"/>
                        </a:cubicBezTo>
                        <a:cubicBezTo>
                          <a:pt x="1" y="470"/>
                          <a:pt x="2" y="466"/>
                          <a:pt x="4" y="483"/>
                        </a:cubicBezTo>
                        <a:cubicBezTo>
                          <a:pt x="21" y="477"/>
                          <a:pt x="25" y="483"/>
                          <a:pt x="34" y="492"/>
                        </a:cubicBezTo>
                        <a:cubicBezTo>
                          <a:pt x="37" y="500"/>
                          <a:pt x="39" y="510"/>
                          <a:pt x="46" y="515"/>
                        </a:cubicBezTo>
                        <a:cubicBezTo>
                          <a:pt x="51" y="522"/>
                          <a:pt x="52" y="530"/>
                          <a:pt x="57" y="537"/>
                        </a:cubicBezTo>
                        <a:cubicBezTo>
                          <a:pt x="59" y="550"/>
                          <a:pt x="58" y="545"/>
                          <a:pt x="60" y="552"/>
                        </a:cubicBezTo>
                        <a:cubicBezTo>
                          <a:pt x="62" y="565"/>
                          <a:pt x="68" y="579"/>
                          <a:pt x="75" y="590"/>
                        </a:cubicBezTo>
                        <a:cubicBezTo>
                          <a:pt x="87" y="587"/>
                          <a:pt x="97" y="579"/>
                          <a:pt x="111" y="577"/>
                        </a:cubicBezTo>
                        <a:cubicBezTo>
                          <a:pt x="116" y="575"/>
                          <a:pt x="120" y="573"/>
                          <a:pt x="124" y="572"/>
                        </a:cubicBezTo>
                        <a:cubicBezTo>
                          <a:pt x="133" y="563"/>
                          <a:pt x="142" y="565"/>
                          <a:pt x="155" y="564"/>
                        </a:cubicBezTo>
                        <a:cubicBezTo>
                          <a:pt x="166" y="561"/>
                          <a:pt x="175" y="555"/>
                          <a:pt x="186" y="554"/>
                        </a:cubicBezTo>
                        <a:cubicBezTo>
                          <a:pt x="198" y="555"/>
                          <a:pt x="204" y="560"/>
                          <a:pt x="216" y="561"/>
                        </a:cubicBezTo>
                        <a:cubicBezTo>
                          <a:pt x="236" y="569"/>
                          <a:pt x="260" y="566"/>
                          <a:pt x="281" y="567"/>
                        </a:cubicBezTo>
                        <a:cubicBezTo>
                          <a:pt x="302" y="566"/>
                          <a:pt x="289" y="572"/>
                          <a:pt x="309" y="569"/>
                        </a:cubicBezTo>
                        <a:cubicBezTo>
                          <a:pt x="312" y="567"/>
                          <a:pt x="336" y="537"/>
                          <a:pt x="336" y="537"/>
                        </a:cubicBezTo>
                        <a:cubicBezTo>
                          <a:pt x="340" y="526"/>
                          <a:pt x="358" y="529"/>
                          <a:pt x="370" y="527"/>
                        </a:cubicBezTo>
                        <a:cubicBezTo>
                          <a:pt x="394" y="528"/>
                          <a:pt x="396" y="531"/>
                          <a:pt x="402" y="518"/>
                        </a:cubicBezTo>
                        <a:cubicBezTo>
                          <a:pt x="400" y="507"/>
                          <a:pt x="404" y="486"/>
                          <a:pt x="414" y="483"/>
                        </a:cubicBezTo>
                        <a:cubicBezTo>
                          <a:pt x="421" y="474"/>
                          <a:pt x="431" y="462"/>
                          <a:pt x="438" y="455"/>
                        </a:cubicBezTo>
                        <a:cubicBezTo>
                          <a:pt x="440" y="449"/>
                          <a:pt x="455" y="453"/>
                          <a:pt x="459" y="447"/>
                        </a:cubicBezTo>
                        <a:cubicBezTo>
                          <a:pt x="458" y="439"/>
                          <a:pt x="459" y="428"/>
                          <a:pt x="450" y="425"/>
                        </a:cubicBezTo>
                        <a:cubicBezTo>
                          <a:pt x="448" y="421"/>
                          <a:pt x="443" y="418"/>
                          <a:pt x="439" y="415"/>
                        </a:cubicBezTo>
                        <a:cubicBezTo>
                          <a:pt x="437" y="412"/>
                          <a:pt x="435" y="405"/>
                          <a:pt x="435" y="405"/>
                        </a:cubicBezTo>
                        <a:cubicBezTo>
                          <a:pt x="438" y="394"/>
                          <a:pt x="439" y="390"/>
                          <a:pt x="445" y="381"/>
                        </a:cubicBezTo>
                        <a:cubicBezTo>
                          <a:pt x="448" y="377"/>
                          <a:pt x="456" y="371"/>
                          <a:pt x="456" y="371"/>
                        </a:cubicBezTo>
                        <a:cubicBezTo>
                          <a:pt x="458" y="365"/>
                          <a:pt x="466" y="355"/>
                          <a:pt x="471" y="350"/>
                        </a:cubicBezTo>
                        <a:cubicBezTo>
                          <a:pt x="474" y="347"/>
                          <a:pt x="480" y="341"/>
                          <a:pt x="480" y="341"/>
                        </a:cubicBezTo>
                        <a:cubicBezTo>
                          <a:pt x="481" y="337"/>
                          <a:pt x="486" y="333"/>
                          <a:pt x="489" y="330"/>
                        </a:cubicBezTo>
                        <a:cubicBezTo>
                          <a:pt x="491" y="325"/>
                          <a:pt x="492" y="317"/>
                          <a:pt x="497" y="315"/>
                        </a:cubicBezTo>
                        <a:cubicBezTo>
                          <a:pt x="499" y="310"/>
                          <a:pt x="505" y="306"/>
                          <a:pt x="509" y="303"/>
                        </a:cubicBezTo>
                        <a:cubicBezTo>
                          <a:pt x="511" y="300"/>
                          <a:pt x="519" y="300"/>
                          <a:pt x="522" y="297"/>
                        </a:cubicBezTo>
                        <a:cubicBezTo>
                          <a:pt x="524" y="295"/>
                          <a:pt x="528" y="293"/>
                          <a:pt x="528" y="293"/>
                        </a:cubicBezTo>
                        <a:cubicBezTo>
                          <a:pt x="530" y="286"/>
                          <a:pt x="542" y="282"/>
                          <a:pt x="549" y="281"/>
                        </a:cubicBezTo>
                        <a:cubicBezTo>
                          <a:pt x="560" y="276"/>
                          <a:pt x="574" y="277"/>
                          <a:pt x="586" y="275"/>
                        </a:cubicBezTo>
                        <a:cubicBezTo>
                          <a:pt x="592" y="271"/>
                          <a:pt x="600" y="270"/>
                          <a:pt x="607" y="267"/>
                        </a:cubicBezTo>
                        <a:cubicBezTo>
                          <a:pt x="610" y="266"/>
                          <a:pt x="616" y="264"/>
                          <a:pt x="616" y="264"/>
                        </a:cubicBezTo>
                        <a:cubicBezTo>
                          <a:pt x="621" y="259"/>
                          <a:pt x="633" y="254"/>
                          <a:pt x="640" y="251"/>
                        </a:cubicBezTo>
                        <a:cubicBezTo>
                          <a:pt x="643" y="247"/>
                          <a:pt x="650" y="243"/>
                          <a:pt x="654" y="240"/>
                        </a:cubicBezTo>
                        <a:cubicBezTo>
                          <a:pt x="665" y="218"/>
                          <a:pt x="665" y="199"/>
                          <a:pt x="659" y="191"/>
                        </a:cubicBezTo>
                        <a:lnTo>
                          <a:pt x="616" y="194"/>
                        </a:lnTo>
                        <a:lnTo>
                          <a:pt x="598" y="193"/>
                        </a:lnTo>
                        <a:lnTo>
                          <a:pt x="593" y="179"/>
                        </a:lnTo>
                        <a:lnTo>
                          <a:pt x="569" y="170"/>
                        </a:lnTo>
                        <a:lnTo>
                          <a:pt x="539" y="153"/>
                        </a:lnTo>
                        <a:lnTo>
                          <a:pt x="531" y="162"/>
                        </a:lnTo>
                        <a:lnTo>
                          <a:pt x="519" y="164"/>
                        </a:lnTo>
                        <a:lnTo>
                          <a:pt x="504" y="159"/>
                        </a:lnTo>
                        <a:lnTo>
                          <a:pt x="486" y="156"/>
                        </a:lnTo>
                        <a:lnTo>
                          <a:pt x="467" y="143"/>
                        </a:lnTo>
                        <a:lnTo>
                          <a:pt x="455" y="131"/>
                        </a:lnTo>
                        <a:lnTo>
                          <a:pt x="437" y="131"/>
                        </a:lnTo>
                        <a:lnTo>
                          <a:pt x="419" y="110"/>
                        </a:lnTo>
                        <a:lnTo>
                          <a:pt x="418" y="89"/>
                        </a:ln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grpSp>
              <p:nvGrpSpPr>
                <p:cNvPr id="85" name="Group 76">
                  <a:extLst>
                    <a:ext uri="{FF2B5EF4-FFF2-40B4-BE49-F238E27FC236}">
                      <a16:creationId xmlns:a16="http://schemas.microsoft.com/office/drawing/2014/main" id="{F2A0723A-1DBB-2E47-4A8A-77163678DCBC}"/>
                    </a:ext>
                  </a:extLst>
                </p:cNvPr>
                <p:cNvGrpSpPr>
                  <a:grpSpLocks/>
                </p:cNvGrpSpPr>
                <p:nvPr/>
              </p:nvGrpSpPr>
              <p:grpSpPr bwMode="auto">
                <a:xfrm>
                  <a:off x="3954469" y="3881438"/>
                  <a:ext cx="663576" cy="885825"/>
                  <a:chOff x="2491" y="2445"/>
                  <a:chExt cx="418" cy="558"/>
                </a:xfrm>
                <a:grpFill/>
              </p:grpSpPr>
              <p:grpSp>
                <p:nvGrpSpPr>
                  <p:cNvPr id="150" name="Group 141">
                    <a:extLst>
                      <a:ext uri="{FF2B5EF4-FFF2-40B4-BE49-F238E27FC236}">
                        <a16:creationId xmlns:a16="http://schemas.microsoft.com/office/drawing/2014/main" id="{0624CDA0-2164-2782-964A-0D64CFE2690E}"/>
                      </a:ext>
                    </a:extLst>
                  </p:cNvPr>
                  <p:cNvGrpSpPr>
                    <a:grpSpLocks noChangeAspect="1"/>
                  </p:cNvGrpSpPr>
                  <p:nvPr/>
                </p:nvGrpSpPr>
                <p:grpSpPr bwMode="auto">
                  <a:xfrm>
                    <a:off x="2491" y="2445"/>
                    <a:ext cx="418" cy="558"/>
                    <a:chOff x="2492" y="2445"/>
                    <a:chExt cx="418" cy="558"/>
                  </a:xfrm>
                  <a:grpFill/>
                </p:grpSpPr>
                <p:sp>
                  <p:nvSpPr>
                    <p:cNvPr id="152" name="Freeform 2501">
                      <a:extLst>
                        <a:ext uri="{FF2B5EF4-FFF2-40B4-BE49-F238E27FC236}">
                          <a16:creationId xmlns:a16="http://schemas.microsoft.com/office/drawing/2014/main" id="{E9988B14-CFA9-80B4-6D1A-EFACEC11D443}"/>
                        </a:ext>
                      </a:extLst>
                    </p:cNvPr>
                    <p:cNvSpPr>
                      <a:spLocks noChangeAspect="1"/>
                    </p:cNvSpPr>
                    <p:nvPr/>
                  </p:nvSpPr>
                  <p:spPr bwMode="auto">
                    <a:xfrm>
                      <a:off x="2606" y="2445"/>
                      <a:ext cx="12" cy="31"/>
                    </a:xfrm>
                    <a:custGeom>
                      <a:avLst/>
                      <a:gdLst>
                        <a:gd name="T0" fmla="*/ 6 w 12"/>
                        <a:gd name="T1" fmla="*/ 0 h 31"/>
                        <a:gd name="T2" fmla="*/ 0 w 12"/>
                        <a:gd name="T3" fmla="*/ 12 h 31"/>
                        <a:gd name="T4" fmla="*/ 3 w 12"/>
                        <a:gd name="T5" fmla="*/ 31 h 31"/>
                        <a:gd name="T6" fmla="*/ 6 w 12"/>
                        <a:gd name="T7" fmla="*/ 0 h 31"/>
                        <a:gd name="T8" fmla="*/ 0 60000 65536"/>
                        <a:gd name="T9" fmla="*/ 0 60000 65536"/>
                        <a:gd name="T10" fmla="*/ 0 60000 65536"/>
                        <a:gd name="T11" fmla="*/ 0 60000 65536"/>
                        <a:gd name="T12" fmla="*/ 0 w 12"/>
                        <a:gd name="T13" fmla="*/ 0 h 31"/>
                        <a:gd name="T14" fmla="*/ 12 w 12"/>
                        <a:gd name="T15" fmla="*/ 31 h 31"/>
                      </a:gdLst>
                      <a:ahLst/>
                      <a:cxnLst>
                        <a:cxn ang="T8">
                          <a:pos x="T0" y="T1"/>
                        </a:cxn>
                        <a:cxn ang="T9">
                          <a:pos x="T2" y="T3"/>
                        </a:cxn>
                        <a:cxn ang="T10">
                          <a:pos x="T4" y="T5"/>
                        </a:cxn>
                        <a:cxn ang="T11">
                          <a:pos x="T6" y="T7"/>
                        </a:cxn>
                      </a:cxnLst>
                      <a:rect l="T12" t="T13" r="T14" b="T15"/>
                      <a:pathLst>
                        <a:path w="12" h="31">
                          <a:moveTo>
                            <a:pt x="6" y="0"/>
                          </a:moveTo>
                          <a:cubicBezTo>
                            <a:pt x="5" y="4"/>
                            <a:pt x="0" y="12"/>
                            <a:pt x="0" y="12"/>
                          </a:cubicBezTo>
                          <a:cubicBezTo>
                            <a:pt x="1" y="18"/>
                            <a:pt x="2" y="25"/>
                            <a:pt x="3" y="31"/>
                          </a:cubicBezTo>
                          <a:cubicBezTo>
                            <a:pt x="12" y="22"/>
                            <a:pt x="8" y="11"/>
                            <a:pt x="6"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53" name="Freeform 2502">
                      <a:extLst>
                        <a:ext uri="{FF2B5EF4-FFF2-40B4-BE49-F238E27FC236}">
                          <a16:creationId xmlns:a16="http://schemas.microsoft.com/office/drawing/2014/main" id="{365301B6-6C0B-3782-7713-4870ACEF9F6C}"/>
                        </a:ext>
                      </a:extLst>
                    </p:cNvPr>
                    <p:cNvSpPr>
                      <a:spLocks noChangeAspect="1"/>
                    </p:cNvSpPr>
                    <p:nvPr/>
                  </p:nvSpPr>
                  <p:spPr bwMode="auto">
                    <a:xfrm>
                      <a:off x="2492" y="2450"/>
                      <a:ext cx="418" cy="553"/>
                    </a:xfrm>
                    <a:custGeom>
                      <a:avLst/>
                      <a:gdLst>
                        <a:gd name="T0" fmla="*/ 351 w 418"/>
                        <a:gd name="T1" fmla="*/ 427 h 553"/>
                        <a:gd name="T2" fmla="*/ 335 w 418"/>
                        <a:gd name="T3" fmla="*/ 412 h 553"/>
                        <a:gd name="T4" fmla="*/ 320 w 418"/>
                        <a:gd name="T5" fmla="*/ 398 h 553"/>
                        <a:gd name="T6" fmla="*/ 303 w 418"/>
                        <a:gd name="T7" fmla="*/ 379 h 553"/>
                        <a:gd name="T8" fmla="*/ 287 w 418"/>
                        <a:gd name="T9" fmla="*/ 344 h 553"/>
                        <a:gd name="T10" fmla="*/ 313 w 418"/>
                        <a:gd name="T11" fmla="*/ 328 h 553"/>
                        <a:gd name="T12" fmla="*/ 354 w 418"/>
                        <a:gd name="T13" fmla="*/ 306 h 553"/>
                        <a:gd name="T14" fmla="*/ 371 w 418"/>
                        <a:gd name="T15" fmla="*/ 298 h 553"/>
                        <a:gd name="T16" fmla="*/ 398 w 418"/>
                        <a:gd name="T17" fmla="*/ 287 h 553"/>
                        <a:gd name="T18" fmla="*/ 411 w 418"/>
                        <a:gd name="T19" fmla="*/ 263 h 553"/>
                        <a:gd name="T20" fmla="*/ 411 w 418"/>
                        <a:gd name="T21" fmla="*/ 242 h 553"/>
                        <a:gd name="T22" fmla="*/ 393 w 418"/>
                        <a:gd name="T23" fmla="*/ 214 h 553"/>
                        <a:gd name="T24" fmla="*/ 392 w 418"/>
                        <a:gd name="T25" fmla="*/ 172 h 553"/>
                        <a:gd name="T26" fmla="*/ 381 w 418"/>
                        <a:gd name="T27" fmla="*/ 154 h 553"/>
                        <a:gd name="T28" fmla="*/ 371 w 418"/>
                        <a:gd name="T29" fmla="*/ 137 h 553"/>
                        <a:gd name="T30" fmla="*/ 371 w 418"/>
                        <a:gd name="T31" fmla="*/ 86 h 553"/>
                        <a:gd name="T32" fmla="*/ 345 w 418"/>
                        <a:gd name="T33" fmla="*/ 59 h 553"/>
                        <a:gd name="T34" fmla="*/ 326 w 418"/>
                        <a:gd name="T35" fmla="*/ 44 h 553"/>
                        <a:gd name="T36" fmla="*/ 303 w 418"/>
                        <a:gd name="T37" fmla="*/ 38 h 553"/>
                        <a:gd name="T38" fmla="*/ 254 w 418"/>
                        <a:gd name="T39" fmla="*/ 61 h 553"/>
                        <a:gd name="T40" fmla="*/ 233 w 418"/>
                        <a:gd name="T41" fmla="*/ 44 h 553"/>
                        <a:gd name="T42" fmla="*/ 195 w 418"/>
                        <a:gd name="T43" fmla="*/ 37 h 553"/>
                        <a:gd name="T44" fmla="*/ 162 w 418"/>
                        <a:gd name="T45" fmla="*/ 6 h 553"/>
                        <a:gd name="T46" fmla="*/ 129 w 418"/>
                        <a:gd name="T47" fmla="*/ 1 h 553"/>
                        <a:gd name="T48" fmla="*/ 138 w 418"/>
                        <a:gd name="T49" fmla="*/ 18 h 553"/>
                        <a:gd name="T50" fmla="*/ 141 w 418"/>
                        <a:gd name="T51" fmla="*/ 46 h 553"/>
                        <a:gd name="T52" fmla="*/ 131 w 418"/>
                        <a:gd name="T53" fmla="*/ 79 h 553"/>
                        <a:gd name="T54" fmla="*/ 117 w 418"/>
                        <a:gd name="T55" fmla="*/ 103 h 553"/>
                        <a:gd name="T56" fmla="*/ 92 w 418"/>
                        <a:gd name="T57" fmla="*/ 86 h 553"/>
                        <a:gd name="T58" fmla="*/ 63 w 418"/>
                        <a:gd name="T59" fmla="*/ 113 h 553"/>
                        <a:gd name="T60" fmla="*/ 63 w 418"/>
                        <a:gd name="T61" fmla="*/ 145 h 553"/>
                        <a:gd name="T62" fmla="*/ 51 w 418"/>
                        <a:gd name="T63" fmla="*/ 167 h 553"/>
                        <a:gd name="T64" fmla="*/ 39 w 418"/>
                        <a:gd name="T65" fmla="*/ 164 h 553"/>
                        <a:gd name="T66" fmla="*/ 57 w 418"/>
                        <a:gd name="T67" fmla="*/ 185 h 553"/>
                        <a:gd name="T68" fmla="*/ 44 w 418"/>
                        <a:gd name="T69" fmla="*/ 200 h 553"/>
                        <a:gd name="T70" fmla="*/ 9 w 418"/>
                        <a:gd name="T71" fmla="*/ 220 h 553"/>
                        <a:gd name="T72" fmla="*/ 13 w 418"/>
                        <a:gd name="T73" fmla="*/ 242 h 553"/>
                        <a:gd name="T74" fmla="*/ 0 w 418"/>
                        <a:gd name="T75" fmla="*/ 280 h 553"/>
                        <a:gd name="T76" fmla="*/ 3 w 418"/>
                        <a:gd name="T77" fmla="*/ 295 h 553"/>
                        <a:gd name="T78" fmla="*/ 18 w 418"/>
                        <a:gd name="T79" fmla="*/ 328 h 553"/>
                        <a:gd name="T80" fmla="*/ 7 w 418"/>
                        <a:gd name="T81" fmla="*/ 350 h 553"/>
                        <a:gd name="T82" fmla="*/ 18 w 418"/>
                        <a:gd name="T83" fmla="*/ 392 h 553"/>
                        <a:gd name="T84" fmla="*/ 65 w 418"/>
                        <a:gd name="T85" fmla="*/ 415 h 553"/>
                        <a:gd name="T86" fmla="*/ 102 w 418"/>
                        <a:gd name="T87" fmla="*/ 434 h 553"/>
                        <a:gd name="T88" fmla="*/ 81 w 418"/>
                        <a:gd name="T89" fmla="*/ 455 h 553"/>
                        <a:gd name="T90" fmla="*/ 66 w 418"/>
                        <a:gd name="T91" fmla="*/ 509 h 553"/>
                        <a:gd name="T92" fmla="*/ 111 w 418"/>
                        <a:gd name="T93" fmla="*/ 532 h 553"/>
                        <a:gd name="T94" fmla="*/ 111 w 418"/>
                        <a:gd name="T95" fmla="*/ 514 h 553"/>
                        <a:gd name="T96" fmla="*/ 134 w 418"/>
                        <a:gd name="T97" fmla="*/ 528 h 553"/>
                        <a:gd name="T98" fmla="*/ 157 w 418"/>
                        <a:gd name="T99" fmla="*/ 526 h 553"/>
                        <a:gd name="T100" fmla="*/ 188 w 418"/>
                        <a:gd name="T101" fmla="*/ 541 h 553"/>
                        <a:gd name="T102" fmla="*/ 204 w 418"/>
                        <a:gd name="T103" fmla="*/ 553 h 553"/>
                        <a:gd name="T104" fmla="*/ 231 w 418"/>
                        <a:gd name="T105" fmla="*/ 542 h 553"/>
                        <a:gd name="T106" fmla="*/ 258 w 418"/>
                        <a:gd name="T107" fmla="*/ 540 h 553"/>
                        <a:gd name="T108" fmla="*/ 299 w 418"/>
                        <a:gd name="T109" fmla="*/ 523 h 553"/>
                        <a:gd name="T110" fmla="*/ 324 w 418"/>
                        <a:gd name="T111" fmla="*/ 527 h 553"/>
                        <a:gd name="T112" fmla="*/ 333 w 418"/>
                        <a:gd name="T113" fmla="*/ 522 h 553"/>
                        <a:gd name="T114" fmla="*/ 320 w 418"/>
                        <a:gd name="T115" fmla="*/ 490 h 553"/>
                        <a:gd name="T116" fmla="*/ 348 w 418"/>
                        <a:gd name="T117" fmla="*/ 473 h 553"/>
                        <a:gd name="T118" fmla="*/ 369 w 418"/>
                        <a:gd name="T119" fmla="*/ 444 h 55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18"/>
                        <a:gd name="T181" fmla="*/ 0 h 553"/>
                        <a:gd name="T182" fmla="*/ 418 w 418"/>
                        <a:gd name="T183" fmla="*/ 553 h 55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18" h="553">
                          <a:moveTo>
                            <a:pt x="369" y="444"/>
                          </a:moveTo>
                          <a:cubicBezTo>
                            <a:pt x="366" y="430"/>
                            <a:pt x="362" y="428"/>
                            <a:pt x="351" y="427"/>
                          </a:cubicBezTo>
                          <a:cubicBezTo>
                            <a:pt x="349" y="423"/>
                            <a:pt x="345" y="421"/>
                            <a:pt x="342" y="418"/>
                          </a:cubicBezTo>
                          <a:cubicBezTo>
                            <a:pt x="340" y="413"/>
                            <a:pt x="339" y="414"/>
                            <a:pt x="335" y="412"/>
                          </a:cubicBezTo>
                          <a:cubicBezTo>
                            <a:pt x="332" y="410"/>
                            <a:pt x="326" y="406"/>
                            <a:pt x="326" y="406"/>
                          </a:cubicBezTo>
                          <a:cubicBezTo>
                            <a:pt x="325" y="403"/>
                            <a:pt x="322" y="400"/>
                            <a:pt x="320" y="398"/>
                          </a:cubicBezTo>
                          <a:cubicBezTo>
                            <a:pt x="318" y="396"/>
                            <a:pt x="314" y="394"/>
                            <a:pt x="314" y="394"/>
                          </a:cubicBezTo>
                          <a:cubicBezTo>
                            <a:pt x="312" y="389"/>
                            <a:pt x="306" y="385"/>
                            <a:pt x="303" y="379"/>
                          </a:cubicBezTo>
                          <a:cubicBezTo>
                            <a:pt x="301" y="369"/>
                            <a:pt x="305" y="357"/>
                            <a:pt x="294" y="353"/>
                          </a:cubicBezTo>
                          <a:cubicBezTo>
                            <a:pt x="287" y="346"/>
                            <a:pt x="289" y="350"/>
                            <a:pt x="287" y="344"/>
                          </a:cubicBezTo>
                          <a:cubicBezTo>
                            <a:pt x="288" y="335"/>
                            <a:pt x="295" y="335"/>
                            <a:pt x="303" y="330"/>
                          </a:cubicBezTo>
                          <a:cubicBezTo>
                            <a:pt x="306" y="328"/>
                            <a:pt x="313" y="328"/>
                            <a:pt x="313" y="328"/>
                          </a:cubicBezTo>
                          <a:cubicBezTo>
                            <a:pt x="314" y="326"/>
                            <a:pt x="339" y="311"/>
                            <a:pt x="343" y="310"/>
                          </a:cubicBezTo>
                          <a:cubicBezTo>
                            <a:pt x="344" y="310"/>
                            <a:pt x="353" y="306"/>
                            <a:pt x="354" y="306"/>
                          </a:cubicBezTo>
                          <a:cubicBezTo>
                            <a:pt x="356" y="305"/>
                            <a:pt x="360" y="304"/>
                            <a:pt x="360" y="304"/>
                          </a:cubicBezTo>
                          <a:cubicBezTo>
                            <a:pt x="361" y="300"/>
                            <a:pt x="371" y="298"/>
                            <a:pt x="371" y="298"/>
                          </a:cubicBezTo>
                          <a:cubicBezTo>
                            <a:pt x="375" y="294"/>
                            <a:pt x="381" y="284"/>
                            <a:pt x="384" y="283"/>
                          </a:cubicBezTo>
                          <a:cubicBezTo>
                            <a:pt x="390" y="284"/>
                            <a:pt x="393" y="285"/>
                            <a:pt x="398" y="287"/>
                          </a:cubicBezTo>
                          <a:cubicBezTo>
                            <a:pt x="407" y="286"/>
                            <a:pt x="409" y="286"/>
                            <a:pt x="416" y="282"/>
                          </a:cubicBezTo>
                          <a:cubicBezTo>
                            <a:pt x="418" y="275"/>
                            <a:pt x="417" y="267"/>
                            <a:pt x="411" y="263"/>
                          </a:cubicBezTo>
                          <a:cubicBezTo>
                            <a:pt x="410" y="258"/>
                            <a:pt x="408" y="252"/>
                            <a:pt x="414" y="250"/>
                          </a:cubicBezTo>
                          <a:cubicBezTo>
                            <a:pt x="417" y="246"/>
                            <a:pt x="418" y="240"/>
                            <a:pt x="411" y="242"/>
                          </a:cubicBezTo>
                          <a:cubicBezTo>
                            <a:pt x="403" y="241"/>
                            <a:pt x="398" y="243"/>
                            <a:pt x="395" y="236"/>
                          </a:cubicBezTo>
                          <a:cubicBezTo>
                            <a:pt x="392" y="222"/>
                            <a:pt x="395" y="224"/>
                            <a:pt x="393" y="214"/>
                          </a:cubicBezTo>
                          <a:cubicBezTo>
                            <a:pt x="398" y="199"/>
                            <a:pt x="391" y="191"/>
                            <a:pt x="387" y="185"/>
                          </a:cubicBezTo>
                          <a:cubicBezTo>
                            <a:pt x="388" y="180"/>
                            <a:pt x="389" y="176"/>
                            <a:pt x="392" y="172"/>
                          </a:cubicBezTo>
                          <a:cubicBezTo>
                            <a:pt x="393" y="167"/>
                            <a:pt x="394" y="164"/>
                            <a:pt x="389" y="161"/>
                          </a:cubicBezTo>
                          <a:cubicBezTo>
                            <a:pt x="387" y="158"/>
                            <a:pt x="381" y="154"/>
                            <a:pt x="381" y="154"/>
                          </a:cubicBezTo>
                          <a:cubicBezTo>
                            <a:pt x="378" y="150"/>
                            <a:pt x="369" y="146"/>
                            <a:pt x="369" y="146"/>
                          </a:cubicBezTo>
                          <a:cubicBezTo>
                            <a:pt x="366" y="142"/>
                            <a:pt x="366" y="139"/>
                            <a:pt x="371" y="137"/>
                          </a:cubicBezTo>
                          <a:cubicBezTo>
                            <a:pt x="372" y="134"/>
                            <a:pt x="374" y="128"/>
                            <a:pt x="374" y="128"/>
                          </a:cubicBezTo>
                          <a:cubicBezTo>
                            <a:pt x="373" y="114"/>
                            <a:pt x="383" y="94"/>
                            <a:pt x="371" y="86"/>
                          </a:cubicBezTo>
                          <a:cubicBezTo>
                            <a:pt x="368" y="81"/>
                            <a:pt x="362" y="75"/>
                            <a:pt x="357" y="72"/>
                          </a:cubicBezTo>
                          <a:cubicBezTo>
                            <a:pt x="355" y="65"/>
                            <a:pt x="352" y="61"/>
                            <a:pt x="345" y="59"/>
                          </a:cubicBezTo>
                          <a:cubicBezTo>
                            <a:pt x="342" y="55"/>
                            <a:pt x="337" y="53"/>
                            <a:pt x="333" y="52"/>
                          </a:cubicBezTo>
                          <a:cubicBezTo>
                            <a:pt x="328" y="45"/>
                            <a:pt x="331" y="47"/>
                            <a:pt x="326" y="44"/>
                          </a:cubicBezTo>
                          <a:cubicBezTo>
                            <a:pt x="326" y="40"/>
                            <a:pt x="327" y="34"/>
                            <a:pt x="321" y="34"/>
                          </a:cubicBezTo>
                          <a:cubicBezTo>
                            <a:pt x="316" y="34"/>
                            <a:pt x="308" y="36"/>
                            <a:pt x="303" y="38"/>
                          </a:cubicBezTo>
                          <a:cubicBezTo>
                            <a:pt x="291" y="43"/>
                            <a:pt x="286" y="49"/>
                            <a:pt x="273" y="52"/>
                          </a:cubicBezTo>
                          <a:cubicBezTo>
                            <a:pt x="269" y="54"/>
                            <a:pt x="254" y="61"/>
                            <a:pt x="254" y="61"/>
                          </a:cubicBezTo>
                          <a:cubicBezTo>
                            <a:pt x="252" y="65"/>
                            <a:pt x="247" y="67"/>
                            <a:pt x="243" y="68"/>
                          </a:cubicBezTo>
                          <a:cubicBezTo>
                            <a:pt x="232" y="66"/>
                            <a:pt x="238" y="51"/>
                            <a:pt x="233" y="44"/>
                          </a:cubicBezTo>
                          <a:cubicBezTo>
                            <a:pt x="230" y="34"/>
                            <a:pt x="230" y="43"/>
                            <a:pt x="222" y="38"/>
                          </a:cubicBezTo>
                          <a:cubicBezTo>
                            <a:pt x="214" y="44"/>
                            <a:pt x="204" y="39"/>
                            <a:pt x="195" y="37"/>
                          </a:cubicBezTo>
                          <a:cubicBezTo>
                            <a:pt x="190" y="30"/>
                            <a:pt x="190" y="19"/>
                            <a:pt x="183" y="14"/>
                          </a:cubicBezTo>
                          <a:cubicBezTo>
                            <a:pt x="177" y="5"/>
                            <a:pt x="175" y="7"/>
                            <a:pt x="162" y="6"/>
                          </a:cubicBezTo>
                          <a:cubicBezTo>
                            <a:pt x="154" y="4"/>
                            <a:pt x="148" y="1"/>
                            <a:pt x="140" y="0"/>
                          </a:cubicBezTo>
                          <a:cubicBezTo>
                            <a:pt x="136" y="0"/>
                            <a:pt x="132" y="0"/>
                            <a:pt x="129" y="1"/>
                          </a:cubicBezTo>
                          <a:cubicBezTo>
                            <a:pt x="128" y="1"/>
                            <a:pt x="131" y="3"/>
                            <a:pt x="131" y="4"/>
                          </a:cubicBezTo>
                          <a:cubicBezTo>
                            <a:pt x="134" y="10"/>
                            <a:pt x="133" y="15"/>
                            <a:pt x="138" y="18"/>
                          </a:cubicBezTo>
                          <a:cubicBezTo>
                            <a:pt x="140" y="23"/>
                            <a:pt x="143" y="27"/>
                            <a:pt x="146" y="31"/>
                          </a:cubicBezTo>
                          <a:cubicBezTo>
                            <a:pt x="145" y="37"/>
                            <a:pt x="144" y="41"/>
                            <a:pt x="141" y="46"/>
                          </a:cubicBezTo>
                          <a:cubicBezTo>
                            <a:pt x="142" y="51"/>
                            <a:pt x="145" y="62"/>
                            <a:pt x="145" y="62"/>
                          </a:cubicBezTo>
                          <a:cubicBezTo>
                            <a:pt x="147" y="78"/>
                            <a:pt x="144" y="75"/>
                            <a:pt x="131" y="79"/>
                          </a:cubicBezTo>
                          <a:cubicBezTo>
                            <a:pt x="127" y="83"/>
                            <a:pt x="126" y="87"/>
                            <a:pt x="122" y="91"/>
                          </a:cubicBezTo>
                          <a:cubicBezTo>
                            <a:pt x="121" y="96"/>
                            <a:pt x="122" y="100"/>
                            <a:pt x="117" y="103"/>
                          </a:cubicBezTo>
                          <a:cubicBezTo>
                            <a:pt x="110" y="101"/>
                            <a:pt x="111" y="99"/>
                            <a:pt x="105" y="95"/>
                          </a:cubicBezTo>
                          <a:cubicBezTo>
                            <a:pt x="103" y="89"/>
                            <a:pt x="97" y="89"/>
                            <a:pt x="92" y="86"/>
                          </a:cubicBezTo>
                          <a:cubicBezTo>
                            <a:pt x="81" y="87"/>
                            <a:pt x="70" y="84"/>
                            <a:pt x="66" y="95"/>
                          </a:cubicBezTo>
                          <a:cubicBezTo>
                            <a:pt x="65" y="101"/>
                            <a:pt x="64" y="107"/>
                            <a:pt x="63" y="113"/>
                          </a:cubicBezTo>
                          <a:cubicBezTo>
                            <a:pt x="63" y="117"/>
                            <a:pt x="65" y="117"/>
                            <a:pt x="65" y="122"/>
                          </a:cubicBezTo>
                          <a:cubicBezTo>
                            <a:pt x="66" y="130"/>
                            <a:pt x="66" y="137"/>
                            <a:pt x="63" y="145"/>
                          </a:cubicBezTo>
                          <a:cubicBezTo>
                            <a:pt x="61" y="149"/>
                            <a:pt x="57" y="157"/>
                            <a:pt x="57" y="157"/>
                          </a:cubicBezTo>
                          <a:cubicBezTo>
                            <a:pt x="56" y="163"/>
                            <a:pt x="57" y="166"/>
                            <a:pt x="51" y="167"/>
                          </a:cubicBezTo>
                          <a:cubicBezTo>
                            <a:pt x="50" y="165"/>
                            <a:pt x="50" y="163"/>
                            <a:pt x="49" y="161"/>
                          </a:cubicBezTo>
                          <a:cubicBezTo>
                            <a:pt x="48" y="158"/>
                            <a:pt x="39" y="164"/>
                            <a:pt x="39" y="164"/>
                          </a:cubicBezTo>
                          <a:cubicBezTo>
                            <a:pt x="42" y="174"/>
                            <a:pt x="43" y="174"/>
                            <a:pt x="53" y="176"/>
                          </a:cubicBezTo>
                          <a:cubicBezTo>
                            <a:pt x="55" y="179"/>
                            <a:pt x="57" y="185"/>
                            <a:pt x="57" y="185"/>
                          </a:cubicBezTo>
                          <a:cubicBezTo>
                            <a:pt x="57" y="188"/>
                            <a:pt x="57" y="191"/>
                            <a:pt x="56" y="194"/>
                          </a:cubicBezTo>
                          <a:cubicBezTo>
                            <a:pt x="54" y="198"/>
                            <a:pt x="44" y="200"/>
                            <a:pt x="44" y="200"/>
                          </a:cubicBezTo>
                          <a:cubicBezTo>
                            <a:pt x="41" y="204"/>
                            <a:pt x="37" y="203"/>
                            <a:pt x="42" y="206"/>
                          </a:cubicBezTo>
                          <a:cubicBezTo>
                            <a:pt x="52" y="221"/>
                            <a:pt x="21" y="219"/>
                            <a:pt x="9" y="220"/>
                          </a:cubicBezTo>
                          <a:cubicBezTo>
                            <a:pt x="7" y="227"/>
                            <a:pt x="5" y="227"/>
                            <a:pt x="11" y="224"/>
                          </a:cubicBezTo>
                          <a:cubicBezTo>
                            <a:pt x="12" y="230"/>
                            <a:pt x="11" y="236"/>
                            <a:pt x="13" y="242"/>
                          </a:cubicBezTo>
                          <a:cubicBezTo>
                            <a:pt x="14" y="244"/>
                            <a:pt x="15" y="248"/>
                            <a:pt x="15" y="248"/>
                          </a:cubicBezTo>
                          <a:cubicBezTo>
                            <a:pt x="13" y="261"/>
                            <a:pt x="11" y="273"/>
                            <a:pt x="0" y="280"/>
                          </a:cubicBezTo>
                          <a:cubicBezTo>
                            <a:pt x="4" y="281"/>
                            <a:pt x="7" y="290"/>
                            <a:pt x="7" y="290"/>
                          </a:cubicBezTo>
                          <a:cubicBezTo>
                            <a:pt x="6" y="292"/>
                            <a:pt x="3" y="293"/>
                            <a:pt x="3" y="295"/>
                          </a:cubicBezTo>
                          <a:cubicBezTo>
                            <a:pt x="2" y="300"/>
                            <a:pt x="13" y="317"/>
                            <a:pt x="17" y="319"/>
                          </a:cubicBezTo>
                          <a:cubicBezTo>
                            <a:pt x="18" y="321"/>
                            <a:pt x="21" y="326"/>
                            <a:pt x="18" y="328"/>
                          </a:cubicBezTo>
                          <a:cubicBezTo>
                            <a:pt x="16" y="330"/>
                            <a:pt x="12" y="332"/>
                            <a:pt x="12" y="332"/>
                          </a:cubicBezTo>
                          <a:cubicBezTo>
                            <a:pt x="10" y="338"/>
                            <a:pt x="9" y="344"/>
                            <a:pt x="7" y="350"/>
                          </a:cubicBezTo>
                          <a:cubicBezTo>
                            <a:pt x="7" y="356"/>
                            <a:pt x="18" y="360"/>
                            <a:pt x="21" y="367"/>
                          </a:cubicBezTo>
                          <a:cubicBezTo>
                            <a:pt x="23" y="374"/>
                            <a:pt x="15" y="385"/>
                            <a:pt x="18" y="392"/>
                          </a:cubicBezTo>
                          <a:cubicBezTo>
                            <a:pt x="20" y="395"/>
                            <a:pt x="34" y="411"/>
                            <a:pt x="38" y="412"/>
                          </a:cubicBezTo>
                          <a:cubicBezTo>
                            <a:pt x="47" y="414"/>
                            <a:pt x="55" y="414"/>
                            <a:pt x="65" y="415"/>
                          </a:cubicBezTo>
                          <a:cubicBezTo>
                            <a:pt x="75" y="417"/>
                            <a:pt x="80" y="426"/>
                            <a:pt x="90" y="428"/>
                          </a:cubicBezTo>
                          <a:cubicBezTo>
                            <a:pt x="94" y="431"/>
                            <a:pt x="98" y="431"/>
                            <a:pt x="102" y="434"/>
                          </a:cubicBezTo>
                          <a:cubicBezTo>
                            <a:pt x="101" y="440"/>
                            <a:pt x="100" y="442"/>
                            <a:pt x="96" y="446"/>
                          </a:cubicBezTo>
                          <a:cubicBezTo>
                            <a:pt x="94" y="451"/>
                            <a:pt x="83" y="450"/>
                            <a:pt x="81" y="455"/>
                          </a:cubicBezTo>
                          <a:cubicBezTo>
                            <a:pt x="78" y="461"/>
                            <a:pt x="86" y="470"/>
                            <a:pt x="80" y="474"/>
                          </a:cubicBezTo>
                          <a:cubicBezTo>
                            <a:pt x="77" y="486"/>
                            <a:pt x="68" y="496"/>
                            <a:pt x="66" y="509"/>
                          </a:cubicBezTo>
                          <a:cubicBezTo>
                            <a:pt x="67" y="542"/>
                            <a:pt x="65" y="531"/>
                            <a:pt x="90" y="533"/>
                          </a:cubicBezTo>
                          <a:cubicBezTo>
                            <a:pt x="97" y="534"/>
                            <a:pt x="104" y="533"/>
                            <a:pt x="111" y="532"/>
                          </a:cubicBezTo>
                          <a:cubicBezTo>
                            <a:pt x="121" y="527"/>
                            <a:pt x="122" y="526"/>
                            <a:pt x="111" y="522"/>
                          </a:cubicBezTo>
                          <a:cubicBezTo>
                            <a:pt x="109" y="518"/>
                            <a:pt x="106" y="516"/>
                            <a:pt x="111" y="514"/>
                          </a:cubicBezTo>
                          <a:cubicBezTo>
                            <a:pt x="116" y="515"/>
                            <a:pt x="125" y="518"/>
                            <a:pt x="125" y="518"/>
                          </a:cubicBezTo>
                          <a:cubicBezTo>
                            <a:pt x="127" y="523"/>
                            <a:pt x="129" y="526"/>
                            <a:pt x="134" y="528"/>
                          </a:cubicBezTo>
                          <a:cubicBezTo>
                            <a:pt x="141" y="526"/>
                            <a:pt x="138" y="527"/>
                            <a:pt x="143" y="524"/>
                          </a:cubicBezTo>
                          <a:cubicBezTo>
                            <a:pt x="147" y="527"/>
                            <a:pt x="152" y="525"/>
                            <a:pt x="157" y="526"/>
                          </a:cubicBezTo>
                          <a:cubicBezTo>
                            <a:pt x="161" y="530"/>
                            <a:pt x="171" y="533"/>
                            <a:pt x="176" y="536"/>
                          </a:cubicBezTo>
                          <a:cubicBezTo>
                            <a:pt x="180" y="538"/>
                            <a:pt x="184" y="540"/>
                            <a:pt x="188" y="541"/>
                          </a:cubicBezTo>
                          <a:cubicBezTo>
                            <a:pt x="189" y="541"/>
                            <a:pt x="191" y="542"/>
                            <a:pt x="191" y="542"/>
                          </a:cubicBezTo>
                          <a:cubicBezTo>
                            <a:pt x="195" y="548"/>
                            <a:pt x="197" y="551"/>
                            <a:pt x="204" y="553"/>
                          </a:cubicBezTo>
                          <a:cubicBezTo>
                            <a:pt x="215" y="551"/>
                            <a:pt x="212" y="549"/>
                            <a:pt x="215" y="539"/>
                          </a:cubicBezTo>
                          <a:cubicBezTo>
                            <a:pt x="226" y="540"/>
                            <a:pt x="224" y="536"/>
                            <a:pt x="231" y="542"/>
                          </a:cubicBezTo>
                          <a:cubicBezTo>
                            <a:pt x="234" y="544"/>
                            <a:pt x="240" y="546"/>
                            <a:pt x="240" y="546"/>
                          </a:cubicBezTo>
                          <a:cubicBezTo>
                            <a:pt x="246" y="545"/>
                            <a:pt x="254" y="545"/>
                            <a:pt x="258" y="540"/>
                          </a:cubicBezTo>
                          <a:cubicBezTo>
                            <a:pt x="259" y="539"/>
                            <a:pt x="266" y="530"/>
                            <a:pt x="267" y="530"/>
                          </a:cubicBezTo>
                          <a:cubicBezTo>
                            <a:pt x="274" y="527"/>
                            <a:pt x="292" y="523"/>
                            <a:pt x="299" y="523"/>
                          </a:cubicBezTo>
                          <a:cubicBezTo>
                            <a:pt x="302" y="524"/>
                            <a:pt x="305" y="526"/>
                            <a:pt x="308" y="527"/>
                          </a:cubicBezTo>
                          <a:cubicBezTo>
                            <a:pt x="316" y="524"/>
                            <a:pt x="312" y="521"/>
                            <a:pt x="324" y="527"/>
                          </a:cubicBezTo>
                          <a:cubicBezTo>
                            <a:pt x="328" y="529"/>
                            <a:pt x="336" y="536"/>
                            <a:pt x="336" y="536"/>
                          </a:cubicBezTo>
                          <a:cubicBezTo>
                            <a:pt x="344" y="533"/>
                            <a:pt x="338" y="524"/>
                            <a:pt x="333" y="522"/>
                          </a:cubicBezTo>
                          <a:cubicBezTo>
                            <a:pt x="331" y="514"/>
                            <a:pt x="335" y="503"/>
                            <a:pt x="327" y="498"/>
                          </a:cubicBezTo>
                          <a:cubicBezTo>
                            <a:pt x="325" y="494"/>
                            <a:pt x="324" y="491"/>
                            <a:pt x="320" y="490"/>
                          </a:cubicBezTo>
                          <a:cubicBezTo>
                            <a:pt x="323" y="488"/>
                            <a:pt x="329" y="486"/>
                            <a:pt x="329" y="486"/>
                          </a:cubicBezTo>
                          <a:cubicBezTo>
                            <a:pt x="334" y="479"/>
                            <a:pt x="341" y="478"/>
                            <a:pt x="348" y="473"/>
                          </a:cubicBezTo>
                          <a:cubicBezTo>
                            <a:pt x="352" y="460"/>
                            <a:pt x="353" y="457"/>
                            <a:pt x="367" y="455"/>
                          </a:cubicBezTo>
                          <a:cubicBezTo>
                            <a:pt x="370" y="450"/>
                            <a:pt x="374" y="447"/>
                            <a:pt x="369" y="444"/>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sp>
                <p:nvSpPr>
                  <p:cNvPr id="151" name="Freeform 2503">
                    <a:extLst>
                      <a:ext uri="{FF2B5EF4-FFF2-40B4-BE49-F238E27FC236}">
                        <a16:creationId xmlns:a16="http://schemas.microsoft.com/office/drawing/2014/main" id="{F09C1C2D-7BEC-7568-7350-7886644C1EF5}"/>
                      </a:ext>
                    </a:extLst>
                  </p:cNvPr>
                  <p:cNvSpPr>
                    <a:spLocks noChangeAspect="1"/>
                  </p:cNvSpPr>
                  <p:nvPr/>
                </p:nvSpPr>
                <p:spPr bwMode="auto">
                  <a:xfrm>
                    <a:off x="2812" y="2466"/>
                    <a:ext cx="24" cy="19"/>
                  </a:xfrm>
                  <a:custGeom>
                    <a:avLst/>
                    <a:gdLst>
                      <a:gd name="T0" fmla="*/ 4 w 24"/>
                      <a:gd name="T1" fmla="*/ 0 h 19"/>
                      <a:gd name="T2" fmla="*/ 9 w 24"/>
                      <a:gd name="T3" fmla="*/ 12 h 19"/>
                      <a:gd name="T4" fmla="*/ 15 w 24"/>
                      <a:gd name="T5" fmla="*/ 19 h 19"/>
                      <a:gd name="T6" fmla="*/ 18 w 24"/>
                      <a:gd name="T7" fmla="*/ 9 h 19"/>
                      <a:gd name="T8" fmla="*/ 9 w 24"/>
                      <a:gd name="T9" fmla="*/ 4 h 19"/>
                      <a:gd name="T10" fmla="*/ 3 w 24"/>
                      <a:gd name="T11" fmla="*/ 2 h 19"/>
                      <a:gd name="T12" fmla="*/ 4 w 24"/>
                      <a:gd name="T13" fmla="*/ 0 h 19"/>
                      <a:gd name="T14" fmla="*/ 0 60000 65536"/>
                      <a:gd name="T15" fmla="*/ 0 60000 65536"/>
                      <a:gd name="T16" fmla="*/ 0 60000 65536"/>
                      <a:gd name="T17" fmla="*/ 0 60000 65536"/>
                      <a:gd name="T18" fmla="*/ 0 60000 65536"/>
                      <a:gd name="T19" fmla="*/ 0 60000 65536"/>
                      <a:gd name="T20" fmla="*/ 0 60000 65536"/>
                      <a:gd name="T21" fmla="*/ 0 w 24"/>
                      <a:gd name="T22" fmla="*/ 0 h 19"/>
                      <a:gd name="T23" fmla="*/ 24 w 2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9">
                        <a:moveTo>
                          <a:pt x="4" y="0"/>
                        </a:moveTo>
                        <a:cubicBezTo>
                          <a:pt x="0" y="6"/>
                          <a:pt x="4" y="9"/>
                          <a:pt x="9" y="12"/>
                        </a:cubicBezTo>
                        <a:cubicBezTo>
                          <a:pt x="11" y="16"/>
                          <a:pt x="14" y="15"/>
                          <a:pt x="15" y="19"/>
                        </a:cubicBezTo>
                        <a:cubicBezTo>
                          <a:pt x="21" y="18"/>
                          <a:pt x="24" y="15"/>
                          <a:pt x="18" y="9"/>
                        </a:cubicBezTo>
                        <a:cubicBezTo>
                          <a:pt x="16" y="6"/>
                          <a:pt x="12" y="6"/>
                          <a:pt x="9" y="4"/>
                        </a:cubicBezTo>
                        <a:cubicBezTo>
                          <a:pt x="7" y="3"/>
                          <a:pt x="2" y="4"/>
                          <a:pt x="3" y="2"/>
                        </a:cubicBezTo>
                        <a:cubicBezTo>
                          <a:pt x="3" y="1"/>
                          <a:pt x="4" y="1"/>
                          <a:pt x="4"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grpSp>
              <p:nvGrpSpPr>
                <p:cNvPr id="86" name="Group 77">
                  <a:extLst>
                    <a:ext uri="{FF2B5EF4-FFF2-40B4-BE49-F238E27FC236}">
                      <a16:creationId xmlns:a16="http://schemas.microsoft.com/office/drawing/2014/main" id="{3BE0C537-5124-BD6B-130C-73C42759F4F4}"/>
                    </a:ext>
                  </a:extLst>
                </p:cNvPr>
                <p:cNvGrpSpPr>
                  <a:grpSpLocks/>
                </p:cNvGrpSpPr>
                <p:nvPr/>
              </p:nvGrpSpPr>
              <p:grpSpPr bwMode="auto">
                <a:xfrm>
                  <a:off x="4125965" y="3565525"/>
                  <a:ext cx="473081" cy="374650"/>
                  <a:chOff x="2599" y="2246"/>
                  <a:chExt cx="298" cy="236"/>
                </a:xfrm>
                <a:grpFill/>
              </p:grpSpPr>
              <p:sp>
                <p:nvSpPr>
                  <p:cNvPr id="145" name="Freeform 2505">
                    <a:extLst>
                      <a:ext uri="{FF2B5EF4-FFF2-40B4-BE49-F238E27FC236}">
                        <a16:creationId xmlns:a16="http://schemas.microsoft.com/office/drawing/2014/main" id="{8A8E34D9-C2E6-F57B-258C-64DF0D22C3D6}"/>
                      </a:ext>
                    </a:extLst>
                  </p:cNvPr>
                  <p:cNvSpPr>
                    <a:spLocks noChangeAspect="1"/>
                  </p:cNvSpPr>
                  <p:nvPr/>
                </p:nvSpPr>
                <p:spPr bwMode="auto">
                  <a:xfrm>
                    <a:off x="2868" y="2422"/>
                    <a:ext cx="29" cy="24"/>
                  </a:xfrm>
                  <a:custGeom>
                    <a:avLst/>
                    <a:gdLst>
                      <a:gd name="T0" fmla="*/ 4 w 29"/>
                      <a:gd name="T1" fmla="*/ 0 h 24"/>
                      <a:gd name="T2" fmla="*/ 15 w 29"/>
                      <a:gd name="T3" fmla="*/ 4 h 24"/>
                      <a:gd name="T4" fmla="*/ 16 w 29"/>
                      <a:gd name="T5" fmla="*/ 24 h 24"/>
                      <a:gd name="T6" fmla="*/ 3 w 29"/>
                      <a:gd name="T7" fmla="*/ 18 h 24"/>
                      <a:gd name="T8" fmla="*/ 4 w 29"/>
                      <a:gd name="T9" fmla="*/ 0 h 24"/>
                      <a:gd name="T10" fmla="*/ 0 60000 65536"/>
                      <a:gd name="T11" fmla="*/ 0 60000 65536"/>
                      <a:gd name="T12" fmla="*/ 0 60000 65536"/>
                      <a:gd name="T13" fmla="*/ 0 60000 65536"/>
                      <a:gd name="T14" fmla="*/ 0 60000 65536"/>
                      <a:gd name="T15" fmla="*/ 0 w 29"/>
                      <a:gd name="T16" fmla="*/ 0 h 24"/>
                      <a:gd name="T17" fmla="*/ 29 w 29"/>
                      <a:gd name="T18" fmla="*/ 24 h 24"/>
                    </a:gdLst>
                    <a:ahLst/>
                    <a:cxnLst>
                      <a:cxn ang="T10">
                        <a:pos x="T0" y="T1"/>
                      </a:cxn>
                      <a:cxn ang="T11">
                        <a:pos x="T2" y="T3"/>
                      </a:cxn>
                      <a:cxn ang="T12">
                        <a:pos x="T4" y="T5"/>
                      </a:cxn>
                      <a:cxn ang="T13">
                        <a:pos x="T6" y="T7"/>
                      </a:cxn>
                      <a:cxn ang="T14">
                        <a:pos x="T8" y="T9"/>
                      </a:cxn>
                    </a:cxnLst>
                    <a:rect l="T15" t="T16" r="T17" b="T18"/>
                    <a:pathLst>
                      <a:path w="29" h="24">
                        <a:moveTo>
                          <a:pt x="4" y="0"/>
                        </a:moveTo>
                        <a:cubicBezTo>
                          <a:pt x="8" y="2"/>
                          <a:pt x="11" y="3"/>
                          <a:pt x="15" y="4"/>
                        </a:cubicBezTo>
                        <a:cubicBezTo>
                          <a:pt x="19" y="10"/>
                          <a:pt x="29" y="21"/>
                          <a:pt x="16" y="24"/>
                        </a:cubicBezTo>
                        <a:cubicBezTo>
                          <a:pt x="11" y="23"/>
                          <a:pt x="3" y="18"/>
                          <a:pt x="3" y="18"/>
                        </a:cubicBezTo>
                        <a:cubicBezTo>
                          <a:pt x="0" y="13"/>
                          <a:pt x="4" y="6"/>
                          <a:pt x="4"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46" name="Freeform 2506">
                    <a:extLst>
                      <a:ext uri="{FF2B5EF4-FFF2-40B4-BE49-F238E27FC236}">
                        <a16:creationId xmlns:a16="http://schemas.microsoft.com/office/drawing/2014/main" id="{EE3D950F-7488-DDC6-89F8-34B200972404}"/>
                      </a:ext>
                    </a:extLst>
                  </p:cNvPr>
                  <p:cNvSpPr>
                    <a:spLocks noChangeAspect="1"/>
                  </p:cNvSpPr>
                  <p:nvPr/>
                </p:nvSpPr>
                <p:spPr bwMode="auto">
                  <a:xfrm>
                    <a:off x="2708" y="2364"/>
                    <a:ext cx="79" cy="88"/>
                  </a:xfrm>
                  <a:custGeom>
                    <a:avLst/>
                    <a:gdLst>
                      <a:gd name="T0" fmla="*/ 60 w 79"/>
                      <a:gd name="T1" fmla="*/ 0 h 88"/>
                      <a:gd name="T2" fmla="*/ 49 w 79"/>
                      <a:gd name="T3" fmla="*/ 8 h 88"/>
                      <a:gd name="T4" fmla="*/ 53 w 79"/>
                      <a:gd name="T5" fmla="*/ 26 h 88"/>
                      <a:gd name="T6" fmla="*/ 52 w 79"/>
                      <a:gd name="T7" fmla="*/ 32 h 88"/>
                      <a:gd name="T8" fmla="*/ 42 w 79"/>
                      <a:gd name="T9" fmla="*/ 31 h 88"/>
                      <a:gd name="T10" fmla="*/ 40 w 79"/>
                      <a:gd name="T11" fmla="*/ 21 h 88"/>
                      <a:gd name="T12" fmla="*/ 23 w 79"/>
                      <a:gd name="T13" fmla="*/ 8 h 88"/>
                      <a:gd name="T14" fmla="*/ 17 w 79"/>
                      <a:gd name="T15" fmla="*/ 26 h 88"/>
                      <a:gd name="T16" fmla="*/ 12 w 79"/>
                      <a:gd name="T17" fmla="*/ 33 h 88"/>
                      <a:gd name="T18" fmla="*/ 19 w 79"/>
                      <a:gd name="T19" fmla="*/ 67 h 88"/>
                      <a:gd name="T20" fmla="*/ 32 w 79"/>
                      <a:gd name="T21" fmla="*/ 68 h 88"/>
                      <a:gd name="T22" fmla="*/ 40 w 79"/>
                      <a:gd name="T23" fmla="*/ 72 h 88"/>
                      <a:gd name="T24" fmla="*/ 52 w 79"/>
                      <a:gd name="T25" fmla="*/ 82 h 88"/>
                      <a:gd name="T26" fmla="*/ 61 w 79"/>
                      <a:gd name="T27" fmla="*/ 88 h 88"/>
                      <a:gd name="T28" fmla="*/ 58 w 79"/>
                      <a:gd name="T29" fmla="*/ 69 h 88"/>
                      <a:gd name="T30" fmla="*/ 70 w 79"/>
                      <a:gd name="T31" fmla="*/ 61 h 88"/>
                      <a:gd name="T32" fmla="*/ 61 w 79"/>
                      <a:gd name="T33" fmla="*/ 48 h 88"/>
                      <a:gd name="T34" fmla="*/ 76 w 79"/>
                      <a:gd name="T35" fmla="*/ 39 h 88"/>
                      <a:gd name="T36" fmla="*/ 73 w 79"/>
                      <a:gd name="T37" fmla="*/ 24 h 88"/>
                      <a:gd name="T38" fmla="*/ 76 w 79"/>
                      <a:gd name="T39" fmla="*/ 10 h 88"/>
                      <a:gd name="T40" fmla="*/ 76 w 79"/>
                      <a:gd name="T41" fmla="*/ 4 h 88"/>
                      <a:gd name="T42" fmla="*/ 60 w 79"/>
                      <a:gd name="T43" fmla="*/ 0 h 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9"/>
                      <a:gd name="T67" fmla="*/ 0 h 88"/>
                      <a:gd name="T68" fmla="*/ 79 w 79"/>
                      <a:gd name="T69" fmla="*/ 88 h 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9" h="88">
                        <a:moveTo>
                          <a:pt x="60" y="0"/>
                        </a:moveTo>
                        <a:cubicBezTo>
                          <a:pt x="53" y="2"/>
                          <a:pt x="54" y="5"/>
                          <a:pt x="49" y="8"/>
                        </a:cubicBezTo>
                        <a:cubicBezTo>
                          <a:pt x="50" y="18"/>
                          <a:pt x="51" y="18"/>
                          <a:pt x="53" y="26"/>
                        </a:cubicBezTo>
                        <a:cubicBezTo>
                          <a:pt x="53" y="28"/>
                          <a:pt x="54" y="31"/>
                          <a:pt x="52" y="32"/>
                        </a:cubicBezTo>
                        <a:cubicBezTo>
                          <a:pt x="49" y="33"/>
                          <a:pt x="44" y="33"/>
                          <a:pt x="42" y="31"/>
                        </a:cubicBezTo>
                        <a:cubicBezTo>
                          <a:pt x="39" y="29"/>
                          <a:pt x="42" y="24"/>
                          <a:pt x="40" y="21"/>
                        </a:cubicBezTo>
                        <a:cubicBezTo>
                          <a:pt x="35" y="13"/>
                          <a:pt x="32" y="11"/>
                          <a:pt x="23" y="8"/>
                        </a:cubicBezTo>
                        <a:cubicBezTo>
                          <a:pt x="25" y="17"/>
                          <a:pt x="29" y="28"/>
                          <a:pt x="17" y="26"/>
                        </a:cubicBezTo>
                        <a:cubicBezTo>
                          <a:pt x="6" y="27"/>
                          <a:pt x="0" y="30"/>
                          <a:pt x="12" y="33"/>
                        </a:cubicBezTo>
                        <a:cubicBezTo>
                          <a:pt x="21" y="42"/>
                          <a:pt x="18" y="55"/>
                          <a:pt x="19" y="67"/>
                        </a:cubicBezTo>
                        <a:cubicBezTo>
                          <a:pt x="24" y="66"/>
                          <a:pt x="28" y="66"/>
                          <a:pt x="32" y="68"/>
                        </a:cubicBezTo>
                        <a:cubicBezTo>
                          <a:pt x="35" y="69"/>
                          <a:pt x="40" y="72"/>
                          <a:pt x="40" y="72"/>
                        </a:cubicBezTo>
                        <a:cubicBezTo>
                          <a:pt x="44" y="78"/>
                          <a:pt x="45" y="81"/>
                          <a:pt x="52" y="82"/>
                        </a:cubicBezTo>
                        <a:cubicBezTo>
                          <a:pt x="54" y="86"/>
                          <a:pt x="57" y="87"/>
                          <a:pt x="61" y="88"/>
                        </a:cubicBezTo>
                        <a:cubicBezTo>
                          <a:pt x="74" y="85"/>
                          <a:pt x="67" y="72"/>
                          <a:pt x="58" y="69"/>
                        </a:cubicBezTo>
                        <a:cubicBezTo>
                          <a:pt x="60" y="64"/>
                          <a:pt x="70" y="61"/>
                          <a:pt x="70" y="61"/>
                        </a:cubicBezTo>
                        <a:cubicBezTo>
                          <a:pt x="73" y="53"/>
                          <a:pt x="68" y="50"/>
                          <a:pt x="61" y="48"/>
                        </a:cubicBezTo>
                        <a:cubicBezTo>
                          <a:pt x="62" y="33"/>
                          <a:pt x="63" y="36"/>
                          <a:pt x="76" y="39"/>
                        </a:cubicBezTo>
                        <a:cubicBezTo>
                          <a:pt x="79" y="34"/>
                          <a:pt x="76" y="29"/>
                          <a:pt x="73" y="24"/>
                        </a:cubicBezTo>
                        <a:cubicBezTo>
                          <a:pt x="71" y="18"/>
                          <a:pt x="73" y="15"/>
                          <a:pt x="76" y="10"/>
                        </a:cubicBezTo>
                        <a:cubicBezTo>
                          <a:pt x="77" y="4"/>
                          <a:pt x="79" y="4"/>
                          <a:pt x="76" y="4"/>
                        </a:cubicBezTo>
                        <a:lnTo>
                          <a:pt x="60" y="0"/>
                        </a:ln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47" name="Freeform 2507">
                    <a:extLst>
                      <a:ext uri="{FF2B5EF4-FFF2-40B4-BE49-F238E27FC236}">
                        <a16:creationId xmlns:a16="http://schemas.microsoft.com/office/drawing/2014/main" id="{1C492BC9-A7B1-4D36-4FD2-86D3E1135F78}"/>
                      </a:ext>
                    </a:extLst>
                  </p:cNvPr>
                  <p:cNvSpPr>
                    <a:spLocks noChangeAspect="1"/>
                  </p:cNvSpPr>
                  <p:nvPr/>
                </p:nvSpPr>
                <p:spPr bwMode="auto">
                  <a:xfrm>
                    <a:off x="2717" y="2445"/>
                    <a:ext cx="47" cy="37"/>
                  </a:xfrm>
                  <a:custGeom>
                    <a:avLst/>
                    <a:gdLst>
                      <a:gd name="T0" fmla="*/ 9 w 47"/>
                      <a:gd name="T1" fmla="*/ 3 h 37"/>
                      <a:gd name="T2" fmla="*/ 19 w 47"/>
                      <a:gd name="T3" fmla="*/ 9 h 37"/>
                      <a:gd name="T4" fmla="*/ 25 w 47"/>
                      <a:gd name="T5" fmla="*/ 13 h 37"/>
                      <a:gd name="T6" fmla="*/ 33 w 47"/>
                      <a:gd name="T7" fmla="*/ 11 h 37"/>
                      <a:gd name="T8" fmla="*/ 35 w 47"/>
                      <a:gd name="T9" fmla="*/ 3 h 37"/>
                      <a:gd name="T10" fmla="*/ 44 w 47"/>
                      <a:gd name="T11" fmla="*/ 12 h 37"/>
                      <a:gd name="T12" fmla="*/ 43 w 47"/>
                      <a:gd name="T13" fmla="*/ 21 h 37"/>
                      <a:gd name="T14" fmla="*/ 34 w 47"/>
                      <a:gd name="T15" fmla="*/ 18 h 37"/>
                      <a:gd name="T16" fmla="*/ 31 w 47"/>
                      <a:gd name="T17" fmla="*/ 27 h 37"/>
                      <a:gd name="T18" fmla="*/ 22 w 47"/>
                      <a:gd name="T19" fmla="*/ 30 h 37"/>
                      <a:gd name="T20" fmla="*/ 5 w 47"/>
                      <a:gd name="T21" fmla="*/ 12 h 37"/>
                      <a:gd name="T22" fmla="*/ 13 w 47"/>
                      <a:gd name="T23" fmla="*/ 0 h 37"/>
                      <a:gd name="T24" fmla="*/ 28 w 47"/>
                      <a:gd name="T25" fmla="*/ 9 h 37"/>
                      <a:gd name="T26" fmla="*/ 9 w 47"/>
                      <a:gd name="T27" fmla="*/ 3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7"/>
                      <a:gd name="T43" fmla="*/ 0 h 37"/>
                      <a:gd name="T44" fmla="*/ 47 w 47"/>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7" h="37">
                        <a:moveTo>
                          <a:pt x="9" y="3"/>
                        </a:moveTo>
                        <a:cubicBezTo>
                          <a:pt x="14" y="4"/>
                          <a:pt x="15" y="6"/>
                          <a:pt x="19" y="9"/>
                        </a:cubicBezTo>
                        <a:cubicBezTo>
                          <a:pt x="21" y="10"/>
                          <a:pt x="25" y="13"/>
                          <a:pt x="25" y="13"/>
                        </a:cubicBezTo>
                        <a:cubicBezTo>
                          <a:pt x="28" y="12"/>
                          <a:pt x="31" y="13"/>
                          <a:pt x="33" y="11"/>
                        </a:cubicBezTo>
                        <a:cubicBezTo>
                          <a:pt x="35" y="9"/>
                          <a:pt x="35" y="3"/>
                          <a:pt x="35" y="3"/>
                        </a:cubicBezTo>
                        <a:cubicBezTo>
                          <a:pt x="40" y="5"/>
                          <a:pt x="40" y="9"/>
                          <a:pt x="44" y="12"/>
                        </a:cubicBezTo>
                        <a:cubicBezTo>
                          <a:pt x="47" y="16"/>
                          <a:pt x="46" y="17"/>
                          <a:pt x="43" y="21"/>
                        </a:cubicBezTo>
                        <a:cubicBezTo>
                          <a:pt x="39" y="37"/>
                          <a:pt x="37" y="26"/>
                          <a:pt x="34" y="18"/>
                        </a:cubicBezTo>
                        <a:cubicBezTo>
                          <a:pt x="34" y="20"/>
                          <a:pt x="33" y="26"/>
                          <a:pt x="31" y="27"/>
                        </a:cubicBezTo>
                        <a:cubicBezTo>
                          <a:pt x="28" y="29"/>
                          <a:pt x="22" y="30"/>
                          <a:pt x="22" y="30"/>
                        </a:cubicBezTo>
                        <a:cubicBezTo>
                          <a:pt x="18" y="27"/>
                          <a:pt x="6" y="17"/>
                          <a:pt x="5" y="12"/>
                        </a:cubicBezTo>
                        <a:cubicBezTo>
                          <a:pt x="0" y="5"/>
                          <a:pt x="5" y="2"/>
                          <a:pt x="13" y="0"/>
                        </a:cubicBezTo>
                        <a:cubicBezTo>
                          <a:pt x="19" y="2"/>
                          <a:pt x="22" y="9"/>
                          <a:pt x="28" y="9"/>
                        </a:cubicBezTo>
                        <a:lnTo>
                          <a:pt x="9" y="3"/>
                        </a:ln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48" name="Freeform 2508">
                    <a:extLst>
                      <a:ext uri="{FF2B5EF4-FFF2-40B4-BE49-F238E27FC236}">
                        <a16:creationId xmlns:a16="http://schemas.microsoft.com/office/drawing/2014/main" id="{05E67A2F-A4AA-F371-95E3-F6F1BB2D0C51}"/>
                      </a:ext>
                    </a:extLst>
                  </p:cNvPr>
                  <p:cNvSpPr>
                    <a:spLocks noChangeAspect="1"/>
                  </p:cNvSpPr>
                  <p:nvPr/>
                </p:nvSpPr>
                <p:spPr bwMode="auto">
                  <a:xfrm>
                    <a:off x="2608" y="2246"/>
                    <a:ext cx="95" cy="76"/>
                  </a:xfrm>
                  <a:custGeom>
                    <a:avLst/>
                    <a:gdLst>
                      <a:gd name="T0" fmla="*/ 0 w 95"/>
                      <a:gd name="T1" fmla="*/ 72 h 76"/>
                      <a:gd name="T2" fmla="*/ 8 w 95"/>
                      <a:gd name="T3" fmla="*/ 54 h 76"/>
                      <a:gd name="T4" fmla="*/ 14 w 95"/>
                      <a:gd name="T5" fmla="*/ 46 h 76"/>
                      <a:gd name="T6" fmla="*/ 50 w 95"/>
                      <a:gd name="T7" fmla="*/ 40 h 76"/>
                      <a:gd name="T8" fmla="*/ 57 w 95"/>
                      <a:gd name="T9" fmla="*/ 29 h 76"/>
                      <a:gd name="T10" fmla="*/ 63 w 95"/>
                      <a:gd name="T11" fmla="*/ 22 h 76"/>
                      <a:gd name="T12" fmla="*/ 81 w 95"/>
                      <a:gd name="T13" fmla="*/ 10 h 76"/>
                      <a:gd name="T14" fmla="*/ 90 w 95"/>
                      <a:gd name="T15" fmla="*/ 4 h 76"/>
                      <a:gd name="T16" fmla="*/ 93 w 95"/>
                      <a:gd name="T17" fmla="*/ 1 h 76"/>
                      <a:gd name="T18" fmla="*/ 86 w 95"/>
                      <a:gd name="T19" fmla="*/ 11 h 76"/>
                      <a:gd name="T20" fmla="*/ 93 w 95"/>
                      <a:gd name="T21" fmla="*/ 22 h 76"/>
                      <a:gd name="T22" fmla="*/ 86 w 95"/>
                      <a:gd name="T23" fmla="*/ 43 h 76"/>
                      <a:gd name="T24" fmla="*/ 84 w 95"/>
                      <a:gd name="T25" fmla="*/ 46 h 76"/>
                      <a:gd name="T26" fmla="*/ 83 w 95"/>
                      <a:gd name="T27" fmla="*/ 53 h 76"/>
                      <a:gd name="T28" fmla="*/ 80 w 95"/>
                      <a:gd name="T29" fmla="*/ 47 h 76"/>
                      <a:gd name="T30" fmla="*/ 72 w 95"/>
                      <a:gd name="T31" fmla="*/ 44 h 76"/>
                      <a:gd name="T32" fmla="*/ 48 w 95"/>
                      <a:gd name="T33" fmla="*/ 49 h 76"/>
                      <a:gd name="T34" fmla="*/ 39 w 95"/>
                      <a:gd name="T35" fmla="*/ 54 h 76"/>
                      <a:gd name="T36" fmla="*/ 29 w 95"/>
                      <a:gd name="T37" fmla="*/ 52 h 76"/>
                      <a:gd name="T38" fmla="*/ 24 w 95"/>
                      <a:gd name="T39" fmla="*/ 58 h 76"/>
                      <a:gd name="T40" fmla="*/ 18 w 95"/>
                      <a:gd name="T41" fmla="*/ 60 h 76"/>
                      <a:gd name="T42" fmla="*/ 0 w 95"/>
                      <a:gd name="T43" fmla="*/ 72 h 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5"/>
                      <a:gd name="T67" fmla="*/ 0 h 76"/>
                      <a:gd name="T68" fmla="*/ 95 w 95"/>
                      <a:gd name="T69" fmla="*/ 76 h 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5" h="76">
                        <a:moveTo>
                          <a:pt x="0" y="72"/>
                        </a:moveTo>
                        <a:cubicBezTo>
                          <a:pt x="2" y="64"/>
                          <a:pt x="1" y="58"/>
                          <a:pt x="8" y="54"/>
                        </a:cubicBezTo>
                        <a:cubicBezTo>
                          <a:pt x="9" y="49"/>
                          <a:pt x="9" y="47"/>
                          <a:pt x="14" y="46"/>
                        </a:cubicBezTo>
                        <a:cubicBezTo>
                          <a:pt x="26" y="48"/>
                          <a:pt x="38" y="42"/>
                          <a:pt x="50" y="40"/>
                        </a:cubicBezTo>
                        <a:cubicBezTo>
                          <a:pt x="53" y="36"/>
                          <a:pt x="53" y="32"/>
                          <a:pt x="57" y="29"/>
                        </a:cubicBezTo>
                        <a:cubicBezTo>
                          <a:pt x="58" y="25"/>
                          <a:pt x="59" y="23"/>
                          <a:pt x="63" y="22"/>
                        </a:cubicBezTo>
                        <a:cubicBezTo>
                          <a:pt x="68" y="17"/>
                          <a:pt x="73" y="12"/>
                          <a:pt x="81" y="10"/>
                        </a:cubicBezTo>
                        <a:cubicBezTo>
                          <a:pt x="84" y="7"/>
                          <a:pt x="86" y="5"/>
                          <a:pt x="90" y="4"/>
                        </a:cubicBezTo>
                        <a:cubicBezTo>
                          <a:pt x="91" y="3"/>
                          <a:pt x="93" y="0"/>
                          <a:pt x="93" y="1"/>
                        </a:cubicBezTo>
                        <a:cubicBezTo>
                          <a:pt x="93" y="5"/>
                          <a:pt x="86" y="11"/>
                          <a:pt x="86" y="11"/>
                        </a:cubicBezTo>
                        <a:cubicBezTo>
                          <a:pt x="87" y="17"/>
                          <a:pt x="89" y="17"/>
                          <a:pt x="93" y="22"/>
                        </a:cubicBezTo>
                        <a:cubicBezTo>
                          <a:pt x="95" y="28"/>
                          <a:pt x="91" y="40"/>
                          <a:pt x="86" y="43"/>
                        </a:cubicBezTo>
                        <a:cubicBezTo>
                          <a:pt x="85" y="44"/>
                          <a:pt x="84" y="45"/>
                          <a:pt x="84" y="46"/>
                        </a:cubicBezTo>
                        <a:cubicBezTo>
                          <a:pt x="83" y="48"/>
                          <a:pt x="84" y="51"/>
                          <a:pt x="83" y="53"/>
                        </a:cubicBezTo>
                        <a:cubicBezTo>
                          <a:pt x="82" y="55"/>
                          <a:pt x="82" y="48"/>
                          <a:pt x="80" y="47"/>
                        </a:cubicBezTo>
                        <a:cubicBezTo>
                          <a:pt x="78" y="45"/>
                          <a:pt x="75" y="45"/>
                          <a:pt x="72" y="44"/>
                        </a:cubicBezTo>
                        <a:cubicBezTo>
                          <a:pt x="64" y="45"/>
                          <a:pt x="56" y="47"/>
                          <a:pt x="48" y="49"/>
                        </a:cubicBezTo>
                        <a:cubicBezTo>
                          <a:pt x="46" y="51"/>
                          <a:pt x="39" y="54"/>
                          <a:pt x="39" y="54"/>
                        </a:cubicBezTo>
                        <a:cubicBezTo>
                          <a:pt x="36" y="54"/>
                          <a:pt x="32" y="51"/>
                          <a:pt x="29" y="52"/>
                        </a:cubicBezTo>
                        <a:cubicBezTo>
                          <a:pt x="27" y="53"/>
                          <a:pt x="26" y="57"/>
                          <a:pt x="24" y="58"/>
                        </a:cubicBezTo>
                        <a:cubicBezTo>
                          <a:pt x="22" y="59"/>
                          <a:pt x="18" y="60"/>
                          <a:pt x="18" y="60"/>
                        </a:cubicBezTo>
                        <a:cubicBezTo>
                          <a:pt x="12" y="68"/>
                          <a:pt x="11" y="76"/>
                          <a:pt x="0" y="72"/>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49" name="Freeform 2509">
                    <a:extLst>
                      <a:ext uri="{FF2B5EF4-FFF2-40B4-BE49-F238E27FC236}">
                        <a16:creationId xmlns:a16="http://schemas.microsoft.com/office/drawing/2014/main" id="{9C177DC6-70FB-CEC0-38FF-EDDE63D22D16}"/>
                      </a:ext>
                    </a:extLst>
                  </p:cNvPr>
                  <p:cNvSpPr>
                    <a:spLocks noChangeAspect="1"/>
                  </p:cNvSpPr>
                  <p:nvPr/>
                </p:nvSpPr>
                <p:spPr bwMode="auto">
                  <a:xfrm>
                    <a:off x="2599" y="2294"/>
                    <a:ext cx="117" cy="175"/>
                  </a:xfrm>
                  <a:custGeom>
                    <a:avLst/>
                    <a:gdLst>
                      <a:gd name="T0" fmla="*/ 21 w 117"/>
                      <a:gd name="T1" fmla="*/ 156 h 175"/>
                      <a:gd name="T2" fmla="*/ 20 w 117"/>
                      <a:gd name="T3" fmla="*/ 130 h 175"/>
                      <a:gd name="T4" fmla="*/ 12 w 117"/>
                      <a:gd name="T5" fmla="*/ 122 h 175"/>
                      <a:gd name="T6" fmla="*/ 7 w 117"/>
                      <a:gd name="T7" fmla="*/ 108 h 175"/>
                      <a:gd name="T8" fmla="*/ 5 w 117"/>
                      <a:gd name="T9" fmla="*/ 89 h 175"/>
                      <a:gd name="T10" fmla="*/ 2 w 117"/>
                      <a:gd name="T11" fmla="*/ 74 h 175"/>
                      <a:gd name="T12" fmla="*/ 17 w 117"/>
                      <a:gd name="T13" fmla="*/ 34 h 175"/>
                      <a:gd name="T14" fmla="*/ 24 w 117"/>
                      <a:gd name="T15" fmla="*/ 29 h 175"/>
                      <a:gd name="T16" fmla="*/ 33 w 117"/>
                      <a:gd name="T17" fmla="*/ 23 h 175"/>
                      <a:gd name="T18" fmla="*/ 53 w 117"/>
                      <a:gd name="T19" fmla="*/ 10 h 175"/>
                      <a:gd name="T20" fmla="*/ 68 w 117"/>
                      <a:gd name="T21" fmla="*/ 2 h 175"/>
                      <a:gd name="T22" fmla="*/ 86 w 117"/>
                      <a:gd name="T23" fmla="*/ 5 h 175"/>
                      <a:gd name="T24" fmla="*/ 92 w 117"/>
                      <a:gd name="T25" fmla="*/ 25 h 175"/>
                      <a:gd name="T26" fmla="*/ 99 w 117"/>
                      <a:gd name="T27" fmla="*/ 37 h 175"/>
                      <a:gd name="T28" fmla="*/ 114 w 117"/>
                      <a:gd name="T29" fmla="*/ 41 h 175"/>
                      <a:gd name="T30" fmla="*/ 110 w 117"/>
                      <a:gd name="T31" fmla="*/ 59 h 175"/>
                      <a:gd name="T32" fmla="*/ 105 w 117"/>
                      <a:gd name="T33" fmla="*/ 67 h 175"/>
                      <a:gd name="T34" fmla="*/ 92 w 117"/>
                      <a:gd name="T35" fmla="*/ 78 h 175"/>
                      <a:gd name="T36" fmla="*/ 81 w 117"/>
                      <a:gd name="T37" fmla="*/ 97 h 175"/>
                      <a:gd name="T38" fmla="*/ 72 w 117"/>
                      <a:gd name="T39" fmla="*/ 109 h 175"/>
                      <a:gd name="T40" fmla="*/ 96 w 117"/>
                      <a:gd name="T41" fmla="*/ 108 h 175"/>
                      <a:gd name="T42" fmla="*/ 107 w 117"/>
                      <a:gd name="T43" fmla="*/ 124 h 175"/>
                      <a:gd name="T44" fmla="*/ 110 w 117"/>
                      <a:gd name="T45" fmla="*/ 133 h 175"/>
                      <a:gd name="T46" fmla="*/ 98 w 117"/>
                      <a:gd name="T47" fmla="*/ 156 h 175"/>
                      <a:gd name="T48" fmla="*/ 90 w 117"/>
                      <a:gd name="T49" fmla="*/ 138 h 175"/>
                      <a:gd name="T50" fmla="*/ 72 w 117"/>
                      <a:gd name="T51" fmla="*/ 131 h 175"/>
                      <a:gd name="T52" fmla="*/ 62 w 117"/>
                      <a:gd name="T53" fmla="*/ 132 h 175"/>
                      <a:gd name="T54" fmla="*/ 71 w 117"/>
                      <a:gd name="T55" fmla="*/ 162 h 175"/>
                      <a:gd name="T56" fmla="*/ 79 w 117"/>
                      <a:gd name="T57" fmla="*/ 175 h 175"/>
                      <a:gd name="T58" fmla="*/ 75 w 117"/>
                      <a:gd name="T59" fmla="*/ 172 h 175"/>
                      <a:gd name="T60" fmla="*/ 41 w 117"/>
                      <a:gd name="T61" fmla="*/ 162 h 175"/>
                      <a:gd name="T62" fmla="*/ 21 w 117"/>
                      <a:gd name="T63" fmla="*/ 156 h 17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7"/>
                      <a:gd name="T97" fmla="*/ 0 h 175"/>
                      <a:gd name="T98" fmla="*/ 117 w 117"/>
                      <a:gd name="T99" fmla="*/ 175 h 17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7" h="175">
                        <a:moveTo>
                          <a:pt x="21" y="156"/>
                        </a:moveTo>
                        <a:cubicBezTo>
                          <a:pt x="24" y="151"/>
                          <a:pt x="20" y="134"/>
                          <a:pt x="20" y="130"/>
                        </a:cubicBezTo>
                        <a:cubicBezTo>
                          <a:pt x="17" y="124"/>
                          <a:pt x="16" y="126"/>
                          <a:pt x="12" y="122"/>
                        </a:cubicBezTo>
                        <a:cubicBezTo>
                          <a:pt x="10" y="117"/>
                          <a:pt x="8" y="113"/>
                          <a:pt x="7" y="108"/>
                        </a:cubicBezTo>
                        <a:cubicBezTo>
                          <a:pt x="6" y="101"/>
                          <a:pt x="6" y="96"/>
                          <a:pt x="5" y="89"/>
                        </a:cubicBezTo>
                        <a:cubicBezTo>
                          <a:pt x="4" y="84"/>
                          <a:pt x="2" y="74"/>
                          <a:pt x="2" y="74"/>
                        </a:cubicBezTo>
                        <a:cubicBezTo>
                          <a:pt x="11" y="65"/>
                          <a:pt x="0" y="38"/>
                          <a:pt x="17" y="34"/>
                        </a:cubicBezTo>
                        <a:cubicBezTo>
                          <a:pt x="18" y="31"/>
                          <a:pt x="24" y="29"/>
                          <a:pt x="24" y="29"/>
                        </a:cubicBezTo>
                        <a:cubicBezTo>
                          <a:pt x="27" y="26"/>
                          <a:pt x="30" y="25"/>
                          <a:pt x="33" y="23"/>
                        </a:cubicBezTo>
                        <a:cubicBezTo>
                          <a:pt x="37" y="16"/>
                          <a:pt x="46" y="12"/>
                          <a:pt x="53" y="10"/>
                        </a:cubicBezTo>
                        <a:cubicBezTo>
                          <a:pt x="57" y="6"/>
                          <a:pt x="62" y="4"/>
                          <a:pt x="68" y="2"/>
                        </a:cubicBezTo>
                        <a:cubicBezTo>
                          <a:pt x="74" y="3"/>
                          <a:pt x="83" y="0"/>
                          <a:pt x="86" y="5"/>
                        </a:cubicBezTo>
                        <a:cubicBezTo>
                          <a:pt x="89" y="10"/>
                          <a:pt x="88" y="21"/>
                          <a:pt x="92" y="25"/>
                        </a:cubicBezTo>
                        <a:cubicBezTo>
                          <a:pt x="95" y="28"/>
                          <a:pt x="99" y="37"/>
                          <a:pt x="99" y="37"/>
                        </a:cubicBezTo>
                        <a:cubicBezTo>
                          <a:pt x="101" y="39"/>
                          <a:pt x="114" y="41"/>
                          <a:pt x="114" y="41"/>
                        </a:cubicBezTo>
                        <a:cubicBezTo>
                          <a:pt x="117" y="49"/>
                          <a:pt x="116" y="53"/>
                          <a:pt x="110" y="59"/>
                        </a:cubicBezTo>
                        <a:cubicBezTo>
                          <a:pt x="108" y="66"/>
                          <a:pt x="110" y="64"/>
                          <a:pt x="105" y="67"/>
                        </a:cubicBezTo>
                        <a:cubicBezTo>
                          <a:pt x="102" y="72"/>
                          <a:pt x="97" y="75"/>
                          <a:pt x="92" y="78"/>
                        </a:cubicBezTo>
                        <a:cubicBezTo>
                          <a:pt x="89" y="84"/>
                          <a:pt x="86" y="92"/>
                          <a:pt x="81" y="97"/>
                        </a:cubicBezTo>
                        <a:cubicBezTo>
                          <a:pt x="79" y="102"/>
                          <a:pt x="72" y="109"/>
                          <a:pt x="72" y="109"/>
                        </a:cubicBezTo>
                        <a:cubicBezTo>
                          <a:pt x="69" y="119"/>
                          <a:pt x="90" y="106"/>
                          <a:pt x="96" y="108"/>
                        </a:cubicBezTo>
                        <a:cubicBezTo>
                          <a:pt x="102" y="111"/>
                          <a:pt x="102" y="117"/>
                          <a:pt x="107" y="124"/>
                        </a:cubicBezTo>
                        <a:cubicBezTo>
                          <a:pt x="109" y="127"/>
                          <a:pt x="110" y="133"/>
                          <a:pt x="110" y="133"/>
                        </a:cubicBezTo>
                        <a:cubicBezTo>
                          <a:pt x="109" y="167"/>
                          <a:pt x="117" y="162"/>
                          <a:pt x="98" y="156"/>
                        </a:cubicBezTo>
                        <a:cubicBezTo>
                          <a:pt x="96" y="153"/>
                          <a:pt x="93" y="141"/>
                          <a:pt x="90" y="138"/>
                        </a:cubicBezTo>
                        <a:cubicBezTo>
                          <a:pt x="88" y="131"/>
                          <a:pt x="78" y="133"/>
                          <a:pt x="72" y="131"/>
                        </a:cubicBezTo>
                        <a:cubicBezTo>
                          <a:pt x="69" y="131"/>
                          <a:pt x="65" y="131"/>
                          <a:pt x="62" y="132"/>
                        </a:cubicBezTo>
                        <a:cubicBezTo>
                          <a:pt x="54" y="136"/>
                          <a:pt x="66" y="159"/>
                          <a:pt x="71" y="162"/>
                        </a:cubicBezTo>
                        <a:cubicBezTo>
                          <a:pt x="74" y="169"/>
                          <a:pt x="78" y="174"/>
                          <a:pt x="79" y="175"/>
                        </a:cubicBezTo>
                        <a:cubicBezTo>
                          <a:pt x="78" y="174"/>
                          <a:pt x="76" y="173"/>
                          <a:pt x="75" y="172"/>
                        </a:cubicBezTo>
                        <a:cubicBezTo>
                          <a:pt x="70" y="158"/>
                          <a:pt x="52" y="162"/>
                          <a:pt x="41" y="162"/>
                        </a:cubicBezTo>
                        <a:cubicBezTo>
                          <a:pt x="34" y="161"/>
                          <a:pt x="28" y="158"/>
                          <a:pt x="21" y="156"/>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sp>
              <p:nvSpPr>
                <p:cNvPr id="87" name="Freeform 2510">
                  <a:extLst>
                    <a:ext uri="{FF2B5EF4-FFF2-40B4-BE49-F238E27FC236}">
                      <a16:creationId xmlns:a16="http://schemas.microsoft.com/office/drawing/2014/main" id="{F293EDEF-4423-D649-3A5C-4D1B8856C5C3}"/>
                    </a:ext>
                  </a:extLst>
                </p:cNvPr>
                <p:cNvSpPr>
                  <a:spLocks noChangeAspect="1"/>
                </p:cNvSpPr>
                <p:nvPr/>
              </p:nvSpPr>
              <p:spPr bwMode="auto">
                <a:xfrm>
                  <a:off x="2817813" y="3698875"/>
                  <a:ext cx="347663" cy="403225"/>
                </a:xfrm>
                <a:custGeom>
                  <a:avLst/>
                  <a:gdLst>
                    <a:gd name="T0" fmla="*/ 208 w 219"/>
                    <a:gd name="T1" fmla="*/ 104 h 254"/>
                    <a:gd name="T2" fmla="*/ 194 w 219"/>
                    <a:gd name="T3" fmla="*/ 85 h 254"/>
                    <a:gd name="T4" fmla="*/ 172 w 219"/>
                    <a:gd name="T5" fmla="*/ 91 h 254"/>
                    <a:gd name="T6" fmla="*/ 149 w 219"/>
                    <a:gd name="T7" fmla="*/ 71 h 254"/>
                    <a:gd name="T8" fmla="*/ 159 w 219"/>
                    <a:gd name="T9" fmla="*/ 56 h 254"/>
                    <a:gd name="T10" fmla="*/ 182 w 219"/>
                    <a:gd name="T11" fmla="*/ 38 h 254"/>
                    <a:gd name="T12" fmla="*/ 200 w 219"/>
                    <a:gd name="T13" fmla="*/ 19 h 254"/>
                    <a:gd name="T14" fmla="*/ 188 w 219"/>
                    <a:gd name="T15" fmla="*/ 7 h 254"/>
                    <a:gd name="T16" fmla="*/ 181 w 219"/>
                    <a:gd name="T17" fmla="*/ 25 h 254"/>
                    <a:gd name="T18" fmla="*/ 149 w 219"/>
                    <a:gd name="T19" fmla="*/ 18 h 254"/>
                    <a:gd name="T20" fmla="*/ 131 w 219"/>
                    <a:gd name="T21" fmla="*/ 35 h 254"/>
                    <a:gd name="T22" fmla="*/ 135 w 219"/>
                    <a:gd name="T23" fmla="*/ 44 h 254"/>
                    <a:gd name="T24" fmla="*/ 140 w 219"/>
                    <a:gd name="T25" fmla="*/ 59 h 254"/>
                    <a:gd name="T26" fmla="*/ 124 w 219"/>
                    <a:gd name="T27" fmla="*/ 71 h 254"/>
                    <a:gd name="T28" fmla="*/ 95 w 219"/>
                    <a:gd name="T29" fmla="*/ 59 h 254"/>
                    <a:gd name="T30" fmla="*/ 63 w 219"/>
                    <a:gd name="T31" fmla="*/ 58 h 254"/>
                    <a:gd name="T32" fmla="*/ 61 w 219"/>
                    <a:gd name="T33" fmla="*/ 82 h 254"/>
                    <a:gd name="T34" fmla="*/ 59 w 219"/>
                    <a:gd name="T35" fmla="*/ 90 h 254"/>
                    <a:gd name="T36" fmla="*/ 45 w 219"/>
                    <a:gd name="T37" fmla="*/ 106 h 254"/>
                    <a:gd name="T38" fmla="*/ 94 w 219"/>
                    <a:gd name="T39" fmla="*/ 134 h 254"/>
                    <a:gd name="T40" fmla="*/ 64 w 219"/>
                    <a:gd name="T41" fmla="*/ 150 h 254"/>
                    <a:gd name="T42" fmla="*/ 44 w 219"/>
                    <a:gd name="T43" fmla="*/ 173 h 254"/>
                    <a:gd name="T44" fmla="*/ 53 w 219"/>
                    <a:gd name="T45" fmla="*/ 180 h 254"/>
                    <a:gd name="T46" fmla="*/ 29 w 219"/>
                    <a:gd name="T47" fmla="*/ 196 h 254"/>
                    <a:gd name="T48" fmla="*/ 13 w 219"/>
                    <a:gd name="T49" fmla="*/ 187 h 254"/>
                    <a:gd name="T50" fmla="*/ 4 w 219"/>
                    <a:gd name="T51" fmla="*/ 202 h 254"/>
                    <a:gd name="T52" fmla="*/ 23 w 219"/>
                    <a:gd name="T53" fmla="*/ 200 h 254"/>
                    <a:gd name="T54" fmla="*/ 4 w 219"/>
                    <a:gd name="T55" fmla="*/ 217 h 254"/>
                    <a:gd name="T56" fmla="*/ 29 w 219"/>
                    <a:gd name="T57" fmla="*/ 222 h 254"/>
                    <a:gd name="T58" fmla="*/ 5 w 219"/>
                    <a:gd name="T59" fmla="*/ 236 h 254"/>
                    <a:gd name="T60" fmla="*/ 26 w 219"/>
                    <a:gd name="T61" fmla="*/ 250 h 254"/>
                    <a:gd name="T62" fmla="*/ 79 w 219"/>
                    <a:gd name="T63" fmla="*/ 248 h 254"/>
                    <a:gd name="T64" fmla="*/ 119 w 219"/>
                    <a:gd name="T65" fmla="*/ 244 h 254"/>
                    <a:gd name="T66" fmla="*/ 148 w 219"/>
                    <a:gd name="T67" fmla="*/ 230 h 254"/>
                    <a:gd name="T68" fmla="*/ 185 w 219"/>
                    <a:gd name="T69" fmla="*/ 220 h 254"/>
                    <a:gd name="T70" fmla="*/ 203 w 219"/>
                    <a:gd name="T71" fmla="*/ 196 h 254"/>
                    <a:gd name="T72" fmla="*/ 208 w 219"/>
                    <a:gd name="T73" fmla="*/ 187 h 254"/>
                    <a:gd name="T74" fmla="*/ 207 w 219"/>
                    <a:gd name="T75" fmla="*/ 134 h 254"/>
                    <a:gd name="T76" fmla="*/ 217 w 219"/>
                    <a:gd name="T77" fmla="*/ 110 h 25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9"/>
                    <a:gd name="T118" fmla="*/ 0 h 254"/>
                    <a:gd name="T119" fmla="*/ 219 w 219"/>
                    <a:gd name="T120" fmla="*/ 254 h 25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9" h="254">
                      <a:moveTo>
                        <a:pt x="217" y="110"/>
                      </a:moveTo>
                      <a:cubicBezTo>
                        <a:pt x="219" y="105"/>
                        <a:pt x="213" y="105"/>
                        <a:pt x="208" y="104"/>
                      </a:cubicBezTo>
                      <a:cubicBezTo>
                        <a:pt x="202" y="100"/>
                        <a:pt x="201" y="97"/>
                        <a:pt x="196" y="92"/>
                      </a:cubicBezTo>
                      <a:cubicBezTo>
                        <a:pt x="194" y="90"/>
                        <a:pt x="194" y="85"/>
                        <a:pt x="194" y="85"/>
                      </a:cubicBezTo>
                      <a:cubicBezTo>
                        <a:pt x="191" y="77"/>
                        <a:pt x="190" y="79"/>
                        <a:pt x="182" y="82"/>
                      </a:cubicBezTo>
                      <a:cubicBezTo>
                        <a:pt x="179" y="90"/>
                        <a:pt x="182" y="92"/>
                        <a:pt x="172" y="91"/>
                      </a:cubicBezTo>
                      <a:cubicBezTo>
                        <a:pt x="165" y="89"/>
                        <a:pt x="164" y="79"/>
                        <a:pt x="154" y="76"/>
                      </a:cubicBezTo>
                      <a:cubicBezTo>
                        <a:pt x="152" y="69"/>
                        <a:pt x="155" y="77"/>
                        <a:pt x="149" y="71"/>
                      </a:cubicBezTo>
                      <a:cubicBezTo>
                        <a:pt x="147" y="69"/>
                        <a:pt x="147" y="64"/>
                        <a:pt x="146" y="61"/>
                      </a:cubicBezTo>
                      <a:cubicBezTo>
                        <a:pt x="150" y="58"/>
                        <a:pt x="154" y="57"/>
                        <a:pt x="159" y="56"/>
                      </a:cubicBezTo>
                      <a:cubicBezTo>
                        <a:pt x="165" y="47"/>
                        <a:pt x="162" y="47"/>
                        <a:pt x="173" y="46"/>
                      </a:cubicBezTo>
                      <a:cubicBezTo>
                        <a:pt x="180" y="41"/>
                        <a:pt x="178" y="44"/>
                        <a:pt x="182" y="38"/>
                      </a:cubicBezTo>
                      <a:cubicBezTo>
                        <a:pt x="184" y="32"/>
                        <a:pt x="184" y="31"/>
                        <a:pt x="190" y="29"/>
                      </a:cubicBezTo>
                      <a:cubicBezTo>
                        <a:pt x="193" y="26"/>
                        <a:pt x="196" y="20"/>
                        <a:pt x="200" y="19"/>
                      </a:cubicBezTo>
                      <a:cubicBezTo>
                        <a:pt x="202" y="14"/>
                        <a:pt x="206" y="9"/>
                        <a:pt x="202" y="6"/>
                      </a:cubicBezTo>
                      <a:cubicBezTo>
                        <a:pt x="200" y="0"/>
                        <a:pt x="194" y="3"/>
                        <a:pt x="188" y="7"/>
                      </a:cubicBezTo>
                      <a:cubicBezTo>
                        <a:pt x="187" y="11"/>
                        <a:pt x="184" y="15"/>
                        <a:pt x="183" y="19"/>
                      </a:cubicBezTo>
                      <a:cubicBezTo>
                        <a:pt x="182" y="21"/>
                        <a:pt x="181" y="25"/>
                        <a:pt x="181" y="25"/>
                      </a:cubicBezTo>
                      <a:cubicBezTo>
                        <a:pt x="170" y="22"/>
                        <a:pt x="182" y="10"/>
                        <a:pt x="165" y="8"/>
                      </a:cubicBezTo>
                      <a:cubicBezTo>
                        <a:pt x="149" y="9"/>
                        <a:pt x="158" y="15"/>
                        <a:pt x="149" y="18"/>
                      </a:cubicBezTo>
                      <a:cubicBezTo>
                        <a:pt x="148" y="23"/>
                        <a:pt x="147" y="23"/>
                        <a:pt x="142" y="25"/>
                      </a:cubicBezTo>
                      <a:cubicBezTo>
                        <a:pt x="139" y="29"/>
                        <a:pt x="135" y="34"/>
                        <a:pt x="131" y="35"/>
                      </a:cubicBezTo>
                      <a:cubicBezTo>
                        <a:pt x="131" y="36"/>
                        <a:pt x="127" y="40"/>
                        <a:pt x="128" y="41"/>
                      </a:cubicBezTo>
                      <a:cubicBezTo>
                        <a:pt x="129" y="43"/>
                        <a:pt x="134" y="43"/>
                        <a:pt x="135" y="44"/>
                      </a:cubicBezTo>
                      <a:cubicBezTo>
                        <a:pt x="138" y="45"/>
                        <a:pt x="145" y="48"/>
                        <a:pt x="145" y="48"/>
                      </a:cubicBezTo>
                      <a:cubicBezTo>
                        <a:pt x="144" y="49"/>
                        <a:pt x="142" y="58"/>
                        <a:pt x="140" y="59"/>
                      </a:cubicBezTo>
                      <a:cubicBezTo>
                        <a:pt x="137" y="61"/>
                        <a:pt x="131" y="62"/>
                        <a:pt x="131" y="62"/>
                      </a:cubicBezTo>
                      <a:cubicBezTo>
                        <a:pt x="127" y="67"/>
                        <a:pt x="125" y="64"/>
                        <a:pt x="124" y="71"/>
                      </a:cubicBezTo>
                      <a:cubicBezTo>
                        <a:pt x="116" y="70"/>
                        <a:pt x="120" y="68"/>
                        <a:pt x="113" y="65"/>
                      </a:cubicBezTo>
                      <a:cubicBezTo>
                        <a:pt x="111" y="58"/>
                        <a:pt x="101" y="60"/>
                        <a:pt x="95" y="59"/>
                      </a:cubicBezTo>
                      <a:cubicBezTo>
                        <a:pt x="92" y="55"/>
                        <a:pt x="87" y="53"/>
                        <a:pt x="83" y="52"/>
                      </a:cubicBezTo>
                      <a:cubicBezTo>
                        <a:pt x="75" y="53"/>
                        <a:pt x="67" y="51"/>
                        <a:pt x="63" y="58"/>
                      </a:cubicBezTo>
                      <a:cubicBezTo>
                        <a:pt x="62" y="64"/>
                        <a:pt x="62" y="66"/>
                        <a:pt x="58" y="70"/>
                      </a:cubicBezTo>
                      <a:cubicBezTo>
                        <a:pt x="57" y="74"/>
                        <a:pt x="57" y="79"/>
                        <a:pt x="61" y="82"/>
                      </a:cubicBezTo>
                      <a:cubicBezTo>
                        <a:pt x="64" y="85"/>
                        <a:pt x="74" y="86"/>
                        <a:pt x="74" y="86"/>
                      </a:cubicBezTo>
                      <a:cubicBezTo>
                        <a:pt x="69" y="88"/>
                        <a:pt x="64" y="88"/>
                        <a:pt x="59" y="90"/>
                      </a:cubicBezTo>
                      <a:cubicBezTo>
                        <a:pt x="61" y="95"/>
                        <a:pt x="62" y="96"/>
                        <a:pt x="61" y="101"/>
                      </a:cubicBezTo>
                      <a:cubicBezTo>
                        <a:pt x="48" y="100"/>
                        <a:pt x="47" y="93"/>
                        <a:pt x="45" y="106"/>
                      </a:cubicBezTo>
                      <a:cubicBezTo>
                        <a:pt x="46" y="114"/>
                        <a:pt x="50" y="119"/>
                        <a:pt x="59" y="121"/>
                      </a:cubicBezTo>
                      <a:cubicBezTo>
                        <a:pt x="70" y="128"/>
                        <a:pt x="81" y="133"/>
                        <a:pt x="94" y="134"/>
                      </a:cubicBezTo>
                      <a:cubicBezTo>
                        <a:pt x="89" y="141"/>
                        <a:pt x="84" y="138"/>
                        <a:pt x="74" y="137"/>
                      </a:cubicBezTo>
                      <a:cubicBezTo>
                        <a:pt x="67" y="139"/>
                        <a:pt x="70" y="146"/>
                        <a:pt x="64" y="150"/>
                      </a:cubicBezTo>
                      <a:cubicBezTo>
                        <a:pt x="62" y="155"/>
                        <a:pt x="58" y="160"/>
                        <a:pt x="53" y="162"/>
                      </a:cubicBezTo>
                      <a:cubicBezTo>
                        <a:pt x="50" y="166"/>
                        <a:pt x="39" y="175"/>
                        <a:pt x="44" y="173"/>
                      </a:cubicBezTo>
                      <a:cubicBezTo>
                        <a:pt x="58" y="174"/>
                        <a:pt x="71" y="171"/>
                        <a:pt x="85" y="173"/>
                      </a:cubicBezTo>
                      <a:cubicBezTo>
                        <a:pt x="74" y="175"/>
                        <a:pt x="64" y="179"/>
                        <a:pt x="53" y="180"/>
                      </a:cubicBezTo>
                      <a:cubicBezTo>
                        <a:pt x="47" y="182"/>
                        <a:pt x="43" y="178"/>
                        <a:pt x="37" y="180"/>
                      </a:cubicBezTo>
                      <a:cubicBezTo>
                        <a:pt x="35" y="183"/>
                        <a:pt x="31" y="192"/>
                        <a:pt x="29" y="196"/>
                      </a:cubicBezTo>
                      <a:cubicBezTo>
                        <a:pt x="28" y="198"/>
                        <a:pt x="27" y="202"/>
                        <a:pt x="27" y="202"/>
                      </a:cubicBezTo>
                      <a:cubicBezTo>
                        <a:pt x="25" y="195"/>
                        <a:pt x="20" y="189"/>
                        <a:pt x="13" y="187"/>
                      </a:cubicBezTo>
                      <a:cubicBezTo>
                        <a:pt x="6" y="188"/>
                        <a:pt x="9" y="190"/>
                        <a:pt x="4" y="193"/>
                      </a:cubicBezTo>
                      <a:cubicBezTo>
                        <a:pt x="3" y="196"/>
                        <a:pt x="0" y="200"/>
                        <a:pt x="4" y="202"/>
                      </a:cubicBezTo>
                      <a:cubicBezTo>
                        <a:pt x="6" y="203"/>
                        <a:pt x="10" y="204"/>
                        <a:pt x="10" y="204"/>
                      </a:cubicBezTo>
                      <a:cubicBezTo>
                        <a:pt x="16" y="203"/>
                        <a:pt x="18" y="203"/>
                        <a:pt x="23" y="200"/>
                      </a:cubicBezTo>
                      <a:cubicBezTo>
                        <a:pt x="24" y="201"/>
                        <a:pt x="27" y="201"/>
                        <a:pt x="27" y="202"/>
                      </a:cubicBezTo>
                      <a:cubicBezTo>
                        <a:pt x="27" y="205"/>
                        <a:pt x="7" y="216"/>
                        <a:pt x="4" y="217"/>
                      </a:cubicBezTo>
                      <a:cubicBezTo>
                        <a:pt x="5" y="222"/>
                        <a:pt x="6" y="222"/>
                        <a:pt x="11" y="224"/>
                      </a:cubicBezTo>
                      <a:cubicBezTo>
                        <a:pt x="17" y="223"/>
                        <a:pt x="24" y="218"/>
                        <a:pt x="29" y="222"/>
                      </a:cubicBezTo>
                      <a:cubicBezTo>
                        <a:pt x="31" y="223"/>
                        <a:pt x="29" y="226"/>
                        <a:pt x="28" y="228"/>
                      </a:cubicBezTo>
                      <a:cubicBezTo>
                        <a:pt x="23" y="235"/>
                        <a:pt x="12" y="234"/>
                        <a:pt x="5" y="236"/>
                      </a:cubicBezTo>
                      <a:cubicBezTo>
                        <a:pt x="14" y="240"/>
                        <a:pt x="23" y="238"/>
                        <a:pt x="32" y="241"/>
                      </a:cubicBezTo>
                      <a:cubicBezTo>
                        <a:pt x="31" y="245"/>
                        <a:pt x="30" y="249"/>
                        <a:pt x="26" y="250"/>
                      </a:cubicBezTo>
                      <a:cubicBezTo>
                        <a:pt x="32" y="254"/>
                        <a:pt x="38" y="253"/>
                        <a:pt x="45" y="254"/>
                      </a:cubicBezTo>
                      <a:cubicBezTo>
                        <a:pt x="56" y="252"/>
                        <a:pt x="68" y="250"/>
                        <a:pt x="79" y="248"/>
                      </a:cubicBezTo>
                      <a:cubicBezTo>
                        <a:pt x="83" y="247"/>
                        <a:pt x="92" y="244"/>
                        <a:pt x="92" y="244"/>
                      </a:cubicBezTo>
                      <a:cubicBezTo>
                        <a:pt x="98" y="238"/>
                        <a:pt x="112" y="243"/>
                        <a:pt x="119" y="244"/>
                      </a:cubicBezTo>
                      <a:cubicBezTo>
                        <a:pt x="122" y="242"/>
                        <a:pt x="128" y="238"/>
                        <a:pt x="128" y="238"/>
                      </a:cubicBezTo>
                      <a:cubicBezTo>
                        <a:pt x="130" y="232"/>
                        <a:pt x="143" y="231"/>
                        <a:pt x="148" y="230"/>
                      </a:cubicBezTo>
                      <a:cubicBezTo>
                        <a:pt x="162" y="232"/>
                        <a:pt x="166" y="235"/>
                        <a:pt x="178" y="239"/>
                      </a:cubicBezTo>
                      <a:cubicBezTo>
                        <a:pt x="188" y="236"/>
                        <a:pt x="182" y="231"/>
                        <a:pt x="185" y="220"/>
                      </a:cubicBezTo>
                      <a:cubicBezTo>
                        <a:pt x="186" y="216"/>
                        <a:pt x="197" y="215"/>
                        <a:pt x="197" y="215"/>
                      </a:cubicBezTo>
                      <a:cubicBezTo>
                        <a:pt x="203" y="209"/>
                        <a:pt x="200" y="203"/>
                        <a:pt x="203" y="196"/>
                      </a:cubicBezTo>
                      <a:cubicBezTo>
                        <a:pt x="204" y="194"/>
                        <a:pt x="206" y="192"/>
                        <a:pt x="207" y="190"/>
                      </a:cubicBezTo>
                      <a:cubicBezTo>
                        <a:pt x="207" y="189"/>
                        <a:pt x="208" y="188"/>
                        <a:pt x="208" y="187"/>
                      </a:cubicBezTo>
                      <a:cubicBezTo>
                        <a:pt x="211" y="169"/>
                        <a:pt x="211" y="159"/>
                        <a:pt x="209" y="140"/>
                      </a:cubicBezTo>
                      <a:cubicBezTo>
                        <a:pt x="209" y="138"/>
                        <a:pt x="207" y="134"/>
                        <a:pt x="207" y="134"/>
                      </a:cubicBezTo>
                      <a:cubicBezTo>
                        <a:pt x="208" y="128"/>
                        <a:pt x="209" y="124"/>
                        <a:pt x="211" y="119"/>
                      </a:cubicBezTo>
                      <a:cubicBezTo>
                        <a:pt x="212" y="111"/>
                        <a:pt x="210" y="114"/>
                        <a:pt x="217" y="11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nvGrpSpPr>
                <p:cNvPr id="88" name="Group 79">
                  <a:extLst>
                    <a:ext uri="{FF2B5EF4-FFF2-40B4-BE49-F238E27FC236}">
                      <a16:creationId xmlns:a16="http://schemas.microsoft.com/office/drawing/2014/main" id="{9AF3ACC8-D091-63A5-4F54-E106FE1D0550}"/>
                    </a:ext>
                  </a:extLst>
                </p:cNvPr>
                <p:cNvGrpSpPr>
                  <a:grpSpLocks noChangeAspect="1"/>
                </p:cNvGrpSpPr>
                <p:nvPr/>
              </p:nvGrpSpPr>
              <p:grpSpPr bwMode="auto">
                <a:xfrm>
                  <a:off x="4311651" y="2198692"/>
                  <a:ext cx="627063" cy="1636716"/>
                  <a:chOff x="2717" y="1385"/>
                  <a:chExt cx="395" cy="1031"/>
                </a:xfrm>
                <a:grpFill/>
              </p:grpSpPr>
              <p:sp>
                <p:nvSpPr>
                  <p:cNvPr id="142" name="Freeform 2512">
                    <a:extLst>
                      <a:ext uri="{FF2B5EF4-FFF2-40B4-BE49-F238E27FC236}">
                        <a16:creationId xmlns:a16="http://schemas.microsoft.com/office/drawing/2014/main" id="{83C9A3E9-087A-1FC1-EAFE-B9E934D3A61B}"/>
                      </a:ext>
                    </a:extLst>
                  </p:cNvPr>
                  <p:cNvSpPr>
                    <a:spLocks noChangeAspect="1"/>
                  </p:cNvSpPr>
                  <p:nvPr/>
                </p:nvSpPr>
                <p:spPr bwMode="auto">
                  <a:xfrm>
                    <a:off x="2998" y="2203"/>
                    <a:ext cx="50" cy="89"/>
                  </a:xfrm>
                  <a:custGeom>
                    <a:avLst/>
                    <a:gdLst>
                      <a:gd name="T0" fmla="*/ 42 w 50"/>
                      <a:gd name="T1" fmla="*/ 3 h 89"/>
                      <a:gd name="T2" fmla="*/ 24 w 50"/>
                      <a:gd name="T3" fmla="*/ 14 h 89"/>
                      <a:gd name="T4" fmla="*/ 15 w 50"/>
                      <a:gd name="T5" fmla="*/ 19 h 89"/>
                      <a:gd name="T6" fmla="*/ 0 w 50"/>
                      <a:gd name="T7" fmla="*/ 38 h 89"/>
                      <a:gd name="T8" fmla="*/ 4 w 50"/>
                      <a:gd name="T9" fmla="*/ 51 h 89"/>
                      <a:gd name="T10" fmla="*/ 0 w 50"/>
                      <a:gd name="T11" fmla="*/ 62 h 89"/>
                      <a:gd name="T12" fmla="*/ 7 w 50"/>
                      <a:gd name="T13" fmla="*/ 72 h 89"/>
                      <a:gd name="T14" fmla="*/ 6 w 50"/>
                      <a:gd name="T15" fmla="*/ 81 h 89"/>
                      <a:gd name="T16" fmla="*/ 13 w 50"/>
                      <a:gd name="T17" fmla="*/ 83 h 89"/>
                      <a:gd name="T18" fmla="*/ 23 w 50"/>
                      <a:gd name="T19" fmla="*/ 65 h 89"/>
                      <a:gd name="T20" fmla="*/ 33 w 50"/>
                      <a:gd name="T21" fmla="*/ 48 h 89"/>
                      <a:gd name="T22" fmla="*/ 23 w 50"/>
                      <a:gd name="T23" fmla="*/ 29 h 89"/>
                      <a:gd name="T24" fmla="*/ 34 w 50"/>
                      <a:gd name="T25" fmla="*/ 18 h 89"/>
                      <a:gd name="T26" fmla="*/ 48 w 50"/>
                      <a:gd name="T27" fmla="*/ 6 h 89"/>
                      <a:gd name="T28" fmla="*/ 42 w 50"/>
                      <a:gd name="T29" fmla="*/ 3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0"/>
                      <a:gd name="T46" fmla="*/ 0 h 89"/>
                      <a:gd name="T47" fmla="*/ 50 w 50"/>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0" h="89">
                        <a:moveTo>
                          <a:pt x="42" y="3"/>
                        </a:moveTo>
                        <a:cubicBezTo>
                          <a:pt x="27" y="4"/>
                          <a:pt x="15" y="0"/>
                          <a:pt x="24" y="14"/>
                        </a:cubicBezTo>
                        <a:cubicBezTo>
                          <a:pt x="21" y="18"/>
                          <a:pt x="20" y="18"/>
                          <a:pt x="15" y="19"/>
                        </a:cubicBezTo>
                        <a:cubicBezTo>
                          <a:pt x="7" y="24"/>
                          <a:pt x="7" y="31"/>
                          <a:pt x="0" y="38"/>
                        </a:cubicBezTo>
                        <a:cubicBezTo>
                          <a:pt x="1" y="44"/>
                          <a:pt x="2" y="46"/>
                          <a:pt x="4" y="51"/>
                        </a:cubicBezTo>
                        <a:cubicBezTo>
                          <a:pt x="3" y="55"/>
                          <a:pt x="1" y="58"/>
                          <a:pt x="0" y="62"/>
                        </a:cubicBezTo>
                        <a:cubicBezTo>
                          <a:pt x="1" y="68"/>
                          <a:pt x="1" y="70"/>
                          <a:pt x="7" y="72"/>
                        </a:cubicBezTo>
                        <a:cubicBezTo>
                          <a:pt x="10" y="76"/>
                          <a:pt x="8" y="76"/>
                          <a:pt x="6" y="81"/>
                        </a:cubicBezTo>
                        <a:cubicBezTo>
                          <a:pt x="7" y="88"/>
                          <a:pt x="9" y="89"/>
                          <a:pt x="13" y="83"/>
                        </a:cubicBezTo>
                        <a:cubicBezTo>
                          <a:pt x="15" y="71"/>
                          <a:pt x="12" y="67"/>
                          <a:pt x="23" y="65"/>
                        </a:cubicBezTo>
                        <a:cubicBezTo>
                          <a:pt x="31" y="61"/>
                          <a:pt x="27" y="54"/>
                          <a:pt x="33" y="48"/>
                        </a:cubicBezTo>
                        <a:cubicBezTo>
                          <a:pt x="30" y="40"/>
                          <a:pt x="27" y="36"/>
                          <a:pt x="23" y="29"/>
                        </a:cubicBezTo>
                        <a:cubicBezTo>
                          <a:pt x="24" y="24"/>
                          <a:pt x="29" y="21"/>
                          <a:pt x="34" y="18"/>
                        </a:cubicBezTo>
                        <a:cubicBezTo>
                          <a:pt x="37" y="8"/>
                          <a:pt x="36" y="7"/>
                          <a:pt x="48" y="6"/>
                        </a:cubicBezTo>
                        <a:cubicBezTo>
                          <a:pt x="50" y="1"/>
                          <a:pt x="50" y="3"/>
                          <a:pt x="42" y="3"/>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43" name="Freeform 2513">
                    <a:extLst>
                      <a:ext uri="{FF2B5EF4-FFF2-40B4-BE49-F238E27FC236}">
                        <a16:creationId xmlns:a16="http://schemas.microsoft.com/office/drawing/2014/main" id="{8F1E296B-E498-FBBC-5C59-1B42FCCB2899}"/>
                      </a:ext>
                    </a:extLst>
                  </p:cNvPr>
                  <p:cNvSpPr>
                    <a:spLocks noChangeAspect="1"/>
                  </p:cNvSpPr>
                  <p:nvPr/>
                </p:nvSpPr>
                <p:spPr bwMode="auto">
                  <a:xfrm>
                    <a:off x="2932" y="2263"/>
                    <a:ext cx="29" cy="87"/>
                  </a:xfrm>
                  <a:custGeom>
                    <a:avLst/>
                    <a:gdLst>
                      <a:gd name="T0" fmla="*/ 27 w 29"/>
                      <a:gd name="T1" fmla="*/ 0 h 87"/>
                      <a:gd name="T2" fmla="*/ 19 w 29"/>
                      <a:gd name="T3" fmla="*/ 15 h 87"/>
                      <a:gd name="T4" fmla="*/ 13 w 29"/>
                      <a:gd name="T5" fmla="*/ 30 h 87"/>
                      <a:gd name="T6" fmla="*/ 7 w 29"/>
                      <a:gd name="T7" fmla="*/ 38 h 87"/>
                      <a:gd name="T8" fmla="*/ 1 w 29"/>
                      <a:gd name="T9" fmla="*/ 57 h 87"/>
                      <a:gd name="T10" fmla="*/ 9 w 29"/>
                      <a:gd name="T11" fmla="*/ 78 h 87"/>
                      <a:gd name="T12" fmla="*/ 12 w 29"/>
                      <a:gd name="T13" fmla="*/ 85 h 87"/>
                      <a:gd name="T14" fmla="*/ 24 w 29"/>
                      <a:gd name="T15" fmla="*/ 32 h 87"/>
                      <a:gd name="T16" fmla="*/ 25 w 29"/>
                      <a:gd name="T17" fmla="*/ 17 h 87"/>
                      <a:gd name="T18" fmla="*/ 29 w 29"/>
                      <a:gd name="T19" fmla="*/ 8 h 87"/>
                      <a:gd name="T20" fmla="*/ 27 w 29"/>
                      <a:gd name="T21" fmla="*/ 0 h 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87"/>
                      <a:gd name="T35" fmla="*/ 29 w 29"/>
                      <a:gd name="T36" fmla="*/ 87 h 8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87">
                        <a:moveTo>
                          <a:pt x="27" y="0"/>
                        </a:moveTo>
                        <a:cubicBezTo>
                          <a:pt x="24" y="5"/>
                          <a:pt x="23" y="11"/>
                          <a:pt x="19" y="15"/>
                        </a:cubicBezTo>
                        <a:cubicBezTo>
                          <a:pt x="18" y="21"/>
                          <a:pt x="17" y="26"/>
                          <a:pt x="13" y="30"/>
                        </a:cubicBezTo>
                        <a:cubicBezTo>
                          <a:pt x="11" y="37"/>
                          <a:pt x="13" y="35"/>
                          <a:pt x="7" y="38"/>
                        </a:cubicBezTo>
                        <a:cubicBezTo>
                          <a:pt x="5" y="44"/>
                          <a:pt x="5" y="51"/>
                          <a:pt x="1" y="57"/>
                        </a:cubicBezTo>
                        <a:cubicBezTo>
                          <a:pt x="0" y="64"/>
                          <a:pt x="2" y="76"/>
                          <a:pt x="9" y="78"/>
                        </a:cubicBezTo>
                        <a:cubicBezTo>
                          <a:pt x="10" y="80"/>
                          <a:pt x="11" y="87"/>
                          <a:pt x="12" y="85"/>
                        </a:cubicBezTo>
                        <a:cubicBezTo>
                          <a:pt x="18" y="68"/>
                          <a:pt x="18" y="49"/>
                          <a:pt x="24" y="32"/>
                        </a:cubicBezTo>
                        <a:cubicBezTo>
                          <a:pt x="24" y="27"/>
                          <a:pt x="24" y="22"/>
                          <a:pt x="25" y="17"/>
                        </a:cubicBezTo>
                        <a:cubicBezTo>
                          <a:pt x="26" y="14"/>
                          <a:pt x="29" y="8"/>
                          <a:pt x="29" y="8"/>
                        </a:cubicBezTo>
                        <a:cubicBezTo>
                          <a:pt x="28" y="2"/>
                          <a:pt x="29" y="5"/>
                          <a:pt x="27"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44" name="Freeform 2514">
                    <a:extLst>
                      <a:ext uri="{FF2B5EF4-FFF2-40B4-BE49-F238E27FC236}">
                        <a16:creationId xmlns:a16="http://schemas.microsoft.com/office/drawing/2014/main" id="{58FC2EB4-E0D1-5E1E-DA0F-EF064DAFB05E}"/>
                      </a:ext>
                    </a:extLst>
                  </p:cNvPr>
                  <p:cNvSpPr>
                    <a:spLocks noChangeAspect="1"/>
                  </p:cNvSpPr>
                  <p:nvPr/>
                </p:nvSpPr>
                <p:spPr bwMode="auto">
                  <a:xfrm>
                    <a:off x="2717" y="1385"/>
                    <a:ext cx="395" cy="1031"/>
                  </a:xfrm>
                  <a:custGeom>
                    <a:avLst/>
                    <a:gdLst>
                      <a:gd name="T0" fmla="*/ 240 w 395"/>
                      <a:gd name="T1" fmla="*/ 3 h 1031"/>
                      <a:gd name="T2" fmla="*/ 240 w 395"/>
                      <a:gd name="T3" fmla="*/ 33 h 1031"/>
                      <a:gd name="T4" fmla="*/ 188 w 395"/>
                      <a:gd name="T5" fmla="*/ 73 h 1031"/>
                      <a:gd name="T6" fmla="*/ 144 w 395"/>
                      <a:gd name="T7" fmla="*/ 130 h 1031"/>
                      <a:gd name="T8" fmla="*/ 135 w 395"/>
                      <a:gd name="T9" fmla="*/ 193 h 1031"/>
                      <a:gd name="T10" fmla="*/ 103 w 395"/>
                      <a:gd name="T11" fmla="*/ 302 h 1031"/>
                      <a:gd name="T12" fmla="*/ 92 w 395"/>
                      <a:gd name="T13" fmla="*/ 331 h 1031"/>
                      <a:gd name="T14" fmla="*/ 87 w 395"/>
                      <a:gd name="T15" fmla="*/ 358 h 1031"/>
                      <a:gd name="T16" fmla="*/ 74 w 395"/>
                      <a:gd name="T17" fmla="*/ 393 h 1031"/>
                      <a:gd name="T18" fmla="*/ 29 w 395"/>
                      <a:gd name="T19" fmla="*/ 457 h 1031"/>
                      <a:gd name="T20" fmla="*/ 38 w 395"/>
                      <a:gd name="T21" fmla="*/ 563 h 1031"/>
                      <a:gd name="T22" fmla="*/ 45 w 395"/>
                      <a:gd name="T23" fmla="*/ 633 h 1031"/>
                      <a:gd name="T24" fmla="*/ 40 w 395"/>
                      <a:gd name="T25" fmla="*/ 702 h 1031"/>
                      <a:gd name="T26" fmla="*/ 21 w 395"/>
                      <a:gd name="T27" fmla="*/ 773 h 1031"/>
                      <a:gd name="T28" fmla="*/ 3 w 395"/>
                      <a:gd name="T29" fmla="*/ 771 h 1031"/>
                      <a:gd name="T30" fmla="*/ 35 w 395"/>
                      <a:gd name="T31" fmla="*/ 865 h 1031"/>
                      <a:gd name="T32" fmla="*/ 69 w 395"/>
                      <a:gd name="T33" fmla="*/ 926 h 1031"/>
                      <a:gd name="T34" fmla="*/ 94 w 395"/>
                      <a:gd name="T35" fmla="*/ 1031 h 1031"/>
                      <a:gd name="T36" fmla="*/ 136 w 395"/>
                      <a:gd name="T37" fmla="*/ 993 h 1031"/>
                      <a:gd name="T38" fmla="*/ 196 w 395"/>
                      <a:gd name="T39" fmla="*/ 963 h 1031"/>
                      <a:gd name="T40" fmla="*/ 207 w 395"/>
                      <a:gd name="T41" fmla="*/ 939 h 1031"/>
                      <a:gd name="T42" fmla="*/ 220 w 395"/>
                      <a:gd name="T43" fmla="*/ 897 h 1031"/>
                      <a:gd name="T44" fmla="*/ 201 w 395"/>
                      <a:gd name="T45" fmla="*/ 790 h 1031"/>
                      <a:gd name="T46" fmla="*/ 252 w 395"/>
                      <a:gd name="T47" fmla="*/ 750 h 1031"/>
                      <a:gd name="T48" fmla="*/ 284 w 395"/>
                      <a:gd name="T49" fmla="*/ 745 h 1031"/>
                      <a:gd name="T50" fmla="*/ 298 w 395"/>
                      <a:gd name="T51" fmla="*/ 693 h 1031"/>
                      <a:gd name="T52" fmla="*/ 255 w 395"/>
                      <a:gd name="T53" fmla="*/ 645 h 1031"/>
                      <a:gd name="T54" fmla="*/ 226 w 395"/>
                      <a:gd name="T55" fmla="*/ 637 h 1031"/>
                      <a:gd name="T56" fmla="*/ 226 w 395"/>
                      <a:gd name="T57" fmla="*/ 507 h 1031"/>
                      <a:gd name="T58" fmla="*/ 305 w 395"/>
                      <a:gd name="T59" fmla="*/ 399 h 1031"/>
                      <a:gd name="T60" fmla="*/ 332 w 395"/>
                      <a:gd name="T61" fmla="*/ 365 h 1031"/>
                      <a:gd name="T62" fmla="*/ 312 w 395"/>
                      <a:gd name="T63" fmla="*/ 309 h 1031"/>
                      <a:gd name="T64" fmla="*/ 372 w 395"/>
                      <a:gd name="T65" fmla="*/ 229 h 1031"/>
                      <a:gd name="T66" fmla="*/ 384 w 395"/>
                      <a:gd name="T67" fmla="*/ 213 h 1031"/>
                      <a:gd name="T68" fmla="*/ 365 w 395"/>
                      <a:gd name="T69" fmla="*/ 133 h 1031"/>
                      <a:gd name="T70" fmla="*/ 340 w 395"/>
                      <a:gd name="T71" fmla="*/ 62 h 1031"/>
                      <a:gd name="T72" fmla="*/ 253 w 395"/>
                      <a:gd name="T73" fmla="*/ 0 h 103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5"/>
                      <a:gd name="T112" fmla="*/ 0 h 1031"/>
                      <a:gd name="T113" fmla="*/ 395 w 395"/>
                      <a:gd name="T114" fmla="*/ 1031 h 103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5" h="1031">
                        <a:moveTo>
                          <a:pt x="253" y="0"/>
                        </a:moveTo>
                        <a:cubicBezTo>
                          <a:pt x="251" y="0"/>
                          <a:pt x="240" y="2"/>
                          <a:pt x="240" y="3"/>
                        </a:cubicBezTo>
                        <a:cubicBezTo>
                          <a:pt x="239" y="7"/>
                          <a:pt x="244" y="20"/>
                          <a:pt x="244" y="25"/>
                        </a:cubicBezTo>
                        <a:cubicBezTo>
                          <a:pt x="243" y="28"/>
                          <a:pt x="240" y="33"/>
                          <a:pt x="240" y="33"/>
                        </a:cubicBezTo>
                        <a:cubicBezTo>
                          <a:pt x="239" y="38"/>
                          <a:pt x="245" y="47"/>
                          <a:pt x="236" y="54"/>
                        </a:cubicBezTo>
                        <a:cubicBezTo>
                          <a:pt x="159" y="33"/>
                          <a:pt x="202" y="64"/>
                          <a:pt x="188" y="73"/>
                        </a:cubicBezTo>
                        <a:cubicBezTo>
                          <a:pt x="172" y="83"/>
                          <a:pt x="202" y="87"/>
                          <a:pt x="179" y="88"/>
                        </a:cubicBezTo>
                        <a:cubicBezTo>
                          <a:pt x="135" y="86"/>
                          <a:pt x="146" y="119"/>
                          <a:pt x="144" y="130"/>
                        </a:cubicBezTo>
                        <a:cubicBezTo>
                          <a:pt x="148" y="137"/>
                          <a:pt x="146" y="147"/>
                          <a:pt x="148" y="155"/>
                        </a:cubicBezTo>
                        <a:cubicBezTo>
                          <a:pt x="145" y="174"/>
                          <a:pt x="145" y="177"/>
                          <a:pt x="135" y="193"/>
                        </a:cubicBezTo>
                        <a:cubicBezTo>
                          <a:pt x="128" y="208"/>
                          <a:pt x="111" y="225"/>
                          <a:pt x="106" y="243"/>
                        </a:cubicBezTo>
                        <a:cubicBezTo>
                          <a:pt x="102" y="265"/>
                          <a:pt x="102" y="276"/>
                          <a:pt x="103" y="302"/>
                        </a:cubicBezTo>
                        <a:cubicBezTo>
                          <a:pt x="101" y="308"/>
                          <a:pt x="101" y="311"/>
                          <a:pt x="96" y="315"/>
                        </a:cubicBezTo>
                        <a:cubicBezTo>
                          <a:pt x="95" y="320"/>
                          <a:pt x="94" y="326"/>
                          <a:pt x="92" y="331"/>
                        </a:cubicBezTo>
                        <a:cubicBezTo>
                          <a:pt x="91" y="334"/>
                          <a:pt x="88" y="341"/>
                          <a:pt x="88" y="341"/>
                        </a:cubicBezTo>
                        <a:cubicBezTo>
                          <a:pt x="87" y="349"/>
                          <a:pt x="83" y="350"/>
                          <a:pt x="87" y="358"/>
                        </a:cubicBezTo>
                        <a:cubicBezTo>
                          <a:pt x="90" y="371"/>
                          <a:pt x="99" y="375"/>
                          <a:pt x="93" y="397"/>
                        </a:cubicBezTo>
                        <a:cubicBezTo>
                          <a:pt x="86" y="396"/>
                          <a:pt x="81" y="395"/>
                          <a:pt x="74" y="393"/>
                        </a:cubicBezTo>
                        <a:cubicBezTo>
                          <a:pt x="54" y="388"/>
                          <a:pt x="50" y="411"/>
                          <a:pt x="40" y="421"/>
                        </a:cubicBezTo>
                        <a:cubicBezTo>
                          <a:pt x="38" y="432"/>
                          <a:pt x="34" y="447"/>
                          <a:pt x="29" y="457"/>
                        </a:cubicBezTo>
                        <a:cubicBezTo>
                          <a:pt x="38" y="472"/>
                          <a:pt x="29" y="481"/>
                          <a:pt x="34" y="493"/>
                        </a:cubicBezTo>
                        <a:cubicBezTo>
                          <a:pt x="36" y="512"/>
                          <a:pt x="42" y="526"/>
                          <a:pt x="38" y="563"/>
                        </a:cubicBezTo>
                        <a:cubicBezTo>
                          <a:pt x="35" y="590"/>
                          <a:pt x="51" y="584"/>
                          <a:pt x="64" y="596"/>
                        </a:cubicBezTo>
                        <a:cubicBezTo>
                          <a:pt x="65" y="607"/>
                          <a:pt x="46" y="623"/>
                          <a:pt x="45" y="633"/>
                        </a:cubicBezTo>
                        <a:cubicBezTo>
                          <a:pt x="44" y="645"/>
                          <a:pt x="59" y="657"/>
                          <a:pt x="58" y="669"/>
                        </a:cubicBezTo>
                        <a:cubicBezTo>
                          <a:pt x="53" y="679"/>
                          <a:pt x="48" y="693"/>
                          <a:pt x="40" y="702"/>
                        </a:cubicBezTo>
                        <a:cubicBezTo>
                          <a:pt x="32" y="709"/>
                          <a:pt x="29" y="725"/>
                          <a:pt x="28" y="737"/>
                        </a:cubicBezTo>
                        <a:cubicBezTo>
                          <a:pt x="29" y="753"/>
                          <a:pt x="27" y="758"/>
                          <a:pt x="21" y="773"/>
                        </a:cubicBezTo>
                        <a:cubicBezTo>
                          <a:pt x="18" y="778"/>
                          <a:pt x="8" y="757"/>
                          <a:pt x="5" y="757"/>
                        </a:cubicBezTo>
                        <a:cubicBezTo>
                          <a:pt x="1" y="763"/>
                          <a:pt x="0" y="764"/>
                          <a:pt x="3" y="771"/>
                        </a:cubicBezTo>
                        <a:cubicBezTo>
                          <a:pt x="5" y="784"/>
                          <a:pt x="15" y="823"/>
                          <a:pt x="20" y="838"/>
                        </a:cubicBezTo>
                        <a:cubicBezTo>
                          <a:pt x="22" y="849"/>
                          <a:pt x="32" y="855"/>
                          <a:pt x="35" y="865"/>
                        </a:cubicBezTo>
                        <a:cubicBezTo>
                          <a:pt x="39" y="877"/>
                          <a:pt x="43" y="897"/>
                          <a:pt x="50" y="907"/>
                        </a:cubicBezTo>
                        <a:cubicBezTo>
                          <a:pt x="59" y="911"/>
                          <a:pt x="63" y="918"/>
                          <a:pt x="69" y="926"/>
                        </a:cubicBezTo>
                        <a:cubicBezTo>
                          <a:pt x="72" y="940"/>
                          <a:pt x="75" y="958"/>
                          <a:pt x="64" y="969"/>
                        </a:cubicBezTo>
                        <a:cubicBezTo>
                          <a:pt x="68" y="986"/>
                          <a:pt x="81" y="1021"/>
                          <a:pt x="94" y="1031"/>
                        </a:cubicBezTo>
                        <a:cubicBezTo>
                          <a:pt x="110" y="1029"/>
                          <a:pt x="124" y="1029"/>
                          <a:pt x="140" y="1027"/>
                        </a:cubicBezTo>
                        <a:cubicBezTo>
                          <a:pt x="148" y="1016"/>
                          <a:pt x="140" y="1004"/>
                          <a:pt x="136" y="993"/>
                        </a:cubicBezTo>
                        <a:cubicBezTo>
                          <a:pt x="141" y="973"/>
                          <a:pt x="160" y="970"/>
                          <a:pt x="177" y="969"/>
                        </a:cubicBezTo>
                        <a:cubicBezTo>
                          <a:pt x="184" y="966"/>
                          <a:pt x="189" y="966"/>
                          <a:pt x="196" y="963"/>
                        </a:cubicBezTo>
                        <a:cubicBezTo>
                          <a:pt x="197" y="956"/>
                          <a:pt x="201" y="951"/>
                          <a:pt x="204" y="945"/>
                        </a:cubicBezTo>
                        <a:cubicBezTo>
                          <a:pt x="205" y="943"/>
                          <a:pt x="207" y="939"/>
                          <a:pt x="207" y="939"/>
                        </a:cubicBezTo>
                        <a:cubicBezTo>
                          <a:pt x="209" y="929"/>
                          <a:pt x="212" y="918"/>
                          <a:pt x="215" y="909"/>
                        </a:cubicBezTo>
                        <a:cubicBezTo>
                          <a:pt x="216" y="905"/>
                          <a:pt x="220" y="897"/>
                          <a:pt x="220" y="897"/>
                        </a:cubicBezTo>
                        <a:cubicBezTo>
                          <a:pt x="223" y="877"/>
                          <a:pt x="220" y="851"/>
                          <a:pt x="226" y="832"/>
                        </a:cubicBezTo>
                        <a:cubicBezTo>
                          <a:pt x="224" y="801"/>
                          <a:pt x="227" y="803"/>
                          <a:pt x="201" y="790"/>
                        </a:cubicBezTo>
                        <a:cubicBezTo>
                          <a:pt x="206" y="783"/>
                          <a:pt x="227" y="780"/>
                          <a:pt x="236" y="779"/>
                        </a:cubicBezTo>
                        <a:cubicBezTo>
                          <a:pt x="248" y="772"/>
                          <a:pt x="241" y="756"/>
                          <a:pt x="252" y="750"/>
                        </a:cubicBezTo>
                        <a:cubicBezTo>
                          <a:pt x="256" y="753"/>
                          <a:pt x="257" y="760"/>
                          <a:pt x="260" y="764"/>
                        </a:cubicBezTo>
                        <a:cubicBezTo>
                          <a:pt x="271" y="760"/>
                          <a:pt x="276" y="753"/>
                          <a:pt x="284" y="745"/>
                        </a:cubicBezTo>
                        <a:cubicBezTo>
                          <a:pt x="280" y="729"/>
                          <a:pt x="264" y="732"/>
                          <a:pt x="245" y="731"/>
                        </a:cubicBezTo>
                        <a:cubicBezTo>
                          <a:pt x="247" y="722"/>
                          <a:pt x="295" y="707"/>
                          <a:pt x="298" y="693"/>
                        </a:cubicBezTo>
                        <a:cubicBezTo>
                          <a:pt x="300" y="679"/>
                          <a:pt x="283" y="659"/>
                          <a:pt x="272" y="651"/>
                        </a:cubicBezTo>
                        <a:cubicBezTo>
                          <a:pt x="271" y="644"/>
                          <a:pt x="262" y="646"/>
                          <a:pt x="255" y="645"/>
                        </a:cubicBezTo>
                        <a:cubicBezTo>
                          <a:pt x="247" y="638"/>
                          <a:pt x="253" y="642"/>
                          <a:pt x="240" y="640"/>
                        </a:cubicBezTo>
                        <a:cubicBezTo>
                          <a:pt x="235" y="639"/>
                          <a:pt x="226" y="637"/>
                          <a:pt x="226" y="637"/>
                        </a:cubicBezTo>
                        <a:cubicBezTo>
                          <a:pt x="218" y="626"/>
                          <a:pt x="221" y="632"/>
                          <a:pt x="221" y="605"/>
                        </a:cubicBezTo>
                        <a:cubicBezTo>
                          <a:pt x="221" y="585"/>
                          <a:pt x="219" y="536"/>
                          <a:pt x="226" y="507"/>
                        </a:cubicBezTo>
                        <a:cubicBezTo>
                          <a:pt x="230" y="491"/>
                          <a:pt x="240" y="477"/>
                          <a:pt x="249" y="464"/>
                        </a:cubicBezTo>
                        <a:cubicBezTo>
                          <a:pt x="266" y="441"/>
                          <a:pt x="282" y="417"/>
                          <a:pt x="305" y="399"/>
                        </a:cubicBezTo>
                        <a:cubicBezTo>
                          <a:pt x="312" y="393"/>
                          <a:pt x="317" y="387"/>
                          <a:pt x="324" y="381"/>
                        </a:cubicBezTo>
                        <a:cubicBezTo>
                          <a:pt x="331" y="369"/>
                          <a:pt x="329" y="375"/>
                          <a:pt x="332" y="365"/>
                        </a:cubicBezTo>
                        <a:cubicBezTo>
                          <a:pt x="330" y="342"/>
                          <a:pt x="344" y="349"/>
                          <a:pt x="336" y="334"/>
                        </a:cubicBezTo>
                        <a:cubicBezTo>
                          <a:pt x="335" y="327"/>
                          <a:pt x="318" y="313"/>
                          <a:pt x="312" y="309"/>
                        </a:cubicBezTo>
                        <a:cubicBezTo>
                          <a:pt x="314" y="296"/>
                          <a:pt x="334" y="264"/>
                          <a:pt x="344" y="251"/>
                        </a:cubicBezTo>
                        <a:cubicBezTo>
                          <a:pt x="350" y="241"/>
                          <a:pt x="360" y="231"/>
                          <a:pt x="372" y="229"/>
                        </a:cubicBezTo>
                        <a:cubicBezTo>
                          <a:pt x="380" y="225"/>
                          <a:pt x="386" y="229"/>
                          <a:pt x="395" y="227"/>
                        </a:cubicBezTo>
                        <a:cubicBezTo>
                          <a:pt x="388" y="225"/>
                          <a:pt x="387" y="220"/>
                          <a:pt x="384" y="213"/>
                        </a:cubicBezTo>
                        <a:cubicBezTo>
                          <a:pt x="383" y="206"/>
                          <a:pt x="377" y="199"/>
                          <a:pt x="373" y="193"/>
                        </a:cubicBezTo>
                        <a:cubicBezTo>
                          <a:pt x="370" y="173"/>
                          <a:pt x="378" y="150"/>
                          <a:pt x="365" y="133"/>
                        </a:cubicBezTo>
                        <a:cubicBezTo>
                          <a:pt x="362" y="120"/>
                          <a:pt x="351" y="107"/>
                          <a:pt x="346" y="94"/>
                        </a:cubicBezTo>
                        <a:cubicBezTo>
                          <a:pt x="345" y="80"/>
                          <a:pt x="352" y="69"/>
                          <a:pt x="340" y="62"/>
                        </a:cubicBezTo>
                        <a:cubicBezTo>
                          <a:pt x="327" y="46"/>
                          <a:pt x="304" y="36"/>
                          <a:pt x="287" y="24"/>
                        </a:cubicBezTo>
                        <a:cubicBezTo>
                          <a:pt x="276" y="16"/>
                          <a:pt x="267" y="5"/>
                          <a:pt x="253"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grpSp>
              <p:nvGrpSpPr>
                <p:cNvPr id="89" name="Group 80">
                  <a:extLst>
                    <a:ext uri="{FF2B5EF4-FFF2-40B4-BE49-F238E27FC236}">
                      <a16:creationId xmlns:a16="http://schemas.microsoft.com/office/drawing/2014/main" id="{E1E711DF-D136-94FE-71A6-C0E92C16AE45}"/>
                    </a:ext>
                  </a:extLst>
                </p:cNvPr>
                <p:cNvGrpSpPr>
                  <a:grpSpLocks/>
                </p:cNvGrpSpPr>
                <p:nvPr/>
              </p:nvGrpSpPr>
              <p:grpSpPr bwMode="auto">
                <a:xfrm>
                  <a:off x="3959225" y="1895475"/>
                  <a:ext cx="1157287" cy="1636716"/>
                  <a:chOff x="1955" y="-432"/>
                  <a:chExt cx="2919" cy="4123"/>
                </a:xfrm>
                <a:grpFill/>
              </p:grpSpPr>
              <p:sp>
                <p:nvSpPr>
                  <p:cNvPr id="140" name="Freeform 2516">
                    <a:extLst>
                      <a:ext uri="{FF2B5EF4-FFF2-40B4-BE49-F238E27FC236}">
                        <a16:creationId xmlns:a16="http://schemas.microsoft.com/office/drawing/2014/main" id="{7B0F34BB-120B-710B-0673-E56D1EAE562F}"/>
                      </a:ext>
                    </a:extLst>
                  </p:cNvPr>
                  <p:cNvSpPr>
                    <a:spLocks noChangeAspect="1"/>
                  </p:cNvSpPr>
                  <p:nvPr/>
                </p:nvSpPr>
                <p:spPr bwMode="auto">
                  <a:xfrm>
                    <a:off x="3019" y="312"/>
                    <a:ext cx="392" cy="468"/>
                  </a:xfrm>
                  <a:custGeom>
                    <a:avLst/>
                    <a:gdLst>
                      <a:gd name="T0" fmla="*/ 14 w 98"/>
                      <a:gd name="T1" fmla="*/ 94 h 117"/>
                      <a:gd name="T2" fmla="*/ 30 w 98"/>
                      <a:gd name="T3" fmla="*/ 74 h 117"/>
                      <a:gd name="T4" fmla="*/ 39 w 98"/>
                      <a:gd name="T5" fmla="*/ 74 h 117"/>
                      <a:gd name="T6" fmla="*/ 52 w 98"/>
                      <a:gd name="T7" fmla="*/ 70 h 117"/>
                      <a:gd name="T8" fmla="*/ 56 w 98"/>
                      <a:gd name="T9" fmla="*/ 60 h 117"/>
                      <a:gd name="T10" fmla="*/ 40 w 98"/>
                      <a:gd name="T11" fmla="*/ 54 h 117"/>
                      <a:gd name="T12" fmla="*/ 60 w 98"/>
                      <a:gd name="T13" fmla="*/ 33 h 117"/>
                      <a:gd name="T14" fmla="*/ 74 w 98"/>
                      <a:gd name="T15" fmla="*/ 33 h 117"/>
                      <a:gd name="T16" fmla="*/ 79 w 98"/>
                      <a:gd name="T17" fmla="*/ 0 h 117"/>
                      <a:gd name="T18" fmla="*/ 86 w 98"/>
                      <a:gd name="T19" fmla="*/ 7 h 117"/>
                      <a:gd name="T20" fmla="*/ 79 w 98"/>
                      <a:gd name="T21" fmla="*/ 21 h 117"/>
                      <a:gd name="T22" fmla="*/ 80 w 98"/>
                      <a:gd name="T23" fmla="*/ 31 h 117"/>
                      <a:gd name="T24" fmla="*/ 84 w 98"/>
                      <a:gd name="T25" fmla="*/ 37 h 117"/>
                      <a:gd name="T26" fmla="*/ 97 w 98"/>
                      <a:gd name="T27" fmla="*/ 30 h 117"/>
                      <a:gd name="T28" fmla="*/ 85 w 98"/>
                      <a:gd name="T29" fmla="*/ 51 h 117"/>
                      <a:gd name="T30" fmla="*/ 79 w 98"/>
                      <a:gd name="T31" fmla="*/ 63 h 117"/>
                      <a:gd name="T32" fmla="*/ 56 w 98"/>
                      <a:gd name="T33" fmla="*/ 82 h 117"/>
                      <a:gd name="T34" fmla="*/ 37 w 98"/>
                      <a:gd name="T35" fmla="*/ 85 h 117"/>
                      <a:gd name="T36" fmla="*/ 31 w 98"/>
                      <a:gd name="T37" fmla="*/ 94 h 117"/>
                      <a:gd name="T38" fmla="*/ 16 w 98"/>
                      <a:gd name="T39" fmla="*/ 105 h 117"/>
                      <a:gd name="T40" fmla="*/ 6 w 98"/>
                      <a:gd name="T41" fmla="*/ 114 h 117"/>
                      <a:gd name="T42" fmla="*/ 0 w 98"/>
                      <a:gd name="T43" fmla="*/ 117 h 117"/>
                      <a:gd name="T44" fmla="*/ 14 w 98"/>
                      <a:gd name="T45" fmla="*/ 94 h 11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8"/>
                      <a:gd name="T70" fmla="*/ 0 h 117"/>
                      <a:gd name="T71" fmla="*/ 98 w 98"/>
                      <a:gd name="T72" fmla="*/ 117 h 11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8" h="117">
                        <a:moveTo>
                          <a:pt x="14" y="94"/>
                        </a:moveTo>
                        <a:cubicBezTo>
                          <a:pt x="22" y="88"/>
                          <a:pt x="22" y="81"/>
                          <a:pt x="30" y="74"/>
                        </a:cubicBezTo>
                        <a:cubicBezTo>
                          <a:pt x="32" y="68"/>
                          <a:pt x="33" y="76"/>
                          <a:pt x="39" y="74"/>
                        </a:cubicBezTo>
                        <a:cubicBezTo>
                          <a:pt x="45" y="75"/>
                          <a:pt x="46" y="68"/>
                          <a:pt x="52" y="70"/>
                        </a:cubicBezTo>
                        <a:cubicBezTo>
                          <a:pt x="59" y="69"/>
                          <a:pt x="64" y="66"/>
                          <a:pt x="56" y="60"/>
                        </a:cubicBezTo>
                        <a:cubicBezTo>
                          <a:pt x="51" y="57"/>
                          <a:pt x="40" y="54"/>
                          <a:pt x="40" y="54"/>
                        </a:cubicBezTo>
                        <a:cubicBezTo>
                          <a:pt x="37" y="44"/>
                          <a:pt x="54" y="34"/>
                          <a:pt x="60" y="33"/>
                        </a:cubicBezTo>
                        <a:cubicBezTo>
                          <a:pt x="63" y="29"/>
                          <a:pt x="72" y="38"/>
                          <a:pt x="74" y="33"/>
                        </a:cubicBezTo>
                        <a:cubicBezTo>
                          <a:pt x="73" y="24"/>
                          <a:pt x="67" y="3"/>
                          <a:pt x="79" y="0"/>
                        </a:cubicBezTo>
                        <a:cubicBezTo>
                          <a:pt x="84" y="2"/>
                          <a:pt x="85" y="2"/>
                          <a:pt x="86" y="7"/>
                        </a:cubicBezTo>
                        <a:cubicBezTo>
                          <a:pt x="85" y="15"/>
                          <a:pt x="83" y="15"/>
                          <a:pt x="79" y="21"/>
                        </a:cubicBezTo>
                        <a:cubicBezTo>
                          <a:pt x="78" y="25"/>
                          <a:pt x="77" y="26"/>
                          <a:pt x="80" y="31"/>
                        </a:cubicBezTo>
                        <a:cubicBezTo>
                          <a:pt x="81" y="33"/>
                          <a:pt x="84" y="37"/>
                          <a:pt x="84" y="37"/>
                        </a:cubicBezTo>
                        <a:cubicBezTo>
                          <a:pt x="88" y="35"/>
                          <a:pt x="92" y="32"/>
                          <a:pt x="97" y="30"/>
                        </a:cubicBezTo>
                        <a:cubicBezTo>
                          <a:pt x="98" y="32"/>
                          <a:pt x="88" y="46"/>
                          <a:pt x="85" y="51"/>
                        </a:cubicBezTo>
                        <a:cubicBezTo>
                          <a:pt x="82" y="56"/>
                          <a:pt x="84" y="58"/>
                          <a:pt x="79" y="63"/>
                        </a:cubicBezTo>
                        <a:cubicBezTo>
                          <a:pt x="72" y="79"/>
                          <a:pt x="78" y="81"/>
                          <a:pt x="56" y="82"/>
                        </a:cubicBezTo>
                        <a:cubicBezTo>
                          <a:pt x="50" y="84"/>
                          <a:pt x="43" y="83"/>
                          <a:pt x="37" y="85"/>
                        </a:cubicBezTo>
                        <a:cubicBezTo>
                          <a:pt x="36" y="85"/>
                          <a:pt x="32" y="93"/>
                          <a:pt x="31" y="94"/>
                        </a:cubicBezTo>
                        <a:cubicBezTo>
                          <a:pt x="26" y="100"/>
                          <a:pt x="22" y="101"/>
                          <a:pt x="16" y="105"/>
                        </a:cubicBezTo>
                        <a:cubicBezTo>
                          <a:pt x="12" y="111"/>
                          <a:pt x="15" y="107"/>
                          <a:pt x="6" y="114"/>
                        </a:cubicBezTo>
                        <a:cubicBezTo>
                          <a:pt x="4" y="115"/>
                          <a:pt x="0" y="117"/>
                          <a:pt x="0" y="117"/>
                        </a:cubicBezTo>
                        <a:lnTo>
                          <a:pt x="14" y="94"/>
                        </a:ln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41" name="Freeform 2517">
                    <a:extLst>
                      <a:ext uri="{FF2B5EF4-FFF2-40B4-BE49-F238E27FC236}">
                        <a16:creationId xmlns:a16="http://schemas.microsoft.com/office/drawing/2014/main" id="{6E7ABA73-9E2D-D7FE-3C59-C790754E33D2}"/>
                      </a:ext>
                    </a:extLst>
                  </p:cNvPr>
                  <p:cNvSpPr>
                    <a:spLocks noChangeAspect="1"/>
                  </p:cNvSpPr>
                  <p:nvPr/>
                </p:nvSpPr>
                <p:spPr bwMode="auto">
                  <a:xfrm>
                    <a:off x="1955" y="-432"/>
                    <a:ext cx="2919" cy="4123"/>
                  </a:xfrm>
                  <a:custGeom>
                    <a:avLst/>
                    <a:gdLst>
                      <a:gd name="T0" fmla="*/ 1000 w 2919"/>
                      <a:gd name="T1" fmla="*/ 3731 h 4123"/>
                      <a:gd name="T2" fmla="*/ 1064 w 2919"/>
                      <a:gd name="T3" fmla="*/ 3291 h 4123"/>
                      <a:gd name="T4" fmla="*/ 1044 w 2919"/>
                      <a:gd name="T5" fmla="*/ 2867 h 4123"/>
                      <a:gd name="T6" fmla="*/ 1050 w 2919"/>
                      <a:gd name="T7" fmla="*/ 2452 h 4123"/>
                      <a:gd name="T8" fmla="*/ 1258 w 2919"/>
                      <a:gd name="T9" fmla="*/ 2352 h 4123"/>
                      <a:gd name="T10" fmla="*/ 1261 w 2919"/>
                      <a:gd name="T11" fmla="*/ 2075 h 4123"/>
                      <a:gd name="T12" fmla="*/ 1309 w 2919"/>
                      <a:gd name="T13" fmla="*/ 1734 h 4123"/>
                      <a:gd name="T14" fmla="*/ 1463 w 2919"/>
                      <a:gd name="T15" fmla="*/ 1288 h 4123"/>
                      <a:gd name="T16" fmla="*/ 1834 w 2919"/>
                      <a:gd name="T17" fmla="*/ 980 h 4123"/>
                      <a:gd name="T18" fmla="*/ 1967 w 2919"/>
                      <a:gd name="T19" fmla="*/ 684 h 4123"/>
                      <a:gd name="T20" fmla="*/ 2443 w 2919"/>
                      <a:gd name="T21" fmla="*/ 676 h 4123"/>
                      <a:gd name="T22" fmla="*/ 2514 w 2919"/>
                      <a:gd name="T23" fmla="*/ 381 h 4123"/>
                      <a:gd name="T24" fmla="*/ 2761 w 2919"/>
                      <a:gd name="T25" fmla="*/ 406 h 4123"/>
                      <a:gd name="T26" fmla="*/ 2857 w 2919"/>
                      <a:gd name="T27" fmla="*/ 444 h 4123"/>
                      <a:gd name="T28" fmla="*/ 2695 w 2919"/>
                      <a:gd name="T29" fmla="*/ 268 h 4123"/>
                      <a:gd name="T30" fmla="*/ 2647 w 2919"/>
                      <a:gd name="T31" fmla="*/ 40 h 4123"/>
                      <a:gd name="T32" fmla="*/ 2435 w 2919"/>
                      <a:gd name="T33" fmla="*/ 244 h 4123"/>
                      <a:gd name="T34" fmla="*/ 2319 w 2919"/>
                      <a:gd name="T35" fmla="*/ 340 h 4123"/>
                      <a:gd name="T36" fmla="*/ 2183 w 2919"/>
                      <a:gd name="T37" fmla="*/ 168 h 4123"/>
                      <a:gd name="T38" fmla="*/ 2007 w 2919"/>
                      <a:gd name="T39" fmla="*/ 360 h 4123"/>
                      <a:gd name="T40" fmla="*/ 1823 w 2919"/>
                      <a:gd name="T41" fmla="*/ 632 h 4123"/>
                      <a:gd name="T42" fmla="*/ 1695 w 2919"/>
                      <a:gd name="T43" fmla="*/ 520 h 4123"/>
                      <a:gd name="T44" fmla="*/ 1675 w 2919"/>
                      <a:gd name="T45" fmla="*/ 648 h 4123"/>
                      <a:gd name="T46" fmla="*/ 1523 w 2919"/>
                      <a:gd name="T47" fmla="*/ 820 h 4123"/>
                      <a:gd name="T48" fmla="*/ 1559 w 2919"/>
                      <a:gd name="T49" fmla="*/ 996 h 4123"/>
                      <a:gd name="T50" fmla="*/ 1324 w 2919"/>
                      <a:gd name="T51" fmla="*/ 1244 h 4123"/>
                      <a:gd name="T52" fmla="*/ 1368 w 2919"/>
                      <a:gd name="T53" fmla="*/ 1380 h 4123"/>
                      <a:gd name="T54" fmla="*/ 1220 w 2919"/>
                      <a:gd name="T55" fmla="*/ 1444 h 4123"/>
                      <a:gd name="T56" fmla="*/ 1116 w 2919"/>
                      <a:gd name="T57" fmla="*/ 1656 h 4123"/>
                      <a:gd name="T58" fmla="*/ 1092 w 2919"/>
                      <a:gd name="T59" fmla="*/ 1784 h 4123"/>
                      <a:gd name="T60" fmla="*/ 1044 w 2919"/>
                      <a:gd name="T61" fmla="*/ 1968 h 4123"/>
                      <a:gd name="T62" fmla="*/ 976 w 2919"/>
                      <a:gd name="T63" fmla="*/ 2087 h 4123"/>
                      <a:gd name="T64" fmla="*/ 720 w 2919"/>
                      <a:gd name="T65" fmla="*/ 2375 h 4123"/>
                      <a:gd name="T66" fmla="*/ 828 w 2919"/>
                      <a:gd name="T67" fmla="*/ 2539 h 4123"/>
                      <a:gd name="T68" fmla="*/ 608 w 2919"/>
                      <a:gd name="T69" fmla="*/ 2539 h 4123"/>
                      <a:gd name="T70" fmla="*/ 496 w 2919"/>
                      <a:gd name="T71" fmla="*/ 2671 h 4123"/>
                      <a:gd name="T72" fmla="*/ 332 w 2919"/>
                      <a:gd name="T73" fmla="*/ 2791 h 4123"/>
                      <a:gd name="T74" fmla="*/ 188 w 2919"/>
                      <a:gd name="T75" fmla="*/ 2855 h 4123"/>
                      <a:gd name="T76" fmla="*/ 296 w 2919"/>
                      <a:gd name="T77" fmla="*/ 3011 h 4123"/>
                      <a:gd name="T78" fmla="*/ 216 w 2919"/>
                      <a:gd name="T79" fmla="*/ 3163 h 4123"/>
                      <a:gd name="T80" fmla="*/ 8 w 2919"/>
                      <a:gd name="T81" fmla="*/ 3295 h 4123"/>
                      <a:gd name="T82" fmla="*/ 268 w 2919"/>
                      <a:gd name="T83" fmla="*/ 3411 h 4123"/>
                      <a:gd name="T84" fmla="*/ 160 w 2919"/>
                      <a:gd name="T85" fmla="*/ 3471 h 4123"/>
                      <a:gd name="T86" fmla="*/ 112 w 2919"/>
                      <a:gd name="T87" fmla="*/ 3607 h 4123"/>
                      <a:gd name="T88" fmla="*/ 116 w 2919"/>
                      <a:gd name="T89" fmla="*/ 3679 h 4123"/>
                      <a:gd name="T90" fmla="*/ 140 w 2919"/>
                      <a:gd name="T91" fmla="*/ 3795 h 4123"/>
                      <a:gd name="T92" fmla="*/ 312 w 2919"/>
                      <a:gd name="T93" fmla="*/ 4103 h 4123"/>
                      <a:gd name="T94" fmla="*/ 660 w 2919"/>
                      <a:gd name="T95" fmla="*/ 3863 h 4123"/>
                      <a:gd name="T96" fmla="*/ 896 w 2919"/>
                      <a:gd name="T97" fmla="*/ 3739 h 412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919"/>
                      <a:gd name="T148" fmla="*/ 0 h 4123"/>
                      <a:gd name="T149" fmla="*/ 2919 w 2919"/>
                      <a:gd name="T150" fmla="*/ 4123 h 412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919" h="4123">
                        <a:moveTo>
                          <a:pt x="908" y="3795"/>
                        </a:moveTo>
                        <a:cubicBezTo>
                          <a:pt x="936" y="3799"/>
                          <a:pt x="940" y="3846"/>
                          <a:pt x="969" y="3860"/>
                        </a:cubicBezTo>
                        <a:cubicBezTo>
                          <a:pt x="984" y="3828"/>
                          <a:pt x="1000" y="3779"/>
                          <a:pt x="1000" y="3731"/>
                        </a:cubicBezTo>
                        <a:cubicBezTo>
                          <a:pt x="1004" y="3695"/>
                          <a:pt x="1012" y="3591"/>
                          <a:pt x="1044" y="3575"/>
                        </a:cubicBezTo>
                        <a:cubicBezTo>
                          <a:pt x="1080" y="3527"/>
                          <a:pt x="1088" y="3503"/>
                          <a:pt x="1116" y="3447"/>
                        </a:cubicBezTo>
                        <a:cubicBezTo>
                          <a:pt x="1131" y="3395"/>
                          <a:pt x="1060" y="3339"/>
                          <a:pt x="1064" y="3291"/>
                        </a:cubicBezTo>
                        <a:cubicBezTo>
                          <a:pt x="1072" y="3259"/>
                          <a:pt x="1148" y="3192"/>
                          <a:pt x="1144" y="3152"/>
                        </a:cubicBezTo>
                        <a:cubicBezTo>
                          <a:pt x="1136" y="3128"/>
                          <a:pt x="1057" y="3114"/>
                          <a:pt x="1041" y="3066"/>
                        </a:cubicBezTo>
                        <a:cubicBezTo>
                          <a:pt x="1037" y="3010"/>
                          <a:pt x="1050" y="2922"/>
                          <a:pt x="1044" y="2867"/>
                        </a:cubicBezTo>
                        <a:cubicBezTo>
                          <a:pt x="1038" y="2795"/>
                          <a:pt x="1009" y="2712"/>
                          <a:pt x="1021" y="2658"/>
                        </a:cubicBezTo>
                        <a:cubicBezTo>
                          <a:pt x="1021" y="2606"/>
                          <a:pt x="1001" y="2620"/>
                          <a:pt x="1006" y="2586"/>
                        </a:cubicBezTo>
                        <a:cubicBezTo>
                          <a:pt x="1023" y="2550"/>
                          <a:pt x="1040" y="2479"/>
                          <a:pt x="1050" y="2452"/>
                        </a:cubicBezTo>
                        <a:cubicBezTo>
                          <a:pt x="1060" y="2425"/>
                          <a:pt x="1053" y="2442"/>
                          <a:pt x="1068" y="2423"/>
                        </a:cubicBezTo>
                        <a:cubicBezTo>
                          <a:pt x="1097" y="2381"/>
                          <a:pt x="1098" y="2363"/>
                          <a:pt x="1140" y="2336"/>
                        </a:cubicBezTo>
                        <a:cubicBezTo>
                          <a:pt x="1172" y="2324"/>
                          <a:pt x="1219" y="2351"/>
                          <a:pt x="1258" y="2352"/>
                        </a:cubicBezTo>
                        <a:cubicBezTo>
                          <a:pt x="1282" y="2291"/>
                          <a:pt x="1251" y="2230"/>
                          <a:pt x="1227" y="2178"/>
                        </a:cubicBezTo>
                        <a:cubicBezTo>
                          <a:pt x="1237" y="2136"/>
                          <a:pt x="1229" y="2151"/>
                          <a:pt x="1242" y="2118"/>
                        </a:cubicBezTo>
                        <a:cubicBezTo>
                          <a:pt x="1248" y="2101"/>
                          <a:pt x="1256" y="2090"/>
                          <a:pt x="1261" y="2075"/>
                        </a:cubicBezTo>
                        <a:cubicBezTo>
                          <a:pt x="1266" y="2060"/>
                          <a:pt x="1264" y="2041"/>
                          <a:pt x="1270" y="2025"/>
                        </a:cubicBezTo>
                        <a:cubicBezTo>
                          <a:pt x="1276" y="2009"/>
                          <a:pt x="1291" y="2027"/>
                          <a:pt x="1297" y="1979"/>
                        </a:cubicBezTo>
                        <a:cubicBezTo>
                          <a:pt x="1301" y="1899"/>
                          <a:pt x="1291" y="1804"/>
                          <a:pt x="1309" y="1734"/>
                        </a:cubicBezTo>
                        <a:cubicBezTo>
                          <a:pt x="1339" y="1683"/>
                          <a:pt x="1347" y="1664"/>
                          <a:pt x="1432" y="1528"/>
                        </a:cubicBezTo>
                        <a:cubicBezTo>
                          <a:pt x="1449" y="1493"/>
                          <a:pt x="1462" y="1497"/>
                          <a:pt x="1479" y="1391"/>
                        </a:cubicBezTo>
                        <a:cubicBezTo>
                          <a:pt x="1479" y="1340"/>
                          <a:pt x="1474" y="1332"/>
                          <a:pt x="1463" y="1288"/>
                        </a:cubicBezTo>
                        <a:cubicBezTo>
                          <a:pt x="1471" y="1170"/>
                          <a:pt x="1432" y="1122"/>
                          <a:pt x="1644" y="1113"/>
                        </a:cubicBezTo>
                        <a:cubicBezTo>
                          <a:pt x="1599" y="1074"/>
                          <a:pt x="1638" y="1067"/>
                          <a:pt x="1650" y="1047"/>
                        </a:cubicBezTo>
                        <a:cubicBezTo>
                          <a:pt x="1662" y="992"/>
                          <a:pt x="1560" y="908"/>
                          <a:pt x="1834" y="980"/>
                        </a:cubicBezTo>
                        <a:cubicBezTo>
                          <a:pt x="1866" y="972"/>
                          <a:pt x="1834" y="899"/>
                          <a:pt x="1863" y="868"/>
                        </a:cubicBezTo>
                        <a:cubicBezTo>
                          <a:pt x="1871" y="836"/>
                          <a:pt x="1845" y="806"/>
                          <a:pt x="1849" y="773"/>
                        </a:cubicBezTo>
                        <a:cubicBezTo>
                          <a:pt x="1920" y="785"/>
                          <a:pt x="1896" y="693"/>
                          <a:pt x="1967" y="684"/>
                        </a:cubicBezTo>
                        <a:cubicBezTo>
                          <a:pt x="2039" y="708"/>
                          <a:pt x="2055" y="728"/>
                          <a:pt x="2085" y="804"/>
                        </a:cubicBezTo>
                        <a:cubicBezTo>
                          <a:pt x="2166" y="816"/>
                          <a:pt x="2326" y="813"/>
                          <a:pt x="2416" y="740"/>
                        </a:cubicBezTo>
                        <a:cubicBezTo>
                          <a:pt x="2431" y="709"/>
                          <a:pt x="2423" y="720"/>
                          <a:pt x="2443" y="676"/>
                        </a:cubicBezTo>
                        <a:cubicBezTo>
                          <a:pt x="2440" y="551"/>
                          <a:pt x="2419" y="548"/>
                          <a:pt x="2419" y="504"/>
                        </a:cubicBezTo>
                        <a:cubicBezTo>
                          <a:pt x="2419" y="460"/>
                          <a:pt x="2426" y="432"/>
                          <a:pt x="2442" y="412"/>
                        </a:cubicBezTo>
                        <a:cubicBezTo>
                          <a:pt x="2458" y="392"/>
                          <a:pt x="2460" y="387"/>
                          <a:pt x="2514" y="381"/>
                        </a:cubicBezTo>
                        <a:cubicBezTo>
                          <a:pt x="2542" y="324"/>
                          <a:pt x="2521" y="323"/>
                          <a:pt x="2578" y="310"/>
                        </a:cubicBezTo>
                        <a:cubicBezTo>
                          <a:pt x="2622" y="334"/>
                          <a:pt x="2673" y="357"/>
                          <a:pt x="2700" y="385"/>
                        </a:cubicBezTo>
                        <a:cubicBezTo>
                          <a:pt x="2724" y="388"/>
                          <a:pt x="2745" y="394"/>
                          <a:pt x="2761" y="406"/>
                        </a:cubicBezTo>
                        <a:cubicBezTo>
                          <a:pt x="2772" y="422"/>
                          <a:pt x="2775" y="456"/>
                          <a:pt x="2778" y="482"/>
                        </a:cubicBezTo>
                        <a:cubicBezTo>
                          <a:pt x="2772" y="510"/>
                          <a:pt x="2760" y="525"/>
                          <a:pt x="2766" y="575"/>
                        </a:cubicBezTo>
                        <a:cubicBezTo>
                          <a:pt x="2791" y="551"/>
                          <a:pt x="2833" y="468"/>
                          <a:pt x="2857" y="444"/>
                        </a:cubicBezTo>
                        <a:cubicBezTo>
                          <a:pt x="2865" y="408"/>
                          <a:pt x="2907" y="376"/>
                          <a:pt x="2915" y="340"/>
                        </a:cubicBezTo>
                        <a:cubicBezTo>
                          <a:pt x="2907" y="280"/>
                          <a:pt x="2859" y="296"/>
                          <a:pt x="2799" y="292"/>
                        </a:cubicBezTo>
                        <a:cubicBezTo>
                          <a:pt x="2763" y="280"/>
                          <a:pt x="2683" y="292"/>
                          <a:pt x="2695" y="268"/>
                        </a:cubicBezTo>
                        <a:cubicBezTo>
                          <a:pt x="2755" y="224"/>
                          <a:pt x="2823" y="240"/>
                          <a:pt x="2879" y="184"/>
                        </a:cubicBezTo>
                        <a:cubicBezTo>
                          <a:pt x="2919" y="144"/>
                          <a:pt x="2823" y="80"/>
                          <a:pt x="2803" y="80"/>
                        </a:cubicBezTo>
                        <a:cubicBezTo>
                          <a:pt x="2663" y="48"/>
                          <a:pt x="2751" y="40"/>
                          <a:pt x="2647" y="40"/>
                        </a:cubicBezTo>
                        <a:cubicBezTo>
                          <a:pt x="2643" y="52"/>
                          <a:pt x="2563" y="160"/>
                          <a:pt x="2563" y="160"/>
                        </a:cubicBezTo>
                        <a:cubicBezTo>
                          <a:pt x="2555" y="168"/>
                          <a:pt x="2527" y="0"/>
                          <a:pt x="2511" y="4"/>
                        </a:cubicBezTo>
                        <a:cubicBezTo>
                          <a:pt x="2491" y="20"/>
                          <a:pt x="2447" y="224"/>
                          <a:pt x="2435" y="244"/>
                        </a:cubicBezTo>
                        <a:cubicBezTo>
                          <a:pt x="2423" y="308"/>
                          <a:pt x="2427" y="136"/>
                          <a:pt x="2407" y="112"/>
                        </a:cubicBezTo>
                        <a:cubicBezTo>
                          <a:pt x="2399" y="148"/>
                          <a:pt x="2375" y="256"/>
                          <a:pt x="2359" y="292"/>
                        </a:cubicBezTo>
                        <a:cubicBezTo>
                          <a:pt x="2343" y="320"/>
                          <a:pt x="2335" y="320"/>
                          <a:pt x="2319" y="340"/>
                        </a:cubicBezTo>
                        <a:cubicBezTo>
                          <a:pt x="2307" y="352"/>
                          <a:pt x="2287" y="380"/>
                          <a:pt x="2287" y="380"/>
                        </a:cubicBezTo>
                        <a:cubicBezTo>
                          <a:pt x="2287" y="296"/>
                          <a:pt x="2323" y="132"/>
                          <a:pt x="2319" y="48"/>
                        </a:cubicBezTo>
                        <a:cubicBezTo>
                          <a:pt x="2319" y="40"/>
                          <a:pt x="2199" y="164"/>
                          <a:pt x="2183" y="168"/>
                        </a:cubicBezTo>
                        <a:cubicBezTo>
                          <a:pt x="2159" y="192"/>
                          <a:pt x="2131" y="200"/>
                          <a:pt x="2099" y="212"/>
                        </a:cubicBezTo>
                        <a:cubicBezTo>
                          <a:pt x="2071" y="248"/>
                          <a:pt x="2059" y="276"/>
                          <a:pt x="2039" y="312"/>
                        </a:cubicBezTo>
                        <a:cubicBezTo>
                          <a:pt x="2031" y="328"/>
                          <a:pt x="2007" y="360"/>
                          <a:pt x="2007" y="360"/>
                        </a:cubicBezTo>
                        <a:cubicBezTo>
                          <a:pt x="1999" y="408"/>
                          <a:pt x="2011" y="484"/>
                          <a:pt x="1951" y="492"/>
                        </a:cubicBezTo>
                        <a:cubicBezTo>
                          <a:pt x="1923" y="480"/>
                          <a:pt x="1907" y="484"/>
                          <a:pt x="1883" y="500"/>
                        </a:cubicBezTo>
                        <a:cubicBezTo>
                          <a:pt x="1859" y="544"/>
                          <a:pt x="1875" y="604"/>
                          <a:pt x="1823" y="632"/>
                        </a:cubicBezTo>
                        <a:cubicBezTo>
                          <a:pt x="1807" y="604"/>
                          <a:pt x="1835" y="564"/>
                          <a:pt x="1815" y="540"/>
                        </a:cubicBezTo>
                        <a:cubicBezTo>
                          <a:pt x="1811" y="512"/>
                          <a:pt x="1787" y="452"/>
                          <a:pt x="1763" y="440"/>
                        </a:cubicBezTo>
                        <a:cubicBezTo>
                          <a:pt x="1723" y="448"/>
                          <a:pt x="1703" y="480"/>
                          <a:pt x="1695" y="520"/>
                        </a:cubicBezTo>
                        <a:cubicBezTo>
                          <a:pt x="1695" y="568"/>
                          <a:pt x="1691" y="648"/>
                          <a:pt x="1723" y="692"/>
                        </a:cubicBezTo>
                        <a:cubicBezTo>
                          <a:pt x="1715" y="708"/>
                          <a:pt x="1715" y="716"/>
                          <a:pt x="1699" y="700"/>
                        </a:cubicBezTo>
                        <a:cubicBezTo>
                          <a:pt x="1687" y="688"/>
                          <a:pt x="1683" y="664"/>
                          <a:pt x="1675" y="648"/>
                        </a:cubicBezTo>
                        <a:cubicBezTo>
                          <a:pt x="1663" y="628"/>
                          <a:pt x="1647" y="572"/>
                          <a:pt x="1627" y="560"/>
                        </a:cubicBezTo>
                        <a:cubicBezTo>
                          <a:pt x="1607" y="588"/>
                          <a:pt x="1595" y="648"/>
                          <a:pt x="1579" y="676"/>
                        </a:cubicBezTo>
                        <a:cubicBezTo>
                          <a:pt x="1571" y="724"/>
                          <a:pt x="1559" y="784"/>
                          <a:pt x="1523" y="820"/>
                        </a:cubicBezTo>
                        <a:cubicBezTo>
                          <a:pt x="1515" y="844"/>
                          <a:pt x="1475" y="900"/>
                          <a:pt x="1475" y="900"/>
                        </a:cubicBezTo>
                        <a:cubicBezTo>
                          <a:pt x="1467" y="972"/>
                          <a:pt x="1444" y="972"/>
                          <a:pt x="1535" y="976"/>
                        </a:cubicBezTo>
                        <a:cubicBezTo>
                          <a:pt x="1555" y="980"/>
                          <a:pt x="1579" y="960"/>
                          <a:pt x="1559" y="996"/>
                        </a:cubicBezTo>
                        <a:cubicBezTo>
                          <a:pt x="1543" y="1024"/>
                          <a:pt x="1471" y="1024"/>
                          <a:pt x="1471" y="1024"/>
                        </a:cubicBezTo>
                        <a:cubicBezTo>
                          <a:pt x="1444" y="1040"/>
                          <a:pt x="1444" y="1092"/>
                          <a:pt x="1420" y="1112"/>
                        </a:cubicBezTo>
                        <a:cubicBezTo>
                          <a:pt x="1396" y="1160"/>
                          <a:pt x="1348" y="1196"/>
                          <a:pt x="1324" y="1244"/>
                        </a:cubicBezTo>
                        <a:cubicBezTo>
                          <a:pt x="1336" y="1276"/>
                          <a:pt x="1352" y="1288"/>
                          <a:pt x="1372" y="1312"/>
                        </a:cubicBezTo>
                        <a:cubicBezTo>
                          <a:pt x="1328" y="1332"/>
                          <a:pt x="1296" y="1336"/>
                          <a:pt x="1248" y="1344"/>
                        </a:cubicBezTo>
                        <a:cubicBezTo>
                          <a:pt x="1220" y="1396"/>
                          <a:pt x="1332" y="1376"/>
                          <a:pt x="1368" y="1380"/>
                        </a:cubicBezTo>
                        <a:cubicBezTo>
                          <a:pt x="1376" y="1380"/>
                          <a:pt x="1392" y="1416"/>
                          <a:pt x="1384" y="1416"/>
                        </a:cubicBezTo>
                        <a:cubicBezTo>
                          <a:pt x="1372" y="1416"/>
                          <a:pt x="1344" y="1416"/>
                          <a:pt x="1332" y="1416"/>
                        </a:cubicBezTo>
                        <a:cubicBezTo>
                          <a:pt x="1288" y="1424"/>
                          <a:pt x="1264" y="1436"/>
                          <a:pt x="1220" y="1444"/>
                        </a:cubicBezTo>
                        <a:cubicBezTo>
                          <a:pt x="1196" y="1468"/>
                          <a:pt x="1172" y="1484"/>
                          <a:pt x="1152" y="1508"/>
                        </a:cubicBezTo>
                        <a:cubicBezTo>
                          <a:pt x="1140" y="1520"/>
                          <a:pt x="1124" y="1556"/>
                          <a:pt x="1124" y="1556"/>
                        </a:cubicBezTo>
                        <a:cubicBezTo>
                          <a:pt x="1136" y="1584"/>
                          <a:pt x="1124" y="1624"/>
                          <a:pt x="1116" y="1656"/>
                        </a:cubicBezTo>
                        <a:cubicBezTo>
                          <a:pt x="1156" y="1664"/>
                          <a:pt x="1180" y="1684"/>
                          <a:pt x="1224" y="1688"/>
                        </a:cubicBezTo>
                        <a:cubicBezTo>
                          <a:pt x="1204" y="1712"/>
                          <a:pt x="1184" y="1728"/>
                          <a:pt x="1152" y="1732"/>
                        </a:cubicBezTo>
                        <a:cubicBezTo>
                          <a:pt x="1124" y="1748"/>
                          <a:pt x="1108" y="1752"/>
                          <a:pt x="1092" y="1784"/>
                        </a:cubicBezTo>
                        <a:cubicBezTo>
                          <a:pt x="1112" y="1872"/>
                          <a:pt x="1100" y="1772"/>
                          <a:pt x="1076" y="1828"/>
                        </a:cubicBezTo>
                        <a:cubicBezTo>
                          <a:pt x="1068" y="1848"/>
                          <a:pt x="1088" y="1896"/>
                          <a:pt x="1092" y="1916"/>
                        </a:cubicBezTo>
                        <a:cubicBezTo>
                          <a:pt x="1064" y="1920"/>
                          <a:pt x="1000" y="1912"/>
                          <a:pt x="1044" y="1968"/>
                        </a:cubicBezTo>
                        <a:cubicBezTo>
                          <a:pt x="1036" y="1988"/>
                          <a:pt x="1032" y="2004"/>
                          <a:pt x="1028" y="2016"/>
                        </a:cubicBezTo>
                        <a:cubicBezTo>
                          <a:pt x="1016" y="2020"/>
                          <a:pt x="1020" y="2032"/>
                          <a:pt x="1012" y="2040"/>
                        </a:cubicBezTo>
                        <a:cubicBezTo>
                          <a:pt x="956" y="2103"/>
                          <a:pt x="1020" y="2067"/>
                          <a:pt x="976" y="2087"/>
                        </a:cubicBezTo>
                        <a:cubicBezTo>
                          <a:pt x="952" y="2147"/>
                          <a:pt x="904" y="2195"/>
                          <a:pt x="840" y="2203"/>
                        </a:cubicBezTo>
                        <a:cubicBezTo>
                          <a:pt x="804" y="2223"/>
                          <a:pt x="812" y="2207"/>
                          <a:pt x="800" y="2235"/>
                        </a:cubicBezTo>
                        <a:cubicBezTo>
                          <a:pt x="788" y="2291"/>
                          <a:pt x="752" y="2331"/>
                          <a:pt x="720" y="2375"/>
                        </a:cubicBezTo>
                        <a:cubicBezTo>
                          <a:pt x="752" y="2463"/>
                          <a:pt x="768" y="2443"/>
                          <a:pt x="792" y="2479"/>
                        </a:cubicBezTo>
                        <a:cubicBezTo>
                          <a:pt x="832" y="2471"/>
                          <a:pt x="876" y="2427"/>
                          <a:pt x="912" y="2407"/>
                        </a:cubicBezTo>
                        <a:cubicBezTo>
                          <a:pt x="908" y="2463"/>
                          <a:pt x="888" y="2527"/>
                          <a:pt x="828" y="2539"/>
                        </a:cubicBezTo>
                        <a:cubicBezTo>
                          <a:pt x="800" y="2559"/>
                          <a:pt x="800" y="2559"/>
                          <a:pt x="764" y="2555"/>
                        </a:cubicBezTo>
                        <a:cubicBezTo>
                          <a:pt x="716" y="2543"/>
                          <a:pt x="684" y="2539"/>
                          <a:pt x="652" y="2495"/>
                        </a:cubicBezTo>
                        <a:cubicBezTo>
                          <a:pt x="636" y="2507"/>
                          <a:pt x="608" y="2539"/>
                          <a:pt x="608" y="2539"/>
                        </a:cubicBezTo>
                        <a:cubicBezTo>
                          <a:pt x="600" y="2571"/>
                          <a:pt x="588" y="2591"/>
                          <a:pt x="564" y="2611"/>
                        </a:cubicBezTo>
                        <a:cubicBezTo>
                          <a:pt x="556" y="2643"/>
                          <a:pt x="544" y="2655"/>
                          <a:pt x="532" y="2683"/>
                        </a:cubicBezTo>
                        <a:cubicBezTo>
                          <a:pt x="604" y="2695"/>
                          <a:pt x="516" y="2675"/>
                          <a:pt x="496" y="2671"/>
                        </a:cubicBezTo>
                        <a:cubicBezTo>
                          <a:pt x="456" y="2651"/>
                          <a:pt x="432" y="2659"/>
                          <a:pt x="380" y="2663"/>
                        </a:cubicBezTo>
                        <a:cubicBezTo>
                          <a:pt x="356" y="2675"/>
                          <a:pt x="336" y="2691"/>
                          <a:pt x="312" y="2703"/>
                        </a:cubicBezTo>
                        <a:cubicBezTo>
                          <a:pt x="324" y="2771"/>
                          <a:pt x="320" y="2743"/>
                          <a:pt x="332" y="2791"/>
                        </a:cubicBezTo>
                        <a:cubicBezTo>
                          <a:pt x="328" y="2823"/>
                          <a:pt x="316" y="2843"/>
                          <a:pt x="308" y="2875"/>
                        </a:cubicBezTo>
                        <a:cubicBezTo>
                          <a:pt x="308" y="2851"/>
                          <a:pt x="312" y="2827"/>
                          <a:pt x="304" y="2803"/>
                        </a:cubicBezTo>
                        <a:cubicBezTo>
                          <a:pt x="300" y="2795"/>
                          <a:pt x="208" y="2847"/>
                          <a:pt x="188" y="2855"/>
                        </a:cubicBezTo>
                        <a:cubicBezTo>
                          <a:pt x="168" y="2887"/>
                          <a:pt x="156" y="2911"/>
                          <a:pt x="120" y="2927"/>
                        </a:cubicBezTo>
                        <a:cubicBezTo>
                          <a:pt x="136" y="2983"/>
                          <a:pt x="156" y="2979"/>
                          <a:pt x="216" y="2983"/>
                        </a:cubicBezTo>
                        <a:cubicBezTo>
                          <a:pt x="240" y="2999"/>
                          <a:pt x="268" y="2999"/>
                          <a:pt x="296" y="3011"/>
                        </a:cubicBezTo>
                        <a:cubicBezTo>
                          <a:pt x="252" y="3035"/>
                          <a:pt x="184" y="2995"/>
                          <a:pt x="140" y="2979"/>
                        </a:cubicBezTo>
                        <a:cubicBezTo>
                          <a:pt x="76" y="2983"/>
                          <a:pt x="64" y="2983"/>
                          <a:pt x="28" y="3031"/>
                        </a:cubicBezTo>
                        <a:cubicBezTo>
                          <a:pt x="4" y="3167"/>
                          <a:pt x="108" y="3159"/>
                          <a:pt x="216" y="3163"/>
                        </a:cubicBezTo>
                        <a:cubicBezTo>
                          <a:pt x="240" y="3167"/>
                          <a:pt x="452" y="3143"/>
                          <a:pt x="424" y="3183"/>
                        </a:cubicBezTo>
                        <a:cubicBezTo>
                          <a:pt x="352" y="3179"/>
                          <a:pt x="276" y="3183"/>
                          <a:pt x="216" y="3175"/>
                        </a:cubicBezTo>
                        <a:cubicBezTo>
                          <a:pt x="0" y="3179"/>
                          <a:pt x="16" y="3127"/>
                          <a:pt x="8" y="3295"/>
                        </a:cubicBezTo>
                        <a:cubicBezTo>
                          <a:pt x="12" y="3375"/>
                          <a:pt x="8" y="3419"/>
                          <a:pt x="88" y="3451"/>
                        </a:cubicBezTo>
                        <a:cubicBezTo>
                          <a:pt x="144" y="3443"/>
                          <a:pt x="180" y="3431"/>
                          <a:pt x="232" y="3423"/>
                        </a:cubicBezTo>
                        <a:cubicBezTo>
                          <a:pt x="244" y="3419"/>
                          <a:pt x="256" y="3415"/>
                          <a:pt x="268" y="3411"/>
                        </a:cubicBezTo>
                        <a:cubicBezTo>
                          <a:pt x="276" y="3407"/>
                          <a:pt x="284" y="3411"/>
                          <a:pt x="292" y="3407"/>
                        </a:cubicBezTo>
                        <a:cubicBezTo>
                          <a:pt x="296" y="3407"/>
                          <a:pt x="312" y="3395"/>
                          <a:pt x="308" y="3399"/>
                        </a:cubicBezTo>
                        <a:cubicBezTo>
                          <a:pt x="268" y="3439"/>
                          <a:pt x="216" y="3459"/>
                          <a:pt x="160" y="3471"/>
                        </a:cubicBezTo>
                        <a:cubicBezTo>
                          <a:pt x="128" y="3483"/>
                          <a:pt x="104" y="3495"/>
                          <a:pt x="76" y="3511"/>
                        </a:cubicBezTo>
                        <a:cubicBezTo>
                          <a:pt x="64" y="3531"/>
                          <a:pt x="56" y="3539"/>
                          <a:pt x="32" y="3547"/>
                        </a:cubicBezTo>
                        <a:cubicBezTo>
                          <a:pt x="92" y="3575"/>
                          <a:pt x="88" y="3543"/>
                          <a:pt x="112" y="3607"/>
                        </a:cubicBezTo>
                        <a:cubicBezTo>
                          <a:pt x="96" y="3655"/>
                          <a:pt x="84" y="3683"/>
                          <a:pt x="44" y="3723"/>
                        </a:cubicBezTo>
                        <a:cubicBezTo>
                          <a:pt x="36" y="3731"/>
                          <a:pt x="60" y="3715"/>
                          <a:pt x="68" y="3711"/>
                        </a:cubicBezTo>
                        <a:cubicBezTo>
                          <a:pt x="84" y="3699"/>
                          <a:pt x="116" y="3679"/>
                          <a:pt x="116" y="3679"/>
                        </a:cubicBezTo>
                        <a:cubicBezTo>
                          <a:pt x="140" y="3691"/>
                          <a:pt x="132" y="3703"/>
                          <a:pt x="120" y="3723"/>
                        </a:cubicBezTo>
                        <a:cubicBezTo>
                          <a:pt x="132" y="3763"/>
                          <a:pt x="148" y="3787"/>
                          <a:pt x="192" y="3795"/>
                        </a:cubicBezTo>
                        <a:cubicBezTo>
                          <a:pt x="168" y="3811"/>
                          <a:pt x="168" y="3799"/>
                          <a:pt x="140" y="3795"/>
                        </a:cubicBezTo>
                        <a:cubicBezTo>
                          <a:pt x="112" y="3799"/>
                          <a:pt x="104" y="3803"/>
                          <a:pt x="88" y="3823"/>
                        </a:cubicBezTo>
                        <a:cubicBezTo>
                          <a:pt x="96" y="3915"/>
                          <a:pt x="120" y="3959"/>
                          <a:pt x="188" y="4031"/>
                        </a:cubicBezTo>
                        <a:cubicBezTo>
                          <a:pt x="228" y="4055"/>
                          <a:pt x="268" y="4083"/>
                          <a:pt x="312" y="4103"/>
                        </a:cubicBezTo>
                        <a:cubicBezTo>
                          <a:pt x="332" y="4111"/>
                          <a:pt x="372" y="4123"/>
                          <a:pt x="372" y="4123"/>
                        </a:cubicBezTo>
                        <a:cubicBezTo>
                          <a:pt x="408" y="4107"/>
                          <a:pt x="492" y="4035"/>
                          <a:pt x="532" y="4007"/>
                        </a:cubicBezTo>
                        <a:cubicBezTo>
                          <a:pt x="584" y="3967"/>
                          <a:pt x="620" y="3899"/>
                          <a:pt x="660" y="3863"/>
                        </a:cubicBezTo>
                        <a:cubicBezTo>
                          <a:pt x="680" y="3823"/>
                          <a:pt x="740" y="3811"/>
                          <a:pt x="776" y="3783"/>
                        </a:cubicBezTo>
                        <a:cubicBezTo>
                          <a:pt x="800" y="3727"/>
                          <a:pt x="824" y="3667"/>
                          <a:pt x="836" y="3607"/>
                        </a:cubicBezTo>
                        <a:cubicBezTo>
                          <a:pt x="856" y="3599"/>
                          <a:pt x="888" y="3707"/>
                          <a:pt x="896" y="3739"/>
                        </a:cubicBezTo>
                        <a:cubicBezTo>
                          <a:pt x="900" y="3799"/>
                          <a:pt x="932" y="3767"/>
                          <a:pt x="908" y="3795"/>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grpSp>
              <p:nvGrpSpPr>
                <p:cNvPr id="90" name="Group 81">
                  <a:extLst>
                    <a:ext uri="{FF2B5EF4-FFF2-40B4-BE49-F238E27FC236}">
                      <a16:creationId xmlns:a16="http://schemas.microsoft.com/office/drawing/2014/main" id="{B2BF39C4-E97D-FF26-17DA-20CEFB79D28B}"/>
                    </a:ext>
                  </a:extLst>
                </p:cNvPr>
                <p:cNvGrpSpPr>
                  <a:grpSpLocks/>
                </p:cNvGrpSpPr>
                <p:nvPr/>
              </p:nvGrpSpPr>
              <p:grpSpPr bwMode="auto">
                <a:xfrm>
                  <a:off x="4706938" y="2019300"/>
                  <a:ext cx="682625" cy="1244595"/>
                  <a:chOff x="3842" y="-120"/>
                  <a:chExt cx="1720" cy="3135"/>
                </a:xfrm>
                <a:grpFill/>
              </p:grpSpPr>
              <p:sp>
                <p:nvSpPr>
                  <p:cNvPr id="138" name="Freeform 2519">
                    <a:extLst>
                      <a:ext uri="{FF2B5EF4-FFF2-40B4-BE49-F238E27FC236}">
                        <a16:creationId xmlns:a16="http://schemas.microsoft.com/office/drawing/2014/main" id="{42CB64F7-5F33-2059-DE32-A19AEA9937AE}"/>
                      </a:ext>
                    </a:extLst>
                  </p:cNvPr>
                  <p:cNvSpPr>
                    <a:spLocks noChangeAspect="1"/>
                  </p:cNvSpPr>
                  <p:nvPr/>
                </p:nvSpPr>
                <p:spPr bwMode="auto">
                  <a:xfrm>
                    <a:off x="4079" y="2895"/>
                    <a:ext cx="152" cy="120"/>
                  </a:xfrm>
                  <a:custGeom>
                    <a:avLst/>
                    <a:gdLst>
                      <a:gd name="T0" fmla="*/ 21 w 38"/>
                      <a:gd name="T1" fmla="*/ 4 h 30"/>
                      <a:gd name="T2" fmla="*/ 0 w 38"/>
                      <a:gd name="T3" fmla="*/ 8 h 30"/>
                      <a:gd name="T4" fmla="*/ 19 w 38"/>
                      <a:gd name="T5" fmla="*/ 30 h 30"/>
                      <a:gd name="T6" fmla="*/ 38 w 38"/>
                      <a:gd name="T7" fmla="*/ 15 h 30"/>
                      <a:gd name="T8" fmla="*/ 17 w 38"/>
                      <a:gd name="T9" fmla="*/ 5 h 30"/>
                      <a:gd name="T10" fmla="*/ 8 w 38"/>
                      <a:gd name="T11" fmla="*/ 2 h 30"/>
                      <a:gd name="T12" fmla="*/ 21 w 38"/>
                      <a:gd name="T13" fmla="*/ 4 h 30"/>
                      <a:gd name="T14" fmla="*/ 0 60000 65536"/>
                      <a:gd name="T15" fmla="*/ 0 60000 65536"/>
                      <a:gd name="T16" fmla="*/ 0 60000 65536"/>
                      <a:gd name="T17" fmla="*/ 0 60000 65536"/>
                      <a:gd name="T18" fmla="*/ 0 60000 65536"/>
                      <a:gd name="T19" fmla="*/ 0 60000 65536"/>
                      <a:gd name="T20" fmla="*/ 0 60000 65536"/>
                      <a:gd name="T21" fmla="*/ 0 w 38"/>
                      <a:gd name="T22" fmla="*/ 0 h 30"/>
                      <a:gd name="T23" fmla="*/ 38 w 38"/>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0">
                        <a:moveTo>
                          <a:pt x="21" y="4"/>
                        </a:moveTo>
                        <a:cubicBezTo>
                          <a:pt x="13" y="1"/>
                          <a:pt x="4" y="0"/>
                          <a:pt x="0" y="8"/>
                        </a:cubicBezTo>
                        <a:cubicBezTo>
                          <a:pt x="1" y="26"/>
                          <a:pt x="4" y="26"/>
                          <a:pt x="19" y="30"/>
                        </a:cubicBezTo>
                        <a:cubicBezTo>
                          <a:pt x="29" y="28"/>
                          <a:pt x="31" y="22"/>
                          <a:pt x="38" y="15"/>
                        </a:cubicBezTo>
                        <a:cubicBezTo>
                          <a:pt x="36" y="5"/>
                          <a:pt x="27" y="6"/>
                          <a:pt x="17" y="5"/>
                        </a:cubicBezTo>
                        <a:cubicBezTo>
                          <a:pt x="9" y="3"/>
                          <a:pt x="11" y="5"/>
                          <a:pt x="8" y="2"/>
                        </a:cubicBezTo>
                        <a:lnTo>
                          <a:pt x="21" y="4"/>
                        </a:ln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39" name="Freeform 2520">
                    <a:extLst>
                      <a:ext uri="{FF2B5EF4-FFF2-40B4-BE49-F238E27FC236}">
                        <a16:creationId xmlns:a16="http://schemas.microsoft.com/office/drawing/2014/main" id="{A96D737D-9899-8D47-6B3B-84A52AD59D43}"/>
                      </a:ext>
                    </a:extLst>
                  </p:cNvPr>
                  <p:cNvSpPr>
                    <a:spLocks noChangeAspect="1"/>
                  </p:cNvSpPr>
                  <p:nvPr/>
                </p:nvSpPr>
                <p:spPr bwMode="auto">
                  <a:xfrm>
                    <a:off x="3842" y="-120"/>
                    <a:ext cx="1720" cy="3083"/>
                  </a:xfrm>
                  <a:custGeom>
                    <a:avLst/>
                    <a:gdLst>
                      <a:gd name="T0" fmla="*/ 1628 w 1720"/>
                      <a:gd name="T1" fmla="*/ 2255 h 3083"/>
                      <a:gd name="T2" fmla="*/ 1720 w 1720"/>
                      <a:gd name="T3" fmla="*/ 1955 h 3083"/>
                      <a:gd name="T4" fmla="*/ 1456 w 1720"/>
                      <a:gd name="T5" fmla="*/ 1775 h 3083"/>
                      <a:gd name="T6" fmla="*/ 1448 w 1720"/>
                      <a:gd name="T7" fmla="*/ 1683 h 3083"/>
                      <a:gd name="T8" fmla="*/ 1432 w 1720"/>
                      <a:gd name="T9" fmla="*/ 1583 h 3083"/>
                      <a:gd name="T10" fmla="*/ 1352 w 1720"/>
                      <a:gd name="T11" fmla="*/ 1512 h 3083"/>
                      <a:gd name="T12" fmla="*/ 1264 w 1720"/>
                      <a:gd name="T13" fmla="*/ 1320 h 3083"/>
                      <a:gd name="T14" fmla="*/ 1276 w 1720"/>
                      <a:gd name="T15" fmla="*/ 1188 h 3083"/>
                      <a:gd name="T16" fmla="*/ 1132 w 1720"/>
                      <a:gd name="T17" fmla="*/ 992 h 3083"/>
                      <a:gd name="T18" fmla="*/ 1120 w 1720"/>
                      <a:gd name="T19" fmla="*/ 688 h 3083"/>
                      <a:gd name="T20" fmla="*/ 1072 w 1720"/>
                      <a:gd name="T21" fmla="*/ 600 h 3083"/>
                      <a:gd name="T22" fmla="*/ 908 w 1720"/>
                      <a:gd name="T23" fmla="*/ 512 h 3083"/>
                      <a:gd name="T24" fmla="*/ 880 w 1720"/>
                      <a:gd name="T25" fmla="*/ 312 h 3083"/>
                      <a:gd name="T26" fmla="*/ 968 w 1720"/>
                      <a:gd name="T27" fmla="*/ 132 h 3083"/>
                      <a:gd name="T28" fmla="*/ 888 w 1720"/>
                      <a:gd name="T29" fmla="*/ 168 h 3083"/>
                      <a:gd name="T30" fmla="*/ 813 w 1720"/>
                      <a:gd name="T31" fmla="*/ 72 h 3083"/>
                      <a:gd name="T32" fmla="*/ 693 w 1720"/>
                      <a:gd name="T33" fmla="*/ 0 h 3083"/>
                      <a:gd name="T34" fmla="*/ 573 w 1720"/>
                      <a:gd name="T35" fmla="*/ 76 h 3083"/>
                      <a:gd name="T36" fmla="*/ 545 w 1720"/>
                      <a:gd name="T37" fmla="*/ 244 h 3083"/>
                      <a:gd name="T38" fmla="*/ 533 w 1720"/>
                      <a:gd name="T39" fmla="*/ 416 h 3083"/>
                      <a:gd name="T40" fmla="*/ 409 w 1720"/>
                      <a:gd name="T41" fmla="*/ 484 h 3083"/>
                      <a:gd name="T42" fmla="*/ 153 w 1720"/>
                      <a:gd name="T43" fmla="*/ 412 h 3083"/>
                      <a:gd name="T44" fmla="*/ 9 w 1720"/>
                      <a:gd name="T45" fmla="*/ 436 h 3083"/>
                      <a:gd name="T46" fmla="*/ 265 w 1720"/>
                      <a:gd name="T47" fmla="*/ 620 h 3083"/>
                      <a:gd name="T48" fmla="*/ 390 w 1720"/>
                      <a:gd name="T49" fmla="*/ 756 h 3083"/>
                      <a:gd name="T50" fmla="*/ 477 w 1720"/>
                      <a:gd name="T51" fmla="*/ 1016 h 3083"/>
                      <a:gd name="T52" fmla="*/ 495 w 1720"/>
                      <a:gd name="T53" fmla="*/ 1224 h 3083"/>
                      <a:gd name="T54" fmla="*/ 580 w 1720"/>
                      <a:gd name="T55" fmla="*/ 1365 h 3083"/>
                      <a:gd name="T56" fmla="*/ 681 w 1720"/>
                      <a:gd name="T57" fmla="*/ 1396 h 3083"/>
                      <a:gd name="T58" fmla="*/ 741 w 1720"/>
                      <a:gd name="T59" fmla="*/ 1432 h 3083"/>
                      <a:gd name="T60" fmla="*/ 545 w 1720"/>
                      <a:gd name="T61" fmla="*/ 1959 h 3083"/>
                      <a:gd name="T62" fmla="*/ 489 w 1720"/>
                      <a:gd name="T63" fmla="*/ 2051 h 3083"/>
                      <a:gd name="T64" fmla="*/ 369 w 1720"/>
                      <a:gd name="T65" fmla="*/ 2239 h 3083"/>
                      <a:gd name="T66" fmla="*/ 457 w 1720"/>
                      <a:gd name="T67" fmla="*/ 2559 h 3083"/>
                      <a:gd name="T68" fmla="*/ 457 w 1720"/>
                      <a:gd name="T69" fmla="*/ 2987 h 3083"/>
                      <a:gd name="T70" fmla="*/ 485 w 1720"/>
                      <a:gd name="T71" fmla="*/ 2999 h 3083"/>
                      <a:gd name="T72" fmla="*/ 657 w 1720"/>
                      <a:gd name="T73" fmla="*/ 3055 h 3083"/>
                      <a:gd name="T74" fmla="*/ 729 w 1720"/>
                      <a:gd name="T75" fmla="*/ 3083 h 3083"/>
                      <a:gd name="T76" fmla="*/ 956 w 1720"/>
                      <a:gd name="T77" fmla="*/ 2991 h 3083"/>
                      <a:gd name="T78" fmla="*/ 1024 w 1720"/>
                      <a:gd name="T79" fmla="*/ 2955 h 3083"/>
                      <a:gd name="T80" fmla="*/ 1192 w 1720"/>
                      <a:gd name="T81" fmla="*/ 2859 h 3083"/>
                      <a:gd name="T82" fmla="*/ 1372 w 1720"/>
                      <a:gd name="T83" fmla="*/ 2783 h 3083"/>
                      <a:gd name="T84" fmla="*/ 1396 w 1720"/>
                      <a:gd name="T85" fmla="*/ 2723 h 3083"/>
                      <a:gd name="T86" fmla="*/ 1576 w 1720"/>
                      <a:gd name="T87" fmla="*/ 2351 h 30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20"/>
                      <a:gd name="T133" fmla="*/ 0 h 3083"/>
                      <a:gd name="T134" fmla="*/ 1720 w 1720"/>
                      <a:gd name="T135" fmla="*/ 3083 h 308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20" h="3083">
                        <a:moveTo>
                          <a:pt x="1576" y="2351"/>
                        </a:moveTo>
                        <a:cubicBezTo>
                          <a:pt x="1584" y="2323"/>
                          <a:pt x="1604" y="2279"/>
                          <a:pt x="1628" y="2255"/>
                        </a:cubicBezTo>
                        <a:cubicBezTo>
                          <a:pt x="1636" y="2223"/>
                          <a:pt x="1636" y="2191"/>
                          <a:pt x="1648" y="2159"/>
                        </a:cubicBezTo>
                        <a:cubicBezTo>
                          <a:pt x="1656" y="2087"/>
                          <a:pt x="1688" y="2023"/>
                          <a:pt x="1720" y="1955"/>
                        </a:cubicBezTo>
                        <a:cubicBezTo>
                          <a:pt x="1700" y="1907"/>
                          <a:pt x="1640" y="1879"/>
                          <a:pt x="1592" y="1839"/>
                        </a:cubicBezTo>
                        <a:cubicBezTo>
                          <a:pt x="1548" y="1811"/>
                          <a:pt x="1480" y="1791"/>
                          <a:pt x="1456" y="1775"/>
                        </a:cubicBezTo>
                        <a:cubicBezTo>
                          <a:pt x="1452" y="1767"/>
                          <a:pt x="1440" y="1751"/>
                          <a:pt x="1440" y="1751"/>
                        </a:cubicBezTo>
                        <a:cubicBezTo>
                          <a:pt x="1440" y="1727"/>
                          <a:pt x="1440" y="1703"/>
                          <a:pt x="1448" y="1683"/>
                        </a:cubicBezTo>
                        <a:cubicBezTo>
                          <a:pt x="1452" y="1671"/>
                          <a:pt x="1480" y="1631"/>
                          <a:pt x="1480" y="1631"/>
                        </a:cubicBezTo>
                        <a:cubicBezTo>
                          <a:pt x="1476" y="1595"/>
                          <a:pt x="1460" y="1603"/>
                          <a:pt x="1432" y="1583"/>
                        </a:cubicBezTo>
                        <a:cubicBezTo>
                          <a:pt x="1420" y="1575"/>
                          <a:pt x="1396" y="1559"/>
                          <a:pt x="1396" y="1559"/>
                        </a:cubicBezTo>
                        <a:cubicBezTo>
                          <a:pt x="1384" y="1543"/>
                          <a:pt x="1368" y="1524"/>
                          <a:pt x="1352" y="1512"/>
                        </a:cubicBezTo>
                        <a:cubicBezTo>
                          <a:pt x="1332" y="1484"/>
                          <a:pt x="1340" y="1496"/>
                          <a:pt x="1324" y="1472"/>
                        </a:cubicBezTo>
                        <a:cubicBezTo>
                          <a:pt x="1312" y="1420"/>
                          <a:pt x="1280" y="1372"/>
                          <a:pt x="1264" y="1320"/>
                        </a:cubicBezTo>
                        <a:cubicBezTo>
                          <a:pt x="1264" y="1288"/>
                          <a:pt x="1264" y="1260"/>
                          <a:pt x="1268" y="1228"/>
                        </a:cubicBezTo>
                        <a:cubicBezTo>
                          <a:pt x="1268" y="1216"/>
                          <a:pt x="1276" y="1188"/>
                          <a:pt x="1276" y="1188"/>
                        </a:cubicBezTo>
                        <a:cubicBezTo>
                          <a:pt x="1272" y="1148"/>
                          <a:pt x="1248" y="1080"/>
                          <a:pt x="1204" y="1064"/>
                        </a:cubicBezTo>
                        <a:cubicBezTo>
                          <a:pt x="1188" y="1040"/>
                          <a:pt x="1156" y="1008"/>
                          <a:pt x="1132" y="992"/>
                        </a:cubicBezTo>
                        <a:cubicBezTo>
                          <a:pt x="1120" y="972"/>
                          <a:pt x="1104" y="932"/>
                          <a:pt x="1080" y="924"/>
                        </a:cubicBezTo>
                        <a:cubicBezTo>
                          <a:pt x="1056" y="840"/>
                          <a:pt x="1052" y="756"/>
                          <a:pt x="1120" y="688"/>
                        </a:cubicBezTo>
                        <a:cubicBezTo>
                          <a:pt x="1124" y="672"/>
                          <a:pt x="1128" y="644"/>
                          <a:pt x="1120" y="632"/>
                        </a:cubicBezTo>
                        <a:cubicBezTo>
                          <a:pt x="1108" y="616"/>
                          <a:pt x="1088" y="612"/>
                          <a:pt x="1072" y="600"/>
                        </a:cubicBezTo>
                        <a:cubicBezTo>
                          <a:pt x="1044" y="576"/>
                          <a:pt x="1020" y="556"/>
                          <a:pt x="984" y="544"/>
                        </a:cubicBezTo>
                        <a:cubicBezTo>
                          <a:pt x="968" y="528"/>
                          <a:pt x="932" y="520"/>
                          <a:pt x="908" y="512"/>
                        </a:cubicBezTo>
                        <a:cubicBezTo>
                          <a:pt x="888" y="492"/>
                          <a:pt x="876" y="448"/>
                          <a:pt x="872" y="416"/>
                        </a:cubicBezTo>
                        <a:cubicBezTo>
                          <a:pt x="864" y="380"/>
                          <a:pt x="861" y="344"/>
                          <a:pt x="880" y="312"/>
                        </a:cubicBezTo>
                        <a:cubicBezTo>
                          <a:pt x="888" y="288"/>
                          <a:pt x="888" y="260"/>
                          <a:pt x="908" y="240"/>
                        </a:cubicBezTo>
                        <a:cubicBezTo>
                          <a:pt x="924" y="212"/>
                          <a:pt x="972" y="128"/>
                          <a:pt x="968" y="132"/>
                        </a:cubicBezTo>
                        <a:cubicBezTo>
                          <a:pt x="956" y="148"/>
                          <a:pt x="892" y="256"/>
                          <a:pt x="880" y="264"/>
                        </a:cubicBezTo>
                        <a:cubicBezTo>
                          <a:pt x="872" y="228"/>
                          <a:pt x="876" y="204"/>
                          <a:pt x="888" y="168"/>
                        </a:cubicBezTo>
                        <a:cubicBezTo>
                          <a:pt x="884" y="132"/>
                          <a:pt x="892" y="108"/>
                          <a:pt x="864" y="88"/>
                        </a:cubicBezTo>
                        <a:cubicBezTo>
                          <a:pt x="849" y="76"/>
                          <a:pt x="813" y="72"/>
                          <a:pt x="813" y="72"/>
                        </a:cubicBezTo>
                        <a:cubicBezTo>
                          <a:pt x="789" y="48"/>
                          <a:pt x="757" y="36"/>
                          <a:pt x="729" y="16"/>
                        </a:cubicBezTo>
                        <a:cubicBezTo>
                          <a:pt x="717" y="8"/>
                          <a:pt x="693" y="0"/>
                          <a:pt x="693" y="0"/>
                        </a:cubicBezTo>
                        <a:cubicBezTo>
                          <a:pt x="669" y="4"/>
                          <a:pt x="657" y="0"/>
                          <a:pt x="645" y="24"/>
                        </a:cubicBezTo>
                        <a:cubicBezTo>
                          <a:pt x="637" y="72"/>
                          <a:pt x="621" y="72"/>
                          <a:pt x="573" y="76"/>
                        </a:cubicBezTo>
                        <a:cubicBezTo>
                          <a:pt x="557" y="92"/>
                          <a:pt x="549" y="116"/>
                          <a:pt x="537" y="136"/>
                        </a:cubicBezTo>
                        <a:cubicBezTo>
                          <a:pt x="529" y="172"/>
                          <a:pt x="529" y="208"/>
                          <a:pt x="545" y="244"/>
                        </a:cubicBezTo>
                        <a:cubicBezTo>
                          <a:pt x="548" y="283"/>
                          <a:pt x="560" y="337"/>
                          <a:pt x="558" y="366"/>
                        </a:cubicBezTo>
                        <a:cubicBezTo>
                          <a:pt x="544" y="390"/>
                          <a:pt x="540" y="403"/>
                          <a:pt x="533" y="416"/>
                        </a:cubicBezTo>
                        <a:cubicBezTo>
                          <a:pt x="526" y="440"/>
                          <a:pt x="537" y="408"/>
                          <a:pt x="513" y="444"/>
                        </a:cubicBezTo>
                        <a:cubicBezTo>
                          <a:pt x="497" y="456"/>
                          <a:pt x="441" y="472"/>
                          <a:pt x="409" y="484"/>
                        </a:cubicBezTo>
                        <a:cubicBezTo>
                          <a:pt x="357" y="492"/>
                          <a:pt x="245" y="504"/>
                          <a:pt x="197" y="492"/>
                        </a:cubicBezTo>
                        <a:cubicBezTo>
                          <a:pt x="181" y="460"/>
                          <a:pt x="181" y="432"/>
                          <a:pt x="153" y="412"/>
                        </a:cubicBezTo>
                        <a:cubicBezTo>
                          <a:pt x="141" y="392"/>
                          <a:pt x="105" y="380"/>
                          <a:pt x="81" y="372"/>
                        </a:cubicBezTo>
                        <a:cubicBezTo>
                          <a:pt x="41" y="384"/>
                          <a:pt x="41" y="392"/>
                          <a:pt x="9" y="436"/>
                        </a:cubicBezTo>
                        <a:cubicBezTo>
                          <a:pt x="0" y="456"/>
                          <a:pt x="27" y="455"/>
                          <a:pt x="66" y="482"/>
                        </a:cubicBezTo>
                        <a:cubicBezTo>
                          <a:pt x="108" y="513"/>
                          <a:pt x="171" y="567"/>
                          <a:pt x="265" y="620"/>
                        </a:cubicBezTo>
                        <a:cubicBezTo>
                          <a:pt x="309" y="651"/>
                          <a:pt x="309" y="642"/>
                          <a:pt x="330" y="668"/>
                        </a:cubicBezTo>
                        <a:cubicBezTo>
                          <a:pt x="369" y="701"/>
                          <a:pt x="393" y="722"/>
                          <a:pt x="390" y="756"/>
                        </a:cubicBezTo>
                        <a:cubicBezTo>
                          <a:pt x="363" y="848"/>
                          <a:pt x="438" y="911"/>
                          <a:pt x="450" y="947"/>
                        </a:cubicBezTo>
                        <a:cubicBezTo>
                          <a:pt x="465" y="990"/>
                          <a:pt x="469" y="995"/>
                          <a:pt x="477" y="1016"/>
                        </a:cubicBezTo>
                        <a:cubicBezTo>
                          <a:pt x="485" y="1032"/>
                          <a:pt x="492" y="1059"/>
                          <a:pt x="495" y="1077"/>
                        </a:cubicBezTo>
                        <a:cubicBezTo>
                          <a:pt x="491" y="1109"/>
                          <a:pt x="486" y="1193"/>
                          <a:pt x="495" y="1224"/>
                        </a:cubicBezTo>
                        <a:cubicBezTo>
                          <a:pt x="522" y="1266"/>
                          <a:pt x="535" y="1281"/>
                          <a:pt x="537" y="1301"/>
                        </a:cubicBezTo>
                        <a:cubicBezTo>
                          <a:pt x="557" y="1341"/>
                          <a:pt x="555" y="1352"/>
                          <a:pt x="580" y="1365"/>
                        </a:cubicBezTo>
                        <a:cubicBezTo>
                          <a:pt x="580" y="1369"/>
                          <a:pt x="617" y="1380"/>
                          <a:pt x="633" y="1380"/>
                        </a:cubicBezTo>
                        <a:cubicBezTo>
                          <a:pt x="649" y="1384"/>
                          <a:pt x="665" y="1392"/>
                          <a:pt x="681" y="1396"/>
                        </a:cubicBezTo>
                        <a:cubicBezTo>
                          <a:pt x="689" y="1400"/>
                          <a:pt x="705" y="1404"/>
                          <a:pt x="705" y="1404"/>
                        </a:cubicBezTo>
                        <a:cubicBezTo>
                          <a:pt x="717" y="1416"/>
                          <a:pt x="741" y="1432"/>
                          <a:pt x="741" y="1432"/>
                        </a:cubicBezTo>
                        <a:cubicBezTo>
                          <a:pt x="753" y="1488"/>
                          <a:pt x="737" y="1536"/>
                          <a:pt x="705" y="1583"/>
                        </a:cubicBezTo>
                        <a:cubicBezTo>
                          <a:pt x="673" y="1671"/>
                          <a:pt x="617" y="1879"/>
                          <a:pt x="545" y="1959"/>
                        </a:cubicBezTo>
                        <a:cubicBezTo>
                          <a:pt x="533" y="1975"/>
                          <a:pt x="525" y="1995"/>
                          <a:pt x="509" y="2003"/>
                        </a:cubicBezTo>
                        <a:cubicBezTo>
                          <a:pt x="501" y="2023"/>
                          <a:pt x="497" y="2035"/>
                          <a:pt x="489" y="2051"/>
                        </a:cubicBezTo>
                        <a:cubicBezTo>
                          <a:pt x="485" y="2059"/>
                          <a:pt x="481" y="2075"/>
                          <a:pt x="481" y="2075"/>
                        </a:cubicBezTo>
                        <a:cubicBezTo>
                          <a:pt x="461" y="2107"/>
                          <a:pt x="381" y="2167"/>
                          <a:pt x="369" y="2239"/>
                        </a:cubicBezTo>
                        <a:cubicBezTo>
                          <a:pt x="349" y="2315"/>
                          <a:pt x="365" y="2435"/>
                          <a:pt x="413" y="2507"/>
                        </a:cubicBezTo>
                        <a:cubicBezTo>
                          <a:pt x="421" y="2535"/>
                          <a:pt x="445" y="2535"/>
                          <a:pt x="457" y="2559"/>
                        </a:cubicBezTo>
                        <a:cubicBezTo>
                          <a:pt x="473" y="2591"/>
                          <a:pt x="465" y="2655"/>
                          <a:pt x="473" y="2687"/>
                        </a:cubicBezTo>
                        <a:cubicBezTo>
                          <a:pt x="477" y="2787"/>
                          <a:pt x="473" y="2887"/>
                          <a:pt x="457" y="2987"/>
                        </a:cubicBezTo>
                        <a:cubicBezTo>
                          <a:pt x="457" y="2995"/>
                          <a:pt x="453" y="3003"/>
                          <a:pt x="461" y="3007"/>
                        </a:cubicBezTo>
                        <a:cubicBezTo>
                          <a:pt x="469" y="3011"/>
                          <a:pt x="485" y="2999"/>
                          <a:pt x="485" y="2999"/>
                        </a:cubicBezTo>
                        <a:cubicBezTo>
                          <a:pt x="525" y="3007"/>
                          <a:pt x="561" y="3019"/>
                          <a:pt x="597" y="3031"/>
                        </a:cubicBezTo>
                        <a:cubicBezTo>
                          <a:pt x="621" y="3039"/>
                          <a:pt x="637" y="3047"/>
                          <a:pt x="657" y="3055"/>
                        </a:cubicBezTo>
                        <a:cubicBezTo>
                          <a:pt x="661" y="3055"/>
                          <a:pt x="669" y="3059"/>
                          <a:pt x="669" y="3059"/>
                        </a:cubicBezTo>
                        <a:cubicBezTo>
                          <a:pt x="685" y="3075"/>
                          <a:pt x="705" y="3079"/>
                          <a:pt x="729" y="3083"/>
                        </a:cubicBezTo>
                        <a:cubicBezTo>
                          <a:pt x="769" y="3075"/>
                          <a:pt x="801" y="3055"/>
                          <a:pt x="841" y="3047"/>
                        </a:cubicBezTo>
                        <a:cubicBezTo>
                          <a:pt x="880" y="3027"/>
                          <a:pt x="912" y="2999"/>
                          <a:pt x="956" y="2991"/>
                        </a:cubicBezTo>
                        <a:cubicBezTo>
                          <a:pt x="968" y="2983"/>
                          <a:pt x="980" y="2967"/>
                          <a:pt x="992" y="2963"/>
                        </a:cubicBezTo>
                        <a:cubicBezTo>
                          <a:pt x="1004" y="2959"/>
                          <a:pt x="1024" y="2955"/>
                          <a:pt x="1024" y="2955"/>
                        </a:cubicBezTo>
                        <a:cubicBezTo>
                          <a:pt x="1040" y="2931"/>
                          <a:pt x="1092" y="2915"/>
                          <a:pt x="1120" y="2907"/>
                        </a:cubicBezTo>
                        <a:cubicBezTo>
                          <a:pt x="1132" y="2887"/>
                          <a:pt x="1168" y="2867"/>
                          <a:pt x="1192" y="2859"/>
                        </a:cubicBezTo>
                        <a:cubicBezTo>
                          <a:pt x="1212" y="2827"/>
                          <a:pt x="1276" y="2839"/>
                          <a:pt x="1312" y="2831"/>
                        </a:cubicBezTo>
                        <a:cubicBezTo>
                          <a:pt x="1336" y="2811"/>
                          <a:pt x="1348" y="2791"/>
                          <a:pt x="1372" y="2783"/>
                        </a:cubicBezTo>
                        <a:cubicBezTo>
                          <a:pt x="1380" y="2779"/>
                          <a:pt x="1396" y="2767"/>
                          <a:pt x="1396" y="2767"/>
                        </a:cubicBezTo>
                        <a:cubicBezTo>
                          <a:pt x="1389" y="2753"/>
                          <a:pt x="1388" y="2743"/>
                          <a:pt x="1396" y="2723"/>
                        </a:cubicBezTo>
                        <a:cubicBezTo>
                          <a:pt x="1412" y="2675"/>
                          <a:pt x="1465" y="2573"/>
                          <a:pt x="1500" y="2534"/>
                        </a:cubicBezTo>
                        <a:cubicBezTo>
                          <a:pt x="1530" y="2472"/>
                          <a:pt x="1555" y="2397"/>
                          <a:pt x="1576" y="2351"/>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sp>
              <p:nvSpPr>
                <p:cNvPr id="91" name="Freeform 2521">
                  <a:extLst>
                    <a:ext uri="{FF2B5EF4-FFF2-40B4-BE49-F238E27FC236}">
                      <a16:creationId xmlns:a16="http://schemas.microsoft.com/office/drawing/2014/main" id="{8BAC0939-D0D7-BB33-36AA-7E740957DAC4}"/>
                    </a:ext>
                  </a:extLst>
                </p:cNvPr>
                <p:cNvSpPr>
                  <a:spLocks noChangeAspect="1"/>
                </p:cNvSpPr>
                <p:nvPr/>
              </p:nvSpPr>
              <p:spPr bwMode="auto">
                <a:xfrm>
                  <a:off x="4946651" y="3430588"/>
                  <a:ext cx="458788" cy="280988"/>
                </a:xfrm>
                <a:custGeom>
                  <a:avLst/>
                  <a:gdLst>
                    <a:gd name="T0" fmla="*/ 1156 w 1156"/>
                    <a:gd name="T1" fmla="*/ 416 h 708"/>
                    <a:gd name="T2" fmla="*/ 1132 w 1156"/>
                    <a:gd name="T3" fmla="*/ 380 h 708"/>
                    <a:gd name="T4" fmla="*/ 1104 w 1156"/>
                    <a:gd name="T5" fmla="*/ 312 h 708"/>
                    <a:gd name="T6" fmla="*/ 1032 w 1156"/>
                    <a:gd name="T7" fmla="*/ 224 h 708"/>
                    <a:gd name="T8" fmla="*/ 976 w 1156"/>
                    <a:gd name="T9" fmla="*/ 92 h 708"/>
                    <a:gd name="T10" fmla="*/ 945 w 1156"/>
                    <a:gd name="T11" fmla="*/ 63 h 708"/>
                    <a:gd name="T12" fmla="*/ 819 w 1156"/>
                    <a:gd name="T13" fmla="*/ 99 h 708"/>
                    <a:gd name="T14" fmla="*/ 764 w 1156"/>
                    <a:gd name="T15" fmla="*/ 96 h 708"/>
                    <a:gd name="T16" fmla="*/ 684 w 1156"/>
                    <a:gd name="T17" fmla="*/ 50 h 708"/>
                    <a:gd name="T18" fmla="*/ 648 w 1156"/>
                    <a:gd name="T19" fmla="*/ 20 h 708"/>
                    <a:gd name="T20" fmla="*/ 602 w 1156"/>
                    <a:gd name="T21" fmla="*/ 6 h 708"/>
                    <a:gd name="T22" fmla="*/ 532 w 1156"/>
                    <a:gd name="T23" fmla="*/ 20 h 708"/>
                    <a:gd name="T24" fmla="*/ 460 w 1156"/>
                    <a:gd name="T25" fmla="*/ 52 h 708"/>
                    <a:gd name="T26" fmla="*/ 496 w 1156"/>
                    <a:gd name="T27" fmla="*/ 220 h 708"/>
                    <a:gd name="T28" fmla="*/ 484 w 1156"/>
                    <a:gd name="T29" fmla="*/ 308 h 708"/>
                    <a:gd name="T30" fmla="*/ 448 w 1156"/>
                    <a:gd name="T31" fmla="*/ 344 h 708"/>
                    <a:gd name="T32" fmla="*/ 356 w 1156"/>
                    <a:gd name="T33" fmla="*/ 340 h 708"/>
                    <a:gd name="T34" fmla="*/ 348 w 1156"/>
                    <a:gd name="T35" fmla="*/ 324 h 708"/>
                    <a:gd name="T36" fmla="*/ 288 w 1156"/>
                    <a:gd name="T37" fmla="*/ 296 h 708"/>
                    <a:gd name="T38" fmla="*/ 252 w 1156"/>
                    <a:gd name="T39" fmla="*/ 240 h 708"/>
                    <a:gd name="T40" fmla="*/ 216 w 1156"/>
                    <a:gd name="T41" fmla="*/ 212 h 708"/>
                    <a:gd name="T42" fmla="*/ 180 w 1156"/>
                    <a:gd name="T43" fmla="*/ 172 h 708"/>
                    <a:gd name="T44" fmla="*/ 148 w 1156"/>
                    <a:gd name="T45" fmla="*/ 192 h 708"/>
                    <a:gd name="T46" fmla="*/ 76 w 1156"/>
                    <a:gd name="T47" fmla="*/ 236 h 708"/>
                    <a:gd name="T48" fmla="*/ 48 w 1156"/>
                    <a:gd name="T49" fmla="*/ 296 h 708"/>
                    <a:gd name="T50" fmla="*/ 16 w 1156"/>
                    <a:gd name="T51" fmla="*/ 364 h 708"/>
                    <a:gd name="T52" fmla="*/ 0 w 1156"/>
                    <a:gd name="T53" fmla="*/ 484 h 708"/>
                    <a:gd name="T54" fmla="*/ 36 w 1156"/>
                    <a:gd name="T55" fmla="*/ 708 h 708"/>
                    <a:gd name="T56" fmla="*/ 69 w 1156"/>
                    <a:gd name="T57" fmla="*/ 638 h 708"/>
                    <a:gd name="T58" fmla="*/ 96 w 1156"/>
                    <a:gd name="T59" fmla="*/ 608 h 708"/>
                    <a:gd name="T60" fmla="*/ 204 w 1156"/>
                    <a:gd name="T61" fmla="*/ 576 h 708"/>
                    <a:gd name="T62" fmla="*/ 230 w 1156"/>
                    <a:gd name="T63" fmla="*/ 546 h 708"/>
                    <a:gd name="T64" fmla="*/ 240 w 1156"/>
                    <a:gd name="T65" fmla="*/ 561 h 708"/>
                    <a:gd name="T66" fmla="*/ 287 w 1156"/>
                    <a:gd name="T67" fmla="*/ 566 h 708"/>
                    <a:gd name="T68" fmla="*/ 303 w 1156"/>
                    <a:gd name="T69" fmla="*/ 539 h 708"/>
                    <a:gd name="T70" fmla="*/ 330 w 1156"/>
                    <a:gd name="T71" fmla="*/ 567 h 708"/>
                    <a:gd name="T72" fmla="*/ 410 w 1156"/>
                    <a:gd name="T73" fmla="*/ 549 h 708"/>
                    <a:gd name="T74" fmla="*/ 489 w 1156"/>
                    <a:gd name="T75" fmla="*/ 527 h 708"/>
                    <a:gd name="T76" fmla="*/ 576 w 1156"/>
                    <a:gd name="T77" fmla="*/ 533 h 708"/>
                    <a:gd name="T78" fmla="*/ 576 w 1156"/>
                    <a:gd name="T79" fmla="*/ 504 h 708"/>
                    <a:gd name="T80" fmla="*/ 638 w 1156"/>
                    <a:gd name="T81" fmla="*/ 470 h 708"/>
                    <a:gd name="T82" fmla="*/ 657 w 1156"/>
                    <a:gd name="T83" fmla="*/ 516 h 708"/>
                    <a:gd name="T84" fmla="*/ 690 w 1156"/>
                    <a:gd name="T85" fmla="*/ 530 h 708"/>
                    <a:gd name="T86" fmla="*/ 784 w 1156"/>
                    <a:gd name="T87" fmla="*/ 536 h 708"/>
                    <a:gd name="T88" fmla="*/ 879 w 1156"/>
                    <a:gd name="T89" fmla="*/ 588 h 708"/>
                    <a:gd name="T90" fmla="*/ 944 w 1156"/>
                    <a:gd name="T91" fmla="*/ 620 h 708"/>
                    <a:gd name="T92" fmla="*/ 960 w 1156"/>
                    <a:gd name="T93" fmla="*/ 614 h 708"/>
                    <a:gd name="T94" fmla="*/ 1094 w 1156"/>
                    <a:gd name="T95" fmla="*/ 566 h 708"/>
                    <a:gd name="T96" fmla="*/ 1088 w 1156"/>
                    <a:gd name="T97" fmla="*/ 522 h 708"/>
                    <a:gd name="T98" fmla="*/ 1137 w 1156"/>
                    <a:gd name="T99" fmla="*/ 447 h 708"/>
                    <a:gd name="T100" fmla="*/ 1156 w 1156"/>
                    <a:gd name="T101" fmla="*/ 416 h 70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56"/>
                    <a:gd name="T154" fmla="*/ 0 h 708"/>
                    <a:gd name="T155" fmla="*/ 1156 w 1156"/>
                    <a:gd name="T156" fmla="*/ 708 h 70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56" h="708">
                      <a:moveTo>
                        <a:pt x="1156" y="416"/>
                      </a:moveTo>
                      <a:cubicBezTo>
                        <a:pt x="1148" y="404"/>
                        <a:pt x="1144" y="392"/>
                        <a:pt x="1132" y="380"/>
                      </a:cubicBezTo>
                      <a:cubicBezTo>
                        <a:pt x="1124" y="356"/>
                        <a:pt x="1128" y="328"/>
                        <a:pt x="1104" y="312"/>
                      </a:cubicBezTo>
                      <a:cubicBezTo>
                        <a:pt x="1096" y="292"/>
                        <a:pt x="1052" y="232"/>
                        <a:pt x="1032" y="224"/>
                      </a:cubicBezTo>
                      <a:cubicBezTo>
                        <a:pt x="1036" y="132"/>
                        <a:pt x="1048" y="140"/>
                        <a:pt x="976" y="92"/>
                      </a:cubicBezTo>
                      <a:cubicBezTo>
                        <a:pt x="972" y="76"/>
                        <a:pt x="953" y="83"/>
                        <a:pt x="945" y="63"/>
                      </a:cubicBezTo>
                      <a:cubicBezTo>
                        <a:pt x="845" y="72"/>
                        <a:pt x="831" y="92"/>
                        <a:pt x="819" y="99"/>
                      </a:cubicBezTo>
                      <a:cubicBezTo>
                        <a:pt x="789" y="104"/>
                        <a:pt x="786" y="98"/>
                        <a:pt x="764" y="96"/>
                      </a:cubicBezTo>
                      <a:cubicBezTo>
                        <a:pt x="740" y="60"/>
                        <a:pt x="719" y="78"/>
                        <a:pt x="684" y="50"/>
                      </a:cubicBezTo>
                      <a:cubicBezTo>
                        <a:pt x="672" y="38"/>
                        <a:pt x="664" y="24"/>
                        <a:pt x="648" y="20"/>
                      </a:cubicBezTo>
                      <a:cubicBezTo>
                        <a:pt x="636" y="0"/>
                        <a:pt x="626" y="10"/>
                        <a:pt x="602" y="6"/>
                      </a:cubicBezTo>
                      <a:cubicBezTo>
                        <a:pt x="564" y="9"/>
                        <a:pt x="564" y="0"/>
                        <a:pt x="532" y="20"/>
                      </a:cubicBezTo>
                      <a:cubicBezTo>
                        <a:pt x="509" y="32"/>
                        <a:pt x="483" y="62"/>
                        <a:pt x="460" y="52"/>
                      </a:cubicBezTo>
                      <a:cubicBezTo>
                        <a:pt x="432" y="88"/>
                        <a:pt x="456" y="192"/>
                        <a:pt x="496" y="220"/>
                      </a:cubicBezTo>
                      <a:cubicBezTo>
                        <a:pt x="504" y="252"/>
                        <a:pt x="512" y="288"/>
                        <a:pt x="484" y="308"/>
                      </a:cubicBezTo>
                      <a:cubicBezTo>
                        <a:pt x="472" y="328"/>
                        <a:pt x="472" y="336"/>
                        <a:pt x="448" y="344"/>
                      </a:cubicBezTo>
                      <a:cubicBezTo>
                        <a:pt x="416" y="344"/>
                        <a:pt x="388" y="348"/>
                        <a:pt x="356" y="340"/>
                      </a:cubicBezTo>
                      <a:cubicBezTo>
                        <a:pt x="352" y="340"/>
                        <a:pt x="352" y="328"/>
                        <a:pt x="348" y="324"/>
                      </a:cubicBezTo>
                      <a:cubicBezTo>
                        <a:pt x="336" y="312"/>
                        <a:pt x="304" y="300"/>
                        <a:pt x="288" y="296"/>
                      </a:cubicBezTo>
                      <a:cubicBezTo>
                        <a:pt x="276" y="276"/>
                        <a:pt x="268" y="256"/>
                        <a:pt x="252" y="240"/>
                      </a:cubicBezTo>
                      <a:cubicBezTo>
                        <a:pt x="244" y="228"/>
                        <a:pt x="216" y="212"/>
                        <a:pt x="216" y="212"/>
                      </a:cubicBezTo>
                      <a:cubicBezTo>
                        <a:pt x="208" y="196"/>
                        <a:pt x="192" y="180"/>
                        <a:pt x="180" y="172"/>
                      </a:cubicBezTo>
                      <a:cubicBezTo>
                        <a:pt x="160" y="180"/>
                        <a:pt x="172" y="188"/>
                        <a:pt x="148" y="192"/>
                      </a:cubicBezTo>
                      <a:cubicBezTo>
                        <a:pt x="124" y="208"/>
                        <a:pt x="96" y="216"/>
                        <a:pt x="76" y="236"/>
                      </a:cubicBezTo>
                      <a:cubicBezTo>
                        <a:pt x="68" y="260"/>
                        <a:pt x="64" y="280"/>
                        <a:pt x="48" y="296"/>
                      </a:cubicBezTo>
                      <a:cubicBezTo>
                        <a:pt x="40" y="320"/>
                        <a:pt x="20" y="336"/>
                        <a:pt x="16" y="364"/>
                      </a:cubicBezTo>
                      <a:cubicBezTo>
                        <a:pt x="12" y="420"/>
                        <a:pt x="8" y="436"/>
                        <a:pt x="0" y="484"/>
                      </a:cubicBezTo>
                      <a:cubicBezTo>
                        <a:pt x="4" y="536"/>
                        <a:pt x="0" y="696"/>
                        <a:pt x="36" y="708"/>
                      </a:cubicBezTo>
                      <a:cubicBezTo>
                        <a:pt x="39" y="684"/>
                        <a:pt x="59" y="655"/>
                        <a:pt x="69" y="638"/>
                      </a:cubicBezTo>
                      <a:cubicBezTo>
                        <a:pt x="79" y="621"/>
                        <a:pt x="83" y="639"/>
                        <a:pt x="96" y="608"/>
                      </a:cubicBezTo>
                      <a:cubicBezTo>
                        <a:pt x="117" y="605"/>
                        <a:pt x="162" y="570"/>
                        <a:pt x="204" y="576"/>
                      </a:cubicBezTo>
                      <a:cubicBezTo>
                        <a:pt x="226" y="564"/>
                        <a:pt x="216" y="548"/>
                        <a:pt x="230" y="546"/>
                      </a:cubicBezTo>
                      <a:cubicBezTo>
                        <a:pt x="236" y="544"/>
                        <a:pt x="231" y="558"/>
                        <a:pt x="240" y="561"/>
                      </a:cubicBezTo>
                      <a:cubicBezTo>
                        <a:pt x="249" y="564"/>
                        <a:pt x="269" y="561"/>
                        <a:pt x="287" y="566"/>
                      </a:cubicBezTo>
                      <a:cubicBezTo>
                        <a:pt x="299" y="552"/>
                        <a:pt x="299" y="560"/>
                        <a:pt x="303" y="539"/>
                      </a:cubicBezTo>
                      <a:cubicBezTo>
                        <a:pt x="323" y="551"/>
                        <a:pt x="315" y="561"/>
                        <a:pt x="330" y="567"/>
                      </a:cubicBezTo>
                      <a:cubicBezTo>
                        <a:pt x="381" y="536"/>
                        <a:pt x="393" y="531"/>
                        <a:pt x="410" y="549"/>
                      </a:cubicBezTo>
                      <a:cubicBezTo>
                        <a:pt x="410" y="531"/>
                        <a:pt x="414" y="530"/>
                        <a:pt x="489" y="527"/>
                      </a:cubicBezTo>
                      <a:cubicBezTo>
                        <a:pt x="511" y="536"/>
                        <a:pt x="562" y="537"/>
                        <a:pt x="576" y="533"/>
                      </a:cubicBezTo>
                      <a:cubicBezTo>
                        <a:pt x="590" y="529"/>
                        <a:pt x="566" y="515"/>
                        <a:pt x="576" y="504"/>
                      </a:cubicBezTo>
                      <a:cubicBezTo>
                        <a:pt x="576" y="488"/>
                        <a:pt x="625" y="468"/>
                        <a:pt x="638" y="470"/>
                      </a:cubicBezTo>
                      <a:cubicBezTo>
                        <a:pt x="642" y="486"/>
                        <a:pt x="641" y="508"/>
                        <a:pt x="657" y="516"/>
                      </a:cubicBezTo>
                      <a:cubicBezTo>
                        <a:pt x="669" y="524"/>
                        <a:pt x="690" y="530"/>
                        <a:pt x="690" y="530"/>
                      </a:cubicBezTo>
                      <a:cubicBezTo>
                        <a:pt x="726" y="526"/>
                        <a:pt x="752" y="524"/>
                        <a:pt x="784" y="536"/>
                      </a:cubicBezTo>
                      <a:cubicBezTo>
                        <a:pt x="786" y="551"/>
                        <a:pt x="840" y="567"/>
                        <a:pt x="879" y="588"/>
                      </a:cubicBezTo>
                      <a:cubicBezTo>
                        <a:pt x="899" y="617"/>
                        <a:pt x="932" y="612"/>
                        <a:pt x="944" y="620"/>
                      </a:cubicBezTo>
                      <a:cubicBezTo>
                        <a:pt x="954" y="612"/>
                        <a:pt x="960" y="614"/>
                        <a:pt x="960" y="614"/>
                      </a:cubicBezTo>
                      <a:cubicBezTo>
                        <a:pt x="986" y="576"/>
                        <a:pt x="998" y="552"/>
                        <a:pt x="1094" y="566"/>
                      </a:cubicBezTo>
                      <a:cubicBezTo>
                        <a:pt x="1097" y="543"/>
                        <a:pt x="1101" y="578"/>
                        <a:pt x="1088" y="522"/>
                      </a:cubicBezTo>
                      <a:cubicBezTo>
                        <a:pt x="1091" y="488"/>
                        <a:pt x="1117" y="475"/>
                        <a:pt x="1137" y="447"/>
                      </a:cubicBezTo>
                      <a:cubicBezTo>
                        <a:pt x="1140" y="428"/>
                        <a:pt x="1145" y="422"/>
                        <a:pt x="1156" y="416"/>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92" name="Freeform 2522">
                  <a:extLst>
                    <a:ext uri="{FF2B5EF4-FFF2-40B4-BE49-F238E27FC236}">
                      <a16:creationId xmlns:a16="http://schemas.microsoft.com/office/drawing/2014/main" id="{306B1EDC-4AFF-7622-E1E9-EF2F82BC0DF9}"/>
                    </a:ext>
                  </a:extLst>
                </p:cNvPr>
                <p:cNvSpPr>
                  <a:spLocks noChangeAspect="1"/>
                </p:cNvSpPr>
                <p:nvPr/>
              </p:nvSpPr>
              <p:spPr bwMode="auto">
                <a:xfrm>
                  <a:off x="4960938" y="3616325"/>
                  <a:ext cx="377825" cy="300038"/>
                </a:xfrm>
                <a:custGeom>
                  <a:avLst/>
                  <a:gdLst>
                    <a:gd name="T0" fmla="*/ 912 w 952"/>
                    <a:gd name="T1" fmla="*/ 152 h 758"/>
                    <a:gd name="T2" fmla="*/ 808 w 952"/>
                    <a:gd name="T3" fmla="*/ 104 h 758"/>
                    <a:gd name="T4" fmla="*/ 756 w 952"/>
                    <a:gd name="T5" fmla="*/ 80 h 758"/>
                    <a:gd name="T6" fmla="*/ 656 w 952"/>
                    <a:gd name="T7" fmla="*/ 60 h 758"/>
                    <a:gd name="T8" fmla="*/ 616 w 952"/>
                    <a:gd name="T9" fmla="*/ 48 h 758"/>
                    <a:gd name="T10" fmla="*/ 600 w 952"/>
                    <a:gd name="T11" fmla="*/ 0 h 758"/>
                    <a:gd name="T12" fmla="*/ 544 w 952"/>
                    <a:gd name="T13" fmla="*/ 24 h 758"/>
                    <a:gd name="T14" fmla="*/ 546 w 952"/>
                    <a:gd name="T15" fmla="*/ 66 h 758"/>
                    <a:gd name="T16" fmla="*/ 492 w 952"/>
                    <a:gd name="T17" fmla="*/ 68 h 758"/>
                    <a:gd name="T18" fmla="*/ 456 w 952"/>
                    <a:gd name="T19" fmla="*/ 60 h 758"/>
                    <a:gd name="T20" fmla="*/ 372 w 952"/>
                    <a:gd name="T21" fmla="*/ 84 h 758"/>
                    <a:gd name="T22" fmla="*/ 340 w 952"/>
                    <a:gd name="T23" fmla="*/ 68 h 758"/>
                    <a:gd name="T24" fmla="*/ 304 w 952"/>
                    <a:gd name="T25" fmla="*/ 92 h 758"/>
                    <a:gd name="T26" fmla="*/ 268 w 952"/>
                    <a:gd name="T27" fmla="*/ 68 h 758"/>
                    <a:gd name="T28" fmla="*/ 204 w 952"/>
                    <a:gd name="T29" fmla="*/ 92 h 758"/>
                    <a:gd name="T30" fmla="*/ 176 w 952"/>
                    <a:gd name="T31" fmla="*/ 104 h 758"/>
                    <a:gd name="T32" fmla="*/ 128 w 952"/>
                    <a:gd name="T33" fmla="*/ 108 h 758"/>
                    <a:gd name="T34" fmla="*/ 84 w 952"/>
                    <a:gd name="T35" fmla="*/ 132 h 758"/>
                    <a:gd name="T36" fmla="*/ 60 w 952"/>
                    <a:gd name="T37" fmla="*/ 140 h 758"/>
                    <a:gd name="T38" fmla="*/ 36 w 952"/>
                    <a:gd name="T39" fmla="*/ 168 h 758"/>
                    <a:gd name="T40" fmla="*/ 4 w 952"/>
                    <a:gd name="T41" fmla="*/ 216 h 758"/>
                    <a:gd name="T42" fmla="*/ 24 w 952"/>
                    <a:gd name="T43" fmla="*/ 328 h 758"/>
                    <a:gd name="T44" fmla="*/ 52 w 952"/>
                    <a:gd name="T45" fmla="*/ 420 h 758"/>
                    <a:gd name="T46" fmla="*/ 128 w 952"/>
                    <a:gd name="T47" fmla="*/ 450 h 758"/>
                    <a:gd name="T48" fmla="*/ 201 w 952"/>
                    <a:gd name="T49" fmla="*/ 480 h 758"/>
                    <a:gd name="T50" fmla="*/ 315 w 952"/>
                    <a:gd name="T51" fmla="*/ 504 h 758"/>
                    <a:gd name="T52" fmla="*/ 359 w 952"/>
                    <a:gd name="T53" fmla="*/ 657 h 758"/>
                    <a:gd name="T54" fmla="*/ 443 w 952"/>
                    <a:gd name="T55" fmla="*/ 684 h 758"/>
                    <a:gd name="T56" fmla="*/ 509 w 952"/>
                    <a:gd name="T57" fmla="*/ 758 h 758"/>
                    <a:gd name="T58" fmla="*/ 615 w 952"/>
                    <a:gd name="T59" fmla="*/ 725 h 758"/>
                    <a:gd name="T60" fmla="*/ 683 w 952"/>
                    <a:gd name="T61" fmla="*/ 714 h 758"/>
                    <a:gd name="T62" fmla="*/ 723 w 952"/>
                    <a:gd name="T63" fmla="*/ 696 h 758"/>
                    <a:gd name="T64" fmla="*/ 707 w 952"/>
                    <a:gd name="T65" fmla="*/ 680 h 758"/>
                    <a:gd name="T66" fmla="*/ 734 w 952"/>
                    <a:gd name="T67" fmla="*/ 645 h 758"/>
                    <a:gd name="T68" fmla="*/ 765 w 952"/>
                    <a:gd name="T69" fmla="*/ 644 h 758"/>
                    <a:gd name="T70" fmla="*/ 813 w 952"/>
                    <a:gd name="T71" fmla="*/ 599 h 758"/>
                    <a:gd name="T72" fmla="*/ 818 w 952"/>
                    <a:gd name="T73" fmla="*/ 620 h 758"/>
                    <a:gd name="T74" fmla="*/ 852 w 952"/>
                    <a:gd name="T75" fmla="*/ 640 h 758"/>
                    <a:gd name="T76" fmla="*/ 852 w 952"/>
                    <a:gd name="T77" fmla="*/ 592 h 758"/>
                    <a:gd name="T78" fmla="*/ 825 w 952"/>
                    <a:gd name="T79" fmla="*/ 566 h 758"/>
                    <a:gd name="T80" fmla="*/ 824 w 952"/>
                    <a:gd name="T81" fmla="*/ 528 h 758"/>
                    <a:gd name="T82" fmla="*/ 834 w 952"/>
                    <a:gd name="T83" fmla="*/ 459 h 758"/>
                    <a:gd name="T84" fmla="*/ 830 w 952"/>
                    <a:gd name="T85" fmla="*/ 425 h 758"/>
                    <a:gd name="T86" fmla="*/ 885 w 952"/>
                    <a:gd name="T87" fmla="*/ 329 h 758"/>
                    <a:gd name="T88" fmla="*/ 914 w 952"/>
                    <a:gd name="T89" fmla="*/ 312 h 758"/>
                    <a:gd name="T90" fmla="*/ 952 w 952"/>
                    <a:gd name="T91" fmla="*/ 288 h 758"/>
                    <a:gd name="T92" fmla="*/ 941 w 952"/>
                    <a:gd name="T93" fmla="*/ 261 h 758"/>
                    <a:gd name="T94" fmla="*/ 904 w 952"/>
                    <a:gd name="T95" fmla="*/ 248 h 758"/>
                    <a:gd name="T96" fmla="*/ 902 w 952"/>
                    <a:gd name="T97" fmla="*/ 225 h 758"/>
                    <a:gd name="T98" fmla="*/ 924 w 952"/>
                    <a:gd name="T99" fmla="*/ 144 h 758"/>
                    <a:gd name="T100" fmla="*/ 912 w 952"/>
                    <a:gd name="T101" fmla="*/ 152 h 7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52"/>
                    <a:gd name="T154" fmla="*/ 0 h 758"/>
                    <a:gd name="T155" fmla="*/ 952 w 952"/>
                    <a:gd name="T156" fmla="*/ 758 h 7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52" h="758">
                      <a:moveTo>
                        <a:pt x="912" y="152"/>
                      </a:moveTo>
                      <a:cubicBezTo>
                        <a:pt x="844" y="140"/>
                        <a:pt x="856" y="120"/>
                        <a:pt x="808" y="104"/>
                      </a:cubicBezTo>
                      <a:cubicBezTo>
                        <a:pt x="792" y="88"/>
                        <a:pt x="776" y="92"/>
                        <a:pt x="756" y="80"/>
                      </a:cubicBezTo>
                      <a:cubicBezTo>
                        <a:pt x="736" y="48"/>
                        <a:pt x="696" y="60"/>
                        <a:pt x="656" y="60"/>
                      </a:cubicBezTo>
                      <a:cubicBezTo>
                        <a:pt x="648" y="60"/>
                        <a:pt x="620" y="52"/>
                        <a:pt x="616" y="48"/>
                      </a:cubicBezTo>
                      <a:cubicBezTo>
                        <a:pt x="604" y="36"/>
                        <a:pt x="600" y="0"/>
                        <a:pt x="600" y="0"/>
                      </a:cubicBezTo>
                      <a:cubicBezTo>
                        <a:pt x="580" y="4"/>
                        <a:pt x="544" y="24"/>
                        <a:pt x="544" y="24"/>
                      </a:cubicBezTo>
                      <a:cubicBezTo>
                        <a:pt x="532" y="34"/>
                        <a:pt x="542" y="50"/>
                        <a:pt x="546" y="66"/>
                      </a:cubicBezTo>
                      <a:cubicBezTo>
                        <a:pt x="531" y="68"/>
                        <a:pt x="507" y="69"/>
                        <a:pt x="492" y="68"/>
                      </a:cubicBezTo>
                      <a:cubicBezTo>
                        <a:pt x="476" y="72"/>
                        <a:pt x="472" y="64"/>
                        <a:pt x="456" y="60"/>
                      </a:cubicBezTo>
                      <a:cubicBezTo>
                        <a:pt x="416" y="64"/>
                        <a:pt x="380" y="48"/>
                        <a:pt x="372" y="84"/>
                      </a:cubicBezTo>
                      <a:cubicBezTo>
                        <a:pt x="368" y="68"/>
                        <a:pt x="356" y="64"/>
                        <a:pt x="340" y="68"/>
                      </a:cubicBezTo>
                      <a:cubicBezTo>
                        <a:pt x="328" y="80"/>
                        <a:pt x="320" y="88"/>
                        <a:pt x="304" y="92"/>
                      </a:cubicBezTo>
                      <a:cubicBezTo>
                        <a:pt x="288" y="116"/>
                        <a:pt x="280" y="80"/>
                        <a:pt x="268" y="68"/>
                      </a:cubicBezTo>
                      <a:cubicBezTo>
                        <a:pt x="260" y="108"/>
                        <a:pt x="244" y="96"/>
                        <a:pt x="204" y="92"/>
                      </a:cubicBezTo>
                      <a:cubicBezTo>
                        <a:pt x="192" y="60"/>
                        <a:pt x="184" y="100"/>
                        <a:pt x="176" y="104"/>
                      </a:cubicBezTo>
                      <a:cubicBezTo>
                        <a:pt x="160" y="108"/>
                        <a:pt x="144" y="108"/>
                        <a:pt x="128" y="108"/>
                      </a:cubicBezTo>
                      <a:cubicBezTo>
                        <a:pt x="112" y="116"/>
                        <a:pt x="100" y="124"/>
                        <a:pt x="84" y="132"/>
                      </a:cubicBezTo>
                      <a:cubicBezTo>
                        <a:pt x="76" y="136"/>
                        <a:pt x="60" y="140"/>
                        <a:pt x="60" y="140"/>
                      </a:cubicBezTo>
                      <a:cubicBezTo>
                        <a:pt x="52" y="156"/>
                        <a:pt x="52" y="164"/>
                        <a:pt x="36" y="168"/>
                      </a:cubicBezTo>
                      <a:cubicBezTo>
                        <a:pt x="28" y="188"/>
                        <a:pt x="16" y="200"/>
                        <a:pt x="4" y="216"/>
                      </a:cubicBezTo>
                      <a:cubicBezTo>
                        <a:pt x="4" y="236"/>
                        <a:pt x="0" y="320"/>
                        <a:pt x="24" y="328"/>
                      </a:cubicBezTo>
                      <a:cubicBezTo>
                        <a:pt x="32" y="356"/>
                        <a:pt x="20" y="408"/>
                        <a:pt x="52" y="420"/>
                      </a:cubicBezTo>
                      <a:cubicBezTo>
                        <a:pt x="83" y="429"/>
                        <a:pt x="100" y="442"/>
                        <a:pt x="128" y="450"/>
                      </a:cubicBezTo>
                      <a:cubicBezTo>
                        <a:pt x="148" y="462"/>
                        <a:pt x="201" y="480"/>
                        <a:pt x="201" y="480"/>
                      </a:cubicBezTo>
                      <a:cubicBezTo>
                        <a:pt x="231" y="495"/>
                        <a:pt x="287" y="480"/>
                        <a:pt x="315" y="504"/>
                      </a:cubicBezTo>
                      <a:cubicBezTo>
                        <a:pt x="319" y="528"/>
                        <a:pt x="343" y="641"/>
                        <a:pt x="359" y="657"/>
                      </a:cubicBezTo>
                      <a:cubicBezTo>
                        <a:pt x="396" y="660"/>
                        <a:pt x="422" y="663"/>
                        <a:pt x="443" y="684"/>
                      </a:cubicBezTo>
                      <a:cubicBezTo>
                        <a:pt x="485" y="708"/>
                        <a:pt x="492" y="726"/>
                        <a:pt x="509" y="758"/>
                      </a:cubicBezTo>
                      <a:cubicBezTo>
                        <a:pt x="563" y="758"/>
                        <a:pt x="566" y="755"/>
                        <a:pt x="615" y="725"/>
                      </a:cubicBezTo>
                      <a:cubicBezTo>
                        <a:pt x="636" y="750"/>
                        <a:pt x="657" y="750"/>
                        <a:pt x="683" y="714"/>
                      </a:cubicBezTo>
                      <a:cubicBezTo>
                        <a:pt x="701" y="709"/>
                        <a:pt x="719" y="701"/>
                        <a:pt x="723" y="696"/>
                      </a:cubicBezTo>
                      <a:cubicBezTo>
                        <a:pt x="741" y="686"/>
                        <a:pt x="705" y="688"/>
                        <a:pt x="707" y="680"/>
                      </a:cubicBezTo>
                      <a:cubicBezTo>
                        <a:pt x="709" y="672"/>
                        <a:pt x="725" y="651"/>
                        <a:pt x="734" y="645"/>
                      </a:cubicBezTo>
                      <a:cubicBezTo>
                        <a:pt x="746" y="642"/>
                        <a:pt x="765" y="644"/>
                        <a:pt x="765" y="644"/>
                      </a:cubicBezTo>
                      <a:cubicBezTo>
                        <a:pt x="773" y="628"/>
                        <a:pt x="791" y="597"/>
                        <a:pt x="813" y="599"/>
                      </a:cubicBezTo>
                      <a:cubicBezTo>
                        <a:pt x="823" y="595"/>
                        <a:pt x="812" y="613"/>
                        <a:pt x="818" y="620"/>
                      </a:cubicBezTo>
                      <a:cubicBezTo>
                        <a:pt x="824" y="627"/>
                        <a:pt x="837" y="630"/>
                        <a:pt x="852" y="640"/>
                      </a:cubicBezTo>
                      <a:cubicBezTo>
                        <a:pt x="884" y="632"/>
                        <a:pt x="872" y="608"/>
                        <a:pt x="852" y="592"/>
                      </a:cubicBezTo>
                      <a:cubicBezTo>
                        <a:pt x="839" y="587"/>
                        <a:pt x="845" y="594"/>
                        <a:pt x="825" y="566"/>
                      </a:cubicBezTo>
                      <a:cubicBezTo>
                        <a:pt x="821" y="558"/>
                        <a:pt x="824" y="528"/>
                        <a:pt x="824" y="528"/>
                      </a:cubicBezTo>
                      <a:cubicBezTo>
                        <a:pt x="822" y="512"/>
                        <a:pt x="818" y="482"/>
                        <a:pt x="834" y="459"/>
                      </a:cubicBezTo>
                      <a:cubicBezTo>
                        <a:pt x="835" y="442"/>
                        <a:pt x="822" y="447"/>
                        <a:pt x="830" y="425"/>
                      </a:cubicBezTo>
                      <a:cubicBezTo>
                        <a:pt x="834" y="417"/>
                        <a:pt x="861" y="375"/>
                        <a:pt x="885" y="329"/>
                      </a:cubicBezTo>
                      <a:cubicBezTo>
                        <a:pt x="897" y="321"/>
                        <a:pt x="914" y="312"/>
                        <a:pt x="914" y="312"/>
                      </a:cubicBezTo>
                      <a:cubicBezTo>
                        <a:pt x="930" y="296"/>
                        <a:pt x="940" y="308"/>
                        <a:pt x="952" y="288"/>
                      </a:cubicBezTo>
                      <a:cubicBezTo>
                        <a:pt x="948" y="280"/>
                        <a:pt x="949" y="269"/>
                        <a:pt x="941" y="261"/>
                      </a:cubicBezTo>
                      <a:cubicBezTo>
                        <a:pt x="923" y="257"/>
                        <a:pt x="904" y="248"/>
                        <a:pt x="904" y="248"/>
                      </a:cubicBezTo>
                      <a:cubicBezTo>
                        <a:pt x="896" y="224"/>
                        <a:pt x="902" y="239"/>
                        <a:pt x="902" y="225"/>
                      </a:cubicBezTo>
                      <a:cubicBezTo>
                        <a:pt x="912" y="204"/>
                        <a:pt x="921" y="164"/>
                        <a:pt x="924" y="144"/>
                      </a:cubicBezTo>
                      <a:cubicBezTo>
                        <a:pt x="900" y="152"/>
                        <a:pt x="896" y="152"/>
                        <a:pt x="912" y="152"/>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93" name="Freeform 2523">
                  <a:extLst>
                    <a:ext uri="{FF2B5EF4-FFF2-40B4-BE49-F238E27FC236}">
                      <a16:creationId xmlns:a16="http://schemas.microsoft.com/office/drawing/2014/main" id="{4FD7072F-3339-4E23-2A64-CD32353913AB}"/>
                    </a:ext>
                  </a:extLst>
                </p:cNvPr>
                <p:cNvSpPr>
                  <a:spLocks noChangeAspect="1"/>
                </p:cNvSpPr>
                <p:nvPr/>
              </p:nvSpPr>
              <p:spPr bwMode="auto">
                <a:xfrm>
                  <a:off x="4895851" y="3776663"/>
                  <a:ext cx="207963" cy="127000"/>
                </a:xfrm>
                <a:custGeom>
                  <a:avLst/>
                  <a:gdLst>
                    <a:gd name="T0" fmla="*/ 192 w 527"/>
                    <a:gd name="T1" fmla="*/ 0 h 322"/>
                    <a:gd name="T2" fmla="*/ 395 w 527"/>
                    <a:gd name="T3" fmla="*/ 84 h 322"/>
                    <a:gd name="T4" fmla="*/ 479 w 527"/>
                    <a:gd name="T5" fmla="*/ 96 h 322"/>
                    <a:gd name="T6" fmla="*/ 507 w 527"/>
                    <a:gd name="T7" fmla="*/ 216 h 322"/>
                    <a:gd name="T8" fmla="*/ 527 w 527"/>
                    <a:gd name="T9" fmla="*/ 252 h 322"/>
                    <a:gd name="T10" fmla="*/ 443 w 527"/>
                    <a:gd name="T11" fmla="*/ 267 h 322"/>
                    <a:gd name="T12" fmla="*/ 375 w 527"/>
                    <a:gd name="T13" fmla="*/ 292 h 322"/>
                    <a:gd name="T14" fmla="*/ 277 w 527"/>
                    <a:gd name="T15" fmla="*/ 304 h 322"/>
                    <a:gd name="T16" fmla="*/ 170 w 527"/>
                    <a:gd name="T17" fmla="*/ 318 h 322"/>
                    <a:gd name="T18" fmla="*/ 8 w 527"/>
                    <a:gd name="T19" fmla="*/ 312 h 322"/>
                    <a:gd name="T20" fmla="*/ 16 w 527"/>
                    <a:gd name="T21" fmla="*/ 288 h 322"/>
                    <a:gd name="T22" fmla="*/ 96 w 527"/>
                    <a:gd name="T23" fmla="*/ 156 h 322"/>
                    <a:gd name="T24" fmla="*/ 144 w 527"/>
                    <a:gd name="T25" fmla="*/ 116 h 322"/>
                    <a:gd name="T26" fmla="*/ 176 w 527"/>
                    <a:gd name="T27" fmla="*/ 64 h 322"/>
                    <a:gd name="T28" fmla="*/ 192 w 527"/>
                    <a:gd name="T29" fmla="*/ 40 h 322"/>
                    <a:gd name="T30" fmla="*/ 192 w 527"/>
                    <a:gd name="T31" fmla="*/ 0 h 3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7"/>
                    <a:gd name="T49" fmla="*/ 0 h 322"/>
                    <a:gd name="T50" fmla="*/ 527 w 527"/>
                    <a:gd name="T51" fmla="*/ 322 h 3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7" h="322">
                      <a:moveTo>
                        <a:pt x="192" y="0"/>
                      </a:moveTo>
                      <a:cubicBezTo>
                        <a:pt x="228" y="12"/>
                        <a:pt x="283" y="52"/>
                        <a:pt x="395" y="84"/>
                      </a:cubicBezTo>
                      <a:cubicBezTo>
                        <a:pt x="411" y="84"/>
                        <a:pt x="463" y="84"/>
                        <a:pt x="479" y="96"/>
                      </a:cubicBezTo>
                      <a:cubicBezTo>
                        <a:pt x="491" y="136"/>
                        <a:pt x="499" y="176"/>
                        <a:pt x="507" y="216"/>
                      </a:cubicBezTo>
                      <a:cubicBezTo>
                        <a:pt x="511" y="228"/>
                        <a:pt x="527" y="252"/>
                        <a:pt x="527" y="252"/>
                      </a:cubicBezTo>
                      <a:cubicBezTo>
                        <a:pt x="490" y="253"/>
                        <a:pt x="484" y="250"/>
                        <a:pt x="443" y="267"/>
                      </a:cubicBezTo>
                      <a:cubicBezTo>
                        <a:pt x="423" y="271"/>
                        <a:pt x="375" y="292"/>
                        <a:pt x="375" y="292"/>
                      </a:cubicBezTo>
                      <a:cubicBezTo>
                        <a:pt x="334" y="294"/>
                        <a:pt x="314" y="303"/>
                        <a:pt x="277" y="304"/>
                      </a:cubicBezTo>
                      <a:cubicBezTo>
                        <a:pt x="242" y="308"/>
                        <a:pt x="206" y="314"/>
                        <a:pt x="170" y="318"/>
                      </a:cubicBezTo>
                      <a:cubicBezTo>
                        <a:pt x="113" y="315"/>
                        <a:pt x="100" y="322"/>
                        <a:pt x="8" y="312"/>
                      </a:cubicBezTo>
                      <a:cubicBezTo>
                        <a:pt x="0" y="312"/>
                        <a:pt x="16" y="288"/>
                        <a:pt x="16" y="288"/>
                      </a:cubicBezTo>
                      <a:cubicBezTo>
                        <a:pt x="28" y="180"/>
                        <a:pt x="8" y="180"/>
                        <a:pt x="96" y="156"/>
                      </a:cubicBezTo>
                      <a:cubicBezTo>
                        <a:pt x="112" y="140"/>
                        <a:pt x="124" y="124"/>
                        <a:pt x="144" y="116"/>
                      </a:cubicBezTo>
                      <a:cubicBezTo>
                        <a:pt x="160" y="96"/>
                        <a:pt x="164" y="84"/>
                        <a:pt x="176" y="64"/>
                      </a:cubicBezTo>
                      <a:cubicBezTo>
                        <a:pt x="180" y="56"/>
                        <a:pt x="192" y="40"/>
                        <a:pt x="192" y="40"/>
                      </a:cubicBezTo>
                      <a:cubicBezTo>
                        <a:pt x="184" y="8"/>
                        <a:pt x="180" y="20"/>
                        <a:pt x="192"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94" name="Freeform 2524">
                  <a:extLst>
                    <a:ext uri="{FF2B5EF4-FFF2-40B4-BE49-F238E27FC236}">
                      <a16:creationId xmlns:a16="http://schemas.microsoft.com/office/drawing/2014/main" id="{17187711-511D-734E-6D9C-99DCF165D0D1}"/>
                    </a:ext>
                  </a:extLst>
                </p:cNvPr>
                <p:cNvSpPr>
                  <a:spLocks noChangeAspect="1"/>
                </p:cNvSpPr>
                <p:nvPr/>
              </p:nvSpPr>
              <p:spPr bwMode="auto">
                <a:xfrm>
                  <a:off x="5162551" y="3590925"/>
                  <a:ext cx="620713" cy="601663"/>
                </a:xfrm>
                <a:custGeom>
                  <a:avLst/>
                  <a:gdLst>
                    <a:gd name="T0" fmla="*/ 586 w 1566"/>
                    <a:gd name="T1" fmla="*/ 52 h 1516"/>
                    <a:gd name="T2" fmla="*/ 550 w 1566"/>
                    <a:gd name="T3" fmla="*/ 160 h 1516"/>
                    <a:gd name="T4" fmla="*/ 422 w 1566"/>
                    <a:gd name="T5" fmla="*/ 196 h 1516"/>
                    <a:gd name="T6" fmla="*/ 394 w 1566"/>
                    <a:gd name="T7" fmla="*/ 292 h 1516"/>
                    <a:gd name="T8" fmla="*/ 430 w 1566"/>
                    <a:gd name="T9" fmla="*/ 324 h 1516"/>
                    <a:gd name="T10" fmla="*/ 382 w 1566"/>
                    <a:gd name="T11" fmla="*/ 388 h 1516"/>
                    <a:gd name="T12" fmla="*/ 326 w 1566"/>
                    <a:gd name="T13" fmla="*/ 520 h 1516"/>
                    <a:gd name="T14" fmla="*/ 318 w 1566"/>
                    <a:gd name="T15" fmla="*/ 628 h 1516"/>
                    <a:gd name="T16" fmla="*/ 346 w 1566"/>
                    <a:gd name="T17" fmla="*/ 700 h 1516"/>
                    <a:gd name="T18" fmla="*/ 290 w 1566"/>
                    <a:gd name="T19" fmla="*/ 664 h 1516"/>
                    <a:gd name="T20" fmla="*/ 206 w 1566"/>
                    <a:gd name="T21" fmla="*/ 732 h 1516"/>
                    <a:gd name="T22" fmla="*/ 214 w 1566"/>
                    <a:gd name="T23" fmla="*/ 752 h 1516"/>
                    <a:gd name="T24" fmla="*/ 130 w 1566"/>
                    <a:gd name="T25" fmla="*/ 808 h 1516"/>
                    <a:gd name="T26" fmla="*/ 62 w 1566"/>
                    <a:gd name="T27" fmla="*/ 816 h 1516"/>
                    <a:gd name="T28" fmla="*/ 14 w 1566"/>
                    <a:gd name="T29" fmla="*/ 888 h 1516"/>
                    <a:gd name="T30" fmla="*/ 105 w 1566"/>
                    <a:gd name="T31" fmla="*/ 1084 h 1516"/>
                    <a:gd name="T32" fmla="*/ 106 w 1566"/>
                    <a:gd name="T33" fmla="*/ 1188 h 1516"/>
                    <a:gd name="T34" fmla="*/ 27 w 1566"/>
                    <a:gd name="T35" fmla="*/ 1266 h 1516"/>
                    <a:gd name="T36" fmla="*/ 91 w 1566"/>
                    <a:gd name="T37" fmla="*/ 1336 h 1516"/>
                    <a:gd name="T38" fmla="*/ 142 w 1566"/>
                    <a:gd name="T39" fmla="*/ 1516 h 1516"/>
                    <a:gd name="T40" fmla="*/ 205 w 1566"/>
                    <a:gd name="T41" fmla="*/ 1458 h 1516"/>
                    <a:gd name="T42" fmla="*/ 232 w 1566"/>
                    <a:gd name="T43" fmla="*/ 1426 h 1516"/>
                    <a:gd name="T44" fmla="*/ 357 w 1566"/>
                    <a:gd name="T45" fmla="*/ 1339 h 1516"/>
                    <a:gd name="T46" fmla="*/ 498 w 1566"/>
                    <a:gd name="T47" fmla="*/ 1309 h 1516"/>
                    <a:gd name="T48" fmla="*/ 700 w 1566"/>
                    <a:gd name="T49" fmla="*/ 1320 h 1516"/>
                    <a:gd name="T50" fmla="*/ 777 w 1566"/>
                    <a:gd name="T51" fmla="*/ 1350 h 1516"/>
                    <a:gd name="T52" fmla="*/ 867 w 1566"/>
                    <a:gd name="T53" fmla="*/ 1365 h 1516"/>
                    <a:gd name="T54" fmla="*/ 922 w 1566"/>
                    <a:gd name="T55" fmla="*/ 1312 h 1516"/>
                    <a:gd name="T56" fmla="*/ 1006 w 1566"/>
                    <a:gd name="T57" fmla="*/ 1308 h 1516"/>
                    <a:gd name="T58" fmla="*/ 1089 w 1566"/>
                    <a:gd name="T59" fmla="*/ 1266 h 1516"/>
                    <a:gd name="T60" fmla="*/ 1162 w 1566"/>
                    <a:gd name="T61" fmla="*/ 1327 h 1516"/>
                    <a:gd name="T62" fmla="*/ 1270 w 1566"/>
                    <a:gd name="T63" fmla="*/ 1236 h 1516"/>
                    <a:gd name="T64" fmla="*/ 1386 w 1566"/>
                    <a:gd name="T65" fmla="*/ 1261 h 1516"/>
                    <a:gd name="T66" fmla="*/ 1369 w 1566"/>
                    <a:gd name="T67" fmla="*/ 1204 h 1516"/>
                    <a:gd name="T68" fmla="*/ 1447 w 1566"/>
                    <a:gd name="T69" fmla="*/ 1000 h 1516"/>
                    <a:gd name="T70" fmla="*/ 1498 w 1566"/>
                    <a:gd name="T71" fmla="*/ 928 h 1516"/>
                    <a:gd name="T72" fmla="*/ 1374 w 1566"/>
                    <a:gd name="T73" fmla="*/ 748 h 1516"/>
                    <a:gd name="T74" fmla="*/ 1498 w 1566"/>
                    <a:gd name="T75" fmla="*/ 680 h 1516"/>
                    <a:gd name="T76" fmla="*/ 1558 w 1566"/>
                    <a:gd name="T77" fmla="*/ 640 h 1516"/>
                    <a:gd name="T78" fmla="*/ 1522 w 1566"/>
                    <a:gd name="T79" fmla="*/ 556 h 1516"/>
                    <a:gd name="T80" fmla="*/ 1318 w 1566"/>
                    <a:gd name="T81" fmla="*/ 432 h 1516"/>
                    <a:gd name="T82" fmla="*/ 1210 w 1566"/>
                    <a:gd name="T83" fmla="*/ 360 h 1516"/>
                    <a:gd name="T84" fmla="*/ 1086 w 1566"/>
                    <a:gd name="T85" fmla="*/ 168 h 1516"/>
                    <a:gd name="T86" fmla="*/ 926 w 1566"/>
                    <a:gd name="T87" fmla="*/ 64 h 1516"/>
                    <a:gd name="T88" fmla="*/ 854 w 1566"/>
                    <a:gd name="T89" fmla="*/ 64 h 1516"/>
                    <a:gd name="T90" fmla="*/ 606 w 1566"/>
                    <a:gd name="T91" fmla="*/ 16 h 15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66"/>
                    <a:gd name="T139" fmla="*/ 0 h 1516"/>
                    <a:gd name="T140" fmla="*/ 1566 w 1566"/>
                    <a:gd name="T141" fmla="*/ 1516 h 15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66" h="1516">
                      <a:moveTo>
                        <a:pt x="606" y="16"/>
                      </a:moveTo>
                      <a:cubicBezTo>
                        <a:pt x="598" y="44"/>
                        <a:pt x="602" y="36"/>
                        <a:pt x="586" y="52"/>
                      </a:cubicBezTo>
                      <a:cubicBezTo>
                        <a:pt x="574" y="68"/>
                        <a:pt x="546" y="104"/>
                        <a:pt x="542" y="120"/>
                      </a:cubicBezTo>
                      <a:cubicBezTo>
                        <a:pt x="554" y="136"/>
                        <a:pt x="554" y="140"/>
                        <a:pt x="550" y="160"/>
                      </a:cubicBezTo>
                      <a:cubicBezTo>
                        <a:pt x="538" y="160"/>
                        <a:pt x="486" y="152"/>
                        <a:pt x="466" y="160"/>
                      </a:cubicBezTo>
                      <a:cubicBezTo>
                        <a:pt x="450" y="168"/>
                        <a:pt x="442" y="188"/>
                        <a:pt x="422" y="196"/>
                      </a:cubicBezTo>
                      <a:cubicBezTo>
                        <a:pt x="418" y="208"/>
                        <a:pt x="410" y="232"/>
                        <a:pt x="410" y="232"/>
                      </a:cubicBezTo>
                      <a:cubicBezTo>
                        <a:pt x="406" y="264"/>
                        <a:pt x="402" y="268"/>
                        <a:pt x="394" y="292"/>
                      </a:cubicBezTo>
                      <a:cubicBezTo>
                        <a:pt x="398" y="300"/>
                        <a:pt x="398" y="312"/>
                        <a:pt x="406" y="316"/>
                      </a:cubicBezTo>
                      <a:cubicBezTo>
                        <a:pt x="414" y="320"/>
                        <a:pt x="430" y="324"/>
                        <a:pt x="430" y="324"/>
                      </a:cubicBezTo>
                      <a:cubicBezTo>
                        <a:pt x="466" y="360"/>
                        <a:pt x="430" y="360"/>
                        <a:pt x="406" y="376"/>
                      </a:cubicBezTo>
                      <a:cubicBezTo>
                        <a:pt x="390" y="388"/>
                        <a:pt x="398" y="384"/>
                        <a:pt x="382" y="388"/>
                      </a:cubicBezTo>
                      <a:cubicBezTo>
                        <a:pt x="362" y="420"/>
                        <a:pt x="350" y="456"/>
                        <a:pt x="322" y="484"/>
                      </a:cubicBezTo>
                      <a:cubicBezTo>
                        <a:pt x="318" y="496"/>
                        <a:pt x="326" y="520"/>
                        <a:pt x="326" y="520"/>
                      </a:cubicBezTo>
                      <a:cubicBezTo>
                        <a:pt x="314" y="552"/>
                        <a:pt x="318" y="536"/>
                        <a:pt x="314" y="564"/>
                      </a:cubicBezTo>
                      <a:cubicBezTo>
                        <a:pt x="314" y="584"/>
                        <a:pt x="314" y="608"/>
                        <a:pt x="318" y="628"/>
                      </a:cubicBezTo>
                      <a:cubicBezTo>
                        <a:pt x="322" y="648"/>
                        <a:pt x="354" y="660"/>
                        <a:pt x="362" y="684"/>
                      </a:cubicBezTo>
                      <a:cubicBezTo>
                        <a:pt x="358" y="696"/>
                        <a:pt x="362" y="700"/>
                        <a:pt x="346" y="700"/>
                      </a:cubicBezTo>
                      <a:cubicBezTo>
                        <a:pt x="334" y="700"/>
                        <a:pt x="310" y="680"/>
                        <a:pt x="310" y="680"/>
                      </a:cubicBezTo>
                      <a:cubicBezTo>
                        <a:pt x="314" y="660"/>
                        <a:pt x="310" y="656"/>
                        <a:pt x="290" y="664"/>
                      </a:cubicBezTo>
                      <a:cubicBezTo>
                        <a:pt x="274" y="680"/>
                        <a:pt x="270" y="696"/>
                        <a:pt x="254" y="708"/>
                      </a:cubicBezTo>
                      <a:cubicBezTo>
                        <a:pt x="214" y="704"/>
                        <a:pt x="230" y="708"/>
                        <a:pt x="206" y="732"/>
                      </a:cubicBezTo>
                      <a:cubicBezTo>
                        <a:pt x="206" y="736"/>
                        <a:pt x="202" y="740"/>
                        <a:pt x="202" y="744"/>
                      </a:cubicBezTo>
                      <a:cubicBezTo>
                        <a:pt x="202" y="748"/>
                        <a:pt x="214" y="748"/>
                        <a:pt x="214" y="752"/>
                      </a:cubicBezTo>
                      <a:cubicBezTo>
                        <a:pt x="218" y="772"/>
                        <a:pt x="190" y="772"/>
                        <a:pt x="178" y="776"/>
                      </a:cubicBezTo>
                      <a:cubicBezTo>
                        <a:pt x="174" y="796"/>
                        <a:pt x="150" y="804"/>
                        <a:pt x="130" y="808"/>
                      </a:cubicBezTo>
                      <a:cubicBezTo>
                        <a:pt x="122" y="804"/>
                        <a:pt x="118" y="792"/>
                        <a:pt x="110" y="792"/>
                      </a:cubicBezTo>
                      <a:cubicBezTo>
                        <a:pt x="98" y="792"/>
                        <a:pt x="70" y="808"/>
                        <a:pt x="62" y="816"/>
                      </a:cubicBezTo>
                      <a:cubicBezTo>
                        <a:pt x="42" y="828"/>
                        <a:pt x="24" y="820"/>
                        <a:pt x="0" y="820"/>
                      </a:cubicBezTo>
                      <a:cubicBezTo>
                        <a:pt x="22" y="849"/>
                        <a:pt x="2" y="860"/>
                        <a:pt x="14" y="888"/>
                      </a:cubicBezTo>
                      <a:cubicBezTo>
                        <a:pt x="10" y="903"/>
                        <a:pt x="67" y="1014"/>
                        <a:pt x="82" y="1040"/>
                      </a:cubicBezTo>
                      <a:cubicBezTo>
                        <a:pt x="90" y="1052"/>
                        <a:pt x="101" y="1072"/>
                        <a:pt x="105" y="1084"/>
                      </a:cubicBezTo>
                      <a:cubicBezTo>
                        <a:pt x="109" y="1096"/>
                        <a:pt x="124" y="1113"/>
                        <a:pt x="126" y="1120"/>
                      </a:cubicBezTo>
                      <a:cubicBezTo>
                        <a:pt x="122" y="1156"/>
                        <a:pt x="130" y="1164"/>
                        <a:pt x="106" y="1188"/>
                      </a:cubicBezTo>
                      <a:cubicBezTo>
                        <a:pt x="75" y="1201"/>
                        <a:pt x="65" y="1216"/>
                        <a:pt x="52" y="1237"/>
                      </a:cubicBezTo>
                      <a:cubicBezTo>
                        <a:pt x="39" y="1250"/>
                        <a:pt x="31" y="1254"/>
                        <a:pt x="27" y="1266"/>
                      </a:cubicBezTo>
                      <a:cubicBezTo>
                        <a:pt x="23" y="1278"/>
                        <a:pt x="31" y="1300"/>
                        <a:pt x="30" y="1312"/>
                      </a:cubicBezTo>
                      <a:cubicBezTo>
                        <a:pt x="36" y="1342"/>
                        <a:pt x="51" y="1328"/>
                        <a:pt x="91" y="1336"/>
                      </a:cubicBezTo>
                      <a:cubicBezTo>
                        <a:pt x="106" y="1347"/>
                        <a:pt x="118" y="1348"/>
                        <a:pt x="126" y="1368"/>
                      </a:cubicBezTo>
                      <a:cubicBezTo>
                        <a:pt x="122" y="1416"/>
                        <a:pt x="114" y="1476"/>
                        <a:pt x="142" y="1516"/>
                      </a:cubicBezTo>
                      <a:cubicBezTo>
                        <a:pt x="158" y="1512"/>
                        <a:pt x="142" y="1492"/>
                        <a:pt x="163" y="1485"/>
                      </a:cubicBezTo>
                      <a:cubicBezTo>
                        <a:pt x="171" y="1465"/>
                        <a:pt x="185" y="1466"/>
                        <a:pt x="205" y="1458"/>
                      </a:cubicBezTo>
                      <a:cubicBezTo>
                        <a:pt x="209" y="1454"/>
                        <a:pt x="215" y="1450"/>
                        <a:pt x="219" y="1446"/>
                      </a:cubicBezTo>
                      <a:cubicBezTo>
                        <a:pt x="223" y="1442"/>
                        <a:pt x="228" y="1430"/>
                        <a:pt x="232" y="1426"/>
                      </a:cubicBezTo>
                      <a:cubicBezTo>
                        <a:pt x="264" y="1416"/>
                        <a:pt x="247" y="1392"/>
                        <a:pt x="290" y="1368"/>
                      </a:cubicBezTo>
                      <a:cubicBezTo>
                        <a:pt x="310" y="1356"/>
                        <a:pt x="357" y="1339"/>
                        <a:pt x="357" y="1339"/>
                      </a:cubicBezTo>
                      <a:cubicBezTo>
                        <a:pt x="379" y="1339"/>
                        <a:pt x="394" y="1332"/>
                        <a:pt x="418" y="1336"/>
                      </a:cubicBezTo>
                      <a:cubicBezTo>
                        <a:pt x="454" y="1335"/>
                        <a:pt x="472" y="1335"/>
                        <a:pt x="498" y="1309"/>
                      </a:cubicBezTo>
                      <a:cubicBezTo>
                        <a:pt x="535" y="1312"/>
                        <a:pt x="582" y="1305"/>
                        <a:pt x="616" y="1308"/>
                      </a:cubicBezTo>
                      <a:cubicBezTo>
                        <a:pt x="630" y="1317"/>
                        <a:pt x="678" y="1318"/>
                        <a:pt x="700" y="1320"/>
                      </a:cubicBezTo>
                      <a:cubicBezTo>
                        <a:pt x="721" y="1333"/>
                        <a:pt x="729" y="1317"/>
                        <a:pt x="750" y="1296"/>
                      </a:cubicBezTo>
                      <a:cubicBezTo>
                        <a:pt x="750" y="1318"/>
                        <a:pt x="769" y="1350"/>
                        <a:pt x="777" y="1350"/>
                      </a:cubicBezTo>
                      <a:cubicBezTo>
                        <a:pt x="789" y="1344"/>
                        <a:pt x="783" y="1329"/>
                        <a:pt x="855" y="1330"/>
                      </a:cubicBezTo>
                      <a:cubicBezTo>
                        <a:pt x="863" y="1334"/>
                        <a:pt x="859" y="1365"/>
                        <a:pt x="867" y="1365"/>
                      </a:cubicBezTo>
                      <a:cubicBezTo>
                        <a:pt x="875" y="1361"/>
                        <a:pt x="898" y="1344"/>
                        <a:pt x="898" y="1344"/>
                      </a:cubicBezTo>
                      <a:cubicBezTo>
                        <a:pt x="902" y="1336"/>
                        <a:pt x="914" y="1316"/>
                        <a:pt x="922" y="1312"/>
                      </a:cubicBezTo>
                      <a:cubicBezTo>
                        <a:pt x="924" y="1291"/>
                        <a:pt x="964" y="1305"/>
                        <a:pt x="964" y="1305"/>
                      </a:cubicBezTo>
                      <a:cubicBezTo>
                        <a:pt x="976" y="1309"/>
                        <a:pt x="994" y="1304"/>
                        <a:pt x="1006" y="1308"/>
                      </a:cubicBezTo>
                      <a:cubicBezTo>
                        <a:pt x="1012" y="1335"/>
                        <a:pt x="1013" y="1346"/>
                        <a:pt x="1041" y="1350"/>
                      </a:cubicBezTo>
                      <a:cubicBezTo>
                        <a:pt x="1047" y="1323"/>
                        <a:pt x="1066" y="1293"/>
                        <a:pt x="1089" y="1266"/>
                      </a:cubicBezTo>
                      <a:cubicBezTo>
                        <a:pt x="1108" y="1264"/>
                        <a:pt x="1122" y="1252"/>
                        <a:pt x="1132" y="1261"/>
                      </a:cubicBezTo>
                      <a:cubicBezTo>
                        <a:pt x="1144" y="1271"/>
                        <a:pt x="1125" y="1305"/>
                        <a:pt x="1162" y="1327"/>
                      </a:cubicBezTo>
                      <a:cubicBezTo>
                        <a:pt x="1206" y="1315"/>
                        <a:pt x="1159" y="1267"/>
                        <a:pt x="1222" y="1275"/>
                      </a:cubicBezTo>
                      <a:cubicBezTo>
                        <a:pt x="1236" y="1275"/>
                        <a:pt x="1254" y="1241"/>
                        <a:pt x="1270" y="1236"/>
                      </a:cubicBezTo>
                      <a:cubicBezTo>
                        <a:pt x="1309" y="1252"/>
                        <a:pt x="1327" y="1269"/>
                        <a:pt x="1334" y="1284"/>
                      </a:cubicBezTo>
                      <a:cubicBezTo>
                        <a:pt x="1354" y="1288"/>
                        <a:pt x="1389" y="1296"/>
                        <a:pt x="1386" y="1261"/>
                      </a:cubicBezTo>
                      <a:cubicBezTo>
                        <a:pt x="1387" y="1254"/>
                        <a:pt x="1395" y="1246"/>
                        <a:pt x="1392" y="1237"/>
                      </a:cubicBezTo>
                      <a:cubicBezTo>
                        <a:pt x="1389" y="1228"/>
                        <a:pt x="1378" y="1236"/>
                        <a:pt x="1369" y="1204"/>
                      </a:cubicBezTo>
                      <a:cubicBezTo>
                        <a:pt x="1357" y="1140"/>
                        <a:pt x="1370" y="1072"/>
                        <a:pt x="1426" y="1036"/>
                      </a:cubicBezTo>
                      <a:cubicBezTo>
                        <a:pt x="1434" y="1016"/>
                        <a:pt x="1450" y="1017"/>
                        <a:pt x="1447" y="1000"/>
                      </a:cubicBezTo>
                      <a:cubicBezTo>
                        <a:pt x="1491" y="999"/>
                        <a:pt x="1507" y="982"/>
                        <a:pt x="1537" y="975"/>
                      </a:cubicBezTo>
                      <a:cubicBezTo>
                        <a:pt x="1533" y="955"/>
                        <a:pt x="1518" y="940"/>
                        <a:pt x="1498" y="928"/>
                      </a:cubicBezTo>
                      <a:cubicBezTo>
                        <a:pt x="1482" y="904"/>
                        <a:pt x="1466" y="884"/>
                        <a:pt x="1438" y="876"/>
                      </a:cubicBezTo>
                      <a:cubicBezTo>
                        <a:pt x="1418" y="848"/>
                        <a:pt x="1386" y="772"/>
                        <a:pt x="1374" y="748"/>
                      </a:cubicBezTo>
                      <a:cubicBezTo>
                        <a:pt x="1370" y="740"/>
                        <a:pt x="1358" y="724"/>
                        <a:pt x="1358" y="724"/>
                      </a:cubicBezTo>
                      <a:cubicBezTo>
                        <a:pt x="1378" y="684"/>
                        <a:pt x="1462" y="680"/>
                        <a:pt x="1498" y="680"/>
                      </a:cubicBezTo>
                      <a:cubicBezTo>
                        <a:pt x="1514" y="676"/>
                        <a:pt x="1518" y="664"/>
                        <a:pt x="1534" y="660"/>
                      </a:cubicBezTo>
                      <a:cubicBezTo>
                        <a:pt x="1542" y="652"/>
                        <a:pt x="1554" y="648"/>
                        <a:pt x="1558" y="640"/>
                      </a:cubicBezTo>
                      <a:cubicBezTo>
                        <a:pt x="1562" y="632"/>
                        <a:pt x="1566" y="616"/>
                        <a:pt x="1566" y="616"/>
                      </a:cubicBezTo>
                      <a:cubicBezTo>
                        <a:pt x="1558" y="540"/>
                        <a:pt x="1566" y="584"/>
                        <a:pt x="1522" y="556"/>
                      </a:cubicBezTo>
                      <a:cubicBezTo>
                        <a:pt x="1490" y="512"/>
                        <a:pt x="1426" y="512"/>
                        <a:pt x="1378" y="508"/>
                      </a:cubicBezTo>
                      <a:cubicBezTo>
                        <a:pt x="1358" y="480"/>
                        <a:pt x="1354" y="440"/>
                        <a:pt x="1318" y="432"/>
                      </a:cubicBezTo>
                      <a:cubicBezTo>
                        <a:pt x="1274" y="436"/>
                        <a:pt x="1282" y="436"/>
                        <a:pt x="1250" y="416"/>
                      </a:cubicBezTo>
                      <a:cubicBezTo>
                        <a:pt x="1246" y="392"/>
                        <a:pt x="1234" y="368"/>
                        <a:pt x="1210" y="360"/>
                      </a:cubicBezTo>
                      <a:cubicBezTo>
                        <a:pt x="1202" y="332"/>
                        <a:pt x="1154" y="320"/>
                        <a:pt x="1134" y="292"/>
                      </a:cubicBezTo>
                      <a:cubicBezTo>
                        <a:pt x="1118" y="236"/>
                        <a:pt x="1118" y="212"/>
                        <a:pt x="1086" y="168"/>
                      </a:cubicBezTo>
                      <a:cubicBezTo>
                        <a:pt x="1082" y="124"/>
                        <a:pt x="1078" y="48"/>
                        <a:pt x="1046" y="16"/>
                      </a:cubicBezTo>
                      <a:cubicBezTo>
                        <a:pt x="978" y="20"/>
                        <a:pt x="974" y="48"/>
                        <a:pt x="926" y="64"/>
                      </a:cubicBezTo>
                      <a:cubicBezTo>
                        <a:pt x="914" y="80"/>
                        <a:pt x="906" y="80"/>
                        <a:pt x="890" y="84"/>
                      </a:cubicBezTo>
                      <a:cubicBezTo>
                        <a:pt x="878" y="80"/>
                        <a:pt x="854" y="64"/>
                        <a:pt x="854" y="64"/>
                      </a:cubicBezTo>
                      <a:cubicBezTo>
                        <a:pt x="818" y="8"/>
                        <a:pt x="746" y="32"/>
                        <a:pt x="682" y="28"/>
                      </a:cubicBezTo>
                      <a:cubicBezTo>
                        <a:pt x="666" y="24"/>
                        <a:pt x="614" y="0"/>
                        <a:pt x="606" y="16"/>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95" name="Freeform 2525">
                  <a:extLst>
                    <a:ext uri="{FF2B5EF4-FFF2-40B4-BE49-F238E27FC236}">
                      <a16:creationId xmlns:a16="http://schemas.microsoft.com/office/drawing/2014/main" id="{71D7B38B-6651-2C5B-75CA-47C9BC9AA435}"/>
                    </a:ext>
                  </a:extLst>
                </p:cNvPr>
                <p:cNvSpPr>
                  <a:spLocks noChangeAspect="1"/>
                </p:cNvSpPr>
                <p:nvPr/>
              </p:nvSpPr>
              <p:spPr bwMode="auto">
                <a:xfrm>
                  <a:off x="5180013" y="3906838"/>
                  <a:ext cx="1319213" cy="908050"/>
                </a:xfrm>
                <a:custGeom>
                  <a:avLst/>
                  <a:gdLst>
                    <a:gd name="T0" fmla="*/ 1359 w 3327"/>
                    <a:gd name="T1" fmla="*/ 260 h 2288"/>
                    <a:gd name="T2" fmla="*/ 1347 w 3327"/>
                    <a:gd name="T3" fmla="*/ 440 h 2288"/>
                    <a:gd name="T4" fmla="*/ 1195 w 3327"/>
                    <a:gd name="T5" fmla="*/ 464 h 2288"/>
                    <a:gd name="T6" fmla="*/ 1087 w 3327"/>
                    <a:gd name="T7" fmla="*/ 464 h 2288"/>
                    <a:gd name="T8" fmla="*/ 975 w 3327"/>
                    <a:gd name="T9" fmla="*/ 548 h 2288"/>
                    <a:gd name="T10" fmla="*/ 823 w 3327"/>
                    <a:gd name="T11" fmla="*/ 572 h 2288"/>
                    <a:gd name="T12" fmla="*/ 710 w 3327"/>
                    <a:gd name="T13" fmla="*/ 501 h 2288"/>
                    <a:gd name="T14" fmla="*/ 451 w 3327"/>
                    <a:gd name="T15" fmla="*/ 516 h 2288"/>
                    <a:gd name="T16" fmla="*/ 187 w 3327"/>
                    <a:gd name="T17" fmla="*/ 632 h 2288"/>
                    <a:gd name="T18" fmla="*/ 98 w 3327"/>
                    <a:gd name="T19" fmla="*/ 723 h 2288"/>
                    <a:gd name="T20" fmla="*/ 183 w 3327"/>
                    <a:gd name="T21" fmla="*/ 849 h 2288"/>
                    <a:gd name="T22" fmla="*/ 231 w 3327"/>
                    <a:gd name="T23" fmla="*/ 1012 h 2288"/>
                    <a:gd name="T24" fmla="*/ 77 w 3327"/>
                    <a:gd name="T25" fmla="*/ 1253 h 2288"/>
                    <a:gd name="T26" fmla="*/ 79 w 3327"/>
                    <a:gd name="T27" fmla="*/ 1448 h 2288"/>
                    <a:gd name="T28" fmla="*/ 0 w 3327"/>
                    <a:gd name="T29" fmla="*/ 1664 h 2288"/>
                    <a:gd name="T30" fmla="*/ 161 w 3327"/>
                    <a:gd name="T31" fmla="*/ 1773 h 2288"/>
                    <a:gd name="T32" fmla="*/ 618 w 3327"/>
                    <a:gd name="T33" fmla="*/ 1704 h 2288"/>
                    <a:gd name="T34" fmla="*/ 902 w 3327"/>
                    <a:gd name="T35" fmla="*/ 1529 h 2288"/>
                    <a:gd name="T36" fmla="*/ 978 w 3327"/>
                    <a:gd name="T37" fmla="*/ 1430 h 2288"/>
                    <a:gd name="T38" fmla="*/ 1148 w 3327"/>
                    <a:gd name="T39" fmla="*/ 1452 h 2288"/>
                    <a:gd name="T40" fmla="*/ 1388 w 3327"/>
                    <a:gd name="T41" fmla="*/ 1538 h 2288"/>
                    <a:gd name="T42" fmla="*/ 1476 w 3327"/>
                    <a:gd name="T43" fmla="*/ 1649 h 2288"/>
                    <a:gd name="T44" fmla="*/ 1557 w 3327"/>
                    <a:gd name="T45" fmla="*/ 1802 h 2288"/>
                    <a:gd name="T46" fmla="*/ 1505 w 3327"/>
                    <a:gd name="T47" fmla="*/ 1907 h 2288"/>
                    <a:gd name="T48" fmla="*/ 1430 w 3327"/>
                    <a:gd name="T49" fmla="*/ 1961 h 2288"/>
                    <a:gd name="T50" fmla="*/ 1407 w 3327"/>
                    <a:gd name="T51" fmla="*/ 2140 h 2288"/>
                    <a:gd name="T52" fmla="*/ 1433 w 3327"/>
                    <a:gd name="T53" fmla="*/ 2280 h 2288"/>
                    <a:gd name="T54" fmla="*/ 1523 w 3327"/>
                    <a:gd name="T55" fmla="*/ 2189 h 2288"/>
                    <a:gd name="T56" fmla="*/ 1687 w 3327"/>
                    <a:gd name="T57" fmla="*/ 2060 h 2288"/>
                    <a:gd name="T58" fmla="*/ 1783 w 3327"/>
                    <a:gd name="T59" fmla="*/ 1832 h 2288"/>
                    <a:gd name="T60" fmla="*/ 1959 w 3327"/>
                    <a:gd name="T61" fmla="*/ 1668 h 2288"/>
                    <a:gd name="T62" fmla="*/ 1975 w 3327"/>
                    <a:gd name="T63" fmla="*/ 1800 h 2288"/>
                    <a:gd name="T64" fmla="*/ 2271 w 3327"/>
                    <a:gd name="T65" fmla="*/ 1796 h 2288"/>
                    <a:gd name="T66" fmla="*/ 2295 w 3327"/>
                    <a:gd name="T67" fmla="*/ 1896 h 2288"/>
                    <a:gd name="T68" fmla="*/ 2211 w 3327"/>
                    <a:gd name="T69" fmla="*/ 2024 h 2288"/>
                    <a:gd name="T70" fmla="*/ 2455 w 3327"/>
                    <a:gd name="T71" fmla="*/ 2072 h 2288"/>
                    <a:gd name="T72" fmla="*/ 2623 w 3327"/>
                    <a:gd name="T73" fmla="*/ 2148 h 2288"/>
                    <a:gd name="T74" fmla="*/ 2723 w 3327"/>
                    <a:gd name="T75" fmla="*/ 2000 h 2288"/>
                    <a:gd name="T76" fmla="*/ 2827 w 3327"/>
                    <a:gd name="T77" fmla="*/ 1892 h 2288"/>
                    <a:gd name="T78" fmla="*/ 2995 w 3327"/>
                    <a:gd name="T79" fmla="*/ 1716 h 2288"/>
                    <a:gd name="T80" fmla="*/ 2787 w 3327"/>
                    <a:gd name="T81" fmla="*/ 1832 h 2288"/>
                    <a:gd name="T82" fmla="*/ 2607 w 3327"/>
                    <a:gd name="T83" fmla="*/ 1724 h 2288"/>
                    <a:gd name="T84" fmla="*/ 2667 w 3327"/>
                    <a:gd name="T85" fmla="*/ 1556 h 2288"/>
                    <a:gd name="T86" fmla="*/ 2767 w 3327"/>
                    <a:gd name="T87" fmla="*/ 1420 h 2288"/>
                    <a:gd name="T88" fmla="*/ 2935 w 3327"/>
                    <a:gd name="T89" fmla="*/ 1296 h 2288"/>
                    <a:gd name="T90" fmla="*/ 3099 w 3327"/>
                    <a:gd name="T91" fmla="*/ 1148 h 2288"/>
                    <a:gd name="T92" fmla="*/ 3127 w 3327"/>
                    <a:gd name="T93" fmla="*/ 908 h 2288"/>
                    <a:gd name="T94" fmla="*/ 3295 w 3327"/>
                    <a:gd name="T95" fmla="*/ 756 h 2288"/>
                    <a:gd name="T96" fmla="*/ 2979 w 3327"/>
                    <a:gd name="T97" fmla="*/ 344 h 2288"/>
                    <a:gd name="T98" fmla="*/ 2659 w 3327"/>
                    <a:gd name="T99" fmla="*/ 344 h 2288"/>
                    <a:gd name="T100" fmla="*/ 2379 w 3327"/>
                    <a:gd name="T101" fmla="*/ 396 h 2288"/>
                    <a:gd name="T102" fmla="*/ 2211 w 3327"/>
                    <a:gd name="T103" fmla="*/ 296 h 2288"/>
                    <a:gd name="T104" fmla="*/ 1959 w 3327"/>
                    <a:gd name="T105" fmla="*/ 128 h 2288"/>
                    <a:gd name="T106" fmla="*/ 1599 w 3327"/>
                    <a:gd name="T107" fmla="*/ 80 h 2288"/>
                    <a:gd name="T108" fmla="*/ 1483 w 3327"/>
                    <a:gd name="T109" fmla="*/ 180 h 228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327"/>
                    <a:gd name="T166" fmla="*/ 0 h 2288"/>
                    <a:gd name="T167" fmla="*/ 3327 w 3327"/>
                    <a:gd name="T168" fmla="*/ 2288 h 228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327" h="2288">
                      <a:moveTo>
                        <a:pt x="1407" y="204"/>
                      </a:moveTo>
                      <a:cubicBezTo>
                        <a:pt x="1403" y="204"/>
                        <a:pt x="1407" y="212"/>
                        <a:pt x="1403" y="216"/>
                      </a:cubicBezTo>
                      <a:cubicBezTo>
                        <a:pt x="1391" y="236"/>
                        <a:pt x="1379" y="248"/>
                        <a:pt x="1359" y="260"/>
                      </a:cubicBezTo>
                      <a:cubicBezTo>
                        <a:pt x="1351" y="272"/>
                        <a:pt x="1347" y="284"/>
                        <a:pt x="1335" y="296"/>
                      </a:cubicBezTo>
                      <a:cubicBezTo>
                        <a:pt x="1331" y="308"/>
                        <a:pt x="1323" y="332"/>
                        <a:pt x="1323" y="332"/>
                      </a:cubicBezTo>
                      <a:cubicBezTo>
                        <a:pt x="1323" y="364"/>
                        <a:pt x="1315" y="416"/>
                        <a:pt x="1347" y="440"/>
                      </a:cubicBezTo>
                      <a:cubicBezTo>
                        <a:pt x="1339" y="492"/>
                        <a:pt x="1339" y="500"/>
                        <a:pt x="1291" y="484"/>
                      </a:cubicBezTo>
                      <a:cubicBezTo>
                        <a:pt x="1279" y="468"/>
                        <a:pt x="1251" y="448"/>
                        <a:pt x="1231" y="440"/>
                      </a:cubicBezTo>
                      <a:cubicBezTo>
                        <a:pt x="1203" y="444"/>
                        <a:pt x="1215" y="452"/>
                        <a:pt x="1195" y="464"/>
                      </a:cubicBezTo>
                      <a:cubicBezTo>
                        <a:pt x="1187" y="484"/>
                        <a:pt x="1183" y="480"/>
                        <a:pt x="1163" y="476"/>
                      </a:cubicBezTo>
                      <a:cubicBezTo>
                        <a:pt x="1131" y="484"/>
                        <a:pt x="1151" y="516"/>
                        <a:pt x="1119" y="528"/>
                      </a:cubicBezTo>
                      <a:cubicBezTo>
                        <a:pt x="1087" y="516"/>
                        <a:pt x="1095" y="492"/>
                        <a:pt x="1087" y="464"/>
                      </a:cubicBezTo>
                      <a:cubicBezTo>
                        <a:pt x="1027" y="468"/>
                        <a:pt x="1055" y="464"/>
                        <a:pt x="1027" y="492"/>
                      </a:cubicBezTo>
                      <a:cubicBezTo>
                        <a:pt x="1023" y="508"/>
                        <a:pt x="1011" y="516"/>
                        <a:pt x="1003" y="528"/>
                      </a:cubicBezTo>
                      <a:cubicBezTo>
                        <a:pt x="999" y="552"/>
                        <a:pt x="995" y="556"/>
                        <a:pt x="975" y="548"/>
                      </a:cubicBezTo>
                      <a:cubicBezTo>
                        <a:pt x="959" y="504"/>
                        <a:pt x="975" y="512"/>
                        <a:pt x="923" y="508"/>
                      </a:cubicBezTo>
                      <a:cubicBezTo>
                        <a:pt x="907" y="504"/>
                        <a:pt x="899" y="500"/>
                        <a:pt x="883" y="504"/>
                      </a:cubicBezTo>
                      <a:cubicBezTo>
                        <a:pt x="871" y="540"/>
                        <a:pt x="847" y="548"/>
                        <a:pt x="823" y="572"/>
                      </a:cubicBezTo>
                      <a:cubicBezTo>
                        <a:pt x="811" y="532"/>
                        <a:pt x="823" y="532"/>
                        <a:pt x="771" y="536"/>
                      </a:cubicBezTo>
                      <a:cubicBezTo>
                        <a:pt x="755" y="540"/>
                        <a:pt x="747" y="548"/>
                        <a:pt x="731" y="552"/>
                      </a:cubicBezTo>
                      <a:cubicBezTo>
                        <a:pt x="711" y="524"/>
                        <a:pt x="714" y="529"/>
                        <a:pt x="710" y="501"/>
                      </a:cubicBezTo>
                      <a:cubicBezTo>
                        <a:pt x="694" y="505"/>
                        <a:pt x="695" y="524"/>
                        <a:pt x="675" y="528"/>
                      </a:cubicBezTo>
                      <a:cubicBezTo>
                        <a:pt x="575" y="516"/>
                        <a:pt x="611" y="528"/>
                        <a:pt x="567" y="512"/>
                      </a:cubicBezTo>
                      <a:cubicBezTo>
                        <a:pt x="527" y="516"/>
                        <a:pt x="491" y="512"/>
                        <a:pt x="451" y="516"/>
                      </a:cubicBezTo>
                      <a:cubicBezTo>
                        <a:pt x="415" y="552"/>
                        <a:pt x="359" y="540"/>
                        <a:pt x="315" y="540"/>
                      </a:cubicBezTo>
                      <a:cubicBezTo>
                        <a:pt x="291" y="552"/>
                        <a:pt x="263" y="568"/>
                        <a:pt x="235" y="576"/>
                      </a:cubicBezTo>
                      <a:cubicBezTo>
                        <a:pt x="219" y="592"/>
                        <a:pt x="211" y="616"/>
                        <a:pt x="187" y="632"/>
                      </a:cubicBezTo>
                      <a:cubicBezTo>
                        <a:pt x="167" y="660"/>
                        <a:pt x="179" y="652"/>
                        <a:pt x="159" y="660"/>
                      </a:cubicBezTo>
                      <a:cubicBezTo>
                        <a:pt x="151" y="672"/>
                        <a:pt x="115" y="684"/>
                        <a:pt x="115" y="684"/>
                      </a:cubicBezTo>
                      <a:cubicBezTo>
                        <a:pt x="110" y="707"/>
                        <a:pt x="107" y="714"/>
                        <a:pt x="98" y="723"/>
                      </a:cubicBezTo>
                      <a:cubicBezTo>
                        <a:pt x="108" y="740"/>
                        <a:pt x="111" y="764"/>
                        <a:pt x="114" y="778"/>
                      </a:cubicBezTo>
                      <a:cubicBezTo>
                        <a:pt x="123" y="793"/>
                        <a:pt x="148" y="796"/>
                        <a:pt x="161" y="810"/>
                      </a:cubicBezTo>
                      <a:cubicBezTo>
                        <a:pt x="169" y="818"/>
                        <a:pt x="177" y="837"/>
                        <a:pt x="183" y="849"/>
                      </a:cubicBezTo>
                      <a:cubicBezTo>
                        <a:pt x="209" y="851"/>
                        <a:pt x="221" y="864"/>
                        <a:pt x="221" y="872"/>
                      </a:cubicBezTo>
                      <a:cubicBezTo>
                        <a:pt x="228" y="908"/>
                        <a:pt x="236" y="933"/>
                        <a:pt x="235" y="956"/>
                      </a:cubicBezTo>
                      <a:cubicBezTo>
                        <a:pt x="235" y="964"/>
                        <a:pt x="239" y="1004"/>
                        <a:pt x="231" y="1012"/>
                      </a:cubicBezTo>
                      <a:cubicBezTo>
                        <a:pt x="215" y="1038"/>
                        <a:pt x="161" y="1092"/>
                        <a:pt x="139" y="1116"/>
                      </a:cubicBezTo>
                      <a:cubicBezTo>
                        <a:pt x="135" y="1132"/>
                        <a:pt x="105" y="1139"/>
                        <a:pt x="99" y="1156"/>
                      </a:cubicBezTo>
                      <a:cubicBezTo>
                        <a:pt x="87" y="1178"/>
                        <a:pt x="87" y="1228"/>
                        <a:pt x="77" y="1253"/>
                      </a:cubicBezTo>
                      <a:cubicBezTo>
                        <a:pt x="67" y="1278"/>
                        <a:pt x="44" y="1290"/>
                        <a:pt x="39" y="1304"/>
                      </a:cubicBezTo>
                      <a:cubicBezTo>
                        <a:pt x="35" y="1316"/>
                        <a:pt x="44" y="1340"/>
                        <a:pt x="44" y="1340"/>
                      </a:cubicBezTo>
                      <a:cubicBezTo>
                        <a:pt x="65" y="1394"/>
                        <a:pt x="63" y="1400"/>
                        <a:pt x="79" y="1448"/>
                      </a:cubicBezTo>
                      <a:cubicBezTo>
                        <a:pt x="59" y="1456"/>
                        <a:pt x="57" y="1479"/>
                        <a:pt x="53" y="1493"/>
                      </a:cubicBezTo>
                      <a:cubicBezTo>
                        <a:pt x="35" y="1509"/>
                        <a:pt x="19" y="1544"/>
                        <a:pt x="19" y="1544"/>
                      </a:cubicBezTo>
                      <a:cubicBezTo>
                        <a:pt x="15" y="1596"/>
                        <a:pt x="8" y="1638"/>
                        <a:pt x="0" y="1664"/>
                      </a:cubicBezTo>
                      <a:cubicBezTo>
                        <a:pt x="18" y="1683"/>
                        <a:pt x="21" y="1685"/>
                        <a:pt x="29" y="1700"/>
                      </a:cubicBezTo>
                      <a:cubicBezTo>
                        <a:pt x="56" y="1698"/>
                        <a:pt x="115" y="1703"/>
                        <a:pt x="139" y="1712"/>
                      </a:cubicBezTo>
                      <a:cubicBezTo>
                        <a:pt x="159" y="1742"/>
                        <a:pt x="155" y="1752"/>
                        <a:pt x="161" y="1773"/>
                      </a:cubicBezTo>
                      <a:cubicBezTo>
                        <a:pt x="213" y="1671"/>
                        <a:pt x="279" y="1743"/>
                        <a:pt x="348" y="1728"/>
                      </a:cubicBezTo>
                      <a:cubicBezTo>
                        <a:pt x="408" y="1732"/>
                        <a:pt x="476" y="1735"/>
                        <a:pt x="536" y="1739"/>
                      </a:cubicBezTo>
                      <a:cubicBezTo>
                        <a:pt x="572" y="1719"/>
                        <a:pt x="575" y="1713"/>
                        <a:pt x="618" y="1704"/>
                      </a:cubicBezTo>
                      <a:cubicBezTo>
                        <a:pt x="646" y="1688"/>
                        <a:pt x="695" y="1668"/>
                        <a:pt x="723" y="1656"/>
                      </a:cubicBezTo>
                      <a:cubicBezTo>
                        <a:pt x="735" y="1616"/>
                        <a:pt x="774" y="1616"/>
                        <a:pt x="810" y="1604"/>
                      </a:cubicBezTo>
                      <a:cubicBezTo>
                        <a:pt x="822" y="1566"/>
                        <a:pt x="843" y="1538"/>
                        <a:pt x="902" y="1529"/>
                      </a:cubicBezTo>
                      <a:cubicBezTo>
                        <a:pt x="896" y="1515"/>
                        <a:pt x="871" y="1517"/>
                        <a:pt x="879" y="1505"/>
                      </a:cubicBezTo>
                      <a:cubicBezTo>
                        <a:pt x="878" y="1482"/>
                        <a:pt x="875" y="1464"/>
                        <a:pt x="919" y="1468"/>
                      </a:cubicBezTo>
                      <a:cubicBezTo>
                        <a:pt x="939" y="1464"/>
                        <a:pt x="971" y="1461"/>
                        <a:pt x="978" y="1430"/>
                      </a:cubicBezTo>
                      <a:cubicBezTo>
                        <a:pt x="1010" y="1424"/>
                        <a:pt x="1030" y="1420"/>
                        <a:pt x="1062" y="1416"/>
                      </a:cubicBezTo>
                      <a:cubicBezTo>
                        <a:pt x="1083" y="1424"/>
                        <a:pt x="1079" y="1424"/>
                        <a:pt x="1095" y="1436"/>
                      </a:cubicBezTo>
                      <a:cubicBezTo>
                        <a:pt x="1107" y="1448"/>
                        <a:pt x="1132" y="1452"/>
                        <a:pt x="1148" y="1452"/>
                      </a:cubicBezTo>
                      <a:cubicBezTo>
                        <a:pt x="1199" y="1472"/>
                        <a:pt x="1194" y="1470"/>
                        <a:pt x="1260" y="1466"/>
                      </a:cubicBezTo>
                      <a:cubicBezTo>
                        <a:pt x="1280" y="1474"/>
                        <a:pt x="1273" y="1475"/>
                        <a:pt x="1289" y="1487"/>
                      </a:cubicBezTo>
                      <a:cubicBezTo>
                        <a:pt x="1371" y="1491"/>
                        <a:pt x="1383" y="1499"/>
                        <a:pt x="1388" y="1538"/>
                      </a:cubicBezTo>
                      <a:cubicBezTo>
                        <a:pt x="1376" y="1604"/>
                        <a:pt x="1370" y="1614"/>
                        <a:pt x="1395" y="1612"/>
                      </a:cubicBezTo>
                      <a:cubicBezTo>
                        <a:pt x="1403" y="1628"/>
                        <a:pt x="1416" y="1620"/>
                        <a:pt x="1427" y="1640"/>
                      </a:cubicBezTo>
                      <a:cubicBezTo>
                        <a:pt x="1439" y="1644"/>
                        <a:pt x="1476" y="1649"/>
                        <a:pt x="1476" y="1649"/>
                      </a:cubicBezTo>
                      <a:cubicBezTo>
                        <a:pt x="1492" y="1673"/>
                        <a:pt x="1491" y="1720"/>
                        <a:pt x="1515" y="1736"/>
                      </a:cubicBezTo>
                      <a:cubicBezTo>
                        <a:pt x="1523" y="1760"/>
                        <a:pt x="1535" y="1760"/>
                        <a:pt x="1539" y="1780"/>
                      </a:cubicBezTo>
                      <a:cubicBezTo>
                        <a:pt x="1546" y="1791"/>
                        <a:pt x="1548" y="1787"/>
                        <a:pt x="1557" y="1802"/>
                      </a:cubicBezTo>
                      <a:cubicBezTo>
                        <a:pt x="1590" y="1821"/>
                        <a:pt x="1617" y="1845"/>
                        <a:pt x="1637" y="1859"/>
                      </a:cubicBezTo>
                      <a:lnTo>
                        <a:pt x="1640" y="1886"/>
                      </a:lnTo>
                      <a:cubicBezTo>
                        <a:pt x="1592" y="1894"/>
                        <a:pt x="1557" y="1899"/>
                        <a:pt x="1505" y="1907"/>
                      </a:cubicBezTo>
                      <a:cubicBezTo>
                        <a:pt x="1476" y="1901"/>
                        <a:pt x="1455" y="1895"/>
                        <a:pt x="1433" y="1893"/>
                      </a:cubicBezTo>
                      <a:cubicBezTo>
                        <a:pt x="1417" y="1897"/>
                        <a:pt x="1428" y="1910"/>
                        <a:pt x="1424" y="1926"/>
                      </a:cubicBezTo>
                      <a:cubicBezTo>
                        <a:pt x="1424" y="1937"/>
                        <a:pt x="1424" y="1949"/>
                        <a:pt x="1430" y="1961"/>
                      </a:cubicBezTo>
                      <a:cubicBezTo>
                        <a:pt x="1448" y="1980"/>
                        <a:pt x="1461" y="2006"/>
                        <a:pt x="1463" y="2022"/>
                      </a:cubicBezTo>
                      <a:cubicBezTo>
                        <a:pt x="1440" y="2061"/>
                        <a:pt x="1446" y="2058"/>
                        <a:pt x="1437" y="2067"/>
                      </a:cubicBezTo>
                      <a:cubicBezTo>
                        <a:pt x="1449" y="2035"/>
                        <a:pt x="1416" y="2112"/>
                        <a:pt x="1407" y="2140"/>
                      </a:cubicBezTo>
                      <a:cubicBezTo>
                        <a:pt x="1399" y="2164"/>
                        <a:pt x="1410" y="2187"/>
                        <a:pt x="1400" y="2216"/>
                      </a:cubicBezTo>
                      <a:cubicBezTo>
                        <a:pt x="1384" y="2212"/>
                        <a:pt x="1371" y="2231"/>
                        <a:pt x="1355" y="2235"/>
                      </a:cubicBezTo>
                      <a:cubicBezTo>
                        <a:pt x="1368" y="2270"/>
                        <a:pt x="1386" y="2271"/>
                        <a:pt x="1433" y="2280"/>
                      </a:cubicBezTo>
                      <a:cubicBezTo>
                        <a:pt x="1453" y="2288"/>
                        <a:pt x="1447" y="2267"/>
                        <a:pt x="1463" y="2259"/>
                      </a:cubicBezTo>
                      <a:cubicBezTo>
                        <a:pt x="1478" y="2247"/>
                        <a:pt x="1490" y="2241"/>
                        <a:pt x="1503" y="2234"/>
                      </a:cubicBezTo>
                      <a:cubicBezTo>
                        <a:pt x="1515" y="2222"/>
                        <a:pt x="1511" y="2197"/>
                        <a:pt x="1523" y="2189"/>
                      </a:cubicBezTo>
                      <a:cubicBezTo>
                        <a:pt x="1565" y="2178"/>
                        <a:pt x="1616" y="2169"/>
                        <a:pt x="1643" y="2186"/>
                      </a:cubicBezTo>
                      <a:cubicBezTo>
                        <a:pt x="1647" y="2154"/>
                        <a:pt x="1635" y="2132"/>
                        <a:pt x="1659" y="2116"/>
                      </a:cubicBezTo>
                      <a:cubicBezTo>
                        <a:pt x="1663" y="2096"/>
                        <a:pt x="1663" y="2068"/>
                        <a:pt x="1687" y="2060"/>
                      </a:cubicBezTo>
                      <a:cubicBezTo>
                        <a:pt x="1703" y="2036"/>
                        <a:pt x="1719" y="2016"/>
                        <a:pt x="1731" y="1988"/>
                      </a:cubicBezTo>
                      <a:cubicBezTo>
                        <a:pt x="1739" y="1956"/>
                        <a:pt x="1743" y="1924"/>
                        <a:pt x="1755" y="1892"/>
                      </a:cubicBezTo>
                      <a:cubicBezTo>
                        <a:pt x="1759" y="1868"/>
                        <a:pt x="1755" y="1840"/>
                        <a:pt x="1783" y="1832"/>
                      </a:cubicBezTo>
                      <a:cubicBezTo>
                        <a:pt x="1799" y="1816"/>
                        <a:pt x="1807" y="1804"/>
                        <a:pt x="1831" y="1796"/>
                      </a:cubicBezTo>
                      <a:cubicBezTo>
                        <a:pt x="1855" y="1756"/>
                        <a:pt x="1867" y="1736"/>
                        <a:pt x="1915" y="1724"/>
                      </a:cubicBezTo>
                      <a:cubicBezTo>
                        <a:pt x="1939" y="1708"/>
                        <a:pt x="1943" y="1692"/>
                        <a:pt x="1959" y="1668"/>
                      </a:cubicBezTo>
                      <a:cubicBezTo>
                        <a:pt x="1991" y="1684"/>
                        <a:pt x="1983" y="1708"/>
                        <a:pt x="1995" y="1736"/>
                      </a:cubicBezTo>
                      <a:cubicBezTo>
                        <a:pt x="1983" y="1772"/>
                        <a:pt x="1991" y="1756"/>
                        <a:pt x="1979" y="1788"/>
                      </a:cubicBezTo>
                      <a:cubicBezTo>
                        <a:pt x="1979" y="1792"/>
                        <a:pt x="1975" y="1800"/>
                        <a:pt x="1975" y="1800"/>
                      </a:cubicBezTo>
                      <a:cubicBezTo>
                        <a:pt x="1983" y="1868"/>
                        <a:pt x="2027" y="1836"/>
                        <a:pt x="2067" y="1812"/>
                      </a:cubicBezTo>
                      <a:cubicBezTo>
                        <a:pt x="2111" y="1784"/>
                        <a:pt x="2167" y="1808"/>
                        <a:pt x="2219" y="1808"/>
                      </a:cubicBezTo>
                      <a:cubicBezTo>
                        <a:pt x="2259" y="1800"/>
                        <a:pt x="2239" y="1804"/>
                        <a:pt x="2271" y="1796"/>
                      </a:cubicBezTo>
                      <a:cubicBezTo>
                        <a:pt x="2299" y="1776"/>
                        <a:pt x="2303" y="1776"/>
                        <a:pt x="2335" y="1772"/>
                      </a:cubicBezTo>
                      <a:cubicBezTo>
                        <a:pt x="2343" y="1796"/>
                        <a:pt x="2347" y="1820"/>
                        <a:pt x="2323" y="1836"/>
                      </a:cubicBezTo>
                      <a:cubicBezTo>
                        <a:pt x="2311" y="1856"/>
                        <a:pt x="2319" y="1888"/>
                        <a:pt x="2295" y="1896"/>
                      </a:cubicBezTo>
                      <a:cubicBezTo>
                        <a:pt x="2275" y="1916"/>
                        <a:pt x="2271" y="1936"/>
                        <a:pt x="2251" y="1952"/>
                      </a:cubicBezTo>
                      <a:cubicBezTo>
                        <a:pt x="2243" y="1960"/>
                        <a:pt x="2227" y="1976"/>
                        <a:pt x="2227" y="1976"/>
                      </a:cubicBezTo>
                      <a:cubicBezTo>
                        <a:pt x="2223" y="1992"/>
                        <a:pt x="2211" y="2024"/>
                        <a:pt x="2211" y="2024"/>
                      </a:cubicBezTo>
                      <a:cubicBezTo>
                        <a:pt x="2231" y="2052"/>
                        <a:pt x="2259" y="2024"/>
                        <a:pt x="2283" y="2016"/>
                      </a:cubicBezTo>
                      <a:cubicBezTo>
                        <a:pt x="2315" y="2028"/>
                        <a:pt x="2339" y="2004"/>
                        <a:pt x="2383" y="2028"/>
                      </a:cubicBezTo>
                      <a:cubicBezTo>
                        <a:pt x="2411" y="2036"/>
                        <a:pt x="2435" y="2044"/>
                        <a:pt x="2455" y="2072"/>
                      </a:cubicBezTo>
                      <a:cubicBezTo>
                        <a:pt x="2479" y="2112"/>
                        <a:pt x="2459" y="2176"/>
                        <a:pt x="2503" y="2204"/>
                      </a:cubicBezTo>
                      <a:cubicBezTo>
                        <a:pt x="2555" y="2196"/>
                        <a:pt x="2559" y="2192"/>
                        <a:pt x="2599" y="2180"/>
                      </a:cubicBezTo>
                      <a:cubicBezTo>
                        <a:pt x="2611" y="2164"/>
                        <a:pt x="2619" y="2168"/>
                        <a:pt x="2623" y="2148"/>
                      </a:cubicBezTo>
                      <a:cubicBezTo>
                        <a:pt x="2627" y="2124"/>
                        <a:pt x="2623" y="2104"/>
                        <a:pt x="2643" y="2088"/>
                      </a:cubicBezTo>
                      <a:cubicBezTo>
                        <a:pt x="2647" y="2076"/>
                        <a:pt x="2659" y="2060"/>
                        <a:pt x="2667" y="2052"/>
                      </a:cubicBezTo>
                      <a:cubicBezTo>
                        <a:pt x="2683" y="2040"/>
                        <a:pt x="2703" y="2016"/>
                        <a:pt x="2723" y="2000"/>
                      </a:cubicBezTo>
                      <a:cubicBezTo>
                        <a:pt x="2731" y="1980"/>
                        <a:pt x="2767" y="1980"/>
                        <a:pt x="2775" y="1956"/>
                      </a:cubicBezTo>
                      <a:cubicBezTo>
                        <a:pt x="2779" y="1928"/>
                        <a:pt x="2783" y="1924"/>
                        <a:pt x="2803" y="1908"/>
                      </a:cubicBezTo>
                      <a:cubicBezTo>
                        <a:pt x="2811" y="1904"/>
                        <a:pt x="2827" y="1892"/>
                        <a:pt x="2827" y="1892"/>
                      </a:cubicBezTo>
                      <a:cubicBezTo>
                        <a:pt x="2875" y="1904"/>
                        <a:pt x="2847" y="1900"/>
                        <a:pt x="2907" y="1896"/>
                      </a:cubicBezTo>
                      <a:cubicBezTo>
                        <a:pt x="2931" y="1888"/>
                        <a:pt x="2931" y="1880"/>
                        <a:pt x="2943" y="1860"/>
                      </a:cubicBezTo>
                      <a:cubicBezTo>
                        <a:pt x="2955" y="1812"/>
                        <a:pt x="2983" y="1768"/>
                        <a:pt x="2995" y="1716"/>
                      </a:cubicBezTo>
                      <a:cubicBezTo>
                        <a:pt x="2995" y="1712"/>
                        <a:pt x="2963" y="1728"/>
                        <a:pt x="2955" y="1728"/>
                      </a:cubicBezTo>
                      <a:cubicBezTo>
                        <a:pt x="2919" y="1736"/>
                        <a:pt x="2879" y="1744"/>
                        <a:pt x="2847" y="1764"/>
                      </a:cubicBezTo>
                      <a:cubicBezTo>
                        <a:pt x="2835" y="1804"/>
                        <a:pt x="2823" y="1808"/>
                        <a:pt x="2787" y="1832"/>
                      </a:cubicBezTo>
                      <a:cubicBezTo>
                        <a:pt x="2759" y="1828"/>
                        <a:pt x="2739" y="1812"/>
                        <a:pt x="2715" y="1796"/>
                      </a:cubicBezTo>
                      <a:cubicBezTo>
                        <a:pt x="2691" y="1760"/>
                        <a:pt x="2675" y="1772"/>
                        <a:pt x="2643" y="1748"/>
                      </a:cubicBezTo>
                      <a:cubicBezTo>
                        <a:pt x="2631" y="1740"/>
                        <a:pt x="2607" y="1724"/>
                        <a:pt x="2607" y="1724"/>
                      </a:cubicBezTo>
                      <a:cubicBezTo>
                        <a:pt x="2603" y="1708"/>
                        <a:pt x="2579" y="1676"/>
                        <a:pt x="2579" y="1676"/>
                      </a:cubicBezTo>
                      <a:cubicBezTo>
                        <a:pt x="2587" y="1640"/>
                        <a:pt x="2579" y="1644"/>
                        <a:pt x="2623" y="1640"/>
                      </a:cubicBezTo>
                      <a:cubicBezTo>
                        <a:pt x="2655" y="1616"/>
                        <a:pt x="2647" y="1584"/>
                        <a:pt x="2667" y="1556"/>
                      </a:cubicBezTo>
                      <a:cubicBezTo>
                        <a:pt x="2671" y="1536"/>
                        <a:pt x="2679" y="1492"/>
                        <a:pt x="2695" y="1476"/>
                      </a:cubicBezTo>
                      <a:cubicBezTo>
                        <a:pt x="2703" y="1468"/>
                        <a:pt x="2719" y="1460"/>
                        <a:pt x="2719" y="1460"/>
                      </a:cubicBezTo>
                      <a:cubicBezTo>
                        <a:pt x="2727" y="1436"/>
                        <a:pt x="2747" y="1428"/>
                        <a:pt x="2767" y="1420"/>
                      </a:cubicBezTo>
                      <a:cubicBezTo>
                        <a:pt x="2783" y="1400"/>
                        <a:pt x="2787" y="1396"/>
                        <a:pt x="2811" y="1388"/>
                      </a:cubicBezTo>
                      <a:cubicBezTo>
                        <a:pt x="2831" y="1368"/>
                        <a:pt x="2859" y="1372"/>
                        <a:pt x="2887" y="1368"/>
                      </a:cubicBezTo>
                      <a:cubicBezTo>
                        <a:pt x="2895" y="1324"/>
                        <a:pt x="2891" y="1308"/>
                        <a:pt x="2935" y="1296"/>
                      </a:cubicBezTo>
                      <a:cubicBezTo>
                        <a:pt x="2947" y="1280"/>
                        <a:pt x="2963" y="1260"/>
                        <a:pt x="2979" y="1248"/>
                      </a:cubicBezTo>
                      <a:cubicBezTo>
                        <a:pt x="2991" y="1216"/>
                        <a:pt x="3019" y="1188"/>
                        <a:pt x="3051" y="1176"/>
                      </a:cubicBezTo>
                      <a:cubicBezTo>
                        <a:pt x="3063" y="1164"/>
                        <a:pt x="3083" y="1152"/>
                        <a:pt x="3099" y="1148"/>
                      </a:cubicBezTo>
                      <a:cubicBezTo>
                        <a:pt x="3119" y="1120"/>
                        <a:pt x="3095" y="1060"/>
                        <a:pt x="3075" y="1032"/>
                      </a:cubicBezTo>
                      <a:cubicBezTo>
                        <a:pt x="3071" y="1000"/>
                        <a:pt x="3071" y="976"/>
                        <a:pt x="3079" y="956"/>
                      </a:cubicBezTo>
                      <a:cubicBezTo>
                        <a:pt x="3083" y="940"/>
                        <a:pt x="3107" y="916"/>
                        <a:pt x="3127" y="908"/>
                      </a:cubicBezTo>
                      <a:cubicBezTo>
                        <a:pt x="3135" y="880"/>
                        <a:pt x="3195" y="868"/>
                        <a:pt x="3223" y="860"/>
                      </a:cubicBezTo>
                      <a:cubicBezTo>
                        <a:pt x="3251" y="840"/>
                        <a:pt x="3291" y="848"/>
                        <a:pt x="3319" y="828"/>
                      </a:cubicBezTo>
                      <a:cubicBezTo>
                        <a:pt x="3315" y="776"/>
                        <a:pt x="3327" y="788"/>
                        <a:pt x="3295" y="756"/>
                      </a:cubicBezTo>
                      <a:cubicBezTo>
                        <a:pt x="3275" y="700"/>
                        <a:pt x="3231" y="576"/>
                        <a:pt x="3203" y="512"/>
                      </a:cubicBezTo>
                      <a:cubicBezTo>
                        <a:pt x="3219" y="396"/>
                        <a:pt x="3219" y="360"/>
                        <a:pt x="3139" y="348"/>
                      </a:cubicBezTo>
                      <a:cubicBezTo>
                        <a:pt x="3091" y="328"/>
                        <a:pt x="3031" y="360"/>
                        <a:pt x="2979" y="344"/>
                      </a:cubicBezTo>
                      <a:cubicBezTo>
                        <a:pt x="2935" y="360"/>
                        <a:pt x="2951" y="364"/>
                        <a:pt x="2887" y="368"/>
                      </a:cubicBezTo>
                      <a:cubicBezTo>
                        <a:pt x="2795" y="332"/>
                        <a:pt x="2779" y="368"/>
                        <a:pt x="2727" y="384"/>
                      </a:cubicBezTo>
                      <a:cubicBezTo>
                        <a:pt x="2679" y="380"/>
                        <a:pt x="2691" y="376"/>
                        <a:pt x="2659" y="344"/>
                      </a:cubicBezTo>
                      <a:cubicBezTo>
                        <a:pt x="2643" y="328"/>
                        <a:pt x="2595" y="328"/>
                        <a:pt x="2575" y="320"/>
                      </a:cubicBezTo>
                      <a:cubicBezTo>
                        <a:pt x="2543" y="320"/>
                        <a:pt x="2523" y="368"/>
                        <a:pt x="2491" y="380"/>
                      </a:cubicBezTo>
                      <a:cubicBezTo>
                        <a:pt x="2459" y="392"/>
                        <a:pt x="2403" y="392"/>
                        <a:pt x="2379" y="396"/>
                      </a:cubicBezTo>
                      <a:cubicBezTo>
                        <a:pt x="2363" y="404"/>
                        <a:pt x="2351" y="408"/>
                        <a:pt x="2335" y="412"/>
                      </a:cubicBezTo>
                      <a:cubicBezTo>
                        <a:pt x="2307" y="412"/>
                        <a:pt x="2279" y="416"/>
                        <a:pt x="2251" y="408"/>
                      </a:cubicBezTo>
                      <a:cubicBezTo>
                        <a:pt x="2247" y="408"/>
                        <a:pt x="2231" y="316"/>
                        <a:pt x="2211" y="296"/>
                      </a:cubicBezTo>
                      <a:cubicBezTo>
                        <a:pt x="2179" y="240"/>
                        <a:pt x="2095" y="276"/>
                        <a:pt x="2055" y="272"/>
                      </a:cubicBezTo>
                      <a:cubicBezTo>
                        <a:pt x="2011" y="276"/>
                        <a:pt x="1995" y="288"/>
                        <a:pt x="1979" y="244"/>
                      </a:cubicBezTo>
                      <a:cubicBezTo>
                        <a:pt x="1979" y="220"/>
                        <a:pt x="1967" y="156"/>
                        <a:pt x="1959" y="128"/>
                      </a:cubicBezTo>
                      <a:cubicBezTo>
                        <a:pt x="1939" y="92"/>
                        <a:pt x="1875" y="36"/>
                        <a:pt x="1831" y="20"/>
                      </a:cubicBezTo>
                      <a:cubicBezTo>
                        <a:pt x="1803" y="0"/>
                        <a:pt x="1735" y="32"/>
                        <a:pt x="1695" y="36"/>
                      </a:cubicBezTo>
                      <a:cubicBezTo>
                        <a:pt x="1667" y="52"/>
                        <a:pt x="1627" y="72"/>
                        <a:pt x="1599" y="80"/>
                      </a:cubicBezTo>
                      <a:cubicBezTo>
                        <a:pt x="1595" y="92"/>
                        <a:pt x="1583" y="108"/>
                        <a:pt x="1575" y="116"/>
                      </a:cubicBezTo>
                      <a:cubicBezTo>
                        <a:pt x="1567" y="124"/>
                        <a:pt x="1539" y="180"/>
                        <a:pt x="1539" y="180"/>
                      </a:cubicBezTo>
                      <a:cubicBezTo>
                        <a:pt x="1519" y="208"/>
                        <a:pt x="1515" y="172"/>
                        <a:pt x="1483" y="180"/>
                      </a:cubicBezTo>
                      <a:cubicBezTo>
                        <a:pt x="1471" y="188"/>
                        <a:pt x="1443" y="196"/>
                        <a:pt x="1443" y="196"/>
                      </a:cubicBezTo>
                      <a:lnTo>
                        <a:pt x="1407" y="204"/>
                      </a:ln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96" name="Freeform 2526">
                  <a:extLst>
                    <a:ext uri="{FF2B5EF4-FFF2-40B4-BE49-F238E27FC236}">
                      <a16:creationId xmlns:a16="http://schemas.microsoft.com/office/drawing/2014/main" id="{73FA2BBB-7BCB-3F68-E284-396BFF25DD98}"/>
                    </a:ext>
                  </a:extLst>
                </p:cNvPr>
                <p:cNvSpPr>
                  <a:spLocks noChangeAspect="1"/>
                </p:cNvSpPr>
                <p:nvPr/>
              </p:nvSpPr>
              <p:spPr bwMode="auto">
                <a:xfrm>
                  <a:off x="5522913" y="4468813"/>
                  <a:ext cx="307975" cy="328613"/>
                </a:xfrm>
                <a:custGeom>
                  <a:avLst/>
                  <a:gdLst>
                    <a:gd name="T0" fmla="*/ 484 w 776"/>
                    <a:gd name="T1" fmla="*/ 824 h 826"/>
                    <a:gd name="T2" fmla="*/ 532 w 776"/>
                    <a:gd name="T3" fmla="*/ 800 h 826"/>
                    <a:gd name="T4" fmla="*/ 552 w 776"/>
                    <a:gd name="T5" fmla="*/ 696 h 826"/>
                    <a:gd name="T6" fmla="*/ 592 w 776"/>
                    <a:gd name="T7" fmla="*/ 608 h 826"/>
                    <a:gd name="T8" fmla="*/ 564 w 776"/>
                    <a:gd name="T9" fmla="*/ 548 h 826"/>
                    <a:gd name="T10" fmla="*/ 576 w 776"/>
                    <a:gd name="T11" fmla="*/ 476 h 826"/>
                    <a:gd name="T12" fmla="*/ 640 w 776"/>
                    <a:gd name="T13" fmla="*/ 492 h 826"/>
                    <a:gd name="T14" fmla="*/ 776 w 776"/>
                    <a:gd name="T15" fmla="*/ 468 h 826"/>
                    <a:gd name="T16" fmla="*/ 748 w 776"/>
                    <a:gd name="T17" fmla="*/ 432 h 826"/>
                    <a:gd name="T18" fmla="*/ 688 w 776"/>
                    <a:gd name="T19" fmla="*/ 384 h 826"/>
                    <a:gd name="T20" fmla="*/ 640 w 776"/>
                    <a:gd name="T21" fmla="*/ 312 h 826"/>
                    <a:gd name="T22" fmla="*/ 556 w 776"/>
                    <a:gd name="T23" fmla="*/ 224 h 826"/>
                    <a:gd name="T24" fmla="*/ 508 w 776"/>
                    <a:gd name="T25" fmla="*/ 188 h 826"/>
                    <a:gd name="T26" fmla="*/ 420 w 776"/>
                    <a:gd name="T27" fmla="*/ 72 h 826"/>
                    <a:gd name="T28" fmla="*/ 388 w 776"/>
                    <a:gd name="T29" fmla="*/ 48 h 826"/>
                    <a:gd name="T30" fmla="*/ 244 w 776"/>
                    <a:gd name="T31" fmla="*/ 28 h 826"/>
                    <a:gd name="T32" fmla="*/ 196 w 776"/>
                    <a:gd name="T33" fmla="*/ 0 h 826"/>
                    <a:gd name="T34" fmla="*/ 112 w 776"/>
                    <a:gd name="T35" fmla="*/ 12 h 826"/>
                    <a:gd name="T36" fmla="*/ 16 w 776"/>
                    <a:gd name="T37" fmla="*/ 56 h 826"/>
                    <a:gd name="T38" fmla="*/ 48 w 776"/>
                    <a:gd name="T39" fmla="*/ 124 h 826"/>
                    <a:gd name="T40" fmla="*/ 100 w 776"/>
                    <a:gd name="T41" fmla="*/ 172 h 826"/>
                    <a:gd name="T42" fmla="*/ 135 w 776"/>
                    <a:gd name="T43" fmla="*/ 212 h 826"/>
                    <a:gd name="T44" fmla="*/ 173 w 776"/>
                    <a:gd name="T45" fmla="*/ 245 h 826"/>
                    <a:gd name="T46" fmla="*/ 194 w 776"/>
                    <a:gd name="T47" fmla="*/ 282 h 826"/>
                    <a:gd name="T48" fmla="*/ 233 w 776"/>
                    <a:gd name="T49" fmla="*/ 332 h 826"/>
                    <a:gd name="T50" fmla="*/ 300 w 776"/>
                    <a:gd name="T51" fmla="*/ 364 h 826"/>
                    <a:gd name="T52" fmla="*/ 317 w 776"/>
                    <a:gd name="T53" fmla="*/ 393 h 826"/>
                    <a:gd name="T54" fmla="*/ 400 w 776"/>
                    <a:gd name="T55" fmla="*/ 600 h 826"/>
                    <a:gd name="T56" fmla="*/ 429 w 776"/>
                    <a:gd name="T57" fmla="*/ 701 h 826"/>
                    <a:gd name="T58" fmla="*/ 452 w 776"/>
                    <a:gd name="T59" fmla="*/ 780 h 826"/>
                    <a:gd name="T60" fmla="*/ 474 w 776"/>
                    <a:gd name="T61" fmla="*/ 810 h 826"/>
                    <a:gd name="T62" fmla="*/ 484 w 776"/>
                    <a:gd name="T63" fmla="*/ 824 h 8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76"/>
                    <a:gd name="T97" fmla="*/ 0 h 826"/>
                    <a:gd name="T98" fmla="*/ 776 w 776"/>
                    <a:gd name="T99" fmla="*/ 826 h 8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76" h="826">
                      <a:moveTo>
                        <a:pt x="484" y="824"/>
                      </a:moveTo>
                      <a:cubicBezTo>
                        <a:pt x="503" y="815"/>
                        <a:pt x="500" y="803"/>
                        <a:pt x="532" y="800"/>
                      </a:cubicBezTo>
                      <a:cubicBezTo>
                        <a:pt x="544" y="764"/>
                        <a:pt x="532" y="728"/>
                        <a:pt x="552" y="696"/>
                      </a:cubicBezTo>
                      <a:cubicBezTo>
                        <a:pt x="560" y="660"/>
                        <a:pt x="580" y="640"/>
                        <a:pt x="592" y="608"/>
                      </a:cubicBezTo>
                      <a:cubicBezTo>
                        <a:pt x="588" y="584"/>
                        <a:pt x="580" y="564"/>
                        <a:pt x="564" y="548"/>
                      </a:cubicBezTo>
                      <a:cubicBezTo>
                        <a:pt x="556" y="504"/>
                        <a:pt x="544" y="484"/>
                        <a:pt x="576" y="476"/>
                      </a:cubicBezTo>
                      <a:cubicBezTo>
                        <a:pt x="596" y="480"/>
                        <a:pt x="640" y="492"/>
                        <a:pt x="640" y="492"/>
                      </a:cubicBezTo>
                      <a:cubicBezTo>
                        <a:pt x="688" y="488"/>
                        <a:pt x="728" y="476"/>
                        <a:pt x="776" y="468"/>
                      </a:cubicBezTo>
                      <a:cubicBezTo>
                        <a:pt x="772" y="448"/>
                        <a:pt x="768" y="440"/>
                        <a:pt x="748" y="432"/>
                      </a:cubicBezTo>
                      <a:cubicBezTo>
                        <a:pt x="740" y="416"/>
                        <a:pt x="704" y="392"/>
                        <a:pt x="688" y="384"/>
                      </a:cubicBezTo>
                      <a:cubicBezTo>
                        <a:pt x="680" y="360"/>
                        <a:pt x="656" y="336"/>
                        <a:pt x="640" y="312"/>
                      </a:cubicBezTo>
                      <a:cubicBezTo>
                        <a:pt x="604" y="260"/>
                        <a:pt x="652" y="232"/>
                        <a:pt x="556" y="224"/>
                      </a:cubicBezTo>
                      <a:cubicBezTo>
                        <a:pt x="540" y="196"/>
                        <a:pt x="532" y="204"/>
                        <a:pt x="508" y="188"/>
                      </a:cubicBezTo>
                      <a:cubicBezTo>
                        <a:pt x="528" y="84"/>
                        <a:pt x="536" y="76"/>
                        <a:pt x="420" y="72"/>
                      </a:cubicBezTo>
                      <a:cubicBezTo>
                        <a:pt x="416" y="56"/>
                        <a:pt x="400" y="56"/>
                        <a:pt x="388" y="48"/>
                      </a:cubicBezTo>
                      <a:cubicBezTo>
                        <a:pt x="344" y="64"/>
                        <a:pt x="288" y="36"/>
                        <a:pt x="244" y="28"/>
                      </a:cubicBezTo>
                      <a:cubicBezTo>
                        <a:pt x="228" y="16"/>
                        <a:pt x="196" y="0"/>
                        <a:pt x="196" y="0"/>
                      </a:cubicBezTo>
                      <a:cubicBezTo>
                        <a:pt x="168" y="4"/>
                        <a:pt x="112" y="12"/>
                        <a:pt x="112" y="12"/>
                      </a:cubicBezTo>
                      <a:cubicBezTo>
                        <a:pt x="96" y="56"/>
                        <a:pt x="56" y="52"/>
                        <a:pt x="16" y="56"/>
                      </a:cubicBezTo>
                      <a:cubicBezTo>
                        <a:pt x="0" y="104"/>
                        <a:pt x="16" y="92"/>
                        <a:pt x="48" y="124"/>
                      </a:cubicBezTo>
                      <a:cubicBezTo>
                        <a:pt x="52" y="136"/>
                        <a:pt x="60" y="156"/>
                        <a:pt x="100" y="172"/>
                      </a:cubicBezTo>
                      <a:cubicBezTo>
                        <a:pt x="116" y="192"/>
                        <a:pt x="123" y="197"/>
                        <a:pt x="135" y="212"/>
                      </a:cubicBezTo>
                      <a:cubicBezTo>
                        <a:pt x="158" y="231"/>
                        <a:pt x="153" y="233"/>
                        <a:pt x="173" y="245"/>
                      </a:cubicBezTo>
                      <a:cubicBezTo>
                        <a:pt x="177" y="261"/>
                        <a:pt x="185" y="263"/>
                        <a:pt x="194" y="282"/>
                      </a:cubicBezTo>
                      <a:cubicBezTo>
                        <a:pt x="214" y="302"/>
                        <a:pt x="213" y="312"/>
                        <a:pt x="233" y="332"/>
                      </a:cubicBezTo>
                      <a:cubicBezTo>
                        <a:pt x="261" y="342"/>
                        <a:pt x="300" y="364"/>
                        <a:pt x="300" y="364"/>
                      </a:cubicBezTo>
                      <a:cubicBezTo>
                        <a:pt x="311" y="381"/>
                        <a:pt x="300" y="354"/>
                        <a:pt x="317" y="393"/>
                      </a:cubicBezTo>
                      <a:cubicBezTo>
                        <a:pt x="443" y="449"/>
                        <a:pt x="398" y="557"/>
                        <a:pt x="400" y="600"/>
                      </a:cubicBezTo>
                      <a:cubicBezTo>
                        <a:pt x="422" y="668"/>
                        <a:pt x="414" y="645"/>
                        <a:pt x="429" y="701"/>
                      </a:cubicBezTo>
                      <a:cubicBezTo>
                        <a:pt x="433" y="729"/>
                        <a:pt x="446" y="764"/>
                        <a:pt x="452" y="780"/>
                      </a:cubicBezTo>
                      <a:cubicBezTo>
                        <a:pt x="461" y="794"/>
                        <a:pt x="464" y="798"/>
                        <a:pt x="474" y="810"/>
                      </a:cubicBezTo>
                      <a:cubicBezTo>
                        <a:pt x="478" y="826"/>
                        <a:pt x="484" y="816"/>
                        <a:pt x="484" y="824"/>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97" name="Freeform 2527">
                  <a:extLst>
                    <a:ext uri="{FF2B5EF4-FFF2-40B4-BE49-F238E27FC236}">
                      <a16:creationId xmlns:a16="http://schemas.microsoft.com/office/drawing/2014/main" id="{C2A734B4-4E77-8B18-F3BF-4D20D11CFE7B}"/>
                    </a:ext>
                  </a:extLst>
                </p:cNvPr>
                <p:cNvSpPr>
                  <a:spLocks noChangeAspect="1"/>
                </p:cNvSpPr>
                <p:nvPr/>
              </p:nvSpPr>
              <p:spPr bwMode="auto">
                <a:xfrm>
                  <a:off x="5060951" y="4506913"/>
                  <a:ext cx="788988" cy="566738"/>
                </a:xfrm>
                <a:custGeom>
                  <a:avLst/>
                  <a:gdLst>
                    <a:gd name="T0" fmla="*/ 1831 w 1991"/>
                    <a:gd name="T1" fmla="*/ 1035 h 1428"/>
                    <a:gd name="T2" fmla="*/ 1927 w 1991"/>
                    <a:gd name="T3" fmla="*/ 827 h 1428"/>
                    <a:gd name="T4" fmla="*/ 1947 w 1991"/>
                    <a:gd name="T5" fmla="*/ 684 h 1428"/>
                    <a:gd name="T6" fmla="*/ 1759 w 1991"/>
                    <a:gd name="T7" fmla="*/ 747 h 1428"/>
                    <a:gd name="T8" fmla="*/ 1659 w 1991"/>
                    <a:gd name="T9" fmla="*/ 743 h 1428"/>
                    <a:gd name="T10" fmla="*/ 1603 w 1991"/>
                    <a:gd name="T11" fmla="*/ 636 h 1428"/>
                    <a:gd name="T12" fmla="*/ 1483 w 1991"/>
                    <a:gd name="T13" fmla="*/ 296 h 1428"/>
                    <a:gd name="T14" fmla="*/ 1399 w 1991"/>
                    <a:gd name="T15" fmla="*/ 236 h 1428"/>
                    <a:gd name="T16" fmla="*/ 1299 w 1991"/>
                    <a:gd name="T17" fmla="*/ 116 h 1428"/>
                    <a:gd name="T18" fmla="*/ 1207 w 1991"/>
                    <a:gd name="T19" fmla="*/ 24 h 1428"/>
                    <a:gd name="T20" fmla="*/ 1079 w 1991"/>
                    <a:gd name="T21" fmla="*/ 100 h 1428"/>
                    <a:gd name="T22" fmla="*/ 915 w 1991"/>
                    <a:gd name="T23" fmla="*/ 192 h 1428"/>
                    <a:gd name="T24" fmla="*/ 835 w 1991"/>
                    <a:gd name="T25" fmla="*/ 228 h 1428"/>
                    <a:gd name="T26" fmla="*/ 483 w 1991"/>
                    <a:gd name="T27" fmla="*/ 228 h 1428"/>
                    <a:gd name="T28" fmla="*/ 363 w 1991"/>
                    <a:gd name="T29" fmla="*/ 320 h 1428"/>
                    <a:gd name="T30" fmla="*/ 319 w 1991"/>
                    <a:gd name="T31" fmla="*/ 372 h 1428"/>
                    <a:gd name="T32" fmla="*/ 219 w 1991"/>
                    <a:gd name="T33" fmla="*/ 680 h 1428"/>
                    <a:gd name="T34" fmla="*/ 161 w 1991"/>
                    <a:gd name="T35" fmla="*/ 800 h 1428"/>
                    <a:gd name="T36" fmla="*/ 20 w 1991"/>
                    <a:gd name="T37" fmla="*/ 866 h 1428"/>
                    <a:gd name="T38" fmla="*/ 105 w 1991"/>
                    <a:gd name="T39" fmla="*/ 927 h 1428"/>
                    <a:gd name="T40" fmla="*/ 225 w 1991"/>
                    <a:gd name="T41" fmla="*/ 1076 h 1428"/>
                    <a:gd name="T42" fmla="*/ 315 w 1991"/>
                    <a:gd name="T43" fmla="*/ 1111 h 1428"/>
                    <a:gd name="T44" fmla="*/ 422 w 1991"/>
                    <a:gd name="T45" fmla="*/ 1233 h 1428"/>
                    <a:gd name="T46" fmla="*/ 491 w 1991"/>
                    <a:gd name="T47" fmla="*/ 1248 h 1428"/>
                    <a:gd name="T48" fmla="*/ 600 w 1991"/>
                    <a:gd name="T49" fmla="*/ 1301 h 1428"/>
                    <a:gd name="T50" fmla="*/ 656 w 1991"/>
                    <a:gd name="T51" fmla="*/ 1329 h 1428"/>
                    <a:gd name="T52" fmla="*/ 725 w 1991"/>
                    <a:gd name="T53" fmla="*/ 1425 h 1428"/>
                    <a:gd name="T54" fmla="*/ 1026 w 1991"/>
                    <a:gd name="T55" fmla="*/ 1397 h 1428"/>
                    <a:gd name="T56" fmla="*/ 1230 w 1991"/>
                    <a:gd name="T57" fmla="*/ 1359 h 1428"/>
                    <a:gd name="T58" fmla="*/ 1311 w 1991"/>
                    <a:gd name="T59" fmla="*/ 1295 h 1428"/>
                    <a:gd name="T60" fmla="*/ 1455 w 1991"/>
                    <a:gd name="T61" fmla="*/ 1203 h 1428"/>
                    <a:gd name="T62" fmla="*/ 1557 w 1991"/>
                    <a:gd name="T63" fmla="*/ 1158 h 1428"/>
                    <a:gd name="T64" fmla="*/ 1803 w 1991"/>
                    <a:gd name="T65" fmla="*/ 1195 h 14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91"/>
                    <a:gd name="T100" fmla="*/ 0 h 1428"/>
                    <a:gd name="T101" fmla="*/ 1991 w 1991"/>
                    <a:gd name="T102" fmla="*/ 1428 h 14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91" h="1428">
                      <a:moveTo>
                        <a:pt x="1847" y="1195"/>
                      </a:moveTo>
                      <a:cubicBezTo>
                        <a:pt x="1855" y="1139"/>
                        <a:pt x="1851" y="1087"/>
                        <a:pt x="1831" y="1035"/>
                      </a:cubicBezTo>
                      <a:cubicBezTo>
                        <a:pt x="1835" y="963"/>
                        <a:pt x="1815" y="903"/>
                        <a:pt x="1875" y="863"/>
                      </a:cubicBezTo>
                      <a:cubicBezTo>
                        <a:pt x="1879" y="847"/>
                        <a:pt x="1911" y="835"/>
                        <a:pt x="1927" y="827"/>
                      </a:cubicBezTo>
                      <a:cubicBezTo>
                        <a:pt x="1939" y="823"/>
                        <a:pt x="1963" y="815"/>
                        <a:pt x="1963" y="815"/>
                      </a:cubicBezTo>
                      <a:cubicBezTo>
                        <a:pt x="1991" y="787"/>
                        <a:pt x="1975" y="712"/>
                        <a:pt x="1947" y="684"/>
                      </a:cubicBezTo>
                      <a:cubicBezTo>
                        <a:pt x="1935" y="644"/>
                        <a:pt x="1863" y="672"/>
                        <a:pt x="1823" y="676"/>
                      </a:cubicBezTo>
                      <a:cubicBezTo>
                        <a:pt x="1815" y="708"/>
                        <a:pt x="1791" y="735"/>
                        <a:pt x="1759" y="747"/>
                      </a:cubicBezTo>
                      <a:cubicBezTo>
                        <a:pt x="1747" y="775"/>
                        <a:pt x="1735" y="767"/>
                        <a:pt x="1703" y="763"/>
                      </a:cubicBezTo>
                      <a:cubicBezTo>
                        <a:pt x="1687" y="755"/>
                        <a:pt x="1675" y="751"/>
                        <a:pt x="1659" y="743"/>
                      </a:cubicBezTo>
                      <a:cubicBezTo>
                        <a:pt x="1647" y="727"/>
                        <a:pt x="1639" y="708"/>
                        <a:pt x="1627" y="696"/>
                      </a:cubicBezTo>
                      <a:cubicBezTo>
                        <a:pt x="1619" y="688"/>
                        <a:pt x="1603" y="636"/>
                        <a:pt x="1603" y="636"/>
                      </a:cubicBezTo>
                      <a:cubicBezTo>
                        <a:pt x="1595" y="604"/>
                        <a:pt x="1587" y="560"/>
                        <a:pt x="1567" y="500"/>
                      </a:cubicBezTo>
                      <a:cubicBezTo>
                        <a:pt x="1583" y="396"/>
                        <a:pt x="1563" y="324"/>
                        <a:pt x="1483" y="296"/>
                      </a:cubicBezTo>
                      <a:cubicBezTo>
                        <a:pt x="1475" y="276"/>
                        <a:pt x="1467" y="268"/>
                        <a:pt x="1447" y="260"/>
                      </a:cubicBezTo>
                      <a:cubicBezTo>
                        <a:pt x="1431" y="244"/>
                        <a:pt x="1419" y="244"/>
                        <a:pt x="1399" y="236"/>
                      </a:cubicBezTo>
                      <a:cubicBezTo>
                        <a:pt x="1387" y="216"/>
                        <a:pt x="1379" y="204"/>
                        <a:pt x="1363" y="192"/>
                      </a:cubicBezTo>
                      <a:cubicBezTo>
                        <a:pt x="1359" y="176"/>
                        <a:pt x="1319" y="124"/>
                        <a:pt x="1299" y="116"/>
                      </a:cubicBezTo>
                      <a:cubicBezTo>
                        <a:pt x="1291" y="88"/>
                        <a:pt x="1255" y="76"/>
                        <a:pt x="1231" y="60"/>
                      </a:cubicBezTo>
                      <a:cubicBezTo>
                        <a:pt x="1223" y="48"/>
                        <a:pt x="1219" y="36"/>
                        <a:pt x="1207" y="24"/>
                      </a:cubicBezTo>
                      <a:cubicBezTo>
                        <a:pt x="1199" y="0"/>
                        <a:pt x="1135" y="44"/>
                        <a:pt x="1135" y="44"/>
                      </a:cubicBezTo>
                      <a:cubicBezTo>
                        <a:pt x="1111" y="76"/>
                        <a:pt x="1123" y="92"/>
                        <a:pt x="1079" y="100"/>
                      </a:cubicBezTo>
                      <a:cubicBezTo>
                        <a:pt x="1063" y="108"/>
                        <a:pt x="1043" y="116"/>
                        <a:pt x="1027" y="128"/>
                      </a:cubicBezTo>
                      <a:cubicBezTo>
                        <a:pt x="1015" y="164"/>
                        <a:pt x="943" y="168"/>
                        <a:pt x="915" y="192"/>
                      </a:cubicBezTo>
                      <a:cubicBezTo>
                        <a:pt x="899" y="196"/>
                        <a:pt x="871" y="204"/>
                        <a:pt x="871" y="204"/>
                      </a:cubicBezTo>
                      <a:cubicBezTo>
                        <a:pt x="859" y="216"/>
                        <a:pt x="847" y="220"/>
                        <a:pt x="835" y="228"/>
                      </a:cubicBezTo>
                      <a:cubicBezTo>
                        <a:pt x="723" y="216"/>
                        <a:pt x="787" y="220"/>
                        <a:pt x="643" y="216"/>
                      </a:cubicBezTo>
                      <a:cubicBezTo>
                        <a:pt x="535" y="220"/>
                        <a:pt x="543" y="180"/>
                        <a:pt x="483" y="228"/>
                      </a:cubicBezTo>
                      <a:cubicBezTo>
                        <a:pt x="475" y="248"/>
                        <a:pt x="435" y="292"/>
                        <a:pt x="411" y="296"/>
                      </a:cubicBezTo>
                      <a:cubicBezTo>
                        <a:pt x="399" y="312"/>
                        <a:pt x="383" y="312"/>
                        <a:pt x="363" y="320"/>
                      </a:cubicBezTo>
                      <a:cubicBezTo>
                        <a:pt x="359" y="320"/>
                        <a:pt x="351" y="324"/>
                        <a:pt x="351" y="324"/>
                      </a:cubicBezTo>
                      <a:cubicBezTo>
                        <a:pt x="339" y="340"/>
                        <a:pt x="331" y="360"/>
                        <a:pt x="319" y="372"/>
                      </a:cubicBezTo>
                      <a:cubicBezTo>
                        <a:pt x="295" y="440"/>
                        <a:pt x="287" y="528"/>
                        <a:pt x="247" y="588"/>
                      </a:cubicBezTo>
                      <a:cubicBezTo>
                        <a:pt x="233" y="623"/>
                        <a:pt x="235" y="632"/>
                        <a:pt x="219" y="680"/>
                      </a:cubicBezTo>
                      <a:cubicBezTo>
                        <a:pt x="215" y="720"/>
                        <a:pt x="203" y="725"/>
                        <a:pt x="183" y="753"/>
                      </a:cubicBezTo>
                      <a:cubicBezTo>
                        <a:pt x="173" y="772"/>
                        <a:pt x="174" y="780"/>
                        <a:pt x="161" y="800"/>
                      </a:cubicBezTo>
                      <a:cubicBezTo>
                        <a:pt x="144" y="813"/>
                        <a:pt x="98" y="825"/>
                        <a:pt x="83" y="849"/>
                      </a:cubicBezTo>
                      <a:cubicBezTo>
                        <a:pt x="60" y="860"/>
                        <a:pt x="27" y="862"/>
                        <a:pt x="20" y="866"/>
                      </a:cubicBezTo>
                      <a:cubicBezTo>
                        <a:pt x="0" y="878"/>
                        <a:pt x="33" y="866"/>
                        <a:pt x="36" y="881"/>
                      </a:cubicBezTo>
                      <a:cubicBezTo>
                        <a:pt x="50" y="921"/>
                        <a:pt x="90" y="912"/>
                        <a:pt x="105" y="927"/>
                      </a:cubicBezTo>
                      <a:cubicBezTo>
                        <a:pt x="129" y="959"/>
                        <a:pt x="141" y="962"/>
                        <a:pt x="163" y="991"/>
                      </a:cubicBezTo>
                      <a:cubicBezTo>
                        <a:pt x="170" y="1017"/>
                        <a:pt x="206" y="1035"/>
                        <a:pt x="225" y="1076"/>
                      </a:cubicBezTo>
                      <a:cubicBezTo>
                        <a:pt x="248" y="1083"/>
                        <a:pt x="257" y="1079"/>
                        <a:pt x="281" y="1086"/>
                      </a:cubicBezTo>
                      <a:cubicBezTo>
                        <a:pt x="293" y="1090"/>
                        <a:pt x="315" y="1111"/>
                        <a:pt x="315" y="1111"/>
                      </a:cubicBezTo>
                      <a:cubicBezTo>
                        <a:pt x="319" y="1199"/>
                        <a:pt x="288" y="1233"/>
                        <a:pt x="375" y="1231"/>
                      </a:cubicBezTo>
                      <a:cubicBezTo>
                        <a:pt x="391" y="1235"/>
                        <a:pt x="399" y="1226"/>
                        <a:pt x="422" y="1233"/>
                      </a:cubicBezTo>
                      <a:cubicBezTo>
                        <a:pt x="430" y="1237"/>
                        <a:pt x="462" y="1251"/>
                        <a:pt x="462" y="1251"/>
                      </a:cubicBezTo>
                      <a:cubicBezTo>
                        <a:pt x="473" y="1253"/>
                        <a:pt x="475" y="1254"/>
                        <a:pt x="491" y="1248"/>
                      </a:cubicBezTo>
                      <a:cubicBezTo>
                        <a:pt x="497" y="1235"/>
                        <a:pt x="498" y="1226"/>
                        <a:pt x="557" y="1206"/>
                      </a:cubicBezTo>
                      <a:cubicBezTo>
                        <a:pt x="581" y="1214"/>
                        <a:pt x="609" y="1265"/>
                        <a:pt x="600" y="1301"/>
                      </a:cubicBezTo>
                      <a:cubicBezTo>
                        <a:pt x="604" y="1309"/>
                        <a:pt x="618" y="1301"/>
                        <a:pt x="629" y="1316"/>
                      </a:cubicBezTo>
                      <a:cubicBezTo>
                        <a:pt x="641" y="1320"/>
                        <a:pt x="656" y="1329"/>
                        <a:pt x="656" y="1329"/>
                      </a:cubicBezTo>
                      <a:cubicBezTo>
                        <a:pt x="698" y="1392"/>
                        <a:pt x="678" y="1401"/>
                        <a:pt x="685" y="1415"/>
                      </a:cubicBezTo>
                      <a:cubicBezTo>
                        <a:pt x="704" y="1421"/>
                        <a:pt x="707" y="1423"/>
                        <a:pt x="725" y="1425"/>
                      </a:cubicBezTo>
                      <a:cubicBezTo>
                        <a:pt x="747" y="1428"/>
                        <a:pt x="771" y="1425"/>
                        <a:pt x="795" y="1425"/>
                      </a:cubicBezTo>
                      <a:cubicBezTo>
                        <a:pt x="871" y="1421"/>
                        <a:pt x="942" y="1409"/>
                        <a:pt x="1026" y="1397"/>
                      </a:cubicBezTo>
                      <a:cubicBezTo>
                        <a:pt x="1074" y="1389"/>
                        <a:pt x="1122" y="1385"/>
                        <a:pt x="1175" y="1380"/>
                      </a:cubicBezTo>
                      <a:cubicBezTo>
                        <a:pt x="1196" y="1371"/>
                        <a:pt x="1230" y="1359"/>
                        <a:pt x="1230" y="1359"/>
                      </a:cubicBezTo>
                      <a:cubicBezTo>
                        <a:pt x="1242" y="1351"/>
                        <a:pt x="1251" y="1346"/>
                        <a:pt x="1263" y="1338"/>
                      </a:cubicBezTo>
                      <a:cubicBezTo>
                        <a:pt x="1267" y="1322"/>
                        <a:pt x="1295" y="1307"/>
                        <a:pt x="1311" y="1295"/>
                      </a:cubicBezTo>
                      <a:cubicBezTo>
                        <a:pt x="1323" y="1274"/>
                        <a:pt x="1343" y="1257"/>
                        <a:pt x="1355" y="1233"/>
                      </a:cubicBezTo>
                      <a:cubicBezTo>
                        <a:pt x="1382" y="1216"/>
                        <a:pt x="1428" y="1213"/>
                        <a:pt x="1455" y="1203"/>
                      </a:cubicBezTo>
                      <a:cubicBezTo>
                        <a:pt x="1476" y="1182"/>
                        <a:pt x="1519" y="1175"/>
                        <a:pt x="1519" y="1175"/>
                      </a:cubicBezTo>
                      <a:cubicBezTo>
                        <a:pt x="1527" y="1167"/>
                        <a:pt x="1557" y="1158"/>
                        <a:pt x="1557" y="1158"/>
                      </a:cubicBezTo>
                      <a:cubicBezTo>
                        <a:pt x="1581" y="1162"/>
                        <a:pt x="1605" y="1154"/>
                        <a:pt x="1629" y="1158"/>
                      </a:cubicBezTo>
                      <a:cubicBezTo>
                        <a:pt x="1670" y="1172"/>
                        <a:pt x="1773" y="1197"/>
                        <a:pt x="1803" y="1195"/>
                      </a:cubicBezTo>
                      <a:cubicBezTo>
                        <a:pt x="1811" y="1195"/>
                        <a:pt x="1871" y="1219"/>
                        <a:pt x="1847" y="1195"/>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98" name="Freeform 2528">
                  <a:extLst>
                    <a:ext uri="{FF2B5EF4-FFF2-40B4-BE49-F238E27FC236}">
                      <a16:creationId xmlns:a16="http://schemas.microsoft.com/office/drawing/2014/main" id="{56B17F9E-0101-6514-831C-CF3EEC3BE84F}"/>
                    </a:ext>
                  </a:extLst>
                </p:cNvPr>
                <p:cNvSpPr>
                  <a:spLocks noChangeAspect="1"/>
                </p:cNvSpPr>
                <p:nvPr/>
              </p:nvSpPr>
              <p:spPr bwMode="auto">
                <a:xfrm>
                  <a:off x="5284788" y="4965700"/>
                  <a:ext cx="523875" cy="396875"/>
                </a:xfrm>
                <a:custGeom>
                  <a:avLst/>
                  <a:gdLst>
                    <a:gd name="T0" fmla="*/ 1283 w 1320"/>
                    <a:gd name="T1" fmla="*/ 578 h 999"/>
                    <a:gd name="T2" fmla="*/ 1276 w 1320"/>
                    <a:gd name="T3" fmla="*/ 507 h 999"/>
                    <a:gd name="T4" fmla="*/ 1216 w 1320"/>
                    <a:gd name="T5" fmla="*/ 480 h 999"/>
                    <a:gd name="T6" fmla="*/ 1192 w 1320"/>
                    <a:gd name="T7" fmla="*/ 464 h 999"/>
                    <a:gd name="T8" fmla="*/ 1188 w 1320"/>
                    <a:gd name="T9" fmla="*/ 368 h 999"/>
                    <a:gd name="T10" fmla="*/ 1192 w 1320"/>
                    <a:gd name="T11" fmla="*/ 288 h 999"/>
                    <a:gd name="T12" fmla="*/ 1312 w 1320"/>
                    <a:gd name="T13" fmla="*/ 128 h 999"/>
                    <a:gd name="T14" fmla="*/ 1272 w 1320"/>
                    <a:gd name="T15" fmla="*/ 48 h 999"/>
                    <a:gd name="T16" fmla="*/ 1216 w 1320"/>
                    <a:gd name="T17" fmla="*/ 40 h 999"/>
                    <a:gd name="T18" fmla="*/ 1104 w 1320"/>
                    <a:gd name="T19" fmla="*/ 16 h 999"/>
                    <a:gd name="T20" fmla="*/ 1044 w 1320"/>
                    <a:gd name="T21" fmla="*/ 0 h 999"/>
                    <a:gd name="T22" fmla="*/ 924 w 1320"/>
                    <a:gd name="T23" fmla="*/ 24 h 999"/>
                    <a:gd name="T24" fmla="*/ 888 w 1320"/>
                    <a:gd name="T25" fmla="*/ 48 h 999"/>
                    <a:gd name="T26" fmla="*/ 784 w 1320"/>
                    <a:gd name="T27" fmla="*/ 80 h 999"/>
                    <a:gd name="T28" fmla="*/ 760 w 1320"/>
                    <a:gd name="T29" fmla="*/ 112 h 999"/>
                    <a:gd name="T30" fmla="*/ 736 w 1320"/>
                    <a:gd name="T31" fmla="*/ 140 h 999"/>
                    <a:gd name="T32" fmla="*/ 700 w 1320"/>
                    <a:gd name="T33" fmla="*/ 172 h 999"/>
                    <a:gd name="T34" fmla="*/ 612 w 1320"/>
                    <a:gd name="T35" fmla="*/ 224 h 999"/>
                    <a:gd name="T36" fmla="*/ 192 w 1320"/>
                    <a:gd name="T37" fmla="*/ 272 h 999"/>
                    <a:gd name="T38" fmla="*/ 96 w 1320"/>
                    <a:gd name="T39" fmla="*/ 196 h 999"/>
                    <a:gd name="T40" fmla="*/ 60 w 1320"/>
                    <a:gd name="T41" fmla="*/ 160 h 999"/>
                    <a:gd name="T42" fmla="*/ 16 w 1320"/>
                    <a:gd name="T43" fmla="*/ 244 h 999"/>
                    <a:gd name="T44" fmla="*/ 36 w 1320"/>
                    <a:gd name="T45" fmla="*/ 370 h 999"/>
                    <a:gd name="T46" fmla="*/ 51 w 1320"/>
                    <a:gd name="T47" fmla="*/ 410 h 999"/>
                    <a:gd name="T48" fmla="*/ 124 w 1320"/>
                    <a:gd name="T49" fmla="*/ 432 h 999"/>
                    <a:gd name="T50" fmla="*/ 156 w 1320"/>
                    <a:gd name="T51" fmla="*/ 460 h 999"/>
                    <a:gd name="T52" fmla="*/ 129 w 1320"/>
                    <a:gd name="T53" fmla="*/ 541 h 999"/>
                    <a:gd name="T54" fmla="*/ 84 w 1320"/>
                    <a:gd name="T55" fmla="*/ 571 h 999"/>
                    <a:gd name="T56" fmla="*/ 88 w 1320"/>
                    <a:gd name="T57" fmla="*/ 603 h 999"/>
                    <a:gd name="T58" fmla="*/ 86 w 1320"/>
                    <a:gd name="T59" fmla="*/ 662 h 999"/>
                    <a:gd name="T60" fmla="*/ 78 w 1320"/>
                    <a:gd name="T61" fmla="*/ 739 h 999"/>
                    <a:gd name="T62" fmla="*/ 93 w 1320"/>
                    <a:gd name="T63" fmla="*/ 764 h 999"/>
                    <a:gd name="T64" fmla="*/ 160 w 1320"/>
                    <a:gd name="T65" fmla="*/ 799 h 999"/>
                    <a:gd name="T66" fmla="*/ 216 w 1320"/>
                    <a:gd name="T67" fmla="*/ 835 h 999"/>
                    <a:gd name="T68" fmla="*/ 252 w 1320"/>
                    <a:gd name="T69" fmla="*/ 907 h 999"/>
                    <a:gd name="T70" fmla="*/ 248 w 1320"/>
                    <a:gd name="T71" fmla="*/ 999 h 999"/>
                    <a:gd name="T72" fmla="*/ 269 w 1320"/>
                    <a:gd name="T73" fmla="*/ 977 h 999"/>
                    <a:gd name="T74" fmla="*/ 438 w 1320"/>
                    <a:gd name="T75" fmla="*/ 956 h 999"/>
                    <a:gd name="T76" fmla="*/ 450 w 1320"/>
                    <a:gd name="T77" fmla="*/ 923 h 999"/>
                    <a:gd name="T78" fmla="*/ 500 w 1320"/>
                    <a:gd name="T79" fmla="*/ 878 h 999"/>
                    <a:gd name="T80" fmla="*/ 536 w 1320"/>
                    <a:gd name="T81" fmla="*/ 865 h 999"/>
                    <a:gd name="T82" fmla="*/ 600 w 1320"/>
                    <a:gd name="T83" fmla="*/ 887 h 999"/>
                    <a:gd name="T84" fmla="*/ 720 w 1320"/>
                    <a:gd name="T85" fmla="*/ 911 h 999"/>
                    <a:gd name="T86" fmla="*/ 819 w 1320"/>
                    <a:gd name="T87" fmla="*/ 898 h 999"/>
                    <a:gd name="T88" fmla="*/ 852 w 1320"/>
                    <a:gd name="T89" fmla="*/ 883 h 999"/>
                    <a:gd name="T90" fmla="*/ 928 w 1320"/>
                    <a:gd name="T91" fmla="*/ 855 h 999"/>
                    <a:gd name="T92" fmla="*/ 924 w 1320"/>
                    <a:gd name="T93" fmla="*/ 770 h 999"/>
                    <a:gd name="T94" fmla="*/ 917 w 1320"/>
                    <a:gd name="T95" fmla="*/ 722 h 999"/>
                    <a:gd name="T96" fmla="*/ 941 w 1320"/>
                    <a:gd name="T97" fmla="*/ 730 h 999"/>
                    <a:gd name="T98" fmla="*/ 965 w 1320"/>
                    <a:gd name="T99" fmla="*/ 749 h 999"/>
                    <a:gd name="T100" fmla="*/ 1002 w 1320"/>
                    <a:gd name="T101" fmla="*/ 767 h 999"/>
                    <a:gd name="T102" fmla="*/ 969 w 1320"/>
                    <a:gd name="T103" fmla="*/ 737 h 999"/>
                    <a:gd name="T104" fmla="*/ 975 w 1320"/>
                    <a:gd name="T105" fmla="*/ 716 h 999"/>
                    <a:gd name="T106" fmla="*/ 992 w 1320"/>
                    <a:gd name="T107" fmla="*/ 701 h 999"/>
                    <a:gd name="T108" fmla="*/ 995 w 1320"/>
                    <a:gd name="T109" fmla="*/ 685 h 999"/>
                    <a:gd name="T110" fmla="*/ 1007 w 1320"/>
                    <a:gd name="T111" fmla="*/ 655 h 999"/>
                    <a:gd name="T112" fmla="*/ 1037 w 1320"/>
                    <a:gd name="T113" fmla="*/ 638 h 999"/>
                    <a:gd name="T114" fmla="*/ 1118 w 1320"/>
                    <a:gd name="T115" fmla="*/ 586 h 999"/>
                    <a:gd name="T116" fmla="*/ 1200 w 1320"/>
                    <a:gd name="T117" fmla="*/ 603 h 999"/>
                    <a:gd name="T118" fmla="*/ 1257 w 1320"/>
                    <a:gd name="T119" fmla="*/ 596 h 999"/>
                    <a:gd name="T120" fmla="*/ 1283 w 1320"/>
                    <a:gd name="T121" fmla="*/ 578 h 9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20"/>
                    <a:gd name="T184" fmla="*/ 0 h 999"/>
                    <a:gd name="T185" fmla="*/ 1320 w 1320"/>
                    <a:gd name="T186" fmla="*/ 999 h 99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20" h="999">
                      <a:moveTo>
                        <a:pt x="1283" y="578"/>
                      </a:moveTo>
                      <a:cubicBezTo>
                        <a:pt x="1307" y="570"/>
                        <a:pt x="1284" y="527"/>
                        <a:pt x="1276" y="507"/>
                      </a:cubicBezTo>
                      <a:cubicBezTo>
                        <a:pt x="1272" y="500"/>
                        <a:pt x="1224" y="484"/>
                        <a:pt x="1216" y="480"/>
                      </a:cubicBezTo>
                      <a:cubicBezTo>
                        <a:pt x="1208" y="476"/>
                        <a:pt x="1192" y="464"/>
                        <a:pt x="1192" y="464"/>
                      </a:cubicBezTo>
                      <a:cubicBezTo>
                        <a:pt x="1172" y="436"/>
                        <a:pt x="1184" y="400"/>
                        <a:pt x="1188" y="368"/>
                      </a:cubicBezTo>
                      <a:cubicBezTo>
                        <a:pt x="1188" y="340"/>
                        <a:pt x="1192" y="316"/>
                        <a:pt x="1192" y="288"/>
                      </a:cubicBezTo>
                      <a:cubicBezTo>
                        <a:pt x="1200" y="164"/>
                        <a:pt x="1196" y="144"/>
                        <a:pt x="1312" y="128"/>
                      </a:cubicBezTo>
                      <a:cubicBezTo>
                        <a:pt x="1320" y="116"/>
                        <a:pt x="1292" y="56"/>
                        <a:pt x="1272" y="48"/>
                      </a:cubicBezTo>
                      <a:cubicBezTo>
                        <a:pt x="1256" y="40"/>
                        <a:pt x="1228" y="40"/>
                        <a:pt x="1216" y="40"/>
                      </a:cubicBezTo>
                      <a:cubicBezTo>
                        <a:pt x="1176" y="28"/>
                        <a:pt x="1144" y="20"/>
                        <a:pt x="1104" y="16"/>
                      </a:cubicBezTo>
                      <a:cubicBezTo>
                        <a:pt x="1084" y="8"/>
                        <a:pt x="1064" y="4"/>
                        <a:pt x="1044" y="0"/>
                      </a:cubicBezTo>
                      <a:cubicBezTo>
                        <a:pt x="996" y="4"/>
                        <a:pt x="968" y="8"/>
                        <a:pt x="924" y="24"/>
                      </a:cubicBezTo>
                      <a:cubicBezTo>
                        <a:pt x="912" y="28"/>
                        <a:pt x="900" y="44"/>
                        <a:pt x="888" y="48"/>
                      </a:cubicBezTo>
                      <a:cubicBezTo>
                        <a:pt x="852" y="56"/>
                        <a:pt x="816" y="64"/>
                        <a:pt x="784" y="80"/>
                      </a:cubicBezTo>
                      <a:cubicBezTo>
                        <a:pt x="780" y="96"/>
                        <a:pt x="772" y="104"/>
                        <a:pt x="760" y="112"/>
                      </a:cubicBezTo>
                      <a:cubicBezTo>
                        <a:pt x="752" y="128"/>
                        <a:pt x="752" y="136"/>
                        <a:pt x="736" y="140"/>
                      </a:cubicBezTo>
                      <a:cubicBezTo>
                        <a:pt x="708" y="168"/>
                        <a:pt x="720" y="156"/>
                        <a:pt x="700" y="172"/>
                      </a:cubicBezTo>
                      <a:cubicBezTo>
                        <a:pt x="688" y="208"/>
                        <a:pt x="648" y="200"/>
                        <a:pt x="612" y="224"/>
                      </a:cubicBezTo>
                      <a:cubicBezTo>
                        <a:pt x="492" y="232"/>
                        <a:pt x="336" y="264"/>
                        <a:pt x="192" y="272"/>
                      </a:cubicBezTo>
                      <a:cubicBezTo>
                        <a:pt x="72" y="264"/>
                        <a:pt x="152" y="252"/>
                        <a:pt x="96" y="196"/>
                      </a:cubicBezTo>
                      <a:cubicBezTo>
                        <a:pt x="88" y="168"/>
                        <a:pt x="80" y="172"/>
                        <a:pt x="60" y="160"/>
                      </a:cubicBezTo>
                      <a:cubicBezTo>
                        <a:pt x="48" y="191"/>
                        <a:pt x="33" y="242"/>
                        <a:pt x="16" y="244"/>
                      </a:cubicBezTo>
                      <a:cubicBezTo>
                        <a:pt x="0" y="288"/>
                        <a:pt x="27" y="326"/>
                        <a:pt x="36" y="370"/>
                      </a:cubicBezTo>
                      <a:cubicBezTo>
                        <a:pt x="39" y="397"/>
                        <a:pt x="43" y="406"/>
                        <a:pt x="51" y="410"/>
                      </a:cubicBezTo>
                      <a:cubicBezTo>
                        <a:pt x="86" y="415"/>
                        <a:pt x="108" y="424"/>
                        <a:pt x="124" y="432"/>
                      </a:cubicBezTo>
                      <a:cubicBezTo>
                        <a:pt x="136" y="448"/>
                        <a:pt x="140" y="448"/>
                        <a:pt x="156" y="460"/>
                      </a:cubicBezTo>
                      <a:cubicBezTo>
                        <a:pt x="169" y="502"/>
                        <a:pt x="142" y="523"/>
                        <a:pt x="129" y="541"/>
                      </a:cubicBezTo>
                      <a:cubicBezTo>
                        <a:pt x="115" y="557"/>
                        <a:pt x="91" y="559"/>
                        <a:pt x="84" y="571"/>
                      </a:cubicBezTo>
                      <a:cubicBezTo>
                        <a:pt x="80" y="592"/>
                        <a:pt x="80" y="583"/>
                        <a:pt x="88" y="603"/>
                      </a:cubicBezTo>
                      <a:cubicBezTo>
                        <a:pt x="92" y="626"/>
                        <a:pt x="87" y="637"/>
                        <a:pt x="86" y="662"/>
                      </a:cubicBezTo>
                      <a:cubicBezTo>
                        <a:pt x="89" y="695"/>
                        <a:pt x="86" y="715"/>
                        <a:pt x="78" y="739"/>
                      </a:cubicBezTo>
                      <a:cubicBezTo>
                        <a:pt x="84" y="755"/>
                        <a:pt x="79" y="754"/>
                        <a:pt x="93" y="764"/>
                      </a:cubicBezTo>
                      <a:cubicBezTo>
                        <a:pt x="107" y="774"/>
                        <a:pt x="139" y="787"/>
                        <a:pt x="160" y="799"/>
                      </a:cubicBezTo>
                      <a:cubicBezTo>
                        <a:pt x="183" y="817"/>
                        <a:pt x="201" y="817"/>
                        <a:pt x="216" y="835"/>
                      </a:cubicBezTo>
                      <a:cubicBezTo>
                        <a:pt x="232" y="859"/>
                        <a:pt x="245" y="878"/>
                        <a:pt x="252" y="907"/>
                      </a:cubicBezTo>
                      <a:cubicBezTo>
                        <a:pt x="248" y="943"/>
                        <a:pt x="244" y="963"/>
                        <a:pt x="248" y="999"/>
                      </a:cubicBezTo>
                      <a:cubicBezTo>
                        <a:pt x="252" y="983"/>
                        <a:pt x="269" y="977"/>
                        <a:pt x="269" y="977"/>
                      </a:cubicBezTo>
                      <a:cubicBezTo>
                        <a:pt x="311" y="961"/>
                        <a:pt x="422" y="956"/>
                        <a:pt x="438" y="956"/>
                      </a:cubicBezTo>
                      <a:cubicBezTo>
                        <a:pt x="444" y="941"/>
                        <a:pt x="447" y="931"/>
                        <a:pt x="450" y="923"/>
                      </a:cubicBezTo>
                      <a:cubicBezTo>
                        <a:pt x="477" y="911"/>
                        <a:pt x="480" y="899"/>
                        <a:pt x="500" y="878"/>
                      </a:cubicBezTo>
                      <a:cubicBezTo>
                        <a:pt x="516" y="866"/>
                        <a:pt x="516" y="869"/>
                        <a:pt x="536" y="865"/>
                      </a:cubicBezTo>
                      <a:cubicBezTo>
                        <a:pt x="568" y="869"/>
                        <a:pt x="576" y="875"/>
                        <a:pt x="600" y="887"/>
                      </a:cubicBezTo>
                      <a:cubicBezTo>
                        <a:pt x="650" y="920"/>
                        <a:pt x="668" y="907"/>
                        <a:pt x="720" y="911"/>
                      </a:cubicBezTo>
                      <a:cubicBezTo>
                        <a:pt x="753" y="911"/>
                        <a:pt x="777" y="913"/>
                        <a:pt x="819" y="898"/>
                      </a:cubicBezTo>
                      <a:cubicBezTo>
                        <a:pt x="831" y="894"/>
                        <a:pt x="848" y="881"/>
                        <a:pt x="852" y="883"/>
                      </a:cubicBezTo>
                      <a:cubicBezTo>
                        <a:pt x="869" y="859"/>
                        <a:pt x="900" y="863"/>
                        <a:pt x="928" y="855"/>
                      </a:cubicBezTo>
                      <a:cubicBezTo>
                        <a:pt x="948" y="827"/>
                        <a:pt x="931" y="802"/>
                        <a:pt x="924" y="770"/>
                      </a:cubicBezTo>
                      <a:cubicBezTo>
                        <a:pt x="904" y="753"/>
                        <a:pt x="917" y="722"/>
                        <a:pt x="917" y="722"/>
                      </a:cubicBezTo>
                      <a:cubicBezTo>
                        <a:pt x="933" y="719"/>
                        <a:pt x="925" y="718"/>
                        <a:pt x="941" y="730"/>
                      </a:cubicBezTo>
                      <a:cubicBezTo>
                        <a:pt x="951" y="745"/>
                        <a:pt x="955" y="743"/>
                        <a:pt x="965" y="749"/>
                      </a:cubicBezTo>
                      <a:cubicBezTo>
                        <a:pt x="975" y="755"/>
                        <a:pt x="1001" y="769"/>
                        <a:pt x="1002" y="767"/>
                      </a:cubicBezTo>
                      <a:cubicBezTo>
                        <a:pt x="992" y="728"/>
                        <a:pt x="973" y="745"/>
                        <a:pt x="969" y="737"/>
                      </a:cubicBezTo>
                      <a:cubicBezTo>
                        <a:pt x="965" y="729"/>
                        <a:pt x="971" y="722"/>
                        <a:pt x="975" y="716"/>
                      </a:cubicBezTo>
                      <a:cubicBezTo>
                        <a:pt x="979" y="716"/>
                        <a:pt x="988" y="701"/>
                        <a:pt x="992" y="701"/>
                      </a:cubicBezTo>
                      <a:cubicBezTo>
                        <a:pt x="996" y="697"/>
                        <a:pt x="995" y="689"/>
                        <a:pt x="995" y="685"/>
                      </a:cubicBezTo>
                      <a:cubicBezTo>
                        <a:pt x="995" y="673"/>
                        <a:pt x="1003" y="663"/>
                        <a:pt x="1007" y="655"/>
                      </a:cubicBezTo>
                      <a:cubicBezTo>
                        <a:pt x="1011" y="644"/>
                        <a:pt x="1029" y="642"/>
                        <a:pt x="1037" y="638"/>
                      </a:cubicBezTo>
                      <a:cubicBezTo>
                        <a:pt x="1065" y="620"/>
                        <a:pt x="1082" y="598"/>
                        <a:pt x="1118" y="586"/>
                      </a:cubicBezTo>
                      <a:cubicBezTo>
                        <a:pt x="1145" y="581"/>
                        <a:pt x="1157" y="602"/>
                        <a:pt x="1200" y="603"/>
                      </a:cubicBezTo>
                      <a:cubicBezTo>
                        <a:pt x="1222" y="603"/>
                        <a:pt x="1243" y="600"/>
                        <a:pt x="1257" y="596"/>
                      </a:cubicBezTo>
                      <a:cubicBezTo>
                        <a:pt x="1271" y="592"/>
                        <a:pt x="1266" y="583"/>
                        <a:pt x="1283" y="578"/>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99" name="Freeform 2529">
                  <a:extLst>
                    <a:ext uri="{FF2B5EF4-FFF2-40B4-BE49-F238E27FC236}">
                      <a16:creationId xmlns:a16="http://schemas.microsoft.com/office/drawing/2014/main" id="{9C1FED11-A2D5-A9E0-25D7-56C43A353ADB}"/>
                    </a:ext>
                  </a:extLst>
                </p:cNvPr>
                <p:cNvSpPr>
                  <a:spLocks noChangeAspect="1"/>
                </p:cNvSpPr>
                <p:nvPr/>
              </p:nvSpPr>
              <p:spPr bwMode="auto">
                <a:xfrm>
                  <a:off x="5162551" y="5246688"/>
                  <a:ext cx="222250" cy="203200"/>
                </a:xfrm>
                <a:custGeom>
                  <a:avLst/>
                  <a:gdLst>
                    <a:gd name="T0" fmla="*/ 380 w 559"/>
                    <a:gd name="T1" fmla="*/ 28 h 512"/>
                    <a:gd name="T2" fmla="*/ 200 w 559"/>
                    <a:gd name="T3" fmla="*/ 83 h 512"/>
                    <a:gd name="T4" fmla="*/ 155 w 559"/>
                    <a:gd name="T5" fmla="*/ 102 h 512"/>
                    <a:gd name="T6" fmla="*/ 52 w 559"/>
                    <a:gd name="T7" fmla="*/ 160 h 512"/>
                    <a:gd name="T8" fmla="*/ 32 w 559"/>
                    <a:gd name="T9" fmla="*/ 200 h 512"/>
                    <a:gd name="T10" fmla="*/ 0 w 559"/>
                    <a:gd name="T11" fmla="*/ 268 h 512"/>
                    <a:gd name="T12" fmla="*/ 16 w 559"/>
                    <a:gd name="T13" fmla="*/ 380 h 512"/>
                    <a:gd name="T14" fmla="*/ 43 w 559"/>
                    <a:gd name="T15" fmla="*/ 437 h 512"/>
                    <a:gd name="T16" fmla="*/ 80 w 559"/>
                    <a:gd name="T17" fmla="*/ 484 h 512"/>
                    <a:gd name="T18" fmla="*/ 121 w 559"/>
                    <a:gd name="T19" fmla="*/ 512 h 512"/>
                    <a:gd name="T20" fmla="*/ 216 w 559"/>
                    <a:gd name="T21" fmla="*/ 484 h 512"/>
                    <a:gd name="T22" fmla="*/ 298 w 559"/>
                    <a:gd name="T23" fmla="*/ 456 h 512"/>
                    <a:gd name="T24" fmla="*/ 329 w 559"/>
                    <a:gd name="T25" fmla="*/ 426 h 512"/>
                    <a:gd name="T26" fmla="*/ 392 w 559"/>
                    <a:gd name="T27" fmla="*/ 369 h 512"/>
                    <a:gd name="T28" fmla="*/ 556 w 559"/>
                    <a:gd name="T29" fmla="*/ 284 h 512"/>
                    <a:gd name="T30" fmla="*/ 559 w 559"/>
                    <a:gd name="T31" fmla="*/ 198 h 512"/>
                    <a:gd name="T32" fmla="*/ 508 w 559"/>
                    <a:gd name="T33" fmla="*/ 116 h 512"/>
                    <a:gd name="T34" fmla="*/ 396 w 559"/>
                    <a:gd name="T35" fmla="*/ 56 h 512"/>
                    <a:gd name="T36" fmla="*/ 380 w 559"/>
                    <a:gd name="T37" fmla="*/ 28 h 5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59"/>
                    <a:gd name="T58" fmla="*/ 0 h 512"/>
                    <a:gd name="T59" fmla="*/ 559 w 559"/>
                    <a:gd name="T60" fmla="*/ 512 h 5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59" h="512">
                      <a:moveTo>
                        <a:pt x="380" y="28"/>
                      </a:moveTo>
                      <a:cubicBezTo>
                        <a:pt x="310" y="36"/>
                        <a:pt x="242" y="57"/>
                        <a:pt x="200" y="83"/>
                      </a:cubicBezTo>
                      <a:cubicBezTo>
                        <a:pt x="184" y="87"/>
                        <a:pt x="155" y="102"/>
                        <a:pt x="155" y="102"/>
                      </a:cubicBezTo>
                      <a:cubicBezTo>
                        <a:pt x="110" y="107"/>
                        <a:pt x="74" y="123"/>
                        <a:pt x="52" y="160"/>
                      </a:cubicBezTo>
                      <a:cubicBezTo>
                        <a:pt x="48" y="180"/>
                        <a:pt x="49" y="188"/>
                        <a:pt x="32" y="200"/>
                      </a:cubicBezTo>
                      <a:cubicBezTo>
                        <a:pt x="16" y="220"/>
                        <a:pt x="5" y="227"/>
                        <a:pt x="0" y="268"/>
                      </a:cubicBezTo>
                      <a:cubicBezTo>
                        <a:pt x="4" y="308"/>
                        <a:pt x="5" y="341"/>
                        <a:pt x="16" y="380"/>
                      </a:cubicBezTo>
                      <a:cubicBezTo>
                        <a:pt x="23" y="401"/>
                        <a:pt x="27" y="421"/>
                        <a:pt x="43" y="437"/>
                      </a:cubicBezTo>
                      <a:cubicBezTo>
                        <a:pt x="51" y="457"/>
                        <a:pt x="76" y="467"/>
                        <a:pt x="80" y="484"/>
                      </a:cubicBezTo>
                      <a:cubicBezTo>
                        <a:pt x="94" y="494"/>
                        <a:pt x="101" y="491"/>
                        <a:pt x="121" y="512"/>
                      </a:cubicBezTo>
                      <a:cubicBezTo>
                        <a:pt x="154" y="503"/>
                        <a:pt x="184" y="492"/>
                        <a:pt x="216" y="484"/>
                      </a:cubicBezTo>
                      <a:cubicBezTo>
                        <a:pt x="248" y="477"/>
                        <a:pt x="275" y="468"/>
                        <a:pt x="298" y="456"/>
                      </a:cubicBezTo>
                      <a:cubicBezTo>
                        <a:pt x="313" y="447"/>
                        <a:pt x="317" y="440"/>
                        <a:pt x="329" y="426"/>
                      </a:cubicBezTo>
                      <a:cubicBezTo>
                        <a:pt x="356" y="395"/>
                        <a:pt x="352" y="397"/>
                        <a:pt x="392" y="369"/>
                      </a:cubicBezTo>
                      <a:cubicBezTo>
                        <a:pt x="433" y="360"/>
                        <a:pt x="542" y="398"/>
                        <a:pt x="556" y="284"/>
                      </a:cubicBezTo>
                      <a:cubicBezTo>
                        <a:pt x="555" y="257"/>
                        <a:pt x="557" y="233"/>
                        <a:pt x="559" y="198"/>
                      </a:cubicBezTo>
                      <a:cubicBezTo>
                        <a:pt x="552" y="166"/>
                        <a:pt x="535" y="140"/>
                        <a:pt x="508" y="116"/>
                      </a:cubicBezTo>
                      <a:cubicBezTo>
                        <a:pt x="464" y="92"/>
                        <a:pt x="432" y="68"/>
                        <a:pt x="396" y="56"/>
                      </a:cubicBezTo>
                      <a:cubicBezTo>
                        <a:pt x="392" y="48"/>
                        <a:pt x="380" y="0"/>
                        <a:pt x="380" y="28"/>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00" name="Freeform 2530">
                  <a:extLst>
                    <a:ext uri="{FF2B5EF4-FFF2-40B4-BE49-F238E27FC236}">
                      <a16:creationId xmlns:a16="http://schemas.microsoft.com/office/drawing/2014/main" id="{E7D6EB83-B8E0-ECE2-7B27-8D85960A9F6D}"/>
                    </a:ext>
                  </a:extLst>
                </p:cNvPr>
                <p:cNvSpPr>
                  <a:spLocks noChangeAspect="1"/>
                </p:cNvSpPr>
                <p:nvPr/>
              </p:nvSpPr>
              <p:spPr bwMode="auto">
                <a:xfrm>
                  <a:off x="5051426" y="5253038"/>
                  <a:ext cx="184150" cy="365125"/>
                </a:xfrm>
                <a:custGeom>
                  <a:avLst/>
                  <a:gdLst>
                    <a:gd name="T0" fmla="*/ 76 w 116"/>
                    <a:gd name="T1" fmla="*/ 47 h 230"/>
                    <a:gd name="T2" fmla="*/ 72 w 116"/>
                    <a:gd name="T3" fmla="*/ 34 h 230"/>
                    <a:gd name="T4" fmla="*/ 68 w 116"/>
                    <a:gd name="T5" fmla="*/ 23 h 230"/>
                    <a:gd name="T6" fmla="*/ 54 w 116"/>
                    <a:gd name="T7" fmla="*/ 20 h 230"/>
                    <a:gd name="T8" fmla="*/ 46 w 116"/>
                    <a:gd name="T9" fmla="*/ 13 h 230"/>
                    <a:gd name="T10" fmla="*/ 39 w 116"/>
                    <a:gd name="T11" fmla="*/ 5 h 230"/>
                    <a:gd name="T12" fmla="*/ 30 w 116"/>
                    <a:gd name="T13" fmla="*/ 10 h 230"/>
                    <a:gd name="T14" fmla="*/ 21 w 116"/>
                    <a:gd name="T15" fmla="*/ 0 h 230"/>
                    <a:gd name="T16" fmla="*/ 8 w 116"/>
                    <a:gd name="T17" fmla="*/ 19 h 230"/>
                    <a:gd name="T18" fmla="*/ 2 w 116"/>
                    <a:gd name="T19" fmla="*/ 32 h 230"/>
                    <a:gd name="T20" fmla="*/ 4 w 116"/>
                    <a:gd name="T21" fmla="*/ 37 h 230"/>
                    <a:gd name="T22" fmla="*/ 9 w 116"/>
                    <a:gd name="T23" fmla="*/ 48 h 230"/>
                    <a:gd name="T24" fmla="*/ 22 w 116"/>
                    <a:gd name="T25" fmla="*/ 69 h 230"/>
                    <a:gd name="T26" fmla="*/ 20 w 116"/>
                    <a:gd name="T27" fmla="*/ 78 h 230"/>
                    <a:gd name="T28" fmla="*/ 26 w 116"/>
                    <a:gd name="T29" fmla="*/ 161 h 230"/>
                    <a:gd name="T30" fmla="*/ 36 w 116"/>
                    <a:gd name="T31" fmla="*/ 187 h 230"/>
                    <a:gd name="T32" fmla="*/ 55 w 116"/>
                    <a:gd name="T33" fmla="*/ 193 h 230"/>
                    <a:gd name="T34" fmla="*/ 63 w 116"/>
                    <a:gd name="T35" fmla="*/ 199 h 230"/>
                    <a:gd name="T36" fmla="*/ 82 w 116"/>
                    <a:gd name="T37" fmla="*/ 230 h 230"/>
                    <a:gd name="T38" fmla="*/ 81 w 116"/>
                    <a:gd name="T39" fmla="*/ 202 h 230"/>
                    <a:gd name="T40" fmla="*/ 95 w 116"/>
                    <a:gd name="T41" fmla="*/ 180 h 230"/>
                    <a:gd name="T42" fmla="*/ 99 w 116"/>
                    <a:gd name="T43" fmla="*/ 161 h 230"/>
                    <a:gd name="T44" fmla="*/ 108 w 116"/>
                    <a:gd name="T45" fmla="*/ 150 h 230"/>
                    <a:gd name="T46" fmla="*/ 109 w 116"/>
                    <a:gd name="T47" fmla="*/ 136 h 230"/>
                    <a:gd name="T48" fmla="*/ 105 w 116"/>
                    <a:gd name="T49" fmla="*/ 126 h 230"/>
                    <a:gd name="T50" fmla="*/ 100 w 116"/>
                    <a:gd name="T51" fmla="*/ 124 h 230"/>
                    <a:gd name="T52" fmla="*/ 91 w 116"/>
                    <a:gd name="T53" fmla="*/ 117 h 230"/>
                    <a:gd name="T54" fmla="*/ 81 w 116"/>
                    <a:gd name="T55" fmla="*/ 106 h 230"/>
                    <a:gd name="T56" fmla="*/ 72 w 116"/>
                    <a:gd name="T57" fmla="*/ 84 h 230"/>
                    <a:gd name="T58" fmla="*/ 70 w 116"/>
                    <a:gd name="T59" fmla="*/ 61 h 230"/>
                    <a:gd name="T60" fmla="*/ 76 w 116"/>
                    <a:gd name="T61" fmla="*/ 47 h 2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6"/>
                    <a:gd name="T94" fmla="*/ 0 h 230"/>
                    <a:gd name="T95" fmla="*/ 116 w 116"/>
                    <a:gd name="T96" fmla="*/ 230 h 23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6" h="230">
                      <a:moveTo>
                        <a:pt x="76" y="47"/>
                      </a:moveTo>
                      <a:cubicBezTo>
                        <a:pt x="73" y="47"/>
                        <a:pt x="70" y="39"/>
                        <a:pt x="72" y="34"/>
                      </a:cubicBezTo>
                      <a:cubicBezTo>
                        <a:pt x="71" y="30"/>
                        <a:pt x="69" y="26"/>
                        <a:pt x="68" y="23"/>
                      </a:cubicBezTo>
                      <a:cubicBezTo>
                        <a:pt x="64" y="21"/>
                        <a:pt x="59" y="23"/>
                        <a:pt x="54" y="20"/>
                      </a:cubicBezTo>
                      <a:cubicBezTo>
                        <a:pt x="48" y="17"/>
                        <a:pt x="47" y="14"/>
                        <a:pt x="46" y="13"/>
                      </a:cubicBezTo>
                      <a:cubicBezTo>
                        <a:pt x="43" y="11"/>
                        <a:pt x="41" y="5"/>
                        <a:pt x="39" y="5"/>
                      </a:cubicBezTo>
                      <a:cubicBezTo>
                        <a:pt x="37" y="8"/>
                        <a:pt x="34" y="9"/>
                        <a:pt x="30" y="10"/>
                      </a:cubicBezTo>
                      <a:cubicBezTo>
                        <a:pt x="23" y="8"/>
                        <a:pt x="25" y="5"/>
                        <a:pt x="21" y="0"/>
                      </a:cubicBezTo>
                      <a:cubicBezTo>
                        <a:pt x="13" y="6"/>
                        <a:pt x="10" y="14"/>
                        <a:pt x="8" y="19"/>
                      </a:cubicBezTo>
                      <a:cubicBezTo>
                        <a:pt x="6" y="26"/>
                        <a:pt x="4" y="28"/>
                        <a:pt x="2" y="32"/>
                      </a:cubicBezTo>
                      <a:cubicBezTo>
                        <a:pt x="0" y="37"/>
                        <a:pt x="1" y="34"/>
                        <a:pt x="4" y="37"/>
                      </a:cubicBezTo>
                      <a:cubicBezTo>
                        <a:pt x="6" y="41"/>
                        <a:pt x="7" y="44"/>
                        <a:pt x="9" y="48"/>
                      </a:cubicBezTo>
                      <a:cubicBezTo>
                        <a:pt x="10" y="57"/>
                        <a:pt x="13" y="65"/>
                        <a:pt x="22" y="69"/>
                      </a:cubicBezTo>
                      <a:cubicBezTo>
                        <a:pt x="23" y="73"/>
                        <a:pt x="22" y="74"/>
                        <a:pt x="20" y="78"/>
                      </a:cubicBezTo>
                      <a:cubicBezTo>
                        <a:pt x="17" y="88"/>
                        <a:pt x="22" y="159"/>
                        <a:pt x="26" y="161"/>
                      </a:cubicBezTo>
                      <a:cubicBezTo>
                        <a:pt x="30" y="169"/>
                        <a:pt x="33" y="179"/>
                        <a:pt x="36" y="187"/>
                      </a:cubicBezTo>
                      <a:cubicBezTo>
                        <a:pt x="37" y="191"/>
                        <a:pt x="51" y="192"/>
                        <a:pt x="55" y="193"/>
                      </a:cubicBezTo>
                      <a:cubicBezTo>
                        <a:pt x="58" y="195"/>
                        <a:pt x="59" y="198"/>
                        <a:pt x="63" y="199"/>
                      </a:cubicBezTo>
                      <a:cubicBezTo>
                        <a:pt x="69" y="209"/>
                        <a:pt x="77" y="221"/>
                        <a:pt x="82" y="230"/>
                      </a:cubicBezTo>
                      <a:cubicBezTo>
                        <a:pt x="85" y="224"/>
                        <a:pt x="81" y="210"/>
                        <a:pt x="81" y="202"/>
                      </a:cubicBezTo>
                      <a:cubicBezTo>
                        <a:pt x="83" y="194"/>
                        <a:pt x="72" y="187"/>
                        <a:pt x="95" y="180"/>
                      </a:cubicBezTo>
                      <a:cubicBezTo>
                        <a:pt x="98" y="174"/>
                        <a:pt x="101" y="169"/>
                        <a:pt x="99" y="161"/>
                      </a:cubicBezTo>
                      <a:cubicBezTo>
                        <a:pt x="95" y="154"/>
                        <a:pt x="100" y="153"/>
                        <a:pt x="108" y="150"/>
                      </a:cubicBezTo>
                      <a:cubicBezTo>
                        <a:pt x="116" y="152"/>
                        <a:pt x="113" y="145"/>
                        <a:pt x="109" y="136"/>
                      </a:cubicBezTo>
                      <a:cubicBezTo>
                        <a:pt x="107" y="133"/>
                        <a:pt x="107" y="129"/>
                        <a:pt x="105" y="126"/>
                      </a:cubicBezTo>
                      <a:cubicBezTo>
                        <a:pt x="104" y="124"/>
                        <a:pt x="100" y="124"/>
                        <a:pt x="100" y="124"/>
                      </a:cubicBezTo>
                      <a:cubicBezTo>
                        <a:pt x="97" y="121"/>
                        <a:pt x="91" y="117"/>
                        <a:pt x="91" y="117"/>
                      </a:cubicBezTo>
                      <a:cubicBezTo>
                        <a:pt x="88" y="113"/>
                        <a:pt x="85" y="109"/>
                        <a:pt x="81" y="106"/>
                      </a:cubicBezTo>
                      <a:cubicBezTo>
                        <a:pt x="78" y="101"/>
                        <a:pt x="73" y="94"/>
                        <a:pt x="72" y="84"/>
                      </a:cubicBezTo>
                      <a:cubicBezTo>
                        <a:pt x="71" y="76"/>
                        <a:pt x="70" y="66"/>
                        <a:pt x="70" y="61"/>
                      </a:cubicBezTo>
                      <a:cubicBezTo>
                        <a:pt x="71" y="55"/>
                        <a:pt x="75" y="49"/>
                        <a:pt x="76" y="47"/>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nvGrpSpPr>
                <p:cNvPr id="101" name="Group 92">
                  <a:extLst>
                    <a:ext uri="{FF2B5EF4-FFF2-40B4-BE49-F238E27FC236}">
                      <a16:creationId xmlns:a16="http://schemas.microsoft.com/office/drawing/2014/main" id="{0FD7E3A9-FB44-B241-60A1-3599E8141099}"/>
                    </a:ext>
                  </a:extLst>
                </p:cNvPr>
                <p:cNvGrpSpPr>
                  <a:grpSpLocks/>
                </p:cNvGrpSpPr>
                <p:nvPr/>
              </p:nvGrpSpPr>
              <p:grpSpPr bwMode="auto">
                <a:xfrm>
                  <a:off x="5648326" y="4787900"/>
                  <a:ext cx="1766888" cy="1028700"/>
                  <a:chOff x="6214" y="6855"/>
                  <a:chExt cx="4451" cy="2591"/>
                </a:xfrm>
                <a:grpFill/>
              </p:grpSpPr>
              <p:sp>
                <p:nvSpPr>
                  <p:cNvPr id="135" name="Freeform 2532">
                    <a:extLst>
                      <a:ext uri="{FF2B5EF4-FFF2-40B4-BE49-F238E27FC236}">
                        <a16:creationId xmlns:a16="http://schemas.microsoft.com/office/drawing/2014/main" id="{7ECDFF9C-E30D-C3CC-6549-B1080D36D4E2}"/>
                      </a:ext>
                    </a:extLst>
                  </p:cNvPr>
                  <p:cNvSpPr>
                    <a:spLocks noChangeAspect="1"/>
                  </p:cNvSpPr>
                  <p:nvPr/>
                </p:nvSpPr>
                <p:spPr bwMode="auto">
                  <a:xfrm>
                    <a:off x="6322" y="6855"/>
                    <a:ext cx="4343" cy="2591"/>
                  </a:xfrm>
                  <a:custGeom>
                    <a:avLst/>
                    <a:gdLst>
                      <a:gd name="T0" fmla="*/ 146 w 1086"/>
                      <a:gd name="T1" fmla="*/ 291 h 648"/>
                      <a:gd name="T2" fmla="*/ 174 w 1086"/>
                      <a:gd name="T3" fmla="*/ 320 h 648"/>
                      <a:gd name="T4" fmla="*/ 147 w 1086"/>
                      <a:gd name="T5" fmla="*/ 335 h 648"/>
                      <a:gd name="T6" fmla="*/ 155 w 1086"/>
                      <a:gd name="T7" fmla="*/ 353 h 648"/>
                      <a:gd name="T8" fmla="*/ 100 w 1086"/>
                      <a:gd name="T9" fmla="*/ 372 h 648"/>
                      <a:gd name="T10" fmla="*/ 69 w 1086"/>
                      <a:gd name="T11" fmla="*/ 381 h 648"/>
                      <a:gd name="T12" fmla="*/ 34 w 1086"/>
                      <a:gd name="T13" fmla="*/ 386 h 648"/>
                      <a:gd name="T14" fmla="*/ 9 w 1086"/>
                      <a:gd name="T15" fmla="*/ 416 h 648"/>
                      <a:gd name="T16" fmla="*/ 21 w 1086"/>
                      <a:gd name="T17" fmla="*/ 459 h 648"/>
                      <a:gd name="T18" fmla="*/ 47 w 1086"/>
                      <a:gd name="T19" fmla="*/ 452 h 648"/>
                      <a:gd name="T20" fmla="*/ 53 w 1086"/>
                      <a:gd name="T21" fmla="*/ 474 h 648"/>
                      <a:gd name="T22" fmla="*/ 58 w 1086"/>
                      <a:gd name="T23" fmla="*/ 477 h 648"/>
                      <a:gd name="T24" fmla="*/ 62 w 1086"/>
                      <a:gd name="T25" fmla="*/ 503 h 648"/>
                      <a:gd name="T26" fmla="*/ 54 w 1086"/>
                      <a:gd name="T27" fmla="*/ 532 h 648"/>
                      <a:gd name="T28" fmla="*/ 42 w 1086"/>
                      <a:gd name="T29" fmla="*/ 527 h 648"/>
                      <a:gd name="T30" fmla="*/ 36 w 1086"/>
                      <a:gd name="T31" fmla="*/ 546 h 648"/>
                      <a:gd name="T32" fmla="*/ 80 w 1086"/>
                      <a:gd name="T33" fmla="*/ 551 h 648"/>
                      <a:gd name="T34" fmla="*/ 95 w 1086"/>
                      <a:gd name="T35" fmla="*/ 578 h 648"/>
                      <a:gd name="T36" fmla="*/ 129 w 1086"/>
                      <a:gd name="T37" fmla="*/ 605 h 648"/>
                      <a:gd name="T38" fmla="*/ 120 w 1086"/>
                      <a:gd name="T39" fmla="*/ 629 h 648"/>
                      <a:gd name="T40" fmla="*/ 171 w 1086"/>
                      <a:gd name="T41" fmla="*/ 610 h 648"/>
                      <a:gd name="T42" fmla="*/ 174 w 1086"/>
                      <a:gd name="T43" fmla="*/ 627 h 648"/>
                      <a:gd name="T44" fmla="*/ 219 w 1086"/>
                      <a:gd name="T45" fmla="*/ 627 h 648"/>
                      <a:gd name="T46" fmla="*/ 236 w 1086"/>
                      <a:gd name="T47" fmla="*/ 642 h 648"/>
                      <a:gd name="T48" fmla="*/ 304 w 1086"/>
                      <a:gd name="T49" fmla="*/ 636 h 648"/>
                      <a:gd name="T50" fmla="*/ 314 w 1086"/>
                      <a:gd name="T51" fmla="*/ 593 h 648"/>
                      <a:gd name="T52" fmla="*/ 327 w 1086"/>
                      <a:gd name="T53" fmla="*/ 578 h 648"/>
                      <a:gd name="T54" fmla="*/ 410 w 1086"/>
                      <a:gd name="T55" fmla="*/ 584 h 648"/>
                      <a:gd name="T56" fmla="*/ 494 w 1086"/>
                      <a:gd name="T57" fmla="*/ 585 h 648"/>
                      <a:gd name="T58" fmla="*/ 537 w 1086"/>
                      <a:gd name="T59" fmla="*/ 530 h 648"/>
                      <a:gd name="T60" fmla="*/ 584 w 1086"/>
                      <a:gd name="T61" fmla="*/ 514 h 648"/>
                      <a:gd name="T62" fmla="*/ 608 w 1086"/>
                      <a:gd name="T63" fmla="*/ 489 h 648"/>
                      <a:gd name="T64" fmla="*/ 630 w 1086"/>
                      <a:gd name="T65" fmla="*/ 509 h 648"/>
                      <a:gd name="T66" fmla="*/ 642 w 1086"/>
                      <a:gd name="T67" fmla="*/ 539 h 648"/>
                      <a:gd name="T68" fmla="*/ 659 w 1086"/>
                      <a:gd name="T69" fmla="*/ 519 h 648"/>
                      <a:gd name="T70" fmla="*/ 659 w 1086"/>
                      <a:gd name="T71" fmla="*/ 489 h 648"/>
                      <a:gd name="T72" fmla="*/ 711 w 1086"/>
                      <a:gd name="T73" fmla="*/ 464 h 648"/>
                      <a:gd name="T74" fmla="*/ 807 w 1086"/>
                      <a:gd name="T75" fmla="*/ 422 h 648"/>
                      <a:gd name="T76" fmla="*/ 833 w 1086"/>
                      <a:gd name="T77" fmla="*/ 401 h 648"/>
                      <a:gd name="T78" fmla="*/ 902 w 1086"/>
                      <a:gd name="T79" fmla="*/ 344 h 648"/>
                      <a:gd name="T80" fmla="*/ 983 w 1086"/>
                      <a:gd name="T81" fmla="*/ 297 h 648"/>
                      <a:gd name="T82" fmla="*/ 1061 w 1086"/>
                      <a:gd name="T83" fmla="*/ 251 h 648"/>
                      <a:gd name="T84" fmla="*/ 1086 w 1086"/>
                      <a:gd name="T85" fmla="*/ 249 h 648"/>
                      <a:gd name="T86" fmla="*/ 1041 w 1086"/>
                      <a:gd name="T87" fmla="*/ 202 h 648"/>
                      <a:gd name="T88" fmla="*/ 992 w 1086"/>
                      <a:gd name="T89" fmla="*/ 135 h 648"/>
                      <a:gd name="T90" fmla="*/ 984 w 1086"/>
                      <a:gd name="T91" fmla="*/ 83 h 648"/>
                      <a:gd name="T92" fmla="*/ 960 w 1086"/>
                      <a:gd name="T93" fmla="*/ 70 h 648"/>
                      <a:gd name="T94" fmla="*/ 917 w 1086"/>
                      <a:gd name="T95" fmla="*/ 36 h 648"/>
                      <a:gd name="T96" fmla="*/ 870 w 1086"/>
                      <a:gd name="T97" fmla="*/ 15 h 648"/>
                      <a:gd name="T98" fmla="*/ 804 w 1086"/>
                      <a:gd name="T99" fmla="*/ 24 h 648"/>
                      <a:gd name="T100" fmla="*/ 760 w 1086"/>
                      <a:gd name="T101" fmla="*/ 69 h 648"/>
                      <a:gd name="T102" fmla="*/ 731 w 1086"/>
                      <a:gd name="T103" fmla="*/ 108 h 648"/>
                      <a:gd name="T104" fmla="*/ 641 w 1086"/>
                      <a:gd name="T105" fmla="*/ 137 h 648"/>
                      <a:gd name="T106" fmla="*/ 581 w 1086"/>
                      <a:gd name="T107" fmla="*/ 160 h 648"/>
                      <a:gd name="T108" fmla="*/ 515 w 1086"/>
                      <a:gd name="T109" fmla="*/ 164 h 648"/>
                      <a:gd name="T110" fmla="*/ 468 w 1086"/>
                      <a:gd name="T111" fmla="*/ 156 h 648"/>
                      <a:gd name="T112" fmla="*/ 420 w 1086"/>
                      <a:gd name="T113" fmla="*/ 142 h 648"/>
                      <a:gd name="T114" fmla="*/ 348 w 1086"/>
                      <a:gd name="T115" fmla="*/ 174 h 648"/>
                      <a:gd name="T116" fmla="*/ 311 w 1086"/>
                      <a:gd name="T117" fmla="*/ 201 h 648"/>
                      <a:gd name="T118" fmla="*/ 252 w 1086"/>
                      <a:gd name="T119" fmla="*/ 267 h 6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86"/>
                      <a:gd name="T181" fmla="*/ 0 h 648"/>
                      <a:gd name="T182" fmla="*/ 1086 w 1086"/>
                      <a:gd name="T183" fmla="*/ 648 h 6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86" h="648">
                        <a:moveTo>
                          <a:pt x="245" y="275"/>
                        </a:moveTo>
                        <a:cubicBezTo>
                          <a:pt x="230" y="274"/>
                          <a:pt x="217" y="277"/>
                          <a:pt x="202" y="278"/>
                        </a:cubicBezTo>
                        <a:cubicBezTo>
                          <a:pt x="196" y="301"/>
                          <a:pt x="162" y="291"/>
                          <a:pt x="146" y="291"/>
                        </a:cubicBezTo>
                        <a:cubicBezTo>
                          <a:pt x="138" y="294"/>
                          <a:pt x="142" y="310"/>
                          <a:pt x="143" y="315"/>
                        </a:cubicBezTo>
                        <a:cubicBezTo>
                          <a:pt x="143" y="316"/>
                          <a:pt x="156" y="318"/>
                          <a:pt x="158" y="318"/>
                        </a:cubicBezTo>
                        <a:cubicBezTo>
                          <a:pt x="164" y="322"/>
                          <a:pt x="167" y="321"/>
                          <a:pt x="174" y="320"/>
                        </a:cubicBezTo>
                        <a:cubicBezTo>
                          <a:pt x="181" y="316"/>
                          <a:pt x="189" y="317"/>
                          <a:pt x="197" y="314"/>
                        </a:cubicBezTo>
                        <a:cubicBezTo>
                          <a:pt x="189" y="324"/>
                          <a:pt x="183" y="323"/>
                          <a:pt x="170" y="324"/>
                        </a:cubicBezTo>
                        <a:cubicBezTo>
                          <a:pt x="163" y="329"/>
                          <a:pt x="155" y="332"/>
                          <a:pt x="147" y="335"/>
                        </a:cubicBezTo>
                        <a:cubicBezTo>
                          <a:pt x="140" y="342"/>
                          <a:pt x="142" y="338"/>
                          <a:pt x="140" y="344"/>
                        </a:cubicBezTo>
                        <a:cubicBezTo>
                          <a:pt x="142" y="352"/>
                          <a:pt x="145" y="350"/>
                          <a:pt x="153" y="348"/>
                        </a:cubicBezTo>
                        <a:cubicBezTo>
                          <a:pt x="160" y="351"/>
                          <a:pt x="159" y="349"/>
                          <a:pt x="155" y="353"/>
                        </a:cubicBezTo>
                        <a:cubicBezTo>
                          <a:pt x="150" y="359"/>
                          <a:pt x="143" y="359"/>
                          <a:pt x="136" y="360"/>
                        </a:cubicBezTo>
                        <a:cubicBezTo>
                          <a:pt x="130" y="363"/>
                          <a:pt x="124" y="363"/>
                          <a:pt x="118" y="365"/>
                        </a:cubicBezTo>
                        <a:cubicBezTo>
                          <a:pt x="112" y="368"/>
                          <a:pt x="106" y="370"/>
                          <a:pt x="100" y="372"/>
                        </a:cubicBezTo>
                        <a:cubicBezTo>
                          <a:pt x="93" y="371"/>
                          <a:pt x="95" y="370"/>
                          <a:pt x="98" y="365"/>
                        </a:cubicBezTo>
                        <a:cubicBezTo>
                          <a:pt x="91" y="354"/>
                          <a:pt x="67" y="363"/>
                          <a:pt x="86" y="369"/>
                        </a:cubicBezTo>
                        <a:cubicBezTo>
                          <a:pt x="88" y="375"/>
                          <a:pt x="75" y="379"/>
                          <a:pt x="69" y="381"/>
                        </a:cubicBezTo>
                        <a:cubicBezTo>
                          <a:pt x="63" y="380"/>
                          <a:pt x="60" y="381"/>
                          <a:pt x="58" y="375"/>
                        </a:cubicBezTo>
                        <a:cubicBezTo>
                          <a:pt x="70" y="372"/>
                          <a:pt x="51" y="375"/>
                          <a:pt x="48" y="376"/>
                        </a:cubicBezTo>
                        <a:cubicBezTo>
                          <a:pt x="43" y="379"/>
                          <a:pt x="40" y="383"/>
                          <a:pt x="34" y="386"/>
                        </a:cubicBezTo>
                        <a:cubicBezTo>
                          <a:pt x="30" y="388"/>
                          <a:pt x="23" y="392"/>
                          <a:pt x="23" y="392"/>
                        </a:cubicBezTo>
                        <a:cubicBezTo>
                          <a:pt x="22" y="396"/>
                          <a:pt x="20" y="398"/>
                          <a:pt x="17" y="401"/>
                        </a:cubicBezTo>
                        <a:cubicBezTo>
                          <a:pt x="15" y="407"/>
                          <a:pt x="11" y="410"/>
                          <a:pt x="9" y="416"/>
                        </a:cubicBezTo>
                        <a:cubicBezTo>
                          <a:pt x="8" y="426"/>
                          <a:pt x="6" y="429"/>
                          <a:pt x="4" y="438"/>
                        </a:cubicBezTo>
                        <a:cubicBezTo>
                          <a:pt x="4" y="444"/>
                          <a:pt x="0" y="459"/>
                          <a:pt x="9" y="462"/>
                        </a:cubicBezTo>
                        <a:cubicBezTo>
                          <a:pt x="13" y="461"/>
                          <a:pt x="21" y="459"/>
                          <a:pt x="21" y="459"/>
                        </a:cubicBezTo>
                        <a:cubicBezTo>
                          <a:pt x="24" y="451"/>
                          <a:pt x="33" y="449"/>
                          <a:pt x="41" y="446"/>
                        </a:cubicBezTo>
                        <a:cubicBezTo>
                          <a:pt x="45" y="445"/>
                          <a:pt x="53" y="442"/>
                          <a:pt x="53" y="442"/>
                        </a:cubicBezTo>
                        <a:cubicBezTo>
                          <a:pt x="51" y="446"/>
                          <a:pt x="50" y="449"/>
                          <a:pt x="47" y="452"/>
                        </a:cubicBezTo>
                        <a:cubicBezTo>
                          <a:pt x="46" y="456"/>
                          <a:pt x="46" y="458"/>
                          <a:pt x="42" y="461"/>
                        </a:cubicBezTo>
                        <a:cubicBezTo>
                          <a:pt x="40" y="468"/>
                          <a:pt x="38" y="466"/>
                          <a:pt x="44" y="468"/>
                        </a:cubicBezTo>
                        <a:cubicBezTo>
                          <a:pt x="46" y="472"/>
                          <a:pt x="49" y="473"/>
                          <a:pt x="53" y="474"/>
                        </a:cubicBezTo>
                        <a:cubicBezTo>
                          <a:pt x="54" y="478"/>
                          <a:pt x="51" y="482"/>
                          <a:pt x="56" y="477"/>
                        </a:cubicBezTo>
                        <a:cubicBezTo>
                          <a:pt x="56" y="476"/>
                          <a:pt x="56" y="474"/>
                          <a:pt x="57" y="474"/>
                        </a:cubicBezTo>
                        <a:cubicBezTo>
                          <a:pt x="58" y="474"/>
                          <a:pt x="58" y="476"/>
                          <a:pt x="58" y="477"/>
                        </a:cubicBezTo>
                        <a:cubicBezTo>
                          <a:pt x="57" y="482"/>
                          <a:pt x="54" y="485"/>
                          <a:pt x="53" y="489"/>
                        </a:cubicBezTo>
                        <a:cubicBezTo>
                          <a:pt x="59" y="495"/>
                          <a:pt x="64" y="487"/>
                          <a:pt x="68" y="495"/>
                        </a:cubicBezTo>
                        <a:cubicBezTo>
                          <a:pt x="66" y="499"/>
                          <a:pt x="66" y="501"/>
                          <a:pt x="62" y="503"/>
                        </a:cubicBezTo>
                        <a:cubicBezTo>
                          <a:pt x="53" y="517"/>
                          <a:pt x="69" y="522"/>
                          <a:pt x="81" y="525"/>
                        </a:cubicBezTo>
                        <a:cubicBezTo>
                          <a:pt x="76" y="527"/>
                          <a:pt x="71" y="529"/>
                          <a:pt x="66" y="531"/>
                        </a:cubicBezTo>
                        <a:cubicBezTo>
                          <a:pt x="64" y="536"/>
                          <a:pt x="59" y="533"/>
                          <a:pt x="54" y="532"/>
                        </a:cubicBezTo>
                        <a:cubicBezTo>
                          <a:pt x="53" y="525"/>
                          <a:pt x="54" y="523"/>
                          <a:pt x="48" y="521"/>
                        </a:cubicBezTo>
                        <a:cubicBezTo>
                          <a:pt x="39" y="512"/>
                          <a:pt x="51" y="515"/>
                          <a:pt x="28" y="516"/>
                        </a:cubicBezTo>
                        <a:cubicBezTo>
                          <a:pt x="18" y="521"/>
                          <a:pt x="37" y="526"/>
                          <a:pt x="42" y="527"/>
                        </a:cubicBezTo>
                        <a:cubicBezTo>
                          <a:pt x="44" y="529"/>
                          <a:pt x="49" y="534"/>
                          <a:pt x="45" y="538"/>
                        </a:cubicBezTo>
                        <a:cubicBezTo>
                          <a:pt x="44" y="539"/>
                          <a:pt x="39" y="540"/>
                          <a:pt x="39" y="540"/>
                        </a:cubicBezTo>
                        <a:cubicBezTo>
                          <a:pt x="38" y="542"/>
                          <a:pt x="36" y="544"/>
                          <a:pt x="36" y="546"/>
                        </a:cubicBezTo>
                        <a:cubicBezTo>
                          <a:pt x="37" y="549"/>
                          <a:pt x="53" y="552"/>
                          <a:pt x="56" y="554"/>
                        </a:cubicBezTo>
                        <a:cubicBezTo>
                          <a:pt x="66" y="551"/>
                          <a:pt x="66" y="550"/>
                          <a:pt x="68" y="540"/>
                        </a:cubicBezTo>
                        <a:cubicBezTo>
                          <a:pt x="71" y="549"/>
                          <a:pt x="69" y="550"/>
                          <a:pt x="80" y="551"/>
                        </a:cubicBezTo>
                        <a:cubicBezTo>
                          <a:pt x="85" y="553"/>
                          <a:pt x="94" y="552"/>
                          <a:pt x="98" y="552"/>
                        </a:cubicBezTo>
                        <a:cubicBezTo>
                          <a:pt x="101" y="561"/>
                          <a:pt x="100" y="556"/>
                          <a:pt x="101" y="566"/>
                        </a:cubicBezTo>
                        <a:cubicBezTo>
                          <a:pt x="100" y="573"/>
                          <a:pt x="100" y="574"/>
                          <a:pt x="95" y="578"/>
                        </a:cubicBezTo>
                        <a:cubicBezTo>
                          <a:pt x="97" y="583"/>
                          <a:pt x="100" y="582"/>
                          <a:pt x="104" y="584"/>
                        </a:cubicBezTo>
                        <a:cubicBezTo>
                          <a:pt x="105" y="600"/>
                          <a:pt x="102" y="600"/>
                          <a:pt x="116" y="598"/>
                        </a:cubicBezTo>
                        <a:cubicBezTo>
                          <a:pt x="120" y="600"/>
                          <a:pt x="125" y="602"/>
                          <a:pt x="129" y="605"/>
                        </a:cubicBezTo>
                        <a:cubicBezTo>
                          <a:pt x="128" y="612"/>
                          <a:pt x="129" y="609"/>
                          <a:pt x="122" y="614"/>
                        </a:cubicBezTo>
                        <a:cubicBezTo>
                          <a:pt x="120" y="615"/>
                          <a:pt x="116" y="616"/>
                          <a:pt x="116" y="616"/>
                        </a:cubicBezTo>
                        <a:cubicBezTo>
                          <a:pt x="114" y="621"/>
                          <a:pt x="115" y="627"/>
                          <a:pt x="120" y="629"/>
                        </a:cubicBezTo>
                        <a:cubicBezTo>
                          <a:pt x="123" y="626"/>
                          <a:pt x="125" y="623"/>
                          <a:pt x="129" y="622"/>
                        </a:cubicBezTo>
                        <a:cubicBezTo>
                          <a:pt x="131" y="612"/>
                          <a:pt x="153" y="616"/>
                          <a:pt x="162" y="614"/>
                        </a:cubicBezTo>
                        <a:cubicBezTo>
                          <a:pt x="165" y="612"/>
                          <a:pt x="171" y="610"/>
                          <a:pt x="171" y="610"/>
                        </a:cubicBezTo>
                        <a:cubicBezTo>
                          <a:pt x="170" y="616"/>
                          <a:pt x="166" y="617"/>
                          <a:pt x="164" y="624"/>
                        </a:cubicBezTo>
                        <a:cubicBezTo>
                          <a:pt x="164" y="627"/>
                          <a:pt x="133" y="639"/>
                          <a:pt x="134" y="641"/>
                        </a:cubicBezTo>
                        <a:cubicBezTo>
                          <a:pt x="136" y="644"/>
                          <a:pt x="171" y="629"/>
                          <a:pt x="174" y="627"/>
                        </a:cubicBezTo>
                        <a:cubicBezTo>
                          <a:pt x="179" y="623"/>
                          <a:pt x="186" y="622"/>
                          <a:pt x="191" y="618"/>
                        </a:cubicBezTo>
                        <a:cubicBezTo>
                          <a:pt x="198" y="621"/>
                          <a:pt x="195" y="627"/>
                          <a:pt x="203" y="630"/>
                        </a:cubicBezTo>
                        <a:cubicBezTo>
                          <a:pt x="208" y="629"/>
                          <a:pt x="214" y="628"/>
                          <a:pt x="219" y="627"/>
                        </a:cubicBezTo>
                        <a:cubicBezTo>
                          <a:pt x="220" y="623"/>
                          <a:pt x="219" y="619"/>
                          <a:pt x="224" y="621"/>
                        </a:cubicBezTo>
                        <a:cubicBezTo>
                          <a:pt x="227" y="624"/>
                          <a:pt x="229" y="625"/>
                          <a:pt x="227" y="630"/>
                        </a:cubicBezTo>
                        <a:cubicBezTo>
                          <a:pt x="228" y="635"/>
                          <a:pt x="232" y="639"/>
                          <a:pt x="236" y="642"/>
                        </a:cubicBezTo>
                        <a:cubicBezTo>
                          <a:pt x="238" y="648"/>
                          <a:pt x="246" y="646"/>
                          <a:pt x="251" y="645"/>
                        </a:cubicBezTo>
                        <a:cubicBezTo>
                          <a:pt x="261" y="646"/>
                          <a:pt x="272" y="647"/>
                          <a:pt x="282" y="644"/>
                        </a:cubicBezTo>
                        <a:cubicBezTo>
                          <a:pt x="288" y="640"/>
                          <a:pt x="297" y="639"/>
                          <a:pt x="304" y="636"/>
                        </a:cubicBezTo>
                        <a:cubicBezTo>
                          <a:pt x="307" y="635"/>
                          <a:pt x="314" y="633"/>
                          <a:pt x="314" y="633"/>
                        </a:cubicBezTo>
                        <a:cubicBezTo>
                          <a:pt x="321" y="623"/>
                          <a:pt x="318" y="629"/>
                          <a:pt x="320" y="612"/>
                        </a:cubicBezTo>
                        <a:cubicBezTo>
                          <a:pt x="318" y="604"/>
                          <a:pt x="316" y="600"/>
                          <a:pt x="314" y="593"/>
                        </a:cubicBezTo>
                        <a:cubicBezTo>
                          <a:pt x="315" y="585"/>
                          <a:pt x="312" y="575"/>
                          <a:pt x="321" y="581"/>
                        </a:cubicBezTo>
                        <a:cubicBezTo>
                          <a:pt x="321" y="582"/>
                          <a:pt x="321" y="584"/>
                          <a:pt x="322" y="584"/>
                        </a:cubicBezTo>
                        <a:cubicBezTo>
                          <a:pt x="325" y="584"/>
                          <a:pt x="325" y="580"/>
                          <a:pt x="327" y="578"/>
                        </a:cubicBezTo>
                        <a:cubicBezTo>
                          <a:pt x="331" y="575"/>
                          <a:pt x="332" y="576"/>
                          <a:pt x="338" y="575"/>
                        </a:cubicBezTo>
                        <a:cubicBezTo>
                          <a:pt x="345" y="573"/>
                          <a:pt x="364" y="576"/>
                          <a:pt x="368" y="576"/>
                        </a:cubicBezTo>
                        <a:cubicBezTo>
                          <a:pt x="381" y="582"/>
                          <a:pt x="395" y="583"/>
                          <a:pt x="410" y="584"/>
                        </a:cubicBezTo>
                        <a:cubicBezTo>
                          <a:pt x="418" y="597"/>
                          <a:pt x="430" y="600"/>
                          <a:pt x="441" y="608"/>
                        </a:cubicBezTo>
                        <a:cubicBezTo>
                          <a:pt x="456" y="604"/>
                          <a:pt x="470" y="596"/>
                          <a:pt x="485" y="591"/>
                        </a:cubicBezTo>
                        <a:cubicBezTo>
                          <a:pt x="488" y="588"/>
                          <a:pt x="490" y="586"/>
                          <a:pt x="494" y="585"/>
                        </a:cubicBezTo>
                        <a:cubicBezTo>
                          <a:pt x="497" y="581"/>
                          <a:pt x="507" y="575"/>
                          <a:pt x="512" y="573"/>
                        </a:cubicBezTo>
                        <a:cubicBezTo>
                          <a:pt x="517" y="566"/>
                          <a:pt x="522" y="559"/>
                          <a:pt x="527" y="551"/>
                        </a:cubicBezTo>
                        <a:cubicBezTo>
                          <a:pt x="529" y="543"/>
                          <a:pt x="528" y="533"/>
                          <a:pt x="537" y="530"/>
                        </a:cubicBezTo>
                        <a:cubicBezTo>
                          <a:pt x="538" y="527"/>
                          <a:pt x="542" y="521"/>
                          <a:pt x="542" y="521"/>
                        </a:cubicBezTo>
                        <a:cubicBezTo>
                          <a:pt x="544" y="512"/>
                          <a:pt x="545" y="513"/>
                          <a:pt x="554" y="510"/>
                        </a:cubicBezTo>
                        <a:cubicBezTo>
                          <a:pt x="565" y="511"/>
                          <a:pt x="573" y="513"/>
                          <a:pt x="584" y="514"/>
                        </a:cubicBezTo>
                        <a:cubicBezTo>
                          <a:pt x="590" y="514"/>
                          <a:pt x="598" y="516"/>
                          <a:pt x="602" y="512"/>
                        </a:cubicBezTo>
                        <a:cubicBezTo>
                          <a:pt x="604" y="510"/>
                          <a:pt x="606" y="506"/>
                          <a:pt x="606" y="506"/>
                        </a:cubicBezTo>
                        <a:cubicBezTo>
                          <a:pt x="604" y="498"/>
                          <a:pt x="612" y="495"/>
                          <a:pt x="608" y="489"/>
                        </a:cubicBezTo>
                        <a:cubicBezTo>
                          <a:pt x="614" y="483"/>
                          <a:pt x="613" y="479"/>
                          <a:pt x="621" y="476"/>
                        </a:cubicBezTo>
                        <a:cubicBezTo>
                          <a:pt x="628" y="477"/>
                          <a:pt x="636" y="477"/>
                          <a:pt x="641" y="482"/>
                        </a:cubicBezTo>
                        <a:cubicBezTo>
                          <a:pt x="644" y="491"/>
                          <a:pt x="636" y="503"/>
                          <a:pt x="630" y="509"/>
                        </a:cubicBezTo>
                        <a:cubicBezTo>
                          <a:pt x="629" y="513"/>
                          <a:pt x="626" y="517"/>
                          <a:pt x="624" y="521"/>
                        </a:cubicBezTo>
                        <a:cubicBezTo>
                          <a:pt x="626" y="525"/>
                          <a:pt x="628" y="527"/>
                          <a:pt x="632" y="528"/>
                        </a:cubicBezTo>
                        <a:cubicBezTo>
                          <a:pt x="636" y="532"/>
                          <a:pt x="638" y="535"/>
                          <a:pt x="642" y="539"/>
                        </a:cubicBezTo>
                        <a:cubicBezTo>
                          <a:pt x="644" y="550"/>
                          <a:pt x="643" y="551"/>
                          <a:pt x="653" y="549"/>
                        </a:cubicBezTo>
                        <a:cubicBezTo>
                          <a:pt x="654" y="546"/>
                          <a:pt x="660" y="544"/>
                          <a:pt x="660" y="544"/>
                        </a:cubicBezTo>
                        <a:cubicBezTo>
                          <a:pt x="664" y="537"/>
                          <a:pt x="659" y="519"/>
                          <a:pt x="659" y="519"/>
                        </a:cubicBezTo>
                        <a:cubicBezTo>
                          <a:pt x="663" y="518"/>
                          <a:pt x="663" y="515"/>
                          <a:pt x="668" y="514"/>
                        </a:cubicBezTo>
                        <a:cubicBezTo>
                          <a:pt x="671" y="509"/>
                          <a:pt x="671" y="504"/>
                          <a:pt x="666" y="500"/>
                        </a:cubicBezTo>
                        <a:cubicBezTo>
                          <a:pt x="665" y="496"/>
                          <a:pt x="661" y="494"/>
                          <a:pt x="659" y="489"/>
                        </a:cubicBezTo>
                        <a:cubicBezTo>
                          <a:pt x="660" y="467"/>
                          <a:pt x="662" y="469"/>
                          <a:pt x="681" y="464"/>
                        </a:cubicBezTo>
                        <a:cubicBezTo>
                          <a:pt x="688" y="475"/>
                          <a:pt x="676" y="474"/>
                          <a:pt x="698" y="471"/>
                        </a:cubicBezTo>
                        <a:cubicBezTo>
                          <a:pt x="703" y="469"/>
                          <a:pt x="711" y="464"/>
                          <a:pt x="711" y="464"/>
                        </a:cubicBezTo>
                        <a:cubicBezTo>
                          <a:pt x="713" y="454"/>
                          <a:pt x="740" y="428"/>
                          <a:pt x="750" y="425"/>
                        </a:cubicBezTo>
                        <a:cubicBezTo>
                          <a:pt x="768" y="426"/>
                          <a:pt x="778" y="427"/>
                          <a:pt x="794" y="425"/>
                        </a:cubicBezTo>
                        <a:cubicBezTo>
                          <a:pt x="798" y="424"/>
                          <a:pt x="803" y="423"/>
                          <a:pt x="807" y="422"/>
                        </a:cubicBezTo>
                        <a:cubicBezTo>
                          <a:pt x="810" y="419"/>
                          <a:pt x="813" y="417"/>
                          <a:pt x="816" y="414"/>
                        </a:cubicBezTo>
                        <a:cubicBezTo>
                          <a:pt x="818" y="412"/>
                          <a:pt x="822" y="410"/>
                          <a:pt x="822" y="410"/>
                        </a:cubicBezTo>
                        <a:cubicBezTo>
                          <a:pt x="825" y="406"/>
                          <a:pt x="829" y="402"/>
                          <a:pt x="833" y="401"/>
                        </a:cubicBezTo>
                        <a:cubicBezTo>
                          <a:pt x="841" y="393"/>
                          <a:pt x="847" y="383"/>
                          <a:pt x="855" y="375"/>
                        </a:cubicBezTo>
                        <a:cubicBezTo>
                          <a:pt x="860" y="361"/>
                          <a:pt x="873" y="352"/>
                          <a:pt x="886" y="348"/>
                        </a:cubicBezTo>
                        <a:cubicBezTo>
                          <a:pt x="891" y="346"/>
                          <a:pt x="902" y="344"/>
                          <a:pt x="902" y="344"/>
                        </a:cubicBezTo>
                        <a:cubicBezTo>
                          <a:pt x="914" y="332"/>
                          <a:pt x="937" y="334"/>
                          <a:pt x="953" y="333"/>
                        </a:cubicBezTo>
                        <a:cubicBezTo>
                          <a:pt x="957" y="322"/>
                          <a:pt x="954" y="327"/>
                          <a:pt x="957" y="309"/>
                        </a:cubicBezTo>
                        <a:cubicBezTo>
                          <a:pt x="958" y="304"/>
                          <a:pt x="979" y="300"/>
                          <a:pt x="983" y="297"/>
                        </a:cubicBezTo>
                        <a:cubicBezTo>
                          <a:pt x="993" y="268"/>
                          <a:pt x="999" y="280"/>
                          <a:pt x="1028" y="273"/>
                        </a:cubicBezTo>
                        <a:cubicBezTo>
                          <a:pt x="1035" y="266"/>
                          <a:pt x="1045" y="260"/>
                          <a:pt x="1055" y="257"/>
                        </a:cubicBezTo>
                        <a:cubicBezTo>
                          <a:pt x="1057" y="255"/>
                          <a:pt x="1058" y="251"/>
                          <a:pt x="1061" y="251"/>
                        </a:cubicBezTo>
                        <a:cubicBezTo>
                          <a:pt x="1063" y="251"/>
                          <a:pt x="1065" y="270"/>
                          <a:pt x="1066" y="273"/>
                        </a:cubicBezTo>
                        <a:cubicBezTo>
                          <a:pt x="1071" y="272"/>
                          <a:pt x="1080" y="268"/>
                          <a:pt x="1080" y="268"/>
                        </a:cubicBezTo>
                        <a:cubicBezTo>
                          <a:pt x="1083" y="262"/>
                          <a:pt x="1084" y="255"/>
                          <a:pt x="1086" y="249"/>
                        </a:cubicBezTo>
                        <a:cubicBezTo>
                          <a:pt x="1085" y="239"/>
                          <a:pt x="1078" y="225"/>
                          <a:pt x="1067" y="221"/>
                        </a:cubicBezTo>
                        <a:cubicBezTo>
                          <a:pt x="1062" y="213"/>
                          <a:pt x="1055" y="213"/>
                          <a:pt x="1046" y="212"/>
                        </a:cubicBezTo>
                        <a:cubicBezTo>
                          <a:pt x="1041" y="205"/>
                          <a:pt x="1043" y="208"/>
                          <a:pt x="1041" y="202"/>
                        </a:cubicBezTo>
                        <a:cubicBezTo>
                          <a:pt x="1040" y="182"/>
                          <a:pt x="1041" y="178"/>
                          <a:pt x="1022" y="176"/>
                        </a:cubicBezTo>
                        <a:cubicBezTo>
                          <a:pt x="1018" y="171"/>
                          <a:pt x="1019" y="164"/>
                          <a:pt x="1016" y="159"/>
                        </a:cubicBezTo>
                        <a:cubicBezTo>
                          <a:pt x="1011" y="149"/>
                          <a:pt x="999" y="142"/>
                          <a:pt x="992" y="135"/>
                        </a:cubicBezTo>
                        <a:cubicBezTo>
                          <a:pt x="988" y="131"/>
                          <a:pt x="989" y="127"/>
                          <a:pt x="983" y="125"/>
                        </a:cubicBezTo>
                        <a:cubicBezTo>
                          <a:pt x="976" y="118"/>
                          <a:pt x="979" y="115"/>
                          <a:pt x="986" y="110"/>
                        </a:cubicBezTo>
                        <a:cubicBezTo>
                          <a:pt x="987" y="106"/>
                          <a:pt x="999" y="98"/>
                          <a:pt x="984" y="83"/>
                        </a:cubicBezTo>
                        <a:cubicBezTo>
                          <a:pt x="984" y="77"/>
                          <a:pt x="1009" y="76"/>
                          <a:pt x="1005" y="74"/>
                        </a:cubicBezTo>
                        <a:cubicBezTo>
                          <a:pt x="1003" y="71"/>
                          <a:pt x="981" y="63"/>
                          <a:pt x="974" y="62"/>
                        </a:cubicBezTo>
                        <a:cubicBezTo>
                          <a:pt x="967" y="61"/>
                          <a:pt x="965" y="68"/>
                          <a:pt x="960" y="70"/>
                        </a:cubicBezTo>
                        <a:cubicBezTo>
                          <a:pt x="954" y="72"/>
                          <a:pt x="949" y="75"/>
                          <a:pt x="942" y="76"/>
                        </a:cubicBezTo>
                        <a:cubicBezTo>
                          <a:pt x="927" y="75"/>
                          <a:pt x="924" y="69"/>
                          <a:pt x="918" y="56"/>
                        </a:cubicBezTo>
                        <a:cubicBezTo>
                          <a:pt x="918" y="49"/>
                          <a:pt x="918" y="43"/>
                          <a:pt x="917" y="36"/>
                        </a:cubicBezTo>
                        <a:cubicBezTo>
                          <a:pt x="916" y="31"/>
                          <a:pt x="902" y="32"/>
                          <a:pt x="902" y="32"/>
                        </a:cubicBezTo>
                        <a:cubicBezTo>
                          <a:pt x="896" y="26"/>
                          <a:pt x="889" y="24"/>
                          <a:pt x="881" y="22"/>
                        </a:cubicBezTo>
                        <a:cubicBezTo>
                          <a:pt x="877" y="17"/>
                          <a:pt x="876" y="17"/>
                          <a:pt x="870" y="15"/>
                        </a:cubicBezTo>
                        <a:cubicBezTo>
                          <a:pt x="865" y="10"/>
                          <a:pt x="860" y="12"/>
                          <a:pt x="854" y="10"/>
                        </a:cubicBezTo>
                        <a:cubicBezTo>
                          <a:pt x="838" y="0"/>
                          <a:pt x="830" y="13"/>
                          <a:pt x="816" y="16"/>
                        </a:cubicBezTo>
                        <a:cubicBezTo>
                          <a:pt x="813" y="20"/>
                          <a:pt x="809" y="22"/>
                          <a:pt x="804" y="24"/>
                        </a:cubicBezTo>
                        <a:cubicBezTo>
                          <a:pt x="798" y="33"/>
                          <a:pt x="792" y="37"/>
                          <a:pt x="784" y="42"/>
                        </a:cubicBezTo>
                        <a:cubicBezTo>
                          <a:pt x="781" y="44"/>
                          <a:pt x="774" y="47"/>
                          <a:pt x="774" y="47"/>
                        </a:cubicBezTo>
                        <a:cubicBezTo>
                          <a:pt x="767" y="54"/>
                          <a:pt x="765" y="61"/>
                          <a:pt x="760" y="69"/>
                        </a:cubicBezTo>
                        <a:cubicBezTo>
                          <a:pt x="757" y="74"/>
                          <a:pt x="759" y="71"/>
                          <a:pt x="752" y="76"/>
                        </a:cubicBezTo>
                        <a:cubicBezTo>
                          <a:pt x="751" y="77"/>
                          <a:pt x="749" y="78"/>
                          <a:pt x="749" y="78"/>
                        </a:cubicBezTo>
                        <a:cubicBezTo>
                          <a:pt x="744" y="94"/>
                          <a:pt x="740" y="93"/>
                          <a:pt x="731" y="108"/>
                        </a:cubicBezTo>
                        <a:cubicBezTo>
                          <a:pt x="721" y="116"/>
                          <a:pt x="701" y="108"/>
                          <a:pt x="688" y="112"/>
                        </a:cubicBezTo>
                        <a:cubicBezTo>
                          <a:pt x="675" y="116"/>
                          <a:pt x="661" y="128"/>
                          <a:pt x="653" y="132"/>
                        </a:cubicBezTo>
                        <a:cubicBezTo>
                          <a:pt x="649" y="134"/>
                          <a:pt x="641" y="137"/>
                          <a:pt x="641" y="137"/>
                        </a:cubicBezTo>
                        <a:cubicBezTo>
                          <a:pt x="634" y="144"/>
                          <a:pt x="632" y="152"/>
                          <a:pt x="623" y="155"/>
                        </a:cubicBezTo>
                        <a:cubicBezTo>
                          <a:pt x="613" y="154"/>
                          <a:pt x="603" y="153"/>
                          <a:pt x="593" y="152"/>
                        </a:cubicBezTo>
                        <a:cubicBezTo>
                          <a:pt x="585" y="153"/>
                          <a:pt x="587" y="156"/>
                          <a:pt x="581" y="160"/>
                        </a:cubicBezTo>
                        <a:cubicBezTo>
                          <a:pt x="568" y="158"/>
                          <a:pt x="556" y="158"/>
                          <a:pt x="543" y="155"/>
                        </a:cubicBezTo>
                        <a:cubicBezTo>
                          <a:pt x="537" y="156"/>
                          <a:pt x="538" y="158"/>
                          <a:pt x="533" y="160"/>
                        </a:cubicBezTo>
                        <a:cubicBezTo>
                          <a:pt x="527" y="167"/>
                          <a:pt x="526" y="165"/>
                          <a:pt x="515" y="164"/>
                        </a:cubicBezTo>
                        <a:cubicBezTo>
                          <a:pt x="508" y="159"/>
                          <a:pt x="507" y="150"/>
                          <a:pt x="498" y="148"/>
                        </a:cubicBezTo>
                        <a:cubicBezTo>
                          <a:pt x="490" y="137"/>
                          <a:pt x="483" y="146"/>
                          <a:pt x="474" y="149"/>
                        </a:cubicBezTo>
                        <a:cubicBezTo>
                          <a:pt x="473" y="153"/>
                          <a:pt x="472" y="155"/>
                          <a:pt x="468" y="156"/>
                        </a:cubicBezTo>
                        <a:cubicBezTo>
                          <a:pt x="463" y="164"/>
                          <a:pt x="452" y="151"/>
                          <a:pt x="446" y="147"/>
                        </a:cubicBezTo>
                        <a:cubicBezTo>
                          <a:pt x="444" y="144"/>
                          <a:pt x="438" y="140"/>
                          <a:pt x="438" y="140"/>
                        </a:cubicBezTo>
                        <a:cubicBezTo>
                          <a:pt x="433" y="133"/>
                          <a:pt x="426" y="140"/>
                          <a:pt x="420" y="142"/>
                        </a:cubicBezTo>
                        <a:cubicBezTo>
                          <a:pt x="409" y="157"/>
                          <a:pt x="413" y="155"/>
                          <a:pt x="389" y="156"/>
                        </a:cubicBezTo>
                        <a:cubicBezTo>
                          <a:pt x="385" y="160"/>
                          <a:pt x="378" y="163"/>
                          <a:pt x="372" y="165"/>
                        </a:cubicBezTo>
                        <a:cubicBezTo>
                          <a:pt x="365" y="169"/>
                          <a:pt x="356" y="172"/>
                          <a:pt x="348" y="174"/>
                        </a:cubicBezTo>
                        <a:cubicBezTo>
                          <a:pt x="346" y="176"/>
                          <a:pt x="339" y="179"/>
                          <a:pt x="339" y="179"/>
                        </a:cubicBezTo>
                        <a:cubicBezTo>
                          <a:pt x="336" y="182"/>
                          <a:pt x="327" y="186"/>
                          <a:pt x="327" y="186"/>
                        </a:cubicBezTo>
                        <a:cubicBezTo>
                          <a:pt x="323" y="190"/>
                          <a:pt x="314" y="199"/>
                          <a:pt x="311" y="201"/>
                        </a:cubicBezTo>
                        <a:cubicBezTo>
                          <a:pt x="299" y="209"/>
                          <a:pt x="275" y="222"/>
                          <a:pt x="275" y="222"/>
                        </a:cubicBezTo>
                        <a:cubicBezTo>
                          <a:pt x="272" y="231"/>
                          <a:pt x="275" y="245"/>
                          <a:pt x="264" y="249"/>
                        </a:cubicBezTo>
                        <a:cubicBezTo>
                          <a:pt x="260" y="256"/>
                          <a:pt x="259" y="262"/>
                          <a:pt x="252" y="267"/>
                        </a:cubicBezTo>
                        <a:cubicBezTo>
                          <a:pt x="252" y="268"/>
                          <a:pt x="249" y="279"/>
                          <a:pt x="245" y="278"/>
                        </a:cubicBezTo>
                        <a:cubicBezTo>
                          <a:pt x="244" y="278"/>
                          <a:pt x="245" y="276"/>
                          <a:pt x="245" y="275"/>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36" name="Freeform 2533">
                    <a:extLst>
                      <a:ext uri="{FF2B5EF4-FFF2-40B4-BE49-F238E27FC236}">
                        <a16:creationId xmlns:a16="http://schemas.microsoft.com/office/drawing/2014/main" id="{E23EF186-1B46-19A9-83FC-C708DAC261BC}"/>
                      </a:ext>
                    </a:extLst>
                  </p:cNvPr>
                  <p:cNvSpPr>
                    <a:spLocks noChangeAspect="1"/>
                  </p:cNvSpPr>
                  <p:nvPr/>
                </p:nvSpPr>
                <p:spPr bwMode="auto">
                  <a:xfrm>
                    <a:off x="6214" y="8466"/>
                    <a:ext cx="64" cy="68"/>
                  </a:xfrm>
                  <a:custGeom>
                    <a:avLst/>
                    <a:gdLst>
                      <a:gd name="T0" fmla="*/ 13 w 16"/>
                      <a:gd name="T1" fmla="*/ 3 h 17"/>
                      <a:gd name="T2" fmla="*/ 3 w 16"/>
                      <a:gd name="T3" fmla="*/ 8 h 17"/>
                      <a:gd name="T4" fmla="*/ 2 w 16"/>
                      <a:gd name="T5" fmla="*/ 17 h 17"/>
                      <a:gd name="T6" fmla="*/ 12 w 16"/>
                      <a:gd name="T7" fmla="*/ 13 h 17"/>
                      <a:gd name="T8" fmla="*/ 13 w 16"/>
                      <a:gd name="T9" fmla="*/ 3 h 17"/>
                      <a:gd name="T10" fmla="*/ 0 60000 65536"/>
                      <a:gd name="T11" fmla="*/ 0 60000 65536"/>
                      <a:gd name="T12" fmla="*/ 0 60000 65536"/>
                      <a:gd name="T13" fmla="*/ 0 60000 65536"/>
                      <a:gd name="T14" fmla="*/ 0 60000 65536"/>
                      <a:gd name="T15" fmla="*/ 0 w 16"/>
                      <a:gd name="T16" fmla="*/ 0 h 17"/>
                      <a:gd name="T17" fmla="*/ 16 w 16"/>
                      <a:gd name="T18" fmla="*/ 17 h 17"/>
                    </a:gdLst>
                    <a:ahLst/>
                    <a:cxnLst>
                      <a:cxn ang="T10">
                        <a:pos x="T0" y="T1"/>
                      </a:cxn>
                      <a:cxn ang="T11">
                        <a:pos x="T2" y="T3"/>
                      </a:cxn>
                      <a:cxn ang="T12">
                        <a:pos x="T4" y="T5"/>
                      </a:cxn>
                      <a:cxn ang="T13">
                        <a:pos x="T6" y="T7"/>
                      </a:cxn>
                      <a:cxn ang="T14">
                        <a:pos x="T8" y="T9"/>
                      </a:cxn>
                    </a:cxnLst>
                    <a:rect l="T15" t="T16" r="T17" b="T18"/>
                    <a:pathLst>
                      <a:path w="16" h="17">
                        <a:moveTo>
                          <a:pt x="13" y="3"/>
                        </a:moveTo>
                        <a:cubicBezTo>
                          <a:pt x="10" y="5"/>
                          <a:pt x="7" y="7"/>
                          <a:pt x="3" y="8"/>
                        </a:cubicBezTo>
                        <a:cubicBezTo>
                          <a:pt x="1" y="15"/>
                          <a:pt x="0" y="12"/>
                          <a:pt x="2" y="17"/>
                        </a:cubicBezTo>
                        <a:cubicBezTo>
                          <a:pt x="6" y="16"/>
                          <a:pt x="8" y="14"/>
                          <a:pt x="12" y="13"/>
                        </a:cubicBezTo>
                        <a:cubicBezTo>
                          <a:pt x="13" y="11"/>
                          <a:pt x="16" y="0"/>
                          <a:pt x="13" y="3"/>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37" name="Freeform 2534">
                    <a:extLst>
                      <a:ext uri="{FF2B5EF4-FFF2-40B4-BE49-F238E27FC236}">
                        <a16:creationId xmlns:a16="http://schemas.microsoft.com/office/drawing/2014/main" id="{34A24511-9CD7-F127-044D-B57CF807E125}"/>
                      </a:ext>
                    </a:extLst>
                  </p:cNvPr>
                  <p:cNvSpPr>
                    <a:spLocks noChangeAspect="1"/>
                  </p:cNvSpPr>
                  <p:nvPr/>
                </p:nvSpPr>
                <p:spPr bwMode="auto">
                  <a:xfrm>
                    <a:off x="6258" y="7863"/>
                    <a:ext cx="640" cy="623"/>
                  </a:xfrm>
                  <a:custGeom>
                    <a:avLst/>
                    <a:gdLst>
                      <a:gd name="T0" fmla="*/ 340 w 640"/>
                      <a:gd name="T1" fmla="*/ 20 h 623"/>
                      <a:gd name="T2" fmla="*/ 384 w 640"/>
                      <a:gd name="T3" fmla="*/ 92 h 623"/>
                      <a:gd name="T4" fmla="*/ 468 w 640"/>
                      <a:gd name="T5" fmla="*/ 140 h 623"/>
                      <a:gd name="T6" fmla="*/ 604 w 640"/>
                      <a:gd name="T7" fmla="*/ 156 h 623"/>
                      <a:gd name="T8" fmla="*/ 588 w 640"/>
                      <a:gd name="T9" fmla="*/ 248 h 623"/>
                      <a:gd name="T10" fmla="*/ 516 w 640"/>
                      <a:gd name="T11" fmla="*/ 252 h 623"/>
                      <a:gd name="T12" fmla="*/ 472 w 640"/>
                      <a:gd name="T13" fmla="*/ 264 h 623"/>
                      <a:gd name="T14" fmla="*/ 388 w 640"/>
                      <a:gd name="T15" fmla="*/ 284 h 623"/>
                      <a:gd name="T16" fmla="*/ 324 w 640"/>
                      <a:gd name="T17" fmla="*/ 312 h 623"/>
                      <a:gd name="T18" fmla="*/ 280 w 640"/>
                      <a:gd name="T19" fmla="*/ 395 h 623"/>
                      <a:gd name="T20" fmla="*/ 208 w 640"/>
                      <a:gd name="T21" fmla="*/ 451 h 623"/>
                      <a:gd name="T22" fmla="*/ 160 w 640"/>
                      <a:gd name="T23" fmla="*/ 519 h 623"/>
                      <a:gd name="T24" fmla="*/ 84 w 640"/>
                      <a:gd name="T25" fmla="*/ 591 h 623"/>
                      <a:gd name="T26" fmla="*/ 56 w 640"/>
                      <a:gd name="T27" fmla="*/ 599 h 623"/>
                      <a:gd name="T28" fmla="*/ 100 w 640"/>
                      <a:gd name="T29" fmla="*/ 519 h 623"/>
                      <a:gd name="T30" fmla="*/ 124 w 640"/>
                      <a:gd name="T31" fmla="*/ 487 h 623"/>
                      <a:gd name="T32" fmla="*/ 72 w 640"/>
                      <a:gd name="T33" fmla="*/ 491 h 623"/>
                      <a:gd name="T34" fmla="*/ 0 w 640"/>
                      <a:gd name="T35" fmla="*/ 475 h 623"/>
                      <a:gd name="T36" fmla="*/ 28 w 640"/>
                      <a:gd name="T37" fmla="*/ 439 h 623"/>
                      <a:gd name="T38" fmla="*/ 48 w 640"/>
                      <a:gd name="T39" fmla="*/ 384 h 623"/>
                      <a:gd name="T40" fmla="*/ 38 w 640"/>
                      <a:gd name="T41" fmla="*/ 342 h 623"/>
                      <a:gd name="T42" fmla="*/ 81 w 640"/>
                      <a:gd name="T43" fmla="*/ 254 h 623"/>
                      <a:gd name="T44" fmla="*/ 42 w 640"/>
                      <a:gd name="T45" fmla="*/ 209 h 623"/>
                      <a:gd name="T46" fmla="*/ 4 w 640"/>
                      <a:gd name="T47" fmla="*/ 176 h 623"/>
                      <a:gd name="T48" fmla="*/ 28 w 640"/>
                      <a:gd name="T49" fmla="*/ 144 h 623"/>
                      <a:gd name="T50" fmla="*/ 48 w 640"/>
                      <a:gd name="T51" fmla="*/ 88 h 623"/>
                      <a:gd name="T52" fmla="*/ 72 w 640"/>
                      <a:gd name="T53" fmla="*/ 80 h 623"/>
                      <a:gd name="T54" fmla="*/ 156 w 640"/>
                      <a:gd name="T55" fmla="*/ 24 h 623"/>
                      <a:gd name="T56" fmla="*/ 216 w 640"/>
                      <a:gd name="T57" fmla="*/ 40 h 623"/>
                      <a:gd name="T58" fmla="*/ 296 w 640"/>
                      <a:gd name="T59" fmla="*/ 36 h 623"/>
                      <a:gd name="T60" fmla="*/ 340 w 640"/>
                      <a:gd name="T61" fmla="*/ 20 h 6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40"/>
                      <a:gd name="T94" fmla="*/ 0 h 623"/>
                      <a:gd name="T95" fmla="*/ 640 w 640"/>
                      <a:gd name="T96" fmla="*/ 623 h 6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40" h="623">
                        <a:moveTo>
                          <a:pt x="340" y="20"/>
                        </a:moveTo>
                        <a:cubicBezTo>
                          <a:pt x="352" y="56"/>
                          <a:pt x="352" y="72"/>
                          <a:pt x="384" y="92"/>
                        </a:cubicBezTo>
                        <a:cubicBezTo>
                          <a:pt x="400" y="136"/>
                          <a:pt x="424" y="136"/>
                          <a:pt x="468" y="140"/>
                        </a:cubicBezTo>
                        <a:cubicBezTo>
                          <a:pt x="512" y="148"/>
                          <a:pt x="604" y="156"/>
                          <a:pt x="604" y="156"/>
                        </a:cubicBezTo>
                        <a:cubicBezTo>
                          <a:pt x="640" y="168"/>
                          <a:pt x="616" y="244"/>
                          <a:pt x="588" y="248"/>
                        </a:cubicBezTo>
                        <a:cubicBezTo>
                          <a:pt x="564" y="252"/>
                          <a:pt x="540" y="252"/>
                          <a:pt x="516" y="252"/>
                        </a:cubicBezTo>
                        <a:cubicBezTo>
                          <a:pt x="500" y="256"/>
                          <a:pt x="472" y="264"/>
                          <a:pt x="472" y="264"/>
                        </a:cubicBezTo>
                        <a:cubicBezTo>
                          <a:pt x="444" y="284"/>
                          <a:pt x="424" y="280"/>
                          <a:pt x="388" y="284"/>
                        </a:cubicBezTo>
                        <a:cubicBezTo>
                          <a:pt x="368" y="292"/>
                          <a:pt x="344" y="300"/>
                          <a:pt x="324" y="312"/>
                        </a:cubicBezTo>
                        <a:cubicBezTo>
                          <a:pt x="316" y="339"/>
                          <a:pt x="312" y="383"/>
                          <a:pt x="280" y="395"/>
                        </a:cubicBezTo>
                        <a:cubicBezTo>
                          <a:pt x="264" y="415"/>
                          <a:pt x="232" y="443"/>
                          <a:pt x="208" y="451"/>
                        </a:cubicBezTo>
                        <a:cubicBezTo>
                          <a:pt x="196" y="471"/>
                          <a:pt x="180" y="507"/>
                          <a:pt x="160" y="519"/>
                        </a:cubicBezTo>
                        <a:cubicBezTo>
                          <a:pt x="152" y="535"/>
                          <a:pt x="104" y="583"/>
                          <a:pt x="84" y="591"/>
                        </a:cubicBezTo>
                        <a:cubicBezTo>
                          <a:pt x="80" y="615"/>
                          <a:pt x="68" y="623"/>
                          <a:pt x="56" y="599"/>
                        </a:cubicBezTo>
                        <a:cubicBezTo>
                          <a:pt x="64" y="579"/>
                          <a:pt x="80" y="531"/>
                          <a:pt x="100" y="519"/>
                        </a:cubicBezTo>
                        <a:cubicBezTo>
                          <a:pt x="108" y="499"/>
                          <a:pt x="120" y="503"/>
                          <a:pt x="124" y="487"/>
                        </a:cubicBezTo>
                        <a:cubicBezTo>
                          <a:pt x="116" y="447"/>
                          <a:pt x="96" y="483"/>
                          <a:pt x="72" y="491"/>
                        </a:cubicBezTo>
                        <a:cubicBezTo>
                          <a:pt x="40" y="487"/>
                          <a:pt x="28" y="479"/>
                          <a:pt x="0" y="475"/>
                        </a:cubicBezTo>
                        <a:cubicBezTo>
                          <a:pt x="12" y="463"/>
                          <a:pt x="16" y="451"/>
                          <a:pt x="28" y="439"/>
                        </a:cubicBezTo>
                        <a:cubicBezTo>
                          <a:pt x="32" y="423"/>
                          <a:pt x="44" y="400"/>
                          <a:pt x="48" y="384"/>
                        </a:cubicBezTo>
                        <a:cubicBezTo>
                          <a:pt x="44" y="364"/>
                          <a:pt x="46" y="362"/>
                          <a:pt x="38" y="342"/>
                        </a:cubicBezTo>
                        <a:cubicBezTo>
                          <a:pt x="42" y="303"/>
                          <a:pt x="59" y="275"/>
                          <a:pt x="81" y="254"/>
                        </a:cubicBezTo>
                        <a:cubicBezTo>
                          <a:pt x="83" y="232"/>
                          <a:pt x="55" y="222"/>
                          <a:pt x="42" y="209"/>
                        </a:cubicBezTo>
                        <a:cubicBezTo>
                          <a:pt x="38" y="194"/>
                          <a:pt x="42" y="183"/>
                          <a:pt x="4" y="176"/>
                        </a:cubicBezTo>
                        <a:cubicBezTo>
                          <a:pt x="8" y="160"/>
                          <a:pt x="16" y="152"/>
                          <a:pt x="28" y="144"/>
                        </a:cubicBezTo>
                        <a:cubicBezTo>
                          <a:pt x="36" y="128"/>
                          <a:pt x="40" y="100"/>
                          <a:pt x="48" y="88"/>
                        </a:cubicBezTo>
                        <a:cubicBezTo>
                          <a:pt x="52" y="80"/>
                          <a:pt x="64" y="84"/>
                          <a:pt x="72" y="80"/>
                        </a:cubicBezTo>
                        <a:cubicBezTo>
                          <a:pt x="100" y="60"/>
                          <a:pt x="128" y="44"/>
                          <a:pt x="156" y="24"/>
                        </a:cubicBezTo>
                        <a:cubicBezTo>
                          <a:pt x="176" y="28"/>
                          <a:pt x="216" y="40"/>
                          <a:pt x="216" y="40"/>
                        </a:cubicBezTo>
                        <a:cubicBezTo>
                          <a:pt x="236" y="56"/>
                          <a:pt x="272" y="36"/>
                          <a:pt x="296" y="36"/>
                        </a:cubicBezTo>
                        <a:cubicBezTo>
                          <a:pt x="300" y="32"/>
                          <a:pt x="340" y="0"/>
                          <a:pt x="340" y="2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sp>
              <p:nvSpPr>
                <p:cNvPr id="102" name="Freeform 2535">
                  <a:extLst>
                    <a:ext uri="{FF2B5EF4-FFF2-40B4-BE49-F238E27FC236}">
                      <a16:creationId xmlns:a16="http://schemas.microsoft.com/office/drawing/2014/main" id="{2C25A25F-72B1-DA4B-CA7D-E6D898D0E2A3}"/>
                    </a:ext>
                  </a:extLst>
                </p:cNvPr>
                <p:cNvSpPr>
                  <a:spLocks noChangeAspect="1"/>
                </p:cNvSpPr>
                <p:nvPr/>
              </p:nvSpPr>
              <p:spPr bwMode="auto">
                <a:xfrm>
                  <a:off x="4719638" y="4978400"/>
                  <a:ext cx="331788" cy="300038"/>
                </a:xfrm>
                <a:custGeom>
                  <a:avLst/>
                  <a:gdLst>
                    <a:gd name="T0" fmla="*/ 177 w 209"/>
                    <a:gd name="T1" fmla="*/ 6 h 189"/>
                    <a:gd name="T2" fmla="*/ 168 w 209"/>
                    <a:gd name="T3" fmla="*/ 19 h 189"/>
                    <a:gd name="T4" fmla="*/ 154 w 209"/>
                    <a:gd name="T5" fmla="*/ 5 h 189"/>
                    <a:gd name="T6" fmla="*/ 132 w 209"/>
                    <a:gd name="T7" fmla="*/ 3 h 189"/>
                    <a:gd name="T8" fmla="*/ 102 w 209"/>
                    <a:gd name="T9" fmla="*/ 7 h 189"/>
                    <a:gd name="T10" fmla="*/ 80 w 209"/>
                    <a:gd name="T11" fmla="*/ 9 h 189"/>
                    <a:gd name="T12" fmla="*/ 65 w 209"/>
                    <a:gd name="T13" fmla="*/ 5 h 189"/>
                    <a:gd name="T14" fmla="*/ 43 w 209"/>
                    <a:gd name="T15" fmla="*/ 9 h 189"/>
                    <a:gd name="T16" fmla="*/ 33 w 209"/>
                    <a:gd name="T17" fmla="*/ 16 h 189"/>
                    <a:gd name="T18" fmla="*/ 23 w 209"/>
                    <a:gd name="T19" fmla="*/ 17 h 189"/>
                    <a:gd name="T20" fmla="*/ 18 w 209"/>
                    <a:gd name="T21" fmla="*/ 14 h 189"/>
                    <a:gd name="T22" fmla="*/ 3 w 209"/>
                    <a:gd name="T23" fmla="*/ 6 h 189"/>
                    <a:gd name="T24" fmla="*/ 0 w 209"/>
                    <a:gd name="T25" fmla="*/ 21 h 189"/>
                    <a:gd name="T26" fmla="*/ 4 w 209"/>
                    <a:gd name="T27" fmla="*/ 39 h 189"/>
                    <a:gd name="T28" fmla="*/ 16 w 209"/>
                    <a:gd name="T29" fmla="*/ 48 h 189"/>
                    <a:gd name="T30" fmla="*/ 29 w 209"/>
                    <a:gd name="T31" fmla="*/ 67 h 189"/>
                    <a:gd name="T32" fmla="*/ 38 w 209"/>
                    <a:gd name="T33" fmla="*/ 84 h 189"/>
                    <a:gd name="T34" fmla="*/ 57 w 209"/>
                    <a:gd name="T35" fmla="*/ 102 h 189"/>
                    <a:gd name="T36" fmla="*/ 69 w 209"/>
                    <a:gd name="T37" fmla="*/ 112 h 189"/>
                    <a:gd name="T38" fmla="*/ 75 w 209"/>
                    <a:gd name="T39" fmla="*/ 116 h 189"/>
                    <a:gd name="T40" fmla="*/ 83 w 209"/>
                    <a:gd name="T41" fmla="*/ 126 h 189"/>
                    <a:gd name="T42" fmla="*/ 91 w 209"/>
                    <a:gd name="T43" fmla="*/ 135 h 189"/>
                    <a:gd name="T44" fmla="*/ 105 w 209"/>
                    <a:gd name="T45" fmla="*/ 152 h 189"/>
                    <a:gd name="T46" fmla="*/ 119 w 209"/>
                    <a:gd name="T47" fmla="*/ 163 h 189"/>
                    <a:gd name="T48" fmla="*/ 132 w 209"/>
                    <a:gd name="T49" fmla="*/ 175 h 189"/>
                    <a:gd name="T50" fmla="*/ 148 w 209"/>
                    <a:gd name="T51" fmla="*/ 182 h 189"/>
                    <a:gd name="T52" fmla="*/ 158 w 209"/>
                    <a:gd name="T53" fmla="*/ 189 h 189"/>
                    <a:gd name="T54" fmla="*/ 158 w 209"/>
                    <a:gd name="T55" fmla="*/ 169 h 189"/>
                    <a:gd name="T56" fmla="*/ 161 w 209"/>
                    <a:gd name="T57" fmla="*/ 158 h 189"/>
                    <a:gd name="T58" fmla="*/ 166 w 209"/>
                    <a:gd name="T59" fmla="*/ 142 h 189"/>
                    <a:gd name="T60" fmla="*/ 185 w 209"/>
                    <a:gd name="T61" fmla="*/ 131 h 189"/>
                    <a:gd name="T62" fmla="*/ 184 w 209"/>
                    <a:gd name="T63" fmla="*/ 121 h 189"/>
                    <a:gd name="T64" fmla="*/ 189 w 209"/>
                    <a:gd name="T65" fmla="*/ 110 h 189"/>
                    <a:gd name="T66" fmla="*/ 206 w 209"/>
                    <a:gd name="T67" fmla="*/ 111 h 189"/>
                    <a:gd name="T68" fmla="*/ 206 w 209"/>
                    <a:gd name="T69" fmla="*/ 98 h 189"/>
                    <a:gd name="T70" fmla="*/ 192 w 209"/>
                    <a:gd name="T71" fmla="*/ 82 h 189"/>
                    <a:gd name="T72" fmla="*/ 208 w 209"/>
                    <a:gd name="T73" fmla="*/ 77 h 189"/>
                    <a:gd name="T74" fmla="*/ 197 w 209"/>
                    <a:gd name="T75" fmla="*/ 68 h 189"/>
                    <a:gd name="T76" fmla="*/ 190 w 209"/>
                    <a:gd name="T77" fmla="*/ 60 h 189"/>
                    <a:gd name="T78" fmla="*/ 183 w 209"/>
                    <a:gd name="T79" fmla="*/ 50 h 189"/>
                    <a:gd name="T80" fmla="*/ 184 w 209"/>
                    <a:gd name="T81" fmla="*/ 24 h 189"/>
                    <a:gd name="T82" fmla="*/ 177 w 209"/>
                    <a:gd name="T83" fmla="*/ 6 h 18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9"/>
                    <a:gd name="T127" fmla="*/ 0 h 189"/>
                    <a:gd name="T128" fmla="*/ 209 w 209"/>
                    <a:gd name="T129" fmla="*/ 189 h 18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9" h="189">
                      <a:moveTo>
                        <a:pt x="177" y="6"/>
                      </a:moveTo>
                      <a:cubicBezTo>
                        <a:pt x="175" y="11"/>
                        <a:pt x="181" y="16"/>
                        <a:pt x="168" y="19"/>
                      </a:cubicBezTo>
                      <a:cubicBezTo>
                        <a:pt x="155" y="20"/>
                        <a:pt x="157" y="14"/>
                        <a:pt x="154" y="5"/>
                      </a:cubicBezTo>
                      <a:cubicBezTo>
                        <a:pt x="152" y="4"/>
                        <a:pt x="132" y="3"/>
                        <a:pt x="132" y="3"/>
                      </a:cubicBezTo>
                      <a:cubicBezTo>
                        <a:pt x="123" y="1"/>
                        <a:pt x="116" y="6"/>
                        <a:pt x="102" y="7"/>
                      </a:cubicBezTo>
                      <a:cubicBezTo>
                        <a:pt x="92" y="7"/>
                        <a:pt x="89" y="9"/>
                        <a:pt x="80" y="9"/>
                      </a:cubicBezTo>
                      <a:cubicBezTo>
                        <a:pt x="78" y="9"/>
                        <a:pt x="65" y="5"/>
                        <a:pt x="65" y="5"/>
                      </a:cubicBezTo>
                      <a:cubicBezTo>
                        <a:pt x="60" y="0"/>
                        <a:pt x="44" y="4"/>
                        <a:pt x="43" y="9"/>
                      </a:cubicBezTo>
                      <a:cubicBezTo>
                        <a:pt x="41" y="13"/>
                        <a:pt x="33" y="16"/>
                        <a:pt x="33" y="16"/>
                      </a:cubicBezTo>
                      <a:cubicBezTo>
                        <a:pt x="29" y="17"/>
                        <a:pt x="28" y="18"/>
                        <a:pt x="23" y="17"/>
                      </a:cubicBezTo>
                      <a:cubicBezTo>
                        <a:pt x="21" y="15"/>
                        <a:pt x="22" y="15"/>
                        <a:pt x="18" y="14"/>
                      </a:cubicBezTo>
                      <a:cubicBezTo>
                        <a:pt x="17" y="10"/>
                        <a:pt x="10" y="8"/>
                        <a:pt x="3" y="6"/>
                      </a:cubicBezTo>
                      <a:cubicBezTo>
                        <a:pt x="1" y="13"/>
                        <a:pt x="4" y="3"/>
                        <a:pt x="0" y="21"/>
                      </a:cubicBezTo>
                      <a:cubicBezTo>
                        <a:pt x="0" y="26"/>
                        <a:pt x="1" y="35"/>
                        <a:pt x="4" y="39"/>
                      </a:cubicBezTo>
                      <a:cubicBezTo>
                        <a:pt x="7" y="44"/>
                        <a:pt x="8" y="40"/>
                        <a:pt x="16" y="48"/>
                      </a:cubicBezTo>
                      <a:cubicBezTo>
                        <a:pt x="24" y="53"/>
                        <a:pt x="25" y="62"/>
                        <a:pt x="29" y="67"/>
                      </a:cubicBezTo>
                      <a:cubicBezTo>
                        <a:pt x="32" y="72"/>
                        <a:pt x="35" y="79"/>
                        <a:pt x="38" y="84"/>
                      </a:cubicBezTo>
                      <a:cubicBezTo>
                        <a:pt x="40" y="89"/>
                        <a:pt x="51" y="100"/>
                        <a:pt x="57" y="102"/>
                      </a:cubicBezTo>
                      <a:cubicBezTo>
                        <a:pt x="60" y="106"/>
                        <a:pt x="60" y="111"/>
                        <a:pt x="69" y="112"/>
                      </a:cubicBezTo>
                      <a:cubicBezTo>
                        <a:pt x="73" y="113"/>
                        <a:pt x="75" y="116"/>
                        <a:pt x="75" y="116"/>
                      </a:cubicBezTo>
                      <a:cubicBezTo>
                        <a:pt x="77" y="120"/>
                        <a:pt x="75" y="124"/>
                        <a:pt x="83" y="126"/>
                      </a:cubicBezTo>
                      <a:cubicBezTo>
                        <a:pt x="89" y="130"/>
                        <a:pt x="90" y="131"/>
                        <a:pt x="91" y="135"/>
                      </a:cubicBezTo>
                      <a:cubicBezTo>
                        <a:pt x="96" y="140"/>
                        <a:pt x="99" y="148"/>
                        <a:pt x="105" y="152"/>
                      </a:cubicBezTo>
                      <a:cubicBezTo>
                        <a:pt x="109" y="155"/>
                        <a:pt x="113" y="151"/>
                        <a:pt x="119" y="163"/>
                      </a:cubicBezTo>
                      <a:cubicBezTo>
                        <a:pt x="128" y="168"/>
                        <a:pt x="127" y="172"/>
                        <a:pt x="132" y="175"/>
                      </a:cubicBezTo>
                      <a:cubicBezTo>
                        <a:pt x="137" y="178"/>
                        <a:pt x="143" y="179"/>
                        <a:pt x="148" y="182"/>
                      </a:cubicBezTo>
                      <a:cubicBezTo>
                        <a:pt x="151" y="182"/>
                        <a:pt x="158" y="189"/>
                        <a:pt x="158" y="189"/>
                      </a:cubicBezTo>
                      <a:cubicBezTo>
                        <a:pt x="160" y="186"/>
                        <a:pt x="164" y="172"/>
                        <a:pt x="158" y="169"/>
                      </a:cubicBezTo>
                      <a:cubicBezTo>
                        <a:pt x="164" y="160"/>
                        <a:pt x="155" y="160"/>
                        <a:pt x="161" y="158"/>
                      </a:cubicBezTo>
                      <a:cubicBezTo>
                        <a:pt x="167" y="151"/>
                        <a:pt x="166" y="149"/>
                        <a:pt x="166" y="142"/>
                      </a:cubicBezTo>
                      <a:cubicBezTo>
                        <a:pt x="168" y="138"/>
                        <a:pt x="172" y="130"/>
                        <a:pt x="185" y="131"/>
                      </a:cubicBezTo>
                      <a:cubicBezTo>
                        <a:pt x="186" y="127"/>
                        <a:pt x="183" y="124"/>
                        <a:pt x="184" y="121"/>
                      </a:cubicBezTo>
                      <a:cubicBezTo>
                        <a:pt x="184" y="118"/>
                        <a:pt x="187" y="112"/>
                        <a:pt x="189" y="110"/>
                      </a:cubicBezTo>
                      <a:cubicBezTo>
                        <a:pt x="193" y="109"/>
                        <a:pt x="203" y="113"/>
                        <a:pt x="206" y="111"/>
                      </a:cubicBezTo>
                      <a:cubicBezTo>
                        <a:pt x="208" y="105"/>
                        <a:pt x="208" y="104"/>
                        <a:pt x="206" y="98"/>
                      </a:cubicBezTo>
                      <a:cubicBezTo>
                        <a:pt x="203" y="94"/>
                        <a:pt x="191" y="86"/>
                        <a:pt x="192" y="82"/>
                      </a:cubicBezTo>
                      <a:cubicBezTo>
                        <a:pt x="200" y="82"/>
                        <a:pt x="203" y="81"/>
                        <a:pt x="208" y="77"/>
                      </a:cubicBezTo>
                      <a:cubicBezTo>
                        <a:pt x="209" y="70"/>
                        <a:pt x="201" y="69"/>
                        <a:pt x="197" y="68"/>
                      </a:cubicBezTo>
                      <a:cubicBezTo>
                        <a:pt x="193" y="64"/>
                        <a:pt x="192" y="66"/>
                        <a:pt x="190" y="60"/>
                      </a:cubicBezTo>
                      <a:cubicBezTo>
                        <a:pt x="186" y="56"/>
                        <a:pt x="184" y="54"/>
                        <a:pt x="183" y="50"/>
                      </a:cubicBezTo>
                      <a:cubicBezTo>
                        <a:pt x="180" y="41"/>
                        <a:pt x="184" y="31"/>
                        <a:pt x="184" y="24"/>
                      </a:cubicBezTo>
                      <a:cubicBezTo>
                        <a:pt x="187" y="15"/>
                        <a:pt x="178" y="10"/>
                        <a:pt x="177" y="6"/>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03" name="Freeform 2537">
                  <a:extLst>
                    <a:ext uri="{FF2B5EF4-FFF2-40B4-BE49-F238E27FC236}">
                      <a16:creationId xmlns:a16="http://schemas.microsoft.com/office/drawing/2014/main" id="{14E99E50-CD26-DBD7-5485-03A4BFF855EA}"/>
                    </a:ext>
                  </a:extLst>
                </p:cNvPr>
                <p:cNvSpPr>
                  <a:spLocks noChangeAspect="1"/>
                </p:cNvSpPr>
                <p:nvPr/>
              </p:nvSpPr>
              <p:spPr bwMode="auto">
                <a:xfrm>
                  <a:off x="4522788" y="4795838"/>
                  <a:ext cx="238125" cy="188913"/>
                </a:xfrm>
                <a:custGeom>
                  <a:avLst/>
                  <a:gdLst>
                    <a:gd name="T0" fmla="*/ 183 w 598"/>
                    <a:gd name="T1" fmla="*/ 162 h 474"/>
                    <a:gd name="T2" fmla="*/ 265 w 598"/>
                    <a:gd name="T3" fmla="*/ 139 h 474"/>
                    <a:gd name="T4" fmla="*/ 337 w 598"/>
                    <a:gd name="T5" fmla="*/ 99 h 474"/>
                    <a:gd name="T6" fmla="*/ 428 w 598"/>
                    <a:gd name="T7" fmla="*/ 66 h 474"/>
                    <a:gd name="T8" fmla="*/ 505 w 598"/>
                    <a:gd name="T9" fmla="*/ 51 h 474"/>
                    <a:gd name="T10" fmla="*/ 543 w 598"/>
                    <a:gd name="T11" fmla="*/ 0 h 474"/>
                    <a:gd name="T12" fmla="*/ 591 w 598"/>
                    <a:gd name="T13" fmla="*/ 74 h 474"/>
                    <a:gd name="T14" fmla="*/ 590 w 598"/>
                    <a:gd name="T15" fmla="*/ 96 h 474"/>
                    <a:gd name="T16" fmla="*/ 565 w 598"/>
                    <a:gd name="T17" fmla="*/ 123 h 474"/>
                    <a:gd name="T18" fmla="*/ 529 w 598"/>
                    <a:gd name="T19" fmla="*/ 163 h 474"/>
                    <a:gd name="T20" fmla="*/ 468 w 598"/>
                    <a:gd name="T21" fmla="*/ 188 h 474"/>
                    <a:gd name="T22" fmla="*/ 474 w 598"/>
                    <a:gd name="T23" fmla="*/ 288 h 474"/>
                    <a:gd name="T24" fmla="*/ 399 w 598"/>
                    <a:gd name="T25" fmla="*/ 345 h 474"/>
                    <a:gd name="T26" fmla="*/ 395 w 598"/>
                    <a:gd name="T27" fmla="*/ 432 h 474"/>
                    <a:gd name="T28" fmla="*/ 366 w 598"/>
                    <a:gd name="T29" fmla="*/ 449 h 474"/>
                    <a:gd name="T30" fmla="*/ 338 w 598"/>
                    <a:gd name="T31" fmla="*/ 422 h 474"/>
                    <a:gd name="T32" fmla="*/ 266 w 598"/>
                    <a:gd name="T33" fmla="*/ 431 h 474"/>
                    <a:gd name="T34" fmla="*/ 255 w 598"/>
                    <a:gd name="T35" fmla="*/ 375 h 474"/>
                    <a:gd name="T36" fmla="*/ 228 w 598"/>
                    <a:gd name="T37" fmla="*/ 423 h 474"/>
                    <a:gd name="T38" fmla="*/ 205 w 598"/>
                    <a:gd name="T39" fmla="*/ 451 h 474"/>
                    <a:gd name="T40" fmla="*/ 161 w 598"/>
                    <a:gd name="T41" fmla="*/ 437 h 474"/>
                    <a:gd name="T42" fmla="*/ 60 w 598"/>
                    <a:gd name="T43" fmla="*/ 474 h 474"/>
                    <a:gd name="T44" fmla="*/ 36 w 598"/>
                    <a:gd name="T45" fmla="*/ 468 h 474"/>
                    <a:gd name="T46" fmla="*/ 29 w 598"/>
                    <a:gd name="T47" fmla="*/ 351 h 474"/>
                    <a:gd name="T48" fmla="*/ 11 w 598"/>
                    <a:gd name="T49" fmla="*/ 288 h 474"/>
                    <a:gd name="T50" fmla="*/ 35 w 598"/>
                    <a:gd name="T51" fmla="*/ 252 h 474"/>
                    <a:gd name="T52" fmla="*/ 0 w 598"/>
                    <a:gd name="T53" fmla="*/ 227 h 474"/>
                    <a:gd name="T54" fmla="*/ 29 w 598"/>
                    <a:gd name="T55" fmla="*/ 139 h 474"/>
                    <a:gd name="T56" fmla="*/ 183 w 598"/>
                    <a:gd name="T57" fmla="*/ 162 h 47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98"/>
                    <a:gd name="T88" fmla="*/ 0 h 474"/>
                    <a:gd name="T89" fmla="*/ 598 w 598"/>
                    <a:gd name="T90" fmla="*/ 474 h 47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98" h="474">
                      <a:moveTo>
                        <a:pt x="183" y="162"/>
                      </a:moveTo>
                      <a:cubicBezTo>
                        <a:pt x="257" y="150"/>
                        <a:pt x="217" y="163"/>
                        <a:pt x="265" y="139"/>
                      </a:cubicBezTo>
                      <a:cubicBezTo>
                        <a:pt x="285" y="115"/>
                        <a:pt x="317" y="122"/>
                        <a:pt x="337" y="99"/>
                      </a:cubicBezTo>
                      <a:cubicBezTo>
                        <a:pt x="378" y="95"/>
                        <a:pt x="413" y="101"/>
                        <a:pt x="428" y="66"/>
                      </a:cubicBezTo>
                      <a:cubicBezTo>
                        <a:pt x="449" y="60"/>
                        <a:pt x="481" y="63"/>
                        <a:pt x="505" y="51"/>
                      </a:cubicBezTo>
                      <a:cubicBezTo>
                        <a:pt x="513" y="35"/>
                        <a:pt x="535" y="16"/>
                        <a:pt x="543" y="0"/>
                      </a:cubicBezTo>
                      <a:cubicBezTo>
                        <a:pt x="560" y="18"/>
                        <a:pt x="576" y="51"/>
                        <a:pt x="591" y="74"/>
                      </a:cubicBezTo>
                      <a:cubicBezTo>
                        <a:pt x="595" y="82"/>
                        <a:pt x="598" y="88"/>
                        <a:pt x="590" y="96"/>
                      </a:cubicBezTo>
                      <a:cubicBezTo>
                        <a:pt x="573" y="102"/>
                        <a:pt x="565" y="123"/>
                        <a:pt x="565" y="123"/>
                      </a:cubicBezTo>
                      <a:cubicBezTo>
                        <a:pt x="551" y="153"/>
                        <a:pt x="529" y="163"/>
                        <a:pt x="529" y="163"/>
                      </a:cubicBezTo>
                      <a:cubicBezTo>
                        <a:pt x="512" y="179"/>
                        <a:pt x="494" y="189"/>
                        <a:pt x="468" y="188"/>
                      </a:cubicBezTo>
                      <a:cubicBezTo>
                        <a:pt x="450" y="218"/>
                        <a:pt x="466" y="268"/>
                        <a:pt x="474" y="288"/>
                      </a:cubicBezTo>
                      <a:cubicBezTo>
                        <a:pt x="462" y="314"/>
                        <a:pt x="412" y="321"/>
                        <a:pt x="399" y="345"/>
                      </a:cubicBezTo>
                      <a:cubicBezTo>
                        <a:pt x="391" y="369"/>
                        <a:pt x="431" y="422"/>
                        <a:pt x="395" y="432"/>
                      </a:cubicBezTo>
                      <a:cubicBezTo>
                        <a:pt x="383" y="450"/>
                        <a:pt x="366" y="449"/>
                        <a:pt x="366" y="449"/>
                      </a:cubicBezTo>
                      <a:cubicBezTo>
                        <a:pt x="336" y="453"/>
                        <a:pt x="338" y="422"/>
                        <a:pt x="338" y="422"/>
                      </a:cubicBezTo>
                      <a:cubicBezTo>
                        <a:pt x="326" y="426"/>
                        <a:pt x="278" y="439"/>
                        <a:pt x="266" y="431"/>
                      </a:cubicBezTo>
                      <a:cubicBezTo>
                        <a:pt x="269" y="404"/>
                        <a:pt x="264" y="398"/>
                        <a:pt x="255" y="375"/>
                      </a:cubicBezTo>
                      <a:cubicBezTo>
                        <a:pt x="251" y="398"/>
                        <a:pt x="236" y="410"/>
                        <a:pt x="228" y="423"/>
                      </a:cubicBezTo>
                      <a:cubicBezTo>
                        <a:pt x="220" y="436"/>
                        <a:pt x="216" y="449"/>
                        <a:pt x="205" y="451"/>
                      </a:cubicBezTo>
                      <a:cubicBezTo>
                        <a:pt x="165" y="447"/>
                        <a:pt x="170" y="450"/>
                        <a:pt x="161" y="437"/>
                      </a:cubicBezTo>
                      <a:cubicBezTo>
                        <a:pt x="96" y="441"/>
                        <a:pt x="88" y="466"/>
                        <a:pt x="60" y="474"/>
                      </a:cubicBezTo>
                      <a:cubicBezTo>
                        <a:pt x="60" y="473"/>
                        <a:pt x="36" y="468"/>
                        <a:pt x="36" y="468"/>
                      </a:cubicBezTo>
                      <a:cubicBezTo>
                        <a:pt x="17" y="450"/>
                        <a:pt x="33" y="379"/>
                        <a:pt x="29" y="351"/>
                      </a:cubicBezTo>
                      <a:cubicBezTo>
                        <a:pt x="45" y="318"/>
                        <a:pt x="47" y="296"/>
                        <a:pt x="11" y="288"/>
                      </a:cubicBezTo>
                      <a:cubicBezTo>
                        <a:pt x="15" y="269"/>
                        <a:pt x="23" y="280"/>
                        <a:pt x="35" y="252"/>
                      </a:cubicBezTo>
                      <a:cubicBezTo>
                        <a:pt x="19" y="236"/>
                        <a:pt x="16" y="239"/>
                        <a:pt x="0" y="227"/>
                      </a:cubicBezTo>
                      <a:cubicBezTo>
                        <a:pt x="16" y="203"/>
                        <a:pt x="41" y="162"/>
                        <a:pt x="29" y="139"/>
                      </a:cubicBezTo>
                      <a:cubicBezTo>
                        <a:pt x="61" y="131"/>
                        <a:pt x="147" y="161"/>
                        <a:pt x="183" y="162"/>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04" name="Freeform 2538">
                  <a:extLst>
                    <a:ext uri="{FF2B5EF4-FFF2-40B4-BE49-F238E27FC236}">
                      <a16:creationId xmlns:a16="http://schemas.microsoft.com/office/drawing/2014/main" id="{11DBFE73-6E9B-CB7D-C227-790FCFA0BFC4}"/>
                    </a:ext>
                  </a:extLst>
                </p:cNvPr>
                <p:cNvSpPr>
                  <a:spLocks noChangeAspect="1"/>
                </p:cNvSpPr>
                <p:nvPr/>
              </p:nvSpPr>
              <p:spPr bwMode="auto">
                <a:xfrm>
                  <a:off x="4737101" y="4560888"/>
                  <a:ext cx="504825" cy="349250"/>
                </a:xfrm>
                <a:custGeom>
                  <a:avLst/>
                  <a:gdLst>
                    <a:gd name="T0" fmla="*/ 833 w 1273"/>
                    <a:gd name="T1" fmla="*/ 727 h 878"/>
                    <a:gd name="T2" fmla="*/ 905 w 1273"/>
                    <a:gd name="T3" fmla="*/ 703 h 878"/>
                    <a:gd name="T4" fmla="*/ 957 w 1273"/>
                    <a:gd name="T5" fmla="*/ 675 h 878"/>
                    <a:gd name="T6" fmla="*/ 977 w 1273"/>
                    <a:gd name="T7" fmla="*/ 659 h 878"/>
                    <a:gd name="T8" fmla="*/ 1021 w 1273"/>
                    <a:gd name="T9" fmla="*/ 587 h 878"/>
                    <a:gd name="T10" fmla="*/ 1037 w 1273"/>
                    <a:gd name="T11" fmla="*/ 535 h 878"/>
                    <a:gd name="T12" fmla="*/ 1045 w 1273"/>
                    <a:gd name="T13" fmla="*/ 511 h 878"/>
                    <a:gd name="T14" fmla="*/ 1073 w 1273"/>
                    <a:gd name="T15" fmla="*/ 439 h 878"/>
                    <a:gd name="T16" fmla="*/ 1093 w 1273"/>
                    <a:gd name="T17" fmla="*/ 387 h 878"/>
                    <a:gd name="T18" fmla="*/ 1169 w 1273"/>
                    <a:gd name="T19" fmla="*/ 187 h 878"/>
                    <a:gd name="T20" fmla="*/ 1216 w 1273"/>
                    <a:gd name="T21" fmla="*/ 162 h 878"/>
                    <a:gd name="T22" fmla="*/ 1273 w 1273"/>
                    <a:gd name="T23" fmla="*/ 131 h 878"/>
                    <a:gd name="T24" fmla="*/ 1145 w 1273"/>
                    <a:gd name="T25" fmla="*/ 51 h 878"/>
                    <a:gd name="T26" fmla="*/ 1116 w 1273"/>
                    <a:gd name="T27" fmla="*/ 16 h 878"/>
                    <a:gd name="T28" fmla="*/ 1053 w 1273"/>
                    <a:gd name="T29" fmla="*/ 27 h 878"/>
                    <a:gd name="T30" fmla="*/ 988 w 1273"/>
                    <a:gd name="T31" fmla="*/ 1 h 878"/>
                    <a:gd name="T32" fmla="*/ 903 w 1273"/>
                    <a:gd name="T33" fmla="*/ 9 h 878"/>
                    <a:gd name="T34" fmla="*/ 822 w 1273"/>
                    <a:gd name="T35" fmla="*/ 10 h 878"/>
                    <a:gd name="T36" fmla="*/ 772 w 1273"/>
                    <a:gd name="T37" fmla="*/ 63 h 878"/>
                    <a:gd name="T38" fmla="*/ 732 w 1273"/>
                    <a:gd name="T39" fmla="*/ 129 h 878"/>
                    <a:gd name="T40" fmla="*/ 685 w 1273"/>
                    <a:gd name="T41" fmla="*/ 135 h 878"/>
                    <a:gd name="T42" fmla="*/ 649 w 1273"/>
                    <a:gd name="T43" fmla="*/ 123 h 878"/>
                    <a:gd name="T44" fmla="*/ 529 w 1273"/>
                    <a:gd name="T45" fmla="*/ 175 h 878"/>
                    <a:gd name="T46" fmla="*/ 506 w 1273"/>
                    <a:gd name="T47" fmla="*/ 227 h 878"/>
                    <a:gd name="T48" fmla="*/ 271 w 1273"/>
                    <a:gd name="T49" fmla="*/ 309 h 878"/>
                    <a:gd name="T50" fmla="*/ 246 w 1273"/>
                    <a:gd name="T51" fmla="*/ 289 h 878"/>
                    <a:gd name="T52" fmla="*/ 222 w 1273"/>
                    <a:gd name="T53" fmla="*/ 267 h 878"/>
                    <a:gd name="T54" fmla="*/ 182 w 1273"/>
                    <a:gd name="T55" fmla="*/ 251 h 878"/>
                    <a:gd name="T56" fmla="*/ 135 w 1273"/>
                    <a:gd name="T57" fmla="*/ 232 h 878"/>
                    <a:gd name="T58" fmla="*/ 142 w 1273"/>
                    <a:gd name="T59" fmla="*/ 342 h 878"/>
                    <a:gd name="T60" fmla="*/ 25 w 1273"/>
                    <a:gd name="T61" fmla="*/ 348 h 878"/>
                    <a:gd name="T62" fmla="*/ 48 w 1273"/>
                    <a:gd name="T63" fmla="*/ 360 h 878"/>
                    <a:gd name="T64" fmla="*/ 88 w 1273"/>
                    <a:gd name="T65" fmla="*/ 412 h 878"/>
                    <a:gd name="T66" fmla="*/ 52 w 1273"/>
                    <a:gd name="T67" fmla="*/ 462 h 878"/>
                    <a:gd name="T68" fmla="*/ 7 w 1273"/>
                    <a:gd name="T69" fmla="*/ 589 h 878"/>
                    <a:gd name="T70" fmla="*/ 38 w 1273"/>
                    <a:gd name="T71" fmla="*/ 639 h 878"/>
                    <a:gd name="T72" fmla="*/ 55 w 1273"/>
                    <a:gd name="T73" fmla="*/ 687 h 878"/>
                    <a:gd name="T74" fmla="*/ 78 w 1273"/>
                    <a:gd name="T75" fmla="*/ 703 h 878"/>
                    <a:gd name="T76" fmla="*/ 112 w 1273"/>
                    <a:gd name="T77" fmla="*/ 735 h 878"/>
                    <a:gd name="T78" fmla="*/ 182 w 1273"/>
                    <a:gd name="T79" fmla="*/ 759 h 878"/>
                    <a:gd name="T80" fmla="*/ 237 w 1273"/>
                    <a:gd name="T81" fmla="*/ 804 h 878"/>
                    <a:gd name="T82" fmla="*/ 283 w 1273"/>
                    <a:gd name="T83" fmla="*/ 829 h 878"/>
                    <a:gd name="T84" fmla="*/ 310 w 1273"/>
                    <a:gd name="T85" fmla="*/ 859 h 878"/>
                    <a:gd name="T86" fmla="*/ 411 w 1273"/>
                    <a:gd name="T87" fmla="*/ 868 h 878"/>
                    <a:gd name="T88" fmla="*/ 471 w 1273"/>
                    <a:gd name="T89" fmla="*/ 874 h 878"/>
                    <a:gd name="T90" fmla="*/ 516 w 1273"/>
                    <a:gd name="T91" fmla="*/ 852 h 878"/>
                    <a:gd name="T92" fmla="*/ 542 w 1273"/>
                    <a:gd name="T93" fmla="*/ 835 h 878"/>
                    <a:gd name="T94" fmla="*/ 594 w 1273"/>
                    <a:gd name="T95" fmla="*/ 803 h 878"/>
                    <a:gd name="T96" fmla="*/ 645 w 1273"/>
                    <a:gd name="T97" fmla="*/ 779 h 878"/>
                    <a:gd name="T98" fmla="*/ 709 w 1273"/>
                    <a:gd name="T99" fmla="*/ 723 h 878"/>
                    <a:gd name="T100" fmla="*/ 833 w 1273"/>
                    <a:gd name="T101" fmla="*/ 727 h 87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73"/>
                    <a:gd name="T154" fmla="*/ 0 h 878"/>
                    <a:gd name="T155" fmla="*/ 1273 w 1273"/>
                    <a:gd name="T156" fmla="*/ 878 h 87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73" h="878">
                      <a:moveTo>
                        <a:pt x="833" y="727"/>
                      </a:moveTo>
                      <a:cubicBezTo>
                        <a:pt x="861" y="723"/>
                        <a:pt x="881" y="719"/>
                        <a:pt x="905" y="703"/>
                      </a:cubicBezTo>
                      <a:cubicBezTo>
                        <a:pt x="917" y="687"/>
                        <a:pt x="937" y="683"/>
                        <a:pt x="957" y="675"/>
                      </a:cubicBezTo>
                      <a:cubicBezTo>
                        <a:pt x="969" y="668"/>
                        <a:pt x="966" y="674"/>
                        <a:pt x="977" y="659"/>
                      </a:cubicBezTo>
                      <a:cubicBezTo>
                        <a:pt x="993" y="639"/>
                        <a:pt x="997" y="603"/>
                        <a:pt x="1021" y="587"/>
                      </a:cubicBezTo>
                      <a:cubicBezTo>
                        <a:pt x="1025" y="571"/>
                        <a:pt x="1033" y="551"/>
                        <a:pt x="1037" y="535"/>
                      </a:cubicBezTo>
                      <a:cubicBezTo>
                        <a:pt x="1041" y="527"/>
                        <a:pt x="1045" y="511"/>
                        <a:pt x="1045" y="511"/>
                      </a:cubicBezTo>
                      <a:cubicBezTo>
                        <a:pt x="1049" y="483"/>
                        <a:pt x="1053" y="459"/>
                        <a:pt x="1073" y="439"/>
                      </a:cubicBezTo>
                      <a:cubicBezTo>
                        <a:pt x="1077" y="423"/>
                        <a:pt x="1081" y="403"/>
                        <a:pt x="1093" y="387"/>
                      </a:cubicBezTo>
                      <a:cubicBezTo>
                        <a:pt x="1101" y="343"/>
                        <a:pt x="1129" y="215"/>
                        <a:pt x="1169" y="187"/>
                      </a:cubicBezTo>
                      <a:cubicBezTo>
                        <a:pt x="1201" y="172"/>
                        <a:pt x="1207" y="178"/>
                        <a:pt x="1216" y="162"/>
                      </a:cubicBezTo>
                      <a:cubicBezTo>
                        <a:pt x="1249" y="148"/>
                        <a:pt x="1257" y="144"/>
                        <a:pt x="1273" y="131"/>
                      </a:cubicBezTo>
                      <a:cubicBezTo>
                        <a:pt x="1269" y="31"/>
                        <a:pt x="1225" y="59"/>
                        <a:pt x="1145" y="51"/>
                      </a:cubicBezTo>
                      <a:cubicBezTo>
                        <a:pt x="1129" y="35"/>
                        <a:pt x="1136" y="24"/>
                        <a:pt x="1116" y="16"/>
                      </a:cubicBezTo>
                      <a:cubicBezTo>
                        <a:pt x="1101" y="16"/>
                        <a:pt x="1074" y="29"/>
                        <a:pt x="1053" y="27"/>
                      </a:cubicBezTo>
                      <a:cubicBezTo>
                        <a:pt x="1032" y="25"/>
                        <a:pt x="1013" y="4"/>
                        <a:pt x="988" y="1"/>
                      </a:cubicBezTo>
                      <a:cubicBezTo>
                        <a:pt x="954" y="0"/>
                        <a:pt x="931" y="8"/>
                        <a:pt x="903" y="9"/>
                      </a:cubicBezTo>
                      <a:cubicBezTo>
                        <a:pt x="875" y="10"/>
                        <a:pt x="844" y="1"/>
                        <a:pt x="822" y="10"/>
                      </a:cubicBezTo>
                      <a:cubicBezTo>
                        <a:pt x="802" y="22"/>
                        <a:pt x="788" y="47"/>
                        <a:pt x="772" y="63"/>
                      </a:cubicBezTo>
                      <a:cubicBezTo>
                        <a:pt x="768" y="95"/>
                        <a:pt x="771" y="136"/>
                        <a:pt x="732" y="129"/>
                      </a:cubicBezTo>
                      <a:cubicBezTo>
                        <a:pt x="716" y="129"/>
                        <a:pt x="701" y="139"/>
                        <a:pt x="685" y="135"/>
                      </a:cubicBezTo>
                      <a:cubicBezTo>
                        <a:pt x="673" y="131"/>
                        <a:pt x="649" y="123"/>
                        <a:pt x="649" y="123"/>
                      </a:cubicBezTo>
                      <a:cubicBezTo>
                        <a:pt x="610" y="180"/>
                        <a:pt x="615" y="172"/>
                        <a:pt x="529" y="175"/>
                      </a:cubicBezTo>
                      <a:cubicBezTo>
                        <a:pt x="499" y="181"/>
                        <a:pt x="499" y="208"/>
                        <a:pt x="506" y="227"/>
                      </a:cubicBezTo>
                      <a:cubicBezTo>
                        <a:pt x="504" y="333"/>
                        <a:pt x="441" y="282"/>
                        <a:pt x="271" y="309"/>
                      </a:cubicBezTo>
                      <a:cubicBezTo>
                        <a:pt x="264" y="300"/>
                        <a:pt x="254" y="296"/>
                        <a:pt x="246" y="289"/>
                      </a:cubicBezTo>
                      <a:cubicBezTo>
                        <a:pt x="238" y="282"/>
                        <a:pt x="255" y="277"/>
                        <a:pt x="222" y="267"/>
                      </a:cubicBezTo>
                      <a:cubicBezTo>
                        <a:pt x="205" y="252"/>
                        <a:pt x="182" y="251"/>
                        <a:pt x="182" y="251"/>
                      </a:cubicBezTo>
                      <a:cubicBezTo>
                        <a:pt x="171" y="248"/>
                        <a:pt x="145" y="232"/>
                        <a:pt x="135" y="232"/>
                      </a:cubicBezTo>
                      <a:cubicBezTo>
                        <a:pt x="128" y="247"/>
                        <a:pt x="181" y="270"/>
                        <a:pt x="142" y="342"/>
                      </a:cubicBezTo>
                      <a:cubicBezTo>
                        <a:pt x="90" y="346"/>
                        <a:pt x="60" y="346"/>
                        <a:pt x="25" y="348"/>
                      </a:cubicBezTo>
                      <a:cubicBezTo>
                        <a:pt x="0" y="351"/>
                        <a:pt x="40" y="355"/>
                        <a:pt x="48" y="360"/>
                      </a:cubicBezTo>
                      <a:cubicBezTo>
                        <a:pt x="58" y="370"/>
                        <a:pt x="76" y="375"/>
                        <a:pt x="88" y="412"/>
                      </a:cubicBezTo>
                      <a:cubicBezTo>
                        <a:pt x="66" y="418"/>
                        <a:pt x="64" y="454"/>
                        <a:pt x="52" y="462"/>
                      </a:cubicBezTo>
                      <a:cubicBezTo>
                        <a:pt x="70" y="544"/>
                        <a:pt x="58" y="570"/>
                        <a:pt x="7" y="589"/>
                      </a:cubicBezTo>
                      <a:cubicBezTo>
                        <a:pt x="19" y="609"/>
                        <a:pt x="27" y="619"/>
                        <a:pt x="38" y="639"/>
                      </a:cubicBezTo>
                      <a:cubicBezTo>
                        <a:pt x="42" y="651"/>
                        <a:pt x="57" y="672"/>
                        <a:pt x="55" y="687"/>
                      </a:cubicBezTo>
                      <a:cubicBezTo>
                        <a:pt x="70" y="693"/>
                        <a:pt x="78" y="703"/>
                        <a:pt x="78" y="703"/>
                      </a:cubicBezTo>
                      <a:cubicBezTo>
                        <a:pt x="99" y="708"/>
                        <a:pt x="103" y="721"/>
                        <a:pt x="112" y="735"/>
                      </a:cubicBezTo>
                      <a:cubicBezTo>
                        <a:pt x="130" y="742"/>
                        <a:pt x="158" y="751"/>
                        <a:pt x="182" y="759"/>
                      </a:cubicBezTo>
                      <a:cubicBezTo>
                        <a:pt x="203" y="773"/>
                        <a:pt x="235" y="784"/>
                        <a:pt x="237" y="804"/>
                      </a:cubicBezTo>
                      <a:cubicBezTo>
                        <a:pt x="264" y="807"/>
                        <a:pt x="271" y="820"/>
                        <a:pt x="283" y="829"/>
                      </a:cubicBezTo>
                      <a:cubicBezTo>
                        <a:pt x="305" y="845"/>
                        <a:pt x="289" y="853"/>
                        <a:pt x="310" y="859"/>
                      </a:cubicBezTo>
                      <a:cubicBezTo>
                        <a:pt x="331" y="865"/>
                        <a:pt x="384" y="866"/>
                        <a:pt x="411" y="868"/>
                      </a:cubicBezTo>
                      <a:cubicBezTo>
                        <a:pt x="447" y="873"/>
                        <a:pt x="453" y="878"/>
                        <a:pt x="471" y="874"/>
                      </a:cubicBezTo>
                      <a:cubicBezTo>
                        <a:pt x="475" y="870"/>
                        <a:pt x="512" y="856"/>
                        <a:pt x="516" y="852"/>
                      </a:cubicBezTo>
                      <a:cubicBezTo>
                        <a:pt x="524" y="844"/>
                        <a:pt x="529" y="843"/>
                        <a:pt x="542" y="835"/>
                      </a:cubicBezTo>
                      <a:cubicBezTo>
                        <a:pt x="555" y="827"/>
                        <a:pt x="578" y="811"/>
                        <a:pt x="594" y="803"/>
                      </a:cubicBezTo>
                      <a:cubicBezTo>
                        <a:pt x="614" y="775"/>
                        <a:pt x="614" y="783"/>
                        <a:pt x="645" y="779"/>
                      </a:cubicBezTo>
                      <a:cubicBezTo>
                        <a:pt x="665" y="759"/>
                        <a:pt x="681" y="731"/>
                        <a:pt x="709" y="723"/>
                      </a:cubicBezTo>
                      <a:cubicBezTo>
                        <a:pt x="749" y="727"/>
                        <a:pt x="789" y="723"/>
                        <a:pt x="833" y="727"/>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05" name="Freeform 2539">
                  <a:extLst>
                    <a:ext uri="{FF2B5EF4-FFF2-40B4-BE49-F238E27FC236}">
                      <a16:creationId xmlns:a16="http://schemas.microsoft.com/office/drawing/2014/main" id="{DEEE4164-54F7-335C-1726-EB0497B44D87}"/>
                    </a:ext>
                  </a:extLst>
                </p:cNvPr>
                <p:cNvSpPr>
                  <a:spLocks noChangeAspect="1"/>
                </p:cNvSpPr>
                <p:nvPr/>
              </p:nvSpPr>
              <p:spPr bwMode="auto">
                <a:xfrm>
                  <a:off x="4529138" y="3870325"/>
                  <a:ext cx="742950" cy="631825"/>
                </a:xfrm>
                <a:custGeom>
                  <a:avLst/>
                  <a:gdLst>
                    <a:gd name="T0" fmla="*/ 891 w 1874"/>
                    <a:gd name="T1" fmla="*/ 96 h 1593"/>
                    <a:gd name="T2" fmla="*/ 767 w 1874"/>
                    <a:gd name="T3" fmla="*/ 100 h 1593"/>
                    <a:gd name="T4" fmla="*/ 687 w 1874"/>
                    <a:gd name="T5" fmla="*/ 0 h 1593"/>
                    <a:gd name="T6" fmla="*/ 423 w 1874"/>
                    <a:gd name="T7" fmla="*/ 112 h 1593"/>
                    <a:gd name="T8" fmla="*/ 323 w 1874"/>
                    <a:gd name="T9" fmla="*/ 168 h 1593"/>
                    <a:gd name="T10" fmla="*/ 231 w 1874"/>
                    <a:gd name="T11" fmla="*/ 224 h 1593"/>
                    <a:gd name="T12" fmla="*/ 99 w 1874"/>
                    <a:gd name="T13" fmla="*/ 292 h 1593"/>
                    <a:gd name="T14" fmla="*/ 35 w 1874"/>
                    <a:gd name="T15" fmla="*/ 380 h 1593"/>
                    <a:gd name="T16" fmla="*/ 36 w 1874"/>
                    <a:gd name="T17" fmla="*/ 595 h 1593"/>
                    <a:gd name="T18" fmla="*/ 123 w 1874"/>
                    <a:gd name="T19" fmla="*/ 716 h 1593"/>
                    <a:gd name="T20" fmla="*/ 130 w 1874"/>
                    <a:gd name="T21" fmla="*/ 853 h 1593"/>
                    <a:gd name="T22" fmla="*/ 129 w 1874"/>
                    <a:gd name="T23" fmla="*/ 968 h 1593"/>
                    <a:gd name="T24" fmla="*/ 216 w 1874"/>
                    <a:gd name="T25" fmla="*/ 1019 h 1593"/>
                    <a:gd name="T26" fmla="*/ 190 w 1874"/>
                    <a:gd name="T27" fmla="*/ 1070 h 1593"/>
                    <a:gd name="T28" fmla="*/ 220 w 1874"/>
                    <a:gd name="T29" fmla="*/ 1166 h 1593"/>
                    <a:gd name="T30" fmla="*/ 349 w 1874"/>
                    <a:gd name="T31" fmla="*/ 1223 h 1593"/>
                    <a:gd name="T32" fmla="*/ 475 w 1874"/>
                    <a:gd name="T33" fmla="*/ 1328 h 1593"/>
                    <a:gd name="T34" fmla="*/ 558 w 1874"/>
                    <a:gd name="T35" fmla="*/ 1375 h 1593"/>
                    <a:gd name="T36" fmla="*/ 607 w 1874"/>
                    <a:gd name="T37" fmla="*/ 1312 h 1593"/>
                    <a:gd name="T38" fmla="*/ 697 w 1874"/>
                    <a:gd name="T39" fmla="*/ 1324 h 1593"/>
                    <a:gd name="T40" fmla="*/ 718 w 1874"/>
                    <a:gd name="T41" fmla="*/ 1391 h 1593"/>
                    <a:gd name="T42" fmla="*/ 943 w 1874"/>
                    <a:gd name="T43" fmla="*/ 1486 h 1593"/>
                    <a:gd name="T44" fmla="*/ 1014 w 1874"/>
                    <a:gd name="T45" fmla="*/ 1549 h 1593"/>
                    <a:gd name="T46" fmla="*/ 1118 w 1874"/>
                    <a:gd name="T47" fmla="*/ 1536 h 1593"/>
                    <a:gd name="T48" fmla="*/ 1206 w 1874"/>
                    <a:gd name="T49" fmla="*/ 1580 h 1593"/>
                    <a:gd name="T50" fmla="*/ 1351 w 1874"/>
                    <a:gd name="T51" fmla="*/ 1535 h 1593"/>
                    <a:gd name="T52" fmla="*/ 1543 w 1874"/>
                    <a:gd name="T53" fmla="*/ 1495 h 1593"/>
                    <a:gd name="T54" fmla="*/ 1714 w 1874"/>
                    <a:gd name="T55" fmla="*/ 1536 h 1593"/>
                    <a:gd name="T56" fmla="*/ 1706 w 1874"/>
                    <a:gd name="T57" fmla="*/ 1360 h 1593"/>
                    <a:gd name="T58" fmla="*/ 1770 w 1874"/>
                    <a:gd name="T59" fmla="*/ 1220 h 1593"/>
                    <a:gd name="T60" fmla="*/ 1862 w 1874"/>
                    <a:gd name="T61" fmla="*/ 980 h 1593"/>
                    <a:gd name="T62" fmla="*/ 1790 w 1874"/>
                    <a:gd name="T63" fmla="*/ 896 h 1593"/>
                    <a:gd name="T64" fmla="*/ 1714 w 1874"/>
                    <a:gd name="T65" fmla="*/ 744 h 1593"/>
                    <a:gd name="T66" fmla="*/ 1634 w 1874"/>
                    <a:gd name="T67" fmla="*/ 548 h 1593"/>
                    <a:gd name="T68" fmla="*/ 1722 w 1874"/>
                    <a:gd name="T69" fmla="*/ 448 h 1593"/>
                    <a:gd name="T70" fmla="*/ 1698 w 1874"/>
                    <a:gd name="T71" fmla="*/ 376 h 1593"/>
                    <a:gd name="T72" fmla="*/ 1618 w 1874"/>
                    <a:gd name="T73" fmla="*/ 216 h 1593"/>
                    <a:gd name="T74" fmla="*/ 1530 w 1874"/>
                    <a:gd name="T75" fmla="*/ 44 h 1593"/>
                    <a:gd name="T76" fmla="*/ 1394 w 1874"/>
                    <a:gd name="T77" fmla="*/ 20 h 1593"/>
                    <a:gd name="T78" fmla="*/ 1090 w 1874"/>
                    <a:gd name="T79" fmla="*/ 80 h 159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4"/>
                    <a:gd name="T121" fmla="*/ 0 h 1593"/>
                    <a:gd name="T122" fmla="*/ 1874 w 1874"/>
                    <a:gd name="T123" fmla="*/ 1593 h 159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4" h="1593">
                      <a:moveTo>
                        <a:pt x="927" y="76"/>
                      </a:moveTo>
                      <a:cubicBezTo>
                        <a:pt x="911" y="80"/>
                        <a:pt x="911" y="92"/>
                        <a:pt x="891" y="96"/>
                      </a:cubicBezTo>
                      <a:cubicBezTo>
                        <a:pt x="883" y="100"/>
                        <a:pt x="867" y="104"/>
                        <a:pt x="867" y="104"/>
                      </a:cubicBezTo>
                      <a:cubicBezTo>
                        <a:pt x="843" y="140"/>
                        <a:pt x="799" y="112"/>
                        <a:pt x="767" y="100"/>
                      </a:cubicBezTo>
                      <a:cubicBezTo>
                        <a:pt x="759" y="80"/>
                        <a:pt x="751" y="44"/>
                        <a:pt x="735" y="28"/>
                      </a:cubicBezTo>
                      <a:cubicBezTo>
                        <a:pt x="723" y="16"/>
                        <a:pt x="687" y="0"/>
                        <a:pt x="687" y="0"/>
                      </a:cubicBezTo>
                      <a:cubicBezTo>
                        <a:pt x="543" y="0"/>
                        <a:pt x="595" y="16"/>
                        <a:pt x="507" y="44"/>
                      </a:cubicBezTo>
                      <a:cubicBezTo>
                        <a:pt x="499" y="68"/>
                        <a:pt x="451" y="108"/>
                        <a:pt x="423" y="112"/>
                      </a:cubicBezTo>
                      <a:cubicBezTo>
                        <a:pt x="403" y="116"/>
                        <a:pt x="363" y="128"/>
                        <a:pt x="363" y="128"/>
                      </a:cubicBezTo>
                      <a:cubicBezTo>
                        <a:pt x="355" y="144"/>
                        <a:pt x="323" y="168"/>
                        <a:pt x="323" y="168"/>
                      </a:cubicBezTo>
                      <a:cubicBezTo>
                        <a:pt x="307" y="192"/>
                        <a:pt x="295" y="192"/>
                        <a:pt x="267" y="200"/>
                      </a:cubicBezTo>
                      <a:cubicBezTo>
                        <a:pt x="255" y="216"/>
                        <a:pt x="247" y="212"/>
                        <a:pt x="231" y="224"/>
                      </a:cubicBezTo>
                      <a:cubicBezTo>
                        <a:pt x="219" y="260"/>
                        <a:pt x="175" y="260"/>
                        <a:pt x="143" y="264"/>
                      </a:cubicBezTo>
                      <a:cubicBezTo>
                        <a:pt x="115" y="272"/>
                        <a:pt x="123" y="276"/>
                        <a:pt x="99" y="292"/>
                      </a:cubicBezTo>
                      <a:cubicBezTo>
                        <a:pt x="91" y="308"/>
                        <a:pt x="67" y="328"/>
                        <a:pt x="51" y="332"/>
                      </a:cubicBezTo>
                      <a:cubicBezTo>
                        <a:pt x="47" y="348"/>
                        <a:pt x="35" y="380"/>
                        <a:pt x="35" y="380"/>
                      </a:cubicBezTo>
                      <a:cubicBezTo>
                        <a:pt x="43" y="404"/>
                        <a:pt x="56" y="405"/>
                        <a:pt x="60" y="433"/>
                      </a:cubicBezTo>
                      <a:cubicBezTo>
                        <a:pt x="60" y="453"/>
                        <a:pt x="49" y="557"/>
                        <a:pt x="36" y="595"/>
                      </a:cubicBezTo>
                      <a:cubicBezTo>
                        <a:pt x="0" y="608"/>
                        <a:pt x="22" y="637"/>
                        <a:pt x="59" y="648"/>
                      </a:cubicBezTo>
                      <a:cubicBezTo>
                        <a:pt x="75" y="668"/>
                        <a:pt x="108" y="679"/>
                        <a:pt x="123" y="716"/>
                      </a:cubicBezTo>
                      <a:cubicBezTo>
                        <a:pt x="120" y="736"/>
                        <a:pt x="104" y="764"/>
                        <a:pt x="100" y="788"/>
                      </a:cubicBezTo>
                      <a:cubicBezTo>
                        <a:pt x="114" y="815"/>
                        <a:pt x="122" y="825"/>
                        <a:pt x="130" y="853"/>
                      </a:cubicBezTo>
                      <a:cubicBezTo>
                        <a:pt x="126" y="885"/>
                        <a:pt x="131" y="890"/>
                        <a:pt x="123" y="914"/>
                      </a:cubicBezTo>
                      <a:cubicBezTo>
                        <a:pt x="132" y="935"/>
                        <a:pt x="121" y="948"/>
                        <a:pt x="129" y="968"/>
                      </a:cubicBezTo>
                      <a:cubicBezTo>
                        <a:pt x="133" y="1016"/>
                        <a:pt x="143" y="1012"/>
                        <a:pt x="191" y="1016"/>
                      </a:cubicBezTo>
                      <a:cubicBezTo>
                        <a:pt x="199" y="1020"/>
                        <a:pt x="216" y="1011"/>
                        <a:pt x="216" y="1019"/>
                      </a:cubicBezTo>
                      <a:cubicBezTo>
                        <a:pt x="216" y="1027"/>
                        <a:pt x="220" y="1037"/>
                        <a:pt x="207" y="1048"/>
                      </a:cubicBezTo>
                      <a:cubicBezTo>
                        <a:pt x="195" y="1057"/>
                        <a:pt x="190" y="1070"/>
                        <a:pt x="190" y="1070"/>
                      </a:cubicBezTo>
                      <a:cubicBezTo>
                        <a:pt x="194" y="1106"/>
                        <a:pt x="196" y="1100"/>
                        <a:pt x="213" y="1114"/>
                      </a:cubicBezTo>
                      <a:cubicBezTo>
                        <a:pt x="221" y="1126"/>
                        <a:pt x="214" y="1157"/>
                        <a:pt x="220" y="1166"/>
                      </a:cubicBezTo>
                      <a:cubicBezTo>
                        <a:pt x="226" y="1175"/>
                        <a:pt x="231" y="1162"/>
                        <a:pt x="252" y="1171"/>
                      </a:cubicBezTo>
                      <a:cubicBezTo>
                        <a:pt x="273" y="1180"/>
                        <a:pt x="304" y="1216"/>
                        <a:pt x="349" y="1223"/>
                      </a:cubicBezTo>
                      <a:cubicBezTo>
                        <a:pt x="385" y="1233"/>
                        <a:pt x="450" y="1215"/>
                        <a:pt x="471" y="1232"/>
                      </a:cubicBezTo>
                      <a:cubicBezTo>
                        <a:pt x="499" y="1276"/>
                        <a:pt x="431" y="1300"/>
                        <a:pt x="475" y="1328"/>
                      </a:cubicBezTo>
                      <a:cubicBezTo>
                        <a:pt x="489" y="1355"/>
                        <a:pt x="505" y="1352"/>
                        <a:pt x="528" y="1390"/>
                      </a:cubicBezTo>
                      <a:cubicBezTo>
                        <a:pt x="540" y="1396"/>
                        <a:pt x="552" y="1386"/>
                        <a:pt x="558" y="1375"/>
                      </a:cubicBezTo>
                      <a:cubicBezTo>
                        <a:pt x="564" y="1364"/>
                        <a:pt x="594" y="1355"/>
                        <a:pt x="567" y="1324"/>
                      </a:cubicBezTo>
                      <a:cubicBezTo>
                        <a:pt x="589" y="1310"/>
                        <a:pt x="592" y="1313"/>
                        <a:pt x="607" y="1312"/>
                      </a:cubicBezTo>
                      <a:cubicBezTo>
                        <a:pt x="635" y="1316"/>
                        <a:pt x="635" y="1330"/>
                        <a:pt x="663" y="1334"/>
                      </a:cubicBezTo>
                      <a:cubicBezTo>
                        <a:pt x="671" y="1338"/>
                        <a:pt x="689" y="1320"/>
                        <a:pt x="697" y="1324"/>
                      </a:cubicBezTo>
                      <a:cubicBezTo>
                        <a:pt x="709" y="1321"/>
                        <a:pt x="724" y="1336"/>
                        <a:pt x="724" y="1336"/>
                      </a:cubicBezTo>
                      <a:cubicBezTo>
                        <a:pt x="732" y="1344"/>
                        <a:pt x="696" y="1363"/>
                        <a:pt x="718" y="1391"/>
                      </a:cubicBezTo>
                      <a:cubicBezTo>
                        <a:pt x="763" y="1405"/>
                        <a:pt x="828" y="1397"/>
                        <a:pt x="875" y="1408"/>
                      </a:cubicBezTo>
                      <a:cubicBezTo>
                        <a:pt x="903" y="1448"/>
                        <a:pt x="910" y="1469"/>
                        <a:pt x="943" y="1486"/>
                      </a:cubicBezTo>
                      <a:cubicBezTo>
                        <a:pt x="951" y="1502"/>
                        <a:pt x="958" y="1508"/>
                        <a:pt x="974" y="1516"/>
                      </a:cubicBezTo>
                      <a:cubicBezTo>
                        <a:pt x="978" y="1532"/>
                        <a:pt x="1000" y="1540"/>
                        <a:pt x="1014" y="1549"/>
                      </a:cubicBezTo>
                      <a:cubicBezTo>
                        <a:pt x="1048" y="1522"/>
                        <a:pt x="1035" y="1523"/>
                        <a:pt x="1059" y="1487"/>
                      </a:cubicBezTo>
                      <a:cubicBezTo>
                        <a:pt x="1072" y="1487"/>
                        <a:pt x="1080" y="1511"/>
                        <a:pt x="1118" y="1536"/>
                      </a:cubicBezTo>
                      <a:cubicBezTo>
                        <a:pt x="1140" y="1552"/>
                        <a:pt x="1145" y="1569"/>
                        <a:pt x="1165" y="1577"/>
                      </a:cubicBezTo>
                      <a:cubicBezTo>
                        <a:pt x="1181" y="1593"/>
                        <a:pt x="1168" y="1577"/>
                        <a:pt x="1206" y="1580"/>
                      </a:cubicBezTo>
                      <a:cubicBezTo>
                        <a:pt x="1218" y="1547"/>
                        <a:pt x="1215" y="1522"/>
                        <a:pt x="1308" y="1516"/>
                      </a:cubicBezTo>
                      <a:cubicBezTo>
                        <a:pt x="1328" y="1520"/>
                        <a:pt x="1351" y="1535"/>
                        <a:pt x="1351" y="1535"/>
                      </a:cubicBezTo>
                      <a:cubicBezTo>
                        <a:pt x="1366" y="1516"/>
                        <a:pt x="1396" y="1502"/>
                        <a:pt x="1478" y="1480"/>
                      </a:cubicBezTo>
                      <a:cubicBezTo>
                        <a:pt x="1502" y="1484"/>
                        <a:pt x="1519" y="1487"/>
                        <a:pt x="1543" y="1495"/>
                      </a:cubicBezTo>
                      <a:cubicBezTo>
                        <a:pt x="1579" y="1513"/>
                        <a:pt x="1626" y="1519"/>
                        <a:pt x="1682" y="1540"/>
                      </a:cubicBezTo>
                      <a:cubicBezTo>
                        <a:pt x="1694" y="1540"/>
                        <a:pt x="1710" y="1548"/>
                        <a:pt x="1714" y="1536"/>
                      </a:cubicBezTo>
                      <a:cubicBezTo>
                        <a:pt x="1718" y="1520"/>
                        <a:pt x="1694" y="1456"/>
                        <a:pt x="1682" y="1436"/>
                      </a:cubicBezTo>
                      <a:cubicBezTo>
                        <a:pt x="1674" y="1396"/>
                        <a:pt x="1674" y="1380"/>
                        <a:pt x="1706" y="1360"/>
                      </a:cubicBezTo>
                      <a:cubicBezTo>
                        <a:pt x="1714" y="1348"/>
                        <a:pt x="1722" y="1324"/>
                        <a:pt x="1722" y="1324"/>
                      </a:cubicBezTo>
                      <a:cubicBezTo>
                        <a:pt x="1726" y="1284"/>
                        <a:pt x="1726" y="1236"/>
                        <a:pt x="1770" y="1220"/>
                      </a:cubicBezTo>
                      <a:cubicBezTo>
                        <a:pt x="1802" y="1172"/>
                        <a:pt x="1842" y="1144"/>
                        <a:pt x="1874" y="1096"/>
                      </a:cubicBezTo>
                      <a:cubicBezTo>
                        <a:pt x="1874" y="1032"/>
                        <a:pt x="1874" y="1016"/>
                        <a:pt x="1862" y="980"/>
                      </a:cubicBezTo>
                      <a:cubicBezTo>
                        <a:pt x="1870" y="952"/>
                        <a:pt x="1846" y="944"/>
                        <a:pt x="1822" y="940"/>
                      </a:cubicBezTo>
                      <a:cubicBezTo>
                        <a:pt x="1814" y="916"/>
                        <a:pt x="1810" y="912"/>
                        <a:pt x="1790" y="896"/>
                      </a:cubicBezTo>
                      <a:cubicBezTo>
                        <a:pt x="1778" y="888"/>
                        <a:pt x="1754" y="872"/>
                        <a:pt x="1754" y="872"/>
                      </a:cubicBezTo>
                      <a:cubicBezTo>
                        <a:pt x="1742" y="812"/>
                        <a:pt x="1722" y="780"/>
                        <a:pt x="1714" y="744"/>
                      </a:cubicBezTo>
                      <a:cubicBezTo>
                        <a:pt x="1726" y="644"/>
                        <a:pt x="1726" y="632"/>
                        <a:pt x="1630" y="624"/>
                      </a:cubicBezTo>
                      <a:cubicBezTo>
                        <a:pt x="1630" y="600"/>
                        <a:pt x="1610" y="564"/>
                        <a:pt x="1634" y="548"/>
                      </a:cubicBezTo>
                      <a:cubicBezTo>
                        <a:pt x="1654" y="520"/>
                        <a:pt x="1666" y="496"/>
                        <a:pt x="1702" y="484"/>
                      </a:cubicBezTo>
                      <a:cubicBezTo>
                        <a:pt x="1710" y="476"/>
                        <a:pt x="1722" y="448"/>
                        <a:pt x="1722" y="448"/>
                      </a:cubicBezTo>
                      <a:cubicBezTo>
                        <a:pt x="1722" y="440"/>
                        <a:pt x="1722" y="412"/>
                        <a:pt x="1714" y="400"/>
                      </a:cubicBezTo>
                      <a:cubicBezTo>
                        <a:pt x="1710" y="392"/>
                        <a:pt x="1698" y="376"/>
                        <a:pt x="1698" y="376"/>
                      </a:cubicBezTo>
                      <a:cubicBezTo>
                        <a:pt x="1694" y="368"/>
                        <a:pt x="1690" y="356"/>
                        <a:pt x="1674" y="328"/>
                      </a:cubicBezTo>
                      <a:cubicBezTo>
                        <a:pt x="1662" y="300"/>
                        <a:pt x="1634" y="252"/>
                        <a:pt x="1618" y="216"/>
                      </a:cubicBezTo>
                      <a:cubicBezTo>
                        <a:pt x="1602" y="192"/>
                        <a:pt x="1614" y="108"/>
                        <a:pt x="1586" y="100"/>
                      </a:cubicBezTo>
                      <a:cubicBezTo>
                        <a:pt x="1582" y="76"/>
                        <a:pt x="1554" y="52"/>
                        <a:pt x="1530" y="44"/>
                      </a:cubicBezTo>
                      <a:cubicBezTo>
                        <a:pt x="1510" y="20"/>
                        <a:pt x="1502" y="24"/>
                        <a:pt x="1466" y="20"/>
                      </a:cubicBezTo>
                      <a:cubicBezTo>
                        <a:pt x="1446" y="16"/>
                        <a:pt x="1414" y="16"/>
                        <a:pt x="1394" y="20"/>
                      </a:cubicBezTo>
                      <a:cubicBezTo>
                        <a:pt x="1354" y="40"/>
                        <a:pt x="1318" y="52"/>
                        <a:pt x="1286" y="56"/>
                      </a:cubicBezTo>
                      <a:cubicBezTo>
                        <a:pt x="1234" y="64"/>
                        <a:pt x="1150" y="76"/>
                        <a:pt x="1090" y="80"/>
                      </a:cubicBezTo>
                      <a:cubicBezTo>
                        <a:pt x="1030" y="84"/>
                        <a:pt x="994" y="80"/>
                        <a:pt x="927" y="76"/>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06" name="Freeform 2540">
                  <a:extLst>
                    <a:ext uri="{FF2B5EF4-FFF2-40B4-BE49-F238E27FC236}">
                      <a16:creationId xmlns:a16="http://schemas.microsoft.com/office/drawing/2014/main" id="{CE5CA96B-9849-FBDD-DBC9-96A398D2CCDC}"/>
                    </a:ext>
                  </a:extLst>
                </p:cNvPr>
                <p:cNvSpPr>
                  <a:spLocks noChangeAspect="1"/>
                </p:cNvSpPr>
                <p:nvPr/>
              </p:nvSpPr>
              <p:spPr bwMode="auto">
                <a:xfrm>
                  <a:off x="4410076" y="4332288"/>
                  <a:ext cx="504825" cy="279400"/>
                </a:xfrm>
                <a:custGeom>
                  <a:avLst/>
                  <a:gdLst>
                    <a:gd name="T0" fmla="*/ 939 w 1271"/>
                    <a:gd name="T1" fmla="*/ 620 h 703"/>
                    <a:gd name="T2" fmla="*/ 954 w 1271"/>
                    <a:gd name="T3" fmla="*/ 592 h 703"/>
                    <a:gd name="T4" fmla="*/ 1032 w 1271"/>
                    <a:gd name="T5" fmla="*/ 589 h 703"/>
                    <a:gd name="T6" fmla="*/ 1104 w 1271"/>
                    <a:gd name="T7" fmla="*/ 539 h 703"/>
                    <a:gd name="T8" fmla="*/ 1114 w 1271"/>
                    <a:gd name="T9" fmla="*/ 503 h 703"/>
                    <a:gd name="T10" fmla="*/ 1171 w 1271"/>
                    <a:gd name="T11" fmla="*/ 431 h 703"/>
                    <a:gd name="T12" fmla="*/ 1239 w 1271"/>
                    <a:gd name="T13" fmla="*/ 359 h 703"/>
                    <a:gd name="T14" fmla="*/ 1251 w 1271"/>
                    <a:gd name="T15" fmla="*/ 340 h 703"/>
                    <a:gd name="T16" fmla="*/ 1215 w 1271"/>
                    <a:gd name="T17" fmla="*/ 304 h 703"/>
                    <a:gd name="T18" fmla="*/ 1175 w 1271"/>
                    <a:gd name="T19" fmla="*/ 248 h 703"/>
                    <a:gd name="T20" fmla="*/ 1019 w 1271"/>
                    <a:gd name="T21" fmla="*/ 228 h 703"/>
                    <a:gd name="T22" fmla="*/ 1007 w 1271"/>
                    <a:gd name="T23" fmla="*/ 200 h 703"/>
                    <a:gd name="T24" fmla="*/ 1023 w 1271"/>
                    <a:gd name="T25" fmla="*/ 176 h 703"/>
                    <a:gd name="T26" fmla="*/ 963 w 1271"/>
                    <a:gd name="T27" fmla="*/ 172 h 703"/>
                    <a:gd name="T28" fmla="*/ 915 w 1271"/>
                    <a:gd name="T29" fmla="*/ 148 h 703"/>
                    <a:gd name="T30" fmla="*/ 867 w 1271"/>
                    <a:gd name="T31" fmla="*/ 160 h 703"/>
                    <a:gd name="T32" fmla="*/ 855 w 1271"/>
                    <a:gd name="T33" fmla="*/ 208 h 703"/>
                    <a:gd name="T34" fmla="*/ 827 w 1271"/>
                    <a:gd name="T35" fmla="*/ 224 h 703"/>
                    <a:gd name="T36" fmla="*/ 779 w 1271"/>
                    <a:gd name="T37" fmla="*/ 176 h 703"/>
                    <a:gd name="T38" fmla="*/ 759 w 1271"/>
                    <a:gd name="T39" fmla="*/ 140 h 703"/>
                    <a:gd name="T40" fmla="*/ 679 w 1271"/>
                    <a:gd name="T41" fmla="*/ 64 h 703"/>
                    <a:gd name="T42" fmla="*/ 587 w 1271"/>
                    <a:gd name="T43" fmla="*/ 32 h 703"/>
                    <a:gd name="T44" fmla="*/ 551 w 1271"/>
                    <a:gd name="T45" fmla="*/ 4 h 703"/>
                    <a:gd name="T46" fmla="*/ 522 w 1271"/>
                    <a:gd name="T47" fmla="*/ 10 h 703"/>
                    <a:gd name="T48" fmla="*/ 479 w 1271"/>
                    <a:gd name="T49" fmla="*/ 28 h 703"/>
                    <a:gd name="T50" fmla="*/ 447 w 1271"/>
                    <a:gd name="T51" fmla="*/ 31 h 703"/>
                    <a:gd name="T52" fmla="*/ 388 w 1271"/>
                    <a:gd name="T53" fmla="*/ 17 h 703"/>
                    <a:gd name="T54" fmla="*/ 339 w 1271"/>
                    <a:gd name="T55" fmla="*/ 76 h 703"/>
                    <a:gd name="T56" fmla="*/ 289 w 1271"/>
                    <a:gd name="T57" fmla="*/ 100 h 703"/>
                    <a:gd name="T58" fmla="*/ 183 w 1271"/>
                    <a:gd name="T59" fmla="*/ 142 h 703"/>
                    <a:gd name="T60" fmla="*/ 102 w 1271"/>
                    <a:gd name="T61" fmla="*/ 193 h 703"/>
                    <a:gd name="T62" fmla="*/ 58 w 1271"/>
                    <a:gd name="T63" fmla="*/ 211 h 703"/>
                    <a:gd name="T64" fmla="*/ 0 w 1271"/>
                    <a:gd name="T65" fmla="*/ 250 h 703"/>
                    <a:gd name="T66" fmla="*/ 34 w 1271"/>
                    <a:gd name="T67" fmla="*/ 299 h 703"/>
                    <a:gd name="T68" fmla="*/ 63 w 1271"/>
                    <a:gd name="T69" fmla="*/ 352 h 703"/>
                    <a:gd name="T70" fmla="*/ 83 w 1271"/>
                    <a:gd name="T71" fmla="*/ 428 h 703"/>
                    <a:gd name="T72" fmla="*/ 142 w 1271"/>
                    <a:gd name="T73" fmla="*/ 485 h 703"/>
                    <a:gd name="T74" fmla="*/ 207 w 1271"/>
                    <a:gd name="T75" fmla="*/ 541 h 703"/>
                    <a:gd name="T76" fmla="*/ 228 w 1271"/>
                    <a:gd name="T77" fmla="*/ 566 h 703"/>
                    <a:gd name="T78" fmla="*/ 253 w 1271"/>
                    <a:gd name="T79" fmla="*/ 593 h 703"/>
                    <a:gd name="T80" fmla="*/ 301 w 1271"/>
                    <a:gd name="T81" fmla="*/ 604 h 703"/>
                    <a:gd name="T82" fmla="*/ 346 w 1271"/>
                    <a:gd name="T83" fmla="*/ 688 h 703"/>
                    <a:gd name="T84" fmla="*/ 411 w 1271"/>
                    <a:gd name="T85" fmla="*/ 700 h 703"/>
                    <a:gd name="T86" fmla="*/ 486 w 1271"/>
                    <a:gd name="T87" fmla="*/ 695 h 703"/>
                    <a:gd name="T88" fmla="*/ 508 w 1271"/>
                    <a:gd name="T89" fmla="*/ 685 h 703"/>
                    <a:gd name="T90" fmla="*/ 534 w 1271"/>
                    <a:gd name="T91" fmla="*/ 599 h 703"/>
                    <a:gd name="T92" fmla="*/ 564 w 1271"/>
                    <a:gd name="T93" fmla="*/ 574 h 703"/>
                    <a:gd name="T94" fmla="*/ 616 w 1271"/>
                    <a:gd name="T95" fmla="*/ 580 h 703"/>
                    <a:gd name="T96" fmla="*/ 679 w 1271"/>
                    <a:gd name="T97" fmla="*/ 588 h 703"/>
                    <a:gd name="T98" fmla="*/ 731 w 1271"/>
                    <a:gd name="T99" fmla="*/ 608 h 703"/>
                    <a:gd name="T100" fmla="*/ 783 w 1271"/>
                    <a:gd name="T101" fmla="*/ 632 h 703"/>
                    <a:gd name="T102" fmla="*/ 855 w 1271"/>
                    <a:gd name="T103" fmla="*/ 636 h 703"/>
                    <a:gd name="T104" fmla="*/ 919 w 1271"/>
                    <a:gd name="T105" fmla="*/ 637 h 703"/>
                    <a:gd name="T106" fmla="*/ 939 w 1271"/>
                    <a:gd name="T107" fmla="*/ 620 h 70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271"/>
                    <a:gd name="T163" fmla="*/ 0 h 703"/>
                    <a:gd name="T164" fmla="*/ 1271 w 1271"/>
                    <a:gd name="T165" fmla="*/ 703 h 70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271" h="703">
                      <a:moveTo>
                        <a:pt x="939" y="620"/>
                      </a:moveTo>
                      <a:cubicBezTo>
                        <a:pt x="947" y="613"/>
                        <a:pt x="939" y="597"/>
                        <a:pt x="954" y="592"/>
                      </a:cubicBezTo>
                      <a:cubicBezTo>
                        <a:pt x="969" y="587"/>
                        <a:pt x="1007" y="598"/>
                        <a:pt x="1032" y="589"/>
                      </a:cubicBezTo>
                      <a:cubicBezTo>
                        <a:pt x="1064" y="581"/>
                        <a:pt x="1084" y="547"/>
                        <a:pt x="1104" y="539"/>
                      </a:cubicBezTo>
                      <a:cubicBezTo>
                        <a:pt x="1111" y="526"/>
                        <a:pt x="1103" y="521"/>
                        <a:pt x="1114" y="503"/>
                      </a:cubicBezTo>
                      <a:cubicBezTo>
                        <a:pt x="1135" y="490"/>
                        <a:pt x="1143" y="452"/>
                        <a:pt x="1171" y="431"/>
                      </a:cubicBezTo>
                      <a:cubicBezTo>
                        <a:pt x="1183" y="391"/>
                        <a:pt x="1206" y="371"/>
                        <a:pt x="1239" y="359"/>
                      </a:cubicBezTo>
                      <a:cubicBezTo>
                        <a:pt x="1270" y="340"/>
                        <a:pt x="1271" y="360"/>
                        <a:pt x="1251" y="340"/>
                      </a:cubicBezTo>
                      <a:cubicBezTo>
                        <a:pt x="1243" y="320"/>
                        <a:pt x="1235" y="312"/>
                        <a:pt x="1215" y="304"/>
                      </a:cubicBezTo>
                      <a:cubicBezTo>
                        <a:pt x="1207" y="288"/>
                        <a:pt x="1191" y="256"/>
                        <a:pt x="1175" y="248"/>
                      </a:cubicBezTo>
                      <a:cubicBezTo>
                        <a:pt x="1135" y="224"/>
                        <a:pt x="1083" y="248"/>
                        <a:pt x="1019" y="228"/>
                      </a:cubicBezTo>
                      <a:cubicBezTo>
                        <a:pt x="1015" y="220"/>
                        <a:pt x="1003" y="208"/>
                        <a:pt x="1007" y="200"/>
                      </a:cubicBezTo>
                      <a:cubicBezTo>
                        <a:pt x="1011" y="192"/>
                        <a:pt x="1023" y="176"/>
                        <a:pt x="1023" y="176"/>
                      </a:cubicBezTo>
                      <a:cubicBezTo>
                        <a:pt x="1015" y="144"/>
                        <a:pt x="987" y="164"/>
                        <a:pt x="963" y="172"/>
                      </a:cubicBezTo>
                      <a:cubicBezTo>
                        <a:pt x="947" y="164"/>
                        <a:pt x="931" y="160"/>
                        <a:pt x="915" y="148"/>
                      </a:cubicBezTo>
                      <a:cubicBezTo>
                        <a:pt x="899" y="148"/>
                        <a:pt x="875" y="152"/>
                        <a:pt x="867" y="160"/>
                      </a:cubicBezTo>
                      <a:cubicBezTo>
                        <a:pt x="887" y="188"/>
                        <a:pt x="875" y="196"/>
                        <a:pt x="855" y="208"/>
                      </a:cubicBezTo>
                      <a:cubicBezTo>
                        <a:pt x="851" y="224"/>
                        <a:pt x="843" y="228"/>
                        <a:pt x="827" y="224"/>
                      </a:cubicBezTo>
                      <a:cubicBezTo>
                        <a:pt x="815" y="208"/>
                        <a:pt x="799" y="188"/>
                        <a:pt x="779" y="176"/>
                      </a:cubicBezTo>
                      <a:cubicBezTo>
                        <a:pt x="775" y="164"/>
                        <a:pt x="759" y="140"/>
                        <a:pt x="759" y="140"/>
                      </a:cubicBezTo>
                      <a:cubicBezTo>
                        <a:pt x="803" y="40"/>
                        <a:pt x="751" y="68"/>
                        <a:pt x="679" y="64"/>
                      </a:cubicBezTo>
                      <a:cubicBezTo>
                        <a:pt x="651" y="56"/>
                        <a:pt x="611" y="52"/>
                        <a:pt x="587" y="32"/>
                      </a:cubicBezTo>
                      <a:cubicBezTo>
                        <a:pt x="575" y="24"/>
                        <a:pt x="551" y="4"/>
                        <a:pt x="551" y="4"/>
                      </a:cubicBezTo>
                      <a:cubicBezTo>
                        <a:pt x="540" y="0"/>
                        <a:pt x="534" y="6"/>
                        <a:pt x="522" y="10"/>
                      </a:cubicBezTo>
                      <a:cubicBezTo>
                        <a:pt x="510" y="14"/>
                        <a:pt x="491" y="25"/>
                        <a:pt x="479" y="28"/>
                      </a:cubicBezTo>
                      <a:cubicBezTo>
                        <a:pt x="475" y="32"/>
                        <a:pt x="447" y="31"/>
                        <a:pt x="447" y="31"/>
                      </a:cubicBezTo>
                      <a:cubicBezTo>
                        <a:pt x="427" y="23"/>
                        <a:pt x="408" y="25"/>
                        <a:pt x="388" y="17"/>
                      </a:cubicBezTo>
                      <a:cubicBezTo>
                        <a:pt x="364" y="43"/>
                        <a:pt x="369" y="29"/>
                        <a:pt x="339" y="76"/>
                      </a:cubicBezTo>
                      <a:cubicBezTo>
                        <a:pt x="285" y="88"/>
                        <a:pt x="301" y="89"/>
                        <a:pt x="289" y="100"/>
                      </a:cubicBezTo>
                      <a:cubicBezTo>
                        <a:pt x="263" y="111"/>
                        <a:pt x="222" y="125"/>
                        <a:pt x="183" y="142"/>
                      </a:cubicBezTo>
                      <a:cubicBezTo>
                        <a:pt x="153" y="158"/>
                        <a:pt x="123" y="182"/>
                        <a:pt x="102" y="193"/>
                      </a:cubicBezTo>
                      <a:cubicBezTo>
                        <a:pt x="81" y="204"/>
                        <a:pt x="70" y="194"/>
                        <a:pt x="58" y="211"/>
                      </a:cubicBezTo>
                      <a:cubicBezTo>
                        <a:pt x="18" y="223"/>
                        <a:pt x="13" y="221"/>
                        <a:pt x="0" y="250"/>
                      </a:cubicBezTo>
                      <a:cubicBezTo>
                        <a:pt x="4" y="286"/>
                        <a:pt x="10" y="283"/>
                        <a:pt x="34" y="299"/>
                      </a:cubicBezTo>
                      <a:cubicBezTo>
                        <a:pt x="60" y="314"/>
                        <a:pt x="55" y="328"/>
                        <a:pt x="63" y="352"/>
                      </a:cubicBezTo>
                      <a:cubicBezTo>
                        <a:pt x="59" y="380"/>
                        <a:pt x="60" y="407"/>
                        <a:pt x="83" y="428"/>
                      </a:cubicBezTo>
                      <a:cubicBezTo>
                        <a:pt x="99" y="454"/>
                        <a:pt x="126" y="473"/>
                        <a:pt x="142" y="485"/>
                      </a:cubicBezTo>
                      <a:cubicBezTo>
                        <a:pt x="162" y="513"/>
                        <a:pt x="178" y="529"/>
                        <a:pt x="207" y="541"/>
                      </a:cubicBezTo>
                      <a:cubicBezTo>
                        <a:pt x="223" y="553"/>
                        <a:pt x="212" y="554"/>
                        <a:pt x="228" y="566"/>
                      </a:cubicBezTo>
                      <a:cubicBezTo>
                        <a:pt x="236" y="573"/>
                        <a:pt x="244" y="580"/>
                        <a:pt x="253" y="593"/>
                      </a:cubicBezTo>
                      <a:cubicBezTo>
                        <a:pt x="265" y="598"/>
                        <a:pt x="285" y="590"/>
                        <a:pt x="301" y="604"/>
                      </a:cubicBezTo>
                      <a:cubicBezTo>
                        <a:pt x="325" y="628"/>
                        <a:pt x="325" y="673"/>
                        <a:pt x="346" y="688"/>
                      </a:cubicBezTo>
                      <a:cubicBezTo>
                        <a:pt x="373" y="680"/>
                        <a:pt x="391" y="696"/>
                        <a:pt x="411" y="700"/>
                      </a:cubicBezTo>
                      <a:cubicBezTo>
                        <a:pt x="439" y="703"/>
                        <a:pt x="453" y="691"/>
                        <a:pt x="486" y="695"/>
                      </a:cubicBezTo>
                      <a:cubicBezTo>
                        <a:pt x="494" y="691"/>
                        <a:pt x="508" y="685"/>
                        <a:pt x="508" y="685"/>
                      </a:cubicBezTo>
                      <a:cubicBezTo>
                        <a:pt x="513" y="659"/>
                        <a:pt x="514" y="619"/>
                        <a:pt x="534" y="599"/>
                      </a:cubicBezTo>
                      <a:cubicBezTo>
                        <a:pt x="534" y="587"/>
                        <a:pt x="552" y="578"/>
                        <a:pt x="564" y="574"/>
                      </a:cubicBezTo>
                      <a:cubicBezTo>
                        <a:pt x="580" y="566"/>
                        <a:pt x="600" y="576"/>
                        <a:pt x="616" y="580"/>
                      </a:cubicBezTo>
                      <a:cubicBezTo>
                        <a:pt x="640" y="584"/>
                        <a:pt x="655" y="588"/>
                        <a:pt x="679" y="588"/>
                      </a:cubicBezTo>
                      <a:cubicBezTo>
                        <a:pt x="708" y="593"/>
                        <a:pt x="735" y="593"/>
                        <a:pt x="731" y="608"/>
                      </a:cubicBezTo>
                      <a:cubicBezTo>
                        <a:pt x="747" y="612"/>
                        <a:pt x="759" y="628"/>
                        <a:pt x="783" y="632"/>
                      </a:cubicBezTo>
                      <a:cubicBezTo>
                        <a:pt x="803" y="636"/>
                        <a:pt x="832" y="635"/>
                        <a:pt x="855" y="636"/>
                      </a:cubicBezTo>
                      <a:cubicBezTo>
                        <a:pt x="880" y="640"/>
                        <a:pt x="891" y="641"/>
                        <a:pt x="919" y="637"/>
                      </a:cubicBezTo>
                      <a:cubicBezTo>
                        <a:pt x="935" y="629"/>
                        <a:pt x="931" y="620"/>
                        <a:pt x="939" y="62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07" name="Freeform 2541">
                  <a:extLst>
                    <a:ext uri="{FF2B5EF4-FFF2-40B4-BE49-F238E27FC236}">
                      <a16:creationId xmlns:a16="http://schemas.microsoft.com/office/drawing/2014/main" id="{47FEBD07-D8E3-9298-B6A1-74954866DF2F}"/>
                    </a:ext>
                  </a:extLst>
                </p:cNvPr>
                <p:cNvSpPr>
                  <a:spLocks noChangeAspect="1"/>
                </p:cNvSpPr>
                <p:nvPr/>
              </p:nvSpPr>
              <p:spPr bwMode="auto">
                <a:xfrm>
                  <a:off x="4214813" y="4559300"/>
                  <a:ext cx="585788" cy="303213"/>
                </a:xfrm>
                <a:custGeom>
                  <a:avLst/>
                  <a:gdLst>
                    <a:gd name="T0" fmla="*/ 72 w 1474"/>
                    <a:gd name="T1" fmla="*/ 471 h 764"/>
                    <a:gd name="T2" fmla="*/ 125 w 1474"/>
                    <a:gd name="T3" fmla="*/ 501 h 764"/>
                    <a:gd name="T4" fmla="*/ 200 w 1474"/>
                    <a:gd name="T5" fmla="*/ 474 h 764"/>
                    <a:gd name="T6" fmla="*/ 321 w 1474"/>
                    <a:gd name="T7" fmla="*/ 497 h 764"/>
                    <a:gd name="T8" fmla="*/ 420 w 1474"/>
                    <a:gd name="T9" fmla="*/ 428 h 764"/>
                    <a:gd name="T10" fmla="*/ 574 w 1474"/>
                    <a:gd name="T11" fmla="*/ 420 h 764"/>
                    <a:gd name="T12" fmla="*/ 639 w 1474"/>
                    <a:gd name="T13" fmla="*/ 420 h 764"/>
                    <a:gd name="T14" fmla="*/ 699 w 1474"/>
                    <a:gd name="T15" fmla="*/ 450 h 764"/>
                    <a:gd name="T16" fmla="*/ 671 w 1474"/>
                    <a:gd name="T17" fmla="*/ 401 h 764"/>
                    <a:gd name="T18" fmla="*/ 680 w 1474"/>
                    <a:gd name="T19" fmla="*/ 234 h 764"/>
                    <a:gd name="T20" fmla="*/ 761 w 1474"/>
                    <a:gd name="T21" fmla="*/ 149 h 764"/>
                    <a:gd name="T22" fmla="*/ 827 w 1474"/>
                    <a:gd name="T23" fmla="*/ 116 h 764"/>
                    <a:gd name="T24" fmla="*/ 974 w 1474"/>
                    <a:gd name="T25" fmla="*/ 120 h 764"/>
                    <a:gd name="T26" fmla="*/ 1054 w 1474"/>
                    <a:gd name="T27" fmla="*/ 0 h 764"/>
                    <a:gd name="T28" fmla="*/ 1410 w 1474"/>
                    <a:gd name="T29" fmla="*/ 64 h 764"/>
                    <a:gd name="T30" fmla="*/ 1421 w 1474"/>
                    <a:gd name="T31" fmla="*/ 116 h 764"/>
                    <a:gd name="T32" fmla="*/ 1474 w 1474"/>
                    <a:gd name="T33" fmla="*/ 284 h 764"/>
                    <a:gd name="T34" fmla="*/ 1338 w 1474"/>
                    <a:gd name="T35" fmla="*/ 356 h 764"/>
                    <a:gd name="T36" fmla="*/ 1390 w 1474"/>
                    <a:gd name="T37" fmla="*/ 424 h 764"/>
                    <a:gd name="T38" fmla="*/ 1322 w 1474"/>
                    <a:gd name="T39" fmla="*/ 588 h 764"/>
                    <a:gd name="T40" fmla="*/ 1222 w 1474"/>
                    <a:gd name="T41" fmla="*/ 660 h 764"/>
                    <a:gd name="T42" fmla="*/ 1174 w 1474"/>
                    <a:gd name="T43" fmla="*/ 692 h 764"/>
                    <a:gd name="T44" fmla="*/ 1066 w 1474"/>
                    <a:gd name="T45" fmla="*/ 720 h 764"/>
                    <a:gd name="T46" fmla="*/ 807 w 1474"/>
                    <a:gd name="T47" fmla="*/ 737 h 764"/>
                    <a:gd name="T48" fmla="*/ 578 w 1474"/>
                    <a:gd name="T49" fmla="*/ 688 h 764"/>
                    <a:gd name="T50" fmla="*/ 530 w 1474"/>
                    <a:gd name="T51" fmla="*/ 620 h 764"/>
                    <a:gd name="T52" fmla="*/ 438 w 1474"/>
                    <a:gd name="T53" fmla="*/ 608 h 764"/>
                    <a:gd name="T54" fmla="*/ 310 w 1474"/>
                    <a:gd name="T55" fmla="*/ 656 h 764"/>
                    <a:gd name="T56" fmla="*/ 214 w 1474"/>
                    <a:gd name="T57" fmla="*/ 650 h 764"/>
                    <a:gd name="T58" fmla="*/ 142 w 1474"/>
                    <a:gd name="T59" fmla="*/ 632 h 764"/>
                    <a:gd name="T60" fmla="*/ 71 w 1474"/>
                    <a:gd name="T61" fmla="*/ 627 h 764"/>
                    <a:gd name="T62" fmla="*/ 0 w 1474"/>
                    <a:gd name="T63" fmla="*/ 552 h 7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74"/>
                    <a:gd name="T97" fmla="*/ 0 h 764"/>
                    <a:gd name="T98" fmla="*/ 1474 w 1474"/>
                    <a:gd name="T99" fmla="*/ 764 h 76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74" h="764">
                      <a:moveTo>
                        <a:pt x="26" y="452"/>
                      </a:moveTo>
                      <a:cubicBezTo>
                        <a:pt x="39" y="438"/>
                        <a:pt x="59" y="467"/>
                        <a:pt x="72" y="471"/>
                      </a:cubicBezTo>
                      <a:cubicBezTo>
                        <a:pt x="85" y="475"/>
                        <a:pt x="98" y="472"/>
                        <a:pt x="107" y="477"/>
                      </a:cubicBezTo>
                      <a:cubicBezTo>
                        <a:pt x="115" y="489"/>
                        <a:pt x="125" y="501"/>
                        <a:pt x="125" y="501"/>
                      </a:cubicBezTo>
                      <a:cubicBezTo>
                        <a:pt x="129" y="517"/>
                        <a:pt x="142" y="510"/>
                        <a:pt x="150" y="522"/>
                      </a:cubicBezTo>
                      <a:cubicBezTo>
                        <a:pt x="201" y="522"/>
                        <a:pt x="192" y="498"/>
                        <a:pt x="200" y="474"/>
                      </a:cubicBezTo>
                      <a:cubicBezTo>
                        <a:pt x="212" y="466"/>
                        <a:pt x="214" y="468"/>
                        <a:pt x="230" y="464"/>
                      </a:cubicBezTo>
                      <a:cubicBezTo>
                        <a:pt x="262" y="476"/>
                        <a:pt x="294" y="500"/>
                        <a:pt x="321" y="497"/>
                      </a:cubicBezTo>
                      <a:cubicBezTo>
                        <a:pt x="345" y="489"/>
                        <a:pt x="354" y="483"/>
                        <a:pt x="374" y="479"/>
                      </a:cubicBezTo>
                      <a:cubicBezTo>
                        <a:pt x="383" y="462"/>
                        <a:pt x="396" y="440"/>
                        <a:pt x="420" y="428"/>
                      </a:cubicBezTo>
                      <a:cubicBezTo>
                        <a:pt x="444" y="416"/>
                        <a:pt x="493" y="408"/>
                        <a:pt x="519" y="407"/>
                      </a:cubicBezTo>
                      <a:cubicBezTo>
                        <a:pt x="545" y="406"/>
                        <a:pt x="537" y="402"/>
                        <a:pt x="574" y="420"/>
                      </a:cubicBezTo>
                      <a:cubicBezTo>
                        <a:pt x="594" y="410"/>
                        <a:pt x="591" y="407"/>
                        <a:pt x="602" y="407"/>
                      </a:cubicBezTo>
                      <a:cubicBezTo>
                        <a:pt x="613" y="407"/>
                        <a:pt x="625" y="412"/>
                        <a:pt x="639" y="420"/>
                      </a:cubicBezTo>
                      <a:cubicBezTo>
                        <a:pt x="656" y="425"/>
                        <a:pt x="674" y="450"/>
                        <a:pt x="684" y="455"/>
                      </a:cubicBezTo>
                      <a:cubicBezTo>
                        <a:pt x="694" y="460"/>
                        <a:pt x="696" y="455"/>
                        <a:pt x="699" y="450"/>
                      </a:cubicBezTo>
                      <a:cubicBezTo>
                        <a:pt x="695" y="438"/>
                        <a:pt x="709" y="438"/>
                        <a:pt x="701" y="426"/>
                      </a:cubicBezTo>
                      <a:cubicBezTo>
                        <a:pt x="696" y="408"/>
                        <a:pt x="671" y="401"/>
                        <a:pt x="671" y="401"/>
                      </a:cubicBezTo>
                      <a:cubicBezTo>
                        <a:pt x="678" y="315"/>
                        <a:pt x="647" y="294"/>
                        <a:pt x="623" y="270"/>
                      </a:cubicBezTo>
                      <a:cubicBezTo>
                        <a:pt x="659" y="263"/>
                        <a:pt x="662" y="244"/>
                        <a:pt x="680" y="234"/>
                      </a:cubicBezTo>
                      <a:cubicBezTo>
                        <a:pt x="698" y="224"/>
                        <a:pt x="715" y="223"/>
                        <a:pt x="729" y="209"/>
                      </a:cubicBezTo>
                      <a:cubicBezTo>
                        <a:pt x="743" y="188"/>
                        <a:pt x="740" y="168"/>
                        <a:pt x="761" y="149"/>
                      </a:cubicBezTo>
                      <a:cubicBezTo>
                        <a:pt x="774" y="136"/>
                        <a:pt x="799" y="137"/>
                        <a:pt x="810" y="132"/>
                      </a:cubicBezTo>
                      <a:cubicBezTo>
                        <a:pt x="821" y="127"/>
                        <a:pt x="812" y="117"/>
                        <a:pt x="827" y="116"/>
                      </a:cubicBezTo>
                      <a:cubicBezTo>
                        <a:pt x="843" y="108"/>
                        <a:pt x="874" y="116"/>
                        <a:pt x="898" y="128"/>
                      </a:cubicBezTo>
                      <a:cubicBezTo>
                        <a:pt x="922" y="124"/>
                        <a:pt x="950" y="124"/>
                        <a:pt x="974" y="120"/>
                      </a:cubicBezTo>
                      <a:cubicBezTo>
                        <a:pt x="982" y="120"/>
                        <a:pt x="998" y="112"/>
                        <a:pt x="998" y="112"/>
                      </a:cubicBezTo>
                      <a:cubicBezTo>
                        <a:pt x="1010" y="60"/>
                        <a:pt x="1010" y="28"/>
                        <a:pt x="1054" y="0"/>
                      </a:cubicBezTo>
                      <a:cubicBezTo>
                        <a:pt x="1110" y="8"/>
                        <a:pt x="1162" y="20"/>
                        <a:pt x="1218" y="24"/>
                      </a:cubicBezTo>
                      <a:cubicBezTo>
                        <a:pt x="1258" y="84"/>
                        <a:pt x="1342" y="60"/>
                        <a:pt x="1410" y="64"/>
                      </a:cubicBezTo>
                      <a:cubicBezTo>
                        <a:pt x="1443" y="74"/>
                        <a:pt x="1426" y="35"/>
                        <a:pt x="1433" y="50"/>
                      </a:cubicBezTo>
                      <a:cubicBezTo>
                        <a:pt x="1435" y="59"/>
                        <a:pt x="1419" y="98"/>
                        <a:pt x="1421" y="116"/>
                      </a:cubicBezTo>
                      <a:cubicBezTo>
                        <a:pt x="1423" y="134"/>
                        <a:pt x="1434" y="130"/>
                        <a:pt x="1443" y="158"/>
                      </a:cubicBezTo>
                      <a:cubicBezTo>
                        <a:pt x="1427" y="210"/>
                        <a:pt x="1446" y="240"/>
                        <a:pt x="1474" y="284"/>
                      </a:cubicBezTo>
                      <a:cubicBezTo>
                        <a:pt x="1462" y="356"/>
                        <a:pt x="1470" y="348"/>
                        <a:pt x="1394" y="352"/>
                      </a:cubicBezTo>
                      <a:cubicBezTo>
                        <a:pt x="1374" y="344"/>
                        <a:pt x="1358" y="352"/>
                        <a:pt x="1338" y="356"/>
                      </a:cubicBezTo>
                      <a:cubicBezTo>
                        <a:pt x="1358" y="360"/>
                        <a:pt x="1374" y="372"/>
                        <a:pt x="1390" y="384"/>
                      </a:cubicBezTo>
                      <a:cubicBezTo>
                        <a:pt x="1402" y="424"/>
                        <a:pt x="1414" y="416"/>
                        <a:pt x="1390" y="424"/>
                      </a:cubicBezTo>
                      <a:cubicBezTo>
                        <a:pt x="1386" y="440"/>
                        <a:pt x="1378" y="452"/>
                        <a:pt x="1370" y="468"/>
                      </a:cubicBezTo>
                      <a:cubicBezTo>
                        <a:pt x="1378" y="528"/>
                        <a:pt x="1390" y="572"/>
                        <a:pt x="1322" y="588"/>
                      </a:cubicBezTo>
                      <a:cubicBezTo>
                        <a:pt x="1310" y="620"/>
                        <a:pt x="1322" y="608"/>
                        <a:pt x="1298" y="624"/>
                      </a:cubicBezTo>
                      <a:cubicBezTo>
                        <a:pt x="1286" y="660"/>
                        <a:pt x="1262" y="652"/>
                        <a:pt x="1222" y="660"/>
                      </a:cubicBezTo>
                      <a:cubicBezTo>
                        <a:pt x="1214" y="660"/>
                        <a:pt x="1202" y="664"/>
                        <a:pt x="1202" y="664"/>
                      </a:cubicBezTo>
                      <a:cubicBezTo>
                        <a:pt x="1198" y="684"/>
                        <a:pt x="1194" y="684"/>
                        <a:pt x="1174" y="692"/>
                      </a:cubicBezTo>
                      <a:cubicBezTo>
                        <a:pt x="1146" y="688"/>
                        <a:pt x="1134" y="696"/>
                        <a:pt x="1106" y="704"/>
                      </a:cubicBezTo>
                      <a:cubicBezTo>
                        <a:pt x="1094" y="720"/>
                        <a:pt x="1086" y="712"/>
                        <a:pt x="1066" y="720"/>
                      </a:cubicBezTo>
                      <a:cubicBezTo>
                        <a:pt x="1050" y="736"/>
                        <a:pt x="1018" y="748"/>
                        <a:pt x="998" y="756"/>
                      </a:cubicBezTo>
                      <a:cubicBezTo>
                        <a:pt x="926" y="764"/>
                        <a:pt x="895" y="741"/>
                        <a:pt x="807" y="737"/>
                      </a:cubicBezTo>
                      <a:cubicBezTo>
                        <a:pt x="763" y="721"/>
                        <a:pt x="672" y="723"/>
                        <a:pt x="626" y="712"/>
                      </a:cubicBezTo>
                      <a:cubicBezTo>
                        <a:pt x="606" y="704"/>
                        <a:pt x="598" y="696"/>
                        <a:pt x="578" y="688"/>
                      </a:cubicBezTo>
                      <a:cubicBezTo>
                        <a:pt x="574" y="688"/>
                        <a:pt x="564" y="677"/>
                        <a:pt x="564" y="677"/>
                      </a:cubicBezTo>
                      <a:cubicBezTo>
                        <a:pt x="549" y="657"/>
                        <a:pt x="548" y="632"/>
                        <a:pt x="530" y="620"/>
                      </a:cubicBezTo>
                      <a:cubicBezTo>
                        <a:pt x="519" y="605"/>
                        <a:pt x="522" y="604"/>
                        <a:pt x="500" y="594"/>
                      </a:cubicBezTo>
                      <a:cubicBezTo>
                        <a:pt x="476" y="595"/>
                        <a:pt x="438" y="608"/>
                        <a:pt x="438" y="608"/>
                      </a:cubicBezTo>
                      <a:cubicBezTo>
                        <a:pt x="399" y="614"/>
                        <a:pt x="377" y="620"/>
                        <a:pt x="334" y="616"/>
                      </a:cubicBezTo>
                      <a:cubicBezTo>
                        <a:pt x="326" y="630"/>
                        <a:pt x="333" y="621"/>
                        <a:pt x="310" y="656"/>
                      </a:cubicBezTo>
                      <a:cubicBezTo>
                        <a:pt x="306" y="664"/>
                        <a:pt x="303" y="668"/>
                        <a:pt x="303" y="668"/>
                      </a:cubicBezTo>
                      <a:cubicBezTo>
                        <a:pt x="240" y="663"/>
                        <a:pt x="235" y="654"/>
                        <a:pt x="214" y="650"/>
                      </a:cubicBezTo>
                      <a:cubicBezTo>
                        <a:pt x="193" y="646"/>
                        <a:pt x="190" y="647"/>
                        <a:pt x="178" y="644"/>
                      </a:cubicBezTo>
                      <a:cubicBezTo>
                        <a:pt x="173" y="626"/>
                        <a:pt x="166" y="616"/>
                        <a:pt x="142" y="632"/>
                      </a:cubicBezTo>
                      <a:cubicBezTo>
                        <a:pt x="134" y="648"/>
                        <a:pt x="107" y="650"/>
                        <a:pt x="93" y="659"/>
                      </a:cubicBezTo>
                      <a:cubicBezTo>
                        <a:pt x="81" y="650"/>
                        <a:pt x="79" y="647"/>
                        <a:pt x="71" y="627"/>
                      </a:cubicBezTo>
                      <a:cubicBezTo>
                        <a:pt x="67" y="611"/>
                        <a:pt x="38" y="596"/>
                        <a:pt x="26" y="588"/>
                      </a:cubicBezTo>
                      <a:cubicBezTo>
                        <a:pt x="11" y="582"/>
                        <a:pt x="4" y="568"/>
                        <a:pt x="0" y="552"/>
                      </a:cubicBezTo>
                      <a:cubicBezTo>
                        <a:pt x="16" y="508"/>
                        <a:pt x="38" y="521"/>
                        <a:pt x="26" y="452"/>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08" name="Freeform 2542">
                  <a:extLst>
                    <a:ext uri="{FF2B5EF4-FFF2-40B4-BE49-F238E27FC236}">
                      <a16:creationId xmlns:a16="http://schemas.microsoft.com/office/drawing/2014/main" id="{DB964B6D-6D05-B4E6-77B7-FEE581C50B8E}"/>
                    </a:ext>
                  </a:extLst>
                </p:cNvPr>
                <p:cNvSpPr>
                  <a:spLocks noChangeAspect="1"/>
                </p:cNvSpPr>
                <p:nvPr/>
              </p:nvSpPr>
              <p:spPr bwMode="auto">
                <a:xfrm>
                  <a:off x="3930651" y="4705350"/>
                  <a:ext cx="366713" cy="239713"/>
                </a:xfrm>
                <a:custGeom>
                  <a:avLst/>
                  <a:gdLst>
                    <a:gd name="T0" fmla="*/ 328 w 925"/>
                    <a:gd name="T1" fmla="*/ 78 h 605"/>
                    <a:gd name="T2" fmla="*/ 428 w 925"/>
                    <a:gd name="T3" fmla="*/ 82 h 605"/>
                    <a:gd name="T4" fmla="*/ 513 w 925"/>
                    <a:gd name="T5" fmla="*/ 69 h 605"/>
                    <a:gd name="T6" fmla="*/ 535 w 925"/>
                    <a:gd name="T7" fmla="*/ 48 h 605"/>
                    <a:gd name="T8" fmla="*/ 500 w 925"/>
                    <a:gd name="T9" fmla="*/ 30 h 605"/>
                    <a:gd name="T10" fmla="*/ 528 w 925"/>
                    <a:gd name="T11" fmla="*/ 10 h 605"/>
                    <a:gd name="T12" fmla="*/ 567 w 925"/>
                    <a:gd name="T13" fmla="*/ 26 h 605"/>
                    <a:gd name="T14" fmla="*/ 596 w 925"/>
                    <a:gd name="T15" fmla="*/ 62 h 605"/>
                    <a:gd name="T16" fmla="*/ 633 w 925"/>
                    <a:gd name="T17" fmla="*/ 42 h 605"/>
                    <a:gd name="T18" fmla="*/ 685 w 925"/>
                    <a:gd name="T19" fmla="*/ 50 h 605"/>
                    <a:gd name="T20" fmla="*/ 744 w 925"/>
                    <a:gd name="T21" fmla="*/ 80 h 605"/>
                    <a:gd name="T22" fmla="*/ 720 w 925"/>
                    <a:gd name="T23" fmla="*/ 182 h 605"/>
                    <a:gd name="T24" fmla="*/ 752 w 925"/>
                    <a:gd name="T25" fmla="*/ 226 h 605"/>
                    <a:gd name="T26" fmla="*/ 788 w 925"/>
                    <a:gd name="T27" fmla="*/ 254 h 605"/>
                    <a:gd name="T28" fmla="*/ 808 w 925"/>
                    <a:gd name="T29" fmla="*/ 294 h 605"/>
                    <a:gd name="T30" fmla="*/ 880 w 925"/>
                    <a:gd name="T31" fmla="*/ 258 h 605"/>
                    <a:gd name="T32" fmla="*/ 898 w 925"/>
                    <a:gd name="T33" fmla="*/ 281 h 605"/>
                    <a:gd name="T34" fmla="*/ 924 w 925"/>
                    <a:gd name="T35" fmla="*/ 282 h 605"/>
                    <a:gd name="T36" fmla="*/ 903 w 925"/>
                    <a:gd name="T37" fmla="*/ 300 h 605"/>
                    <a:gd name="T38" fmla="*/ 888 w 925"/>
                    <a:gd name="T39" fmla="*/ 350 h 605"/>
                    <a:gd name="T40" fmla="*/ 838 w 925"/>
                    <a:gd name="T41" fmla="*/ 374 h 605"/>
                    <a:gd name="T42" fmla="*/ 823 w 925"/>
                    <a:gd name="T43" fmla="*/ 419 h 605"/>
                    <a:gd name="T44" fmla="*/ 792 w 925"/>
                    <a:gd name="T45" fmla="*/ 434 h 605"/>
                    <a:gd name="T46" fmla="*/ 744 w 925"/>
                    <a:gd name="T47" fmla="*/ 470 h 605"/>
                    <a:gd name="T48" fmla="*/ 709 w 925"/>
                    <a:gd name="T49" fmla="*/ 435 h 605"/>
                    <a:gd name="T50" fmla="*/ 693 w 925"/>
                    <a:gd name="T51" fmla="*/ 417 h 605"/>
                    <a:gd name="T52" fmla="*/ 655 w 925"/>
                    <a:gd name="T53" fmla="*/ 453 h 605"/>
                    <a:gd name="T54" fmla="*/ 610 w 925"/>
                    <a:gd name="T55" fmla="*/ 534 h 605"/>
                    <a:gd name="T56" fmla="*/ 583 w 925"/>
                    <a:gd name="T57" fmla="*/ 605 h 605"/>
                    <a:gd name="T58" fmla="*/ 555 w 925"/>
                    <a:gd name="T59" fmla="*/ 515 h 605"/>
                    <a:gd name="T60" fmla="*/ 528 w 925"/>
                    <a:gd name="T61" fmla="*/ 495 h 605"/>
                    <a:gd name="T62" fmla="*/ 525 w 925"/>
                    <a:gd name="T63" fmla="*/ 476 h 605"/>
                    <a:gd name="T64" fmla="*/ 496 w 925"/>
                    <a:gd name="T65" fmla="*/ 438 h 605"/>
                    <a:gd name="T66" fmla="*/ 464 w 925"/>
                    <a:gd name="T67" fmla="*/ 458 h 605"/>
                    <a:gd name="T68" fmla="*/ 432 w 925"/>
                    <a:gd name="T69" fmla="*/ 498 h 605"/>
                    <a:gd name="T70" fmla="*/ 411 w 925"/>
                    <a:gd name="T71" fmla="*/ 540 h 605"/>
                    <a:gd name="T72" fmla="*/ 360 w 925"/>
                    <a:gd name="T73" fmla="*/ 546 h 605"/>
                    <a:gd name="T74" fmla="*/ 286 w 925"/>
                    <a:gd name="T75" fmla="*/ 548 h 605"/>
                    <a:gd name="T76" fmla="*/ 248 w 925"/>
                    <a:gd name="T77" fmla="*/ 566 h 605"/>
                    <a:gd name="T78" fmla="*/ 198 w 925"/>
                    <a:gd name="T79" fmla="*/ 552 h 605"/>
                    <a:gd name="T80" fmla="*/ 188 w 925"/>
                    <a:gd name="T81" fmla="*/ 534 h 605"/>
                    <a:gd name="T82" fmla="*/ 168 w 925"/>
                    <a:gd name="T83" fmla="*/ 473 h 605"/>
                    <a:gd name="T84" fmla="*/ 128 w 925"/>
                    <a:gd name="T85" fmla="*/ 422 h 605"/>
                    <a:gd name="T86" fmla="*/ 44 w 925"/>
                    <a:gd name="T87" fmla="*/ 438 h 605"/>
                    <a:gd name="T88" fmla="*/ 0 w 925"/>
                    <a:gd name="T89" fmla="*/ 494 h 605"/>
                    <a:gd name="T90" fmla="*/ 24 w 925"/>
                    <a:gd name="T91" fmla="*/ 414 h 605"/>
                    <a:gd name="T92" fmla="*/ 36 w 925"/>
                    <a:gd name="T93" fmla="*/ 351 h 605"/>
                    <a:gd name="T94" fmla="*/ 94 w 925"/>
                    <a:gd name="T95" fmla="*/ 299 h 605"/>
                    <a:gd name="T96" fmla="*/ 136 w 925"/>
                    <a:gd name="T97" fmla="*/ 245 h 605"/>
                    <a:gd name="T98" fmla="*/ 184 w 925"/>
                    <a:gd name="T99" fmla="*/ 174 h 605"/>
                    <a:gd name="T100" fmla="*/ 198 w 925"/>
                    <a:gd name="T101" fmla="*/ 134 h 605"/>
                    <a:gd name="T102" fmla="*/ 225 w 925"/>
                    <a:gd name="T103" fmla="*/ 81 h 605"/>
                    <a:gd name="T104" fmla="*/ 276 w 925"/>
                    <a:gd name="T105" fmla="*/ 87 h 605"/>
                    <a:gd name="T106" fmla="*/ 328 w 925"/>
                    <a:gd name="T107" fmla="*/ 78 h 60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25"/>
                    <a:gd name="T163" fmla="*/ 0 h 605"/>
                    <a:gd name="T164" fmla="*/ 925 w 925"/>
                    <a:gd name="T165" fmla="*/ 605 h 60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25" h="605">
                      <a:moveTo>
                        <a:pt x="328" y="78"/>
                      </a:moveTo>
                      <a:cubicBezTo>
                        <a:pt x="372" y="86"/>
                        <a:pt x="378" y="74"/>
                        <a:pt x="428" y="82"/>
                      </a:cubicBezTo>
                      <a:cubicBezTo>
                        <a:pt x="460" y="74"/>
                        <a:pt x="481" y="81"/>
                        <a:pt x="513" y="69"/>
                      </a:cubicBezTo>
                      <a:cubicBezTo>
                        <a:pt x="517" y="61"/>
                        <a:pt x="543" y="52"/>
                        <a:pt x="535" y="48"/>
                      </a:cubicBezTo>
                      <a:cubicBezTo>
                        <a:pt x="523" y="44"/>
                        <a:pt x="500" y="30"/>
                        <a:pt x="500" y="30"/>
                      </a:cubicBezTo>
                      <a:cubicBezTo>
                        <a:pt x="480" y="2"/>
                        <a:pt x="505" y="0"/>
                        <a:pt x="528" y="10"/>
                      </a:cubicBezTo>
                      <a:cubicBezTo>
                        <a:pt x="544" y="14"/>
                        <a:pt x="555" y="18"/>
                        <a:pt x="567" y="26"/>
                      </a:cubicBezTo>
                      <a:cubicBezTo>
                        <a:pt x="568" y="50"/>
                        <a:pt x="592" y="59"/>
                        <a:pt x="596" y="62"/>
                      </a:cubicBezTo>
                      <a:cubicBezTo>
                        <a:pt x="606" y="66"/>
                        <a:pt x="618" y="44"/>
                        <a:pt x="633" y="42"/>
                      </a:cubicBezTo>
                      <a:cubicBezTo>
                        <a:pt x="648" y="40"/>
                        <a:pt x="655" y="53"/>
                        <a:pt x="685" y="50"/>
                      </a:cubicBezTo>
                      <a:cubicBezTo>
                        <a:pt x="709" y="58"/>
                        <a:pt x="724" y="72"/>
                        <a:pt x="744" y="80"/>
                      </a:cubicBezTo>
                      <a:cubicBezTo>
                        <a:pt x="756" y="113"/>
                        <a:pt x="740" y="154"/>
                        <a:pt x="720" y="182"/>
                      </a:cubicBezTo>
                      <a:cubicBezTo>
                        <a:pt x="728" y="210"/>
                        <a:pt x="724" y="218"/>
                        <a:pt x="752" y="226"/>
                      </a:cubicBezTo>
                      <a:cubicBezTo>
                        <a:pt x="780" y="246"/>
                        <a:pt x="768" y="234"/>
                        <a:pt x="788" y="254"/>
                      </a:cubicBezTo>
                      <a:cubicBezTo>
                        <a:pt x="792" y="270"/>
                        <a:pt x="800" y="282"/>
                        <a:pt x="808" y="294"/>
                      </a:cubicBezTo>
                      <a:cubicBezTo>
                        <a:pt x="828" y="290"/>
                        <a:pt x="860" y="266"/>
                        <a:pt x="880" y="258"/>
                      </a:cubicBezTo>
                      <a:cubicBezTo>
                        <a:pt x="896" y="253"/>
                        <a:pt x="891" y="277"/>
                        <a:pt x="898" y="281"/>
                      </a:cubicBezTo>
                      <a:cubicBezTo>
                        <a:pt x="905" y="285"/>
                        <a:pt x="923" y="279"/>
                        <a:pt x="924" y="282"/>
                      </a:cubicBezTo>
                      <a:cubicBezTo>
                        <a:pt x="925" y="285"/>
                        <a:pt x="909" y="289"/>
                        <a:pt x="903" y="300"/>
                      </a:cubicBezTo>
                      <a:cubicBezTo>
                        <a:pt x="897" y="311"/>
                        <a:pt x="899" y="338"/>
                        <a:pt x="888" y="350"/>
                      </a:cubicBezTo>
                      <a:cubicBezTo>
                        <a:pt x="871" y="384"/>
                        <a:pt x="869" y="373"/>
                        <a:pt x="838" y="374"/>
                      </a:cubicBezTo>
                      <a:cubicBezTo>
                        <a:pt x="837" y="393"/>
                        <a:pt x="834" y="392"/>
                        <a:pt x="823" y="419"/>
                      </a:cubicBezTo>
                      <a:cubicBezTo>
                        <a:pt x="816" y="430"/>
                        <a:pt x="806" y="426"/>
                        <a:pt x="792" y="434"/>
                      </a:cubicBezTo>
                      <a:cubicBezTo>
                        <a:pt x="754" y="450"/>
                        <a:pt x="766" y="447"/>
                        <a:pt x="744" y="470"/>
                      </a:cubicBezTo>
                      <a:cubicBezTo>
                        <a:pt x="739" y="452"/>
                        <a:pt x="747" y="440"/>
                        <a:pt x="709" y="435"/>
                      </a:cubicBezTo>
                      <a:cubicBezTo>
                        <a:pt x="705" y="415"/>
                        <a:pt x="693" y="417"/>
                        <a:pt x="693" y="417"/>
                      </a:cubicBezTo>
                      <a:cubicBezTo>
                        <a:pt x="663" y="422"/>
                        <a:pt x="669" y="433"/>
                        <a:pt x="655" y="453"/>
                      </a:cubicBezTo>
                      <a:cubicBezTo>
                        <a:pt x="641" y="473"/>
                        <a:pt x="622" y="509"/>
                        <a:pt x="610" y="534"/>
                      </a:cubicBezTo>
                      <a:cubicBezTo>
                        <a:pt x="598" y="557"/>
                        <a:pt x="604" y="545"/>
                        <a:pt x="583" y="605"/>
                      </a:cubicBezTo>
                      <a:cubicBezTo>
                        <a:pt x="567" y="576"/>
                        <a:pt x="559" y="543"/>
                        <a:pt x="555" y="515"/>
                      </a:cubicBezTo>
                      <a:cubicBezTo>
                        <a:pt x="543" y="485"/>
                        <a:pt x="538" y="494"/>
                        <a:pt x="528" y="495"/>
                      </a:cubicBezTo>
                      <a:cubicBezTo>
                        <a:pt x="523" y="489"/>
                        <a:pt x="530" y="485"/>
                        <a:pt x="525" y="476"/>
                      </a:cubicBezTo>
                      <a:cubicBezTo>
                        <a:pt x="513" y="456"/>
                        <a:pt x="522" y="453"/>
                        <a:pt x="496" y="438"/>
                      </a:cubicBezTo>
                      <a:cubicBezTo>
                        <a:pt x="488" y="434"/>
                        <a:pt x="472" y="454"/>
                        <a:pt x="464" y="458"/>
                      </a:cubicBezTo>
                      <a:cubicBezTo>
                        <a:pt x="452" y="466"/>
                        <a:pt x="436" y="473"/>
                        <a:pt x="432" y="498"/>
                      </a:cubicBezTo>
                      <a:cubicBezTo>
                        <a:pt x="424" y="510"/>
                        <a:pt x="423" y="536"/>
                        <a:pt x="411" y="540"/>
                      </a:cubicBezTo>
                      <a:cubicBezTo>
                        <a:pt x="403" y="544"/>
                        <a:pt x="360" y="546"/>
                        <a:pt x="360" y="546"/>
                      </a:cubicBezTo>
                      <a:cubicBezTo>
                        <a:pt x="324" y="542"/>
                        <a:pt x="326" y="544"/>
                        <a:pt x="286" y="548"/>
                      </a:cubicBezTo>
                      <a:cubicBezTo>
                        <a:pt x="267" y="557"/>
                        <a:pt x="264" y="562"/>
                        <a:pt x="248" y="566"/>
                      </a:cubicBezTo>
                      <a:cubicBezTo>
                        <a:pt x="235" y="566"/>
                        <a:pt x="208" y="557"/>
                        <a:pt x="198" y="552"/>
                      </a:cubicBezTo>
                      <a:cubicBezTo>
                        <a:pt x="188" y="547"/>
                        <a:pt x="193" y="547"/>
                        <a:pt x="188" y="534"/>
                      </a:cubicBezTo>
                      <a:cubicBezTo>
                        <a:pt x="175" y="494"/>
                        <a:pt x="172" y="506"/>
                        <a:pt x="168" y="473"/>
                      </a:cubicBezTo>
                      <a:cubicBezTo>
                        <a:pt x="157" y="447"/>
                        <a:pt x="178" y="441"/>
                        <a:pt x="128" y="422"/>
                      </a:cubicBezTo>
                      <a:cubicBezTo>
                        <a:pt x="93" y="428"/>
                        <a:pt x="81" y="432"/>
                        <a:pt x="44" y="438"/>
                      </a:cubicBezTo>
                      <a:cubicBezTo>
                        <a:pt x="30" y="450"/>
                        <a:pt x="16" y="468"/>
                        <a:pt x="0" y="494"/>
                      </a:cubicBezTo>
                      <a:cubicBezTo>
                        <a:pt x="1" y="435"/>
                        <a:pt x="15" y="440"/>
                        <a:pt x="24" y="414"/>
                      </a:cubicBezTo>
                      <a:cubicBezTo>
                        <a:pt x="46" y="389"/>
                        <a:pt x="24" y="370"/>
                        <a:pt x="36" y="351"/>
                      </a:cubicBezTo>
                      <a:cubicBezTo>
                        <a:pt x="48" y="332"/>
                        <a:pt x="66" y="313"/>
                        <a:pt x="94" y="299"/>
                      </a:cubicBezTo>
                      <a:cubicBezTo>
                        <a:pt x="111" y="278"/>
                        <a:pt x="116" y="269"/>
                        <a:pt x="136" y="245"/>
                      </a:cubicBezTo>
                      <a:cubicBezTo>
                        <a:pt x="150" y="209"/>
                        <a:pt x="168" y="198"/>
                        <a:pt x="184" y="174"/>
                      </a:cubicBezTo>
                      <a:cubicBezTo>
                        <a:pt x="188" y="162"/>
                        <a:pt x="194" y="146"/>
                        <a:pt x="198" y="134"/>
                      </a:cubicBezTo>
                      <a:cubicBezTo>
                        <a:pt x="217" y="95"/>
                        <a:pt x="196" y="119"/>
                        <a:pt x="225" y="81"/>
                      </a:cubicBezTo>
                      <a:cubicBezTo>
                        <a:pt x="229" y="89"/>
                        <a:pt x="268" y="83"/>
                        <a:pt x="276" y="87"/>
                      </a:cubicBezTo>
                      <a:cubicBezTo>
                        <a:pt x="288" y="87"/>
                        <a:pt x="327" y="101"/>
                        <a:pt x="328" y="78"/>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nvGrpSpPr>
                <p:cNvPr id="109" name="Group 100">
                  <a:extLst>
                    <a:ext uri="{FF2B5EF4-FFF2-40B4-BE49-F238E27FC236}">
                      <a16:creationId xmlns:a16="http://schemas.microsoft.com/office/drawing/2014/main" id="{05C97CE3-BA7A-A78B-EFF6-0357DC84477F}"/>
                    </a:ext>
                  </a:extLst>
                </p:cNvPr>
                <p:cNvGrpSpPr>
                  <a:grpSpLocks/>
                </p:cNvGrpSpPr>
                <p:nvPr/>
              </p:nvGrpSpPr>
              <p:grpSpPr bwMode="auto">
                <a:xfrm>
                  <a:off x="3125788" y="4306890"/>
                  <a:ext cx="1092184" cy="1146176"/>
                  <a:chOff x="-144" y="5643"/>
                  <a:chExt cx="2751" cy="2887"/>
                </a:xfrm>
                <a:grpFill/>
              </p:grpSpPr>
              <p:sp>
                <p:nvSpPr>
                  <p:cNvPr id="131" name="Freeform 2544">
                    <a:extLst>
                      <a:ext uri="{FF2B5EF4-FFF2-40B4-BE49-F238E27FC236}">
                        <a16:creationId xmlns:a16="http://schemas.microsoft.com/office/drawing/2014/main" id="{0420B50A-F460-12F9-EA31-B7B14CE50ACC}"/>
                      </a:ext>
                    </a:extLst>
                  </p:cNvPr>
                  <p:cNvSpPr>
                    <a:spLocks noChangeAspect="1"/>
                  </p:cNvSpPr>
                  <p:nvPr/>
                </p:nvSpPr>
                <p:spPr bwMode="auto">
                  <a:xfrm>
                    <a:off x="372" y="6943"/>
                    <a:ext cx="68" cy="203"/>
                  </a:xfrm>
                  <a:custGeom>
                    <a:avLst/>
                    <a:gdLst>
                      <a:gd name="T0" fmla="*/ 5 w 17"/>
                      <a:gd name="T1" fmla="*/ 11 h 51"/>
                      <a:gd name="T2" fmla="*/ 11 w 17"/>
                      <a:gd name="T3" fmla="*/ 20 h 51"/>
                      <a:gd name="T4" fmla="*/ 9 w 17"/>
                      <a:gd name="T5" fmla="*/ 40 h 51"/>
                      <a:gd name="T6" fmla="*/ 5 w 17"/>
                      <a:gd name="T7" fmla="*/ 11 h 51"/>
                      <a:gd name="T8" fmla="*/ 0 60000 65536"/>
                      <a:gd name="T9" fmla="*/ 0 60000 65536"/>
                      <a:gd name="T10" fmla="*/ 0 60000 65536"/>
                      <a:gd name="T11" fmla="*/ 0 60000 65536"/>
                      <a:gd name="T12" fmla="*/ 0 w 17"/>
                      <a:gd name="T13" fmla="*/ 0 h 51"/>
                      <a:gd name="T14" fmla="*/ 17 w 17"/>
                      <a:gd name="T15" fmla="*/ 51 h 51"/>
                    </a:gdLst>
                    <a:ahLst/>
                    <a:cxnLst>
                      <a:cxn ang="T8">
                        <a:pos x="T0" y="T1"/>
                      </a:cxn>
                      <a:cxn ang="T9">
                        <a:pos x="T2" y="T3"/>
                      </a:cxn>
                      <a:cxn ang="T10">
                        <a:pos x="T4" y="T5"/>
                      </a:cxn>
                      <a:cxn ang="T11">
                        <a:pos x="T6" y="T7"/>
                      </a:cxn>
                    </a:cxnLst>
                    <a:rect l="T12" t="T13" r="T14" b="T15"/>
                    <a:pathLst>
                      <a:path w="17" h="51">
                        <a:moveTo>
                          <a:pt x="5" y="11"/>
                        </a:moveTo>
                        <a:cubicBezTo>
                          <a:pt x="8" y="14"/>
                          <a:pt x="9" y="17"/>
                          <a:pt x="11" y="20"/>
                        </a:cubicBezTo>
                        <a:cubicBezTo>
                          <a:pt x="12" y="26"/>
                          <a:pt x="17" y="51"/>
                          <a:pt x="9" y="40"/>
                        </a:cubicBezTo>
                        <a:cubicBezTo>
                          <a:pt x="8" y="35"/>
                          <a:pt x="0" y="0"/>
                          <a:pt x="5" y="11"/>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32" name="Freeform 2545">
                    <a:extLst>
                      <a:ext uri="{FF2B5EF4-FFF2-40B4-BE49-F238E27FC236}">
                        <a16:creationId xmlns:a16="http://schemas.microsoft.com/office/drawing/2014/main" id="{7E724CEC-3AD5-00FD-2DF6-58EBF27CA2FB}"/>
                      </a:ext>
                    </a:extLst>
                  </p:cNvPr>
                  <p:cNvSpPr>
                    <a:spLocks noChangeAspect="1"/>
                  </p:cNvSpPr>
                  <p:nvPr/>
                </p:nvSpPr>
                <p:spPr bwMode="auto">
                  <a:xfrm>
                    <a:off x="364" y="6911"/>
                    <a:ext cx="76" cy="52"/>
                  </a:xfrm>
                  <a:custGeom>
                    <a:avLst/>
                    <a:gdLst>
                      <a:gd name="T0" fmla="*/ 0 w 19"/>
                      <a:gd name="T1" fmla="*/ 0 h 13"/>
                      <a:gd name="T2" fmla="*/ 16 w 19"/>
                      <a:gd name="T3" fmla="*/ 13 h 13"/>
                      <a:gd name="T4" fmla="*/ 0 w 19"/>
                      <a:gd name="T5" fmla="*/ 0 h 13"/>
                      <a:gd name="T6" fmla="*/ 0 60000 65536"/>
                      <a:gd name="T7" fmla="*/ 0 60000 65536"/>
                      <a:gd name="T8" fmla="*/ 0 60000 65536"/>
                      <a:gd name="T9" fmla="*/ 0 w 19"/>
                      <a:gd name="T10" fmla="*/ 0 h 13"/>
                      <a:gd name="T11" fmla="*/ 19 w 19"/>
                      <a:gd name="T12" fmla="*/ 13 h 13"/>
                    </a:gdLst>
                    <a:ahLst/>
                    <a:cxnLst>
                      <a:cxn ang="T6">
                        <a:pos x="T0" y="T1"/>
                      </a:cxn>
                      <a:cxn ang="T7">
                        <a:pos x="T2" y="T3"/>
                      </a:cxn>
                      <a:cxn ang="T8">
                        <a:pos x="T4" y="T5"/>
                      </a:cxn>
                    </a:cxnLst>
                    <a:rect l="T9" t="T10" r="T11" b="T12"/>
                    <a:pathLst>
                      <a:path w="19" h="13">
                        <a:moveTo>
                          <a:pt x="0" y="0"/>
                        </a:moveTo>
                        <a:cubicBezTo>
                          <a:pt x="7" y="3"/>
                          <a:pt x="10" y="11"/>
                          <a:pt x="16" y="13"/>
                        </a:cubicBezTo>
                        <a:cubicBezTo>
                          <a:pt x="19" y="2"/>
                          <a:pt x="9" y="0"/>
                          <a:pt x="0"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33" name="Freeform 2546">
                    <a:extLst>
                      <a:ext uri="{FF2B5EF4-FFF2-40B4-BE49-F238E27FC236}">
                        <a16:creationId xmlns:a16="http://schemas.microsoft.com/office/drawing/2014/main" id="{2F44E183-9565-F1DF-8674-22C70FD356AD}"/>
                      </a:ext>
                    </a:extLst>
                  </p:cNvPr>
                  <p:cNvSpPr>
                    <a:spLocks noChangeAspect="1"/>
                  </p:cNvSpPr>
                  <p:nvPr/>
                </p:nvSpPr>
                <p:spPr bwMode="auto">
                  <a:xfrm>
                    <a:off x="2347" y="8050"/>
                    <a:ext cx="260" cy="480"/>
                  </a:xfrm>
                  <a:custGeom>
                    <a:avLst/>
                    <a:gdLst>
                      <a:gd name="T0" fmla="*/ 49 w 65"/>
                      <a:gd name="T1" fmla="*/ 27 h 120"/>
                      <a:gd name="T2" fmla="*/ 57 w 65"/>
                      <a:gd name="T3" fmla="*/ 0 h 120"/>
                      <a:gd name="T4" fmla="*/ 56 w 65"/>
                      <a:gd name="T5" fmla="*/ 25 h 120"/>
                      <a:gd name="T6" fmla="*/ 61 w 65"/>
                      <a:gd name="T7" fmla="*/ 36 h 120"/>
                      <a:gd name="T8" fmla="*/ 60 w 65"/>
                      <a:gd name="T9" fmla="*/ 72 h 120"/>
                      <a:gd name="T10" fmla="*/ 55 w 65"/>
                      <a:gd name="T11" fmla="*/ 85 h 120"/>
                      <a:gd name="T12" fmla="*/ 54 w 65"/>
                      <a:gd name="T13" fmla="*/ 88 h 120"/>
                      <a:gd name="T14" fmla="*/ 51 w 65"/>
                      <a:gd name="T15" fmla="*/ 103 h 120"/>
                      <a:gd name="T16" fmla="*/ 44 w 65"/>
                      <a:gd name="T17" fmla="*/ 120 h 120"/>
                      <a:gd name="T18" fmla="*/ 24 w 65"/>
                      <a:gd name="T19" fmla="*/ 106 h 120"/>
                      <a:gd name="T20" fmla="*/ 22 w 65"/>
                      <a:gd name="T21" fmla="*/ 103 h 120"/>
                      <a:gd name="T22" fmla="*/ 24 w 65"/>
                      <a:gd name="T23" fmla="*/ 99 h 120"/>
                      <a:gd name="T24" fmla="*/ 19 w 65"/>
                      <a:gd name="T25" fmla="*/ 94 h 120"/>
                      <a:gd name="T26" fmla="*/ 19 w 65"/>
                      <a:gd name="T27" fmla="*/ 78 h 120"/>
                      <a:gd name="T28" fmla="*/ 13 w 65"/>
                      <a:gd name="T29" fmla="*/ 79 h 120"/>
                      <a:gd name="T30" fmla="*/ 18 w 65"/>
                      <a:gd name="T31" fmla="*/ 67 h 120"/>
                      <a:gd name="T32" fmla="*/ 10 w 65"/>
                      <a:gd name="T33" fmla="*/ 52 h 120"/>
                      <a:gd name="T34" fmla="*/ 18 w 65"/>
                      <a:gd name="T35" fmla="*/ 34 h 120"/>
                      <a:gd name="T36" fmla="*/ 37 w 65"/>
                      <a:gd name="T37" fmla="*/ 23 h 120"/>
                      <a:gd name="T38" fmla="*/ 49 w 65"/>
                      <a:gd name="T39" fmla="*/ 24 h 120"/>
                      <a:gd name="T40" fmla="*/ 49 w 65"/>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5"/>
                      <a:gd name="T64" fmla="*/ 0 h 120"/>
                      <a:gd name="T65" fmla="*/ 65 w 65"/>
                      <a:gd name="T66" fmla="*/ 120 h 12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5" h="120">
                        <a:moveTo>
                          <a:pt x="49" y="27"/>
                        </a:moveTo>
                        <a:cubicBezTo>
                          <a:pt x="53" y="16"/>
                          <a:pt x="45" y="4"/>
                          <a:pt x="57" y="0"/>
                        </a:cubicBezTo>
                        <a:cubicBezTo>
                          <a:pt x="59" y="6"/>
                          <a:pt x="56" y="19"/>
                          <a:pt x="56" y="25"/>
                        </a:cubicBezTo>
                        <a:cubicBezTo>
                          <a:pt x="57" y="31"/>
                          <a:pt x="56" y="33"/>
                          <a:pt x="61" y="36"/>
                        </a:cubicBezTo>
                        <a:cubicBezTo>
                          <a:pt x="63" y="48"/>
                          <a:pt x="65" y="61"/>
                          <a:pt x="60" y="72"/>
                        </a:cubicBezTo>
                        <a:cubicBezTo>
                          <a:pt x="58" y="76"/>
                          <a:pt x="56" y="81"/>
                          <a:pt x="55" y="85"/>
                        </a:cubicBezTo>
                        <a:cubicBezTo>
                          <a:pt x="55" y="86"/>
                          <a:pt x="54" y="88"/>
                          <a:pt x="54" y="88"/>
                        </a:cubicBezTo>
                        <a:cubicBezTo>
                          <a:pt x="55" y="94"/>
                          <a:pt x="56" y="98"/>
                          <a:pt x="51" y="103"/>
                        </a:cubicBezTo>
                        <a:cubicBezTo>
                          <a:pt x="49" y="109"/>
                          <a:pt x="47" y="115"/>
                          <a:pt x="44" y="120"/>
                        </a:cubicBezTo>
                        <a:cubicBezTo>
                          <a:pt x="36" y="119"/>
                          <a:pt x="32" y="111"/>
                          <a:pt x="24" y="106"/>
                        </a:cubicBezTo>
                        <a:cubicBezTo>
                          <a:pt x="23" y="105"/>
                          <a:pt x="22" y="104"/>
                          <a:pt x="22" y="103"/>
                        </a:cubicBezTo>
                        <a:cubicBezTo>
                          <a:pt x="22" y="102"/>
                          <a:pt x="23" y="100"/>
                          <a:pt x="24" y="99"/>
                        </a:cubicBezTo>
                        <a:cubicBezTo>
                          <a:pt x="27" y="91"/>
                          <a:pt x="27" y="93"/>
                          <a:pt x="19" y="94"/>
                        </a:cubicBezTo>
                        <a:cubicBezTo>
                          <a:pt x="9" y="92"/>
                          <a:pt x="17" y="84"/>
                          <a:pt x="19" y="78"/>
                        </a:cubicBezTo>
                        <a:cubicBezTo>
                          <a:pt x="17" y="77"/>
                          <a:pt x="14" y="81"/>
                          <a:pt x="13" y="79"/>
                        </a:cubicBezTo>
                        <a:cubicBezTo>
                          <a:pt x="11" y="75"/>
                          <a:pt x="18" y="67"/>
                          <a:pt x="18" y="67"/>
                        </a:cubicBezTo>
                        <a:cubicBezTo>
                          <a:pt x="6" y="63"/>
                          <a:pt x="0" y="66"/>
                          <a:pt x="10" y="52"/>
                        </a:cubicBezTo>
                        <a:cubicBezTo>
                          <a:pt x="8" y="42"/>
                          <a:pt x="9" y="40"/>
                          <a:pt x="18" y="34"/>
                        </a:cubicBezTo>
                        <a:cubicBezTo>
                          <a:pt x="20" y="31"/>
                          <a:pt x="33" y="24"/>
                          <a:pt x="37" y="23"/>
                        </a:cubicBezTo>
                        <a:cubicBezTo>
                          <a:pt x="41" y="23"/>
                          <a:pt x="45" y="23"/>
                          <a:pt x="49" y="24"/>
                        </a:cubicBezTo>
                        <a:cubicBezTo>
                          <a:pt x="50" y="24"/>
                          <a:pt x="50" y="27"/>
                          <a:pt x="49" y="27"/>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34" name="Freeform 2547">
                    <a:extLst>
                      <a:ext uri="{FF2B5EF4-FFF2-40B4-BE49-F238E27FC236}">
                        <a16:creationId xmlns:a16="http://schemas.microsoft.com/office/drawing/2014/main" id="{0D177B9F-53C0-427D-7ABC-BF3AF669DB2E}"/>
                      </a:ext>
                    </a:extLst>
                  </p:cNvPr>
                  <p:cNvSpPr>
                    <a:spLocks noChangeAspect="1"/>
                  </p:cNvSpPr>
                  <p:nvPr/>
                </p:nvSpPr>
                <p:spPr bwMode="auto">
                  <a:xfrm>
                    <a:off x="-144" y="5643"/>
                    <a:ext cx="2501" cy="2523"/>
                  </a:xfrm>
                  <a:custGeom>
                    <a:avLst/>
                    <a:gdLst>
                      <a:gd name="T0" fmla="*/ 1303 w 2501"/>
                      <a:gd name="T1" fmla="*/ 28 h 2523"/>
                      <a:gd name="T2" fmla="*/ 1044 w 2501"/>
                      <a:gd name="T3" fmla="*/ 308 h 2523"/>
                      <a:gd name="T4" fmla="*/ 920 w 2501"/>
                      <a:gd name="T5" fmla="*/ 436 h 2523"/>
                      <a:gd name="T6" fmla="*/ 728 w 2501"/>
                      <a:gd name="T7" fmla="*/ 380 h 2523"/>
                      <a:gd name="T8" fmla="*/ 588 w 2501"/>
                      <a:gd name="T9" fmla="*/ 344 h 2523"/>
                      <a:gd name="T10" fmla="*/ 560 w 2501"/>
                      <a:gd name="T11" fmla="*/ 584 h 2523"/>
                      <a:gd name="T12" fmla="*/ 164 w 2501"/>
                      <a:gd name="T13" fmla="*/ 508 h 2523"/>
                      <a:gd name="T14" fmla="*/ 60 w 2501"/>
                      <a:gd name="T15" fmla="*/ 584 h 2523"/>
                      <a:gd name="T16" fmla="*/ 12 w 2501"/>
                      <a:gd name="T17" fmla="*/ 680 h 2523"/>
                      <a:gd name="T18" fmla="*/ 100 w 2501"/>
                      <a:gd name="T19" fmla="*/ 720 h 2523"/>
                      <a:gd name="T20" fmla="*/ 284 w 2501"/>
                      <a:gd name="T21" fmla="*/ 872 h 2523"/>
                      <a:gd name="T22" fmla="*/ 404 w 2501"/>
                      <a:gd name="T23" fmla="*/ 948 h 2523"/>
                      <a:gd name="T24" fmla="*/ 412 w 2501"/>
                      <a:gd name="T25" fmla="*/ 1032 h 2523"/>
                      <a:gd name="T26" fmla="*/ 500 w 2501"/>
                      <a:gd name="T27" fmla="*/ 1204 h 2523"/>
                      <a:gd name="T28" fmla="*/ 608 w 2501"/>
                      <a:gd name="T29" fmla="*/ 1315 h 2523"/>
                      <a:gd name="T30" fmla="*/ 644 w 2501"/>
                      <a:gd name="T31" fmla="*/ 1559 h 2523"/>
                      <a:gd name="T32" fmla="*/ 620 w 2501"/>
                      <a:gd name="T33" fmla="*/ 1607 h 2523"/>
                      <a:gd name="T34" fmla="*/ 504 w 2501"/>
                      <a:gd name="T35" fmla="*/ 1651 h 2523"/>
                      <a:gd name="T36" fmla="*/ 444 w 2501"/>
                      <a:gd name="T37" fmla="*/ 1919 h 2523"/>
                      <a:gd name="T38" fmla="*/ 381 w 2501"/>
                      <a:gd name="T39" fmla="*/ 2100 h 2523"/>
                      <a:gd name="T40" fmla="*/ 528 w 2501"/>
                      <a:gd name="T41" fmla="*/ 2251 h 2523"/>
                      <a:gd name="T42" fmla="*/ 788 w 2501"/>
                      <a:gd name="T43" fmla="*/ 2383 h 2523"/>
                      <a:gd name="T44" fmla="*/ 988 w 2501"/>
                      <a:gd name="T45" fmla="*/ 2407 h 2523"/>
                      <a:gd name="T46" fmla="*/ 1196 w 2501"/>
                      <a:gd name="T47" fmla="*/ 2502 h 2523"/>
                      <a:gd name="T48" fmla="*/ 1347 w 2501"/>
                      <a:gd name="T49" fmla="*/ 2335 h 2523"/>
                      <a:gd name="T50" fmla="*/ 1779 w 2501"/>
                      <a:gd name="T51" fmla="*/ 2283 h 2523"/>
                      <a:gd name="T52" fmla="*/ 2155 w 2501"/>
                      <a:gd name="T53" fmla="*/ 2299 h 2523"/>
                      <a:gd name="T54" fmla="*/ 2311 w 2501"/>
                      <a:gd name="T55" fmla="*/ 2183 h 2523"/>
                      <a:gd name="T56" fmla="*/ 2243 w 2501"/>
                      <a:gd name="T57" fmla="*/ 2071 h 2523"/>
                      <a:gd name="T58" fmla="*/ 2167 w 2501"/>
                      <a:gd name="T59" fmla="*/ 1855 h 2523"/>
                      <a:gd name="T60" fmla="*/ 2243 w 2501"/>
                      <a:gd name="T61" fmla="*/ 1733 h 2523"/>
                      <a:gd name="T62" fmla="*/ 2211 w 2501"/>
                      <a:gd name="T63" fmla="*/ 1581 h 2523"/>
                      <a:gd name="T64" fmla="*/ 2215 w 2501"/>
                      <a:gd name="T65" fmla="*/ 1543 h 2523"/>
                      <a:gd name="T66" fmla="*/ 2075 w 2501"/>
                      <a:gd name="T67" fmla="*/ 1439 h 2523"/>
                      <a:gd name="T68" fmla="*/ 2071 w 2501"/>
                      <a:gd name="T69" fmla="*/ 1339 h 2523"/>
                      <a:gd name="T70" fmla="*/ 2219 w 2501"/>
                      <a:gd name="T71" fmla="*/ 1156 h 2523"/>
                      <a:gd name="T72" fmla="*/ 2363 w 2501"/>
                      <a:gd name="T73" fmla="*/ 1082 h 2523"/>
                      <a:gd name="T74" fmla="*/ 2418 w 2501"/>
                      <a:gd name="T75" fmla="*/ 758 h 2523"/>
                      <a:gd name="T76" fmla="*/ 2307 w 2501"/>
                      <a:gd name="T77" fmla="*/ 608 h 2523"/>
                      <a:gd name="T78" fmla="*/ 2123 w 2501"/>
                      <a:gd name="T79" fmla="*/ 512 h 2523"/>
                      <a:gd name="T80" fmla="*/ 1947 w 2501"/>
                      <a:gd name="T81" fmla="*/ 452 h 2523"/>
                      <a:gd name="T82" fmla="*/ 1862 w 2501"/>
                      <a:gd name="T83" fmla="*/ 299 h 2523"/>
                      <a:gd name="T84" fmla="*/ 1665 w 2501"/>
                      <a:gd name="T85" fmla="*/ 234 h 2523"/>
                      <a:gd name="T86" fmla="*/ 1519 w 2501"/>
                      <a:gd name="T87" fmla="*/ 100 h 25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501"/>
                      <a:gd name="T133" fmla="*/ 0 h 2523"/>
                      <a:gd name="T134" fmla="*/ 2501 w 2501"/>
                      <a:gd name="T135" fmla="*/ 2523 h 25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501" h="2523">
                        <a:moveTo>
                          <a:pt x="1484" y="0"/>
                        </a:moveTo>
                        <a:cubicBezTo>
                          <a:pt x="1448" y="4"/>
                          <a:pt x="1407" y="8"/>
                          <a:pt x="1371" y="12"/>
                        </a:cubicBezTo>
                        <a:cubicBezTo>
                          <a:pt x="1347" y="16"/>
                          <a:pt x="1303" y="28"/>
                          <a:pt x="1303" y="28"/>
                        </a:cubicBezTo>
                        <a:cubicBezTo>
                          <a:pt x="1299" y="68"/>
                          <a:pt x="1307" y="108"/>
                          <a:pt x="1283" y="140"/>
                        </a:cubicBezTo>
                        <a:cubicBezTo>
                          <a:pt x="1275" y="168"/>
                          <a:pt x="1275" y="200"/>
                          <a:pt x="1259" y="224"/>
                        </a:cubicBezTo>
                        <a:cubicBezTo>
                          <a:pt x="1244" y="296"/>
                          <a:pt x="1100" y="300"/>
                          <a:pt x="1044" y="308"/>
                        </a:cubicBezTo>
                        <a:cubicBezTo>
                          <a:pt x="1016" y="320"/>
                          <a:pt x="980" y="340"/>
                          <a:pt x="968" y="372"/>
                        </a:cubicBezTo>
                        <a:cubicBezTo>
                          <a:pt x="972" y="392"/>
                          <a:pt x="976" y="400"/>
                          <a:pt x="992" y="416"/>
                        </a:cubicBezTo>
                        <a:cubicBezTo>
                          <a:pt x="988" y="436"/>
                          <a:pt x="944" y="432"/>
                          <a:pt x="920" y="436"/>
                        </a:cubicBezTo>
                        <a:cubicBezTo>
                          <a:pt x="792" y="428"/>
                          <a:pt x="880" y="448"/>
                          <a:pt x="816" y="428"/>
                        </a:cubicBezTo>
                        <a:cubicBezTo>
                          <a:pt x="796" y="424"/>
                          <a:pt x="756" y="412"/>
                          <a:pt x="756" y="412"/>
                        </a:cubicBezTo>
                        <a:cubicBezTo>
                          <a:pt x="740" y="404"/>
                          <a:pt x="740" y="392"/>
                          <a:pt x="728" y="380"/>
                        </a:cubicBezTo>
                        <a:cubicBezTo>
                          <a:pt x="720" y="348"/>
                          <a:pt x="716" y="292"/>
                          <a:pt x="680" y="284"/>
                        </a:cubicBezTo>
                        <a:cubicBezTo>
                          <a:pt x="664" y="284"/>
                          <a:pt x="644" y="280"/>
                          <a:pt x="628" y="288"/>
                        </a:cubicBezTo>
                        <a:cubicBezTo>
                          <a:pt x="612" y="296"/>
                          <a:pt x="604" y="332"/>
                          <a:pt x="588" y="344"/>
                        </a:cubicBezTo>
                        <a:cubicBezTo>
                          <a:pt x="584" y="360"/>
                          <a:pt x="584" y="368"/>
                          <a:pt x="600" y="372"/>
                        </a:cubicBezTo>
                        <a:cubicBezTo>
                          <a:pt x="608" y="428"/>
                          <a:pt x="624" y="484"/>
                          <a:pt x="632" y="540"/>
                        </a:cubicBezTo>
                        <a:cubicBezTo>
                          <a:pt x="652" y="620"/>
                          <a:pt x="624" y="604"/>
                          <a:pt x="560" y="584"/>
                        </a:cubicBezTo>
                        <a:cubicBezTo>
                          <a:pt x="508" y="588"/>
                          <a:pt x="460" y="588"/>
                          <a:pt x="412" y="576"/>
                        </a:cubicBezTo>
                        <a:cubicBezTo>
                          <a:pt x="404" y="564"/>
                          <a:pt x="352" y="492"/>
                          <a:pt x="344" y="488"/>
                        </a:cubicBezTo>
                        <a:cubicBezTo>
                          <a:pt x="300" y="444"/>
                          <a:pt x="220" y="504"/>
                          <a:pt x="164" y="508"/>
                        </a:cubicBezTo>
                        <a:cubicBezTo>
                          <a:pt x="112" y="512"/>
                          <a:pt x="60" y="512"/>
                          <a:pt x="8" y="512"/>
                        </a:cubicBezTo>
                        <a:cubicBezTo>
                          <a:pt x="12" y="528"/>
                          <a:pt x="20" y="568"/>
                          <a:pt x="36" y="576"/>
                        </a:cubicBezTo>
                        <a:cubicBezTo>
                          <a:pt x="44" y="580"/>
                          <a:pt x="60" y="584"/>
                          <a:pt x="60" y="584"/>
                        </a:cubicBezTo>
                        <a:cubicBezTo>
                          <a:pt x="68" y="592"/>
                          <a:pt x="68" y="612"/>
                          <a:pt x="56" y="620"/>
                        </a:cubicBezTo>
                        <a:cubicBezTo>
                          <a:pt x="48" y="624"/>
                          <a:pt x="32" y="628"/>
                          <a:pt x="32" y="628"/>
                        </a:cubicBezTo>
                        <a:cubicBezTo>
                          <a:pt x="20" y="656"/>
                          <a:pt x="24" y="640"/>
                          <a:pt x="12" y="680"/>
                        </a:cubicBezTo>
                        <a:cubicBezTo>
                          <a:pt x="8" y="688"/>
                          <a:pt x="4" y="704"/>
                          <a:pt x="4" y="704"/>
                        </a:cubicBezTo>
                        <a:cubicBezTo>
                          <a:pt x="8" y="716"/>
                          <a:pt x="0" y="732"/>
                          <a:pt x="20" y="732"/>
                        </a:cubicBezTo>
                        <a:cubicBezTo>
                          <a:pt x="36" y="732"/>
                          <a:pt x="100" y="720"/>
                          <a:pt x="100" y="720"/>
                        </a:cubicBezTo>
                        <a:cubicBezTo>
                          <a:pt x="136" y="728"/>
                          <a:pt x="124" y="760"/>
                          <a:pt x="164" y="768"/>
                        </a:cubicBezTo>
                        <a:cubicBezTo>
                          <a:pt x="188" y="784"/>
                          <a:pt x="192" y="792"/>
                          <a:pt x="224" y="800"/>
                        </a:cubicBezTo>
                        <a:cubicBezTo>
                          <a:pt x="292" y="788"/>
                          <a:pt x="252" y="844"/>
                          <a:pt x="284" y="872"/>
                        </a:cubicBezTo>
                        <a:cubicBezTo>
                          <a:pt x="304" y="888"/>
                          <a:pt x="320" y="908"/>
                          <a:pt x="344" y="912"/>
                        </a:cubicBezTo>
                        <a:cubicBezTo>
                          <a:pt x="356" y="920"/>
                          <a:pt x="368" y="912"/>
                          <a:pt x="380" y="920"/>
                        </a:cubicBezTo>
                        <a:cubicBezTo>
                          <a:pt x="384" y="936"/>
                          <a:pt x="388" y="944"/>
                          <a:pt x="404" y="948"/>
                        </a:cubicBezTo>
                        <a:cubicBezTo>
                          <a:pt x="412" y="976"/>
                          <a:pt x="452" y="980"/>
                          <a:pt x="476" y="984"/>
                        </a:cubicBezTo>
                        <a:cubicBezTo>
                          <a:pt x="508" y="1000"/>
                          <a:pt x="508" y="996"/>
                          <a:pt x="548" y="992"/>
                        </a:cubicBezTo>
                        <a:cubicBezTo>
                          <a:pt x="536" y="996"/>
                          <a:pt x="432" y="1012"/>
                          <a:pt x="412" y="1032"/>
                        </a:cubicBezTo>
                        <a:cubicBezTo>
                          <a:pt x="420" y="1064"/>
                          <a:pt x="412" y="1076"/>
                          <a:pt x="428" y="1104"/>
                        </a:cubicBezTo>
                        <a:cubicBezTo>
                          <a:pt x="432" y="1128"/>
                          <a:pt x="432" y="1144"/>
                          <a:pt x="452" y="1156"/>
                        </a:cubicBezTo>
                        <a:cubicBezTo>
                          <a:pt x="460" y="1172"/>
                          <a:pt x="484" y="1200"/>
                          <a:pt x="500" y="1204"/>
                        </a:cubicBezTo>
                        <a:cubicBezTo>
                          <a:pt x="516" y="1236"/>
                          <a:pt x="536" y="1240"/>
                          <a:pt x="560" y="1260"/>
                        </a:cubicBezTo>
                        <a:cubicBezTo>
                          <a:pt x="568" y="1267"/>
                          <a:pt x="584" y="1283"/>
                          <a:pt x="584" y="1283"/>
                        </a:cubicBezTo>
                        <a:cubicBezTo>
                          <a:pt x="588" y="1299"/>
                          <a:pt x="600" y="1295"/>
                          <a:pt x="608" y="1315"/>
                        </a:cubicBezTo>
                        <a:cubicBezTo>
                          <a:pt x="612" y="1371"/>
                          <a:pt x="600" y="1399"/>
                          <a:pt x="584" y="1447"/>
                        </a:cubicBezTo>
                        <a:cubicBezTo>
                          <a:pt x="588" y="1475"/>
                          <a:pt x="588" y="1511"/>
                          <a:pt x="620" y="1523"/>
                        </a:cubicBezTo>
                        <a:cubicBezTo>
                          <a:pt x="624" y="1539"/>
                          <a:pt x="632" y="1547"/>
                          <a:pt x="644" y="1559"/>
                        </a:cubicBezTo>
                        <a:cubicBezTo>
                          <a:pt x="652" y="1587"/>
                          <a:pt x="656" y="1611"/>
                          <a:pt x="660" y="1643"/>
                        </a:cubicBezTo>
                        <a:cubicBezTo>
                          <a:pt x="660" y="1655"/>
                          <a:pt x="668" y="1691"/>
                          <a:pt x="668" y="1679"/>
                        </a:cubicBezTo>
                        <a:cubicBezTo>
                          <a:pt x="668" y="1627"/>
                          <a:pt x="652" y="1627"/>
                          <a:pt x="620" y="1607"/>
                        </a:cubicBezTo>
                        <a:cubicBezTo>
                          <a:pt x="604" y="1583"/>
                          <a:pt x="604" y="1559"/>
                          <a:pt x="588" y="1535"/>
                        </a:cubicBezTo>
                        <a:cubicBezTo>
                          <a:pt x="556" y="1547"/>
                          <a:pt x="560" y="1575"/>
                          <a:pt x="536" y="1591"/>
                        </a:cubicBezTo>
                        <a:cubicBezTo>
                          <a:pt x="528" y="1611"/>
                          <a:pt x="512" y="1627"/>
                          <a:pt x="504" y="1651"/>
                        </a:cubicBezTo>
                        <a:cubicBezTo>
                          <a:pt x="500" y="1659"/>
                          <a:pt x="496" y="1711"/>
                          <a:pt x="504" y="1703"/>
                        </a:cubicBezTo>
                        <a:cubicBezTo>
                          <a:pt x="500" y="1727"/>
                          <a:pt x="492" y="1767"/>
                          <a:pt x="484" y="1807"/>
                        </a:cubicBezTo>
                        <a:cubicBezTo>
                          <a:pt x="464" y="1839"/>
                          <a:pt x="460" y="1883"/>
                          <a:pt x="444" y="1919"/>
                        </a:cubicBezTo>
                        <a:cubicBezTo>
                          <a:pt x="440" y="1947"/>
                          <a:pt x="440" y="2047"/>
                          <a:pt x="412" y="2059"/>
                        </a:cubicBezTo>
                        <a:cubicBezTo>
                          <a:pt x="396" y="2067"/>
                          <a:pt x="396" y="2076"/>
                          <a:pt x="384" y="2088"/>
                        </a:cubicBezTo>
                        <a:cubicBezTo>
                          <a:pt x="380" y="2097"/>
                          <a:pt x="383" y="2088"/>
                          <a:pt x="381" y="2100"/>
                        </a:cubicBezTo>
                        <a:cubicBezTo>
                          <a:pt x="389" y="2112"/>
                          <a:pt x="386" y="2127"/>
                          <a:pt x="389" y="2168"/>
                        </a:cubicBezTo>
                        <a:cubicBezTo>
                          <a:pt x="401" y="2192"/>
                          <a:pt x="438" y="2226"/>
                          <a:pt x="456" y="2252"/>
                        </a:cubicBezTo>
                        <a:cubicBezTo>
                          <a:pt x="510" y="2255"/>
                          <a:pt x="488" y="2247"/>
                          <a:pt x="528" y="2251"/>
                        </a:cubicBezTo>
                        <a:cubicBezTo>
                          <a:pt x="564" y="2291"/>
                          <a:pt x="611" y="2325"/>
                          <a:pt x="659" y="2349"/>
                        </a:cubicBezTo>
                        <a:cubicBezTo>
                          <a:pt x="693" y="2363"/>
                          <a:pt x="696" y="2355"/>
                          <a:pt x="720" y="2363"/>
                        </a:cubicBezTo>
                        <a:cubicBezTo>
                          <a:pt x="736" y="2367"/>
                          <a:pt x="768" y="2383"/>
                          <a:pt x="788" y="2383"/>
                        </a:cubicBezTo>
                        <a:cubicBezTo>
                          <a:pt x="808" y="2383"/>
                          <a:pt x="822" y="2382"/>
                          <a:pt x="836" y="2375"/>
                        </a:cubicBezTo>
                        <a:cubicBezTo>
                          <a:pt x="854" y="2354"/>
                          <a:pt x="851" y="2369"/>
                          <a:pt x="869" y="2343"/>
                        </a:cubicBezTo>
                        <a:cubicBezTo>
                          <a:pt x="901" y="2351"/>
                          <a:pt x="956" y="2391"/>
                          <a:pt x="988" y="2407"/>
                        </a:cubicBezTo>
                        <a:cubicBezTo>
                          <a:pt x="1004" y="2415"/>
                          <a:pt x="1067" y="2437"/>
                          <a:pt x="1083" y="2441"/>
                        </a:cubicBezTo>
                        <a:cubicBezTo>
                          <a:pt x="1095" y="2481"/>
                          <a:pt x="1097" y="2481"/>
                          <a:pt x="1101" y="2499"/>
                        </a:cubicBezTo>
                        <a:cubicBezTo>
                          <a:pt x="1133" y="2501"/>
                          <a:pt x="1172" y="2504"/>
                          <a:pt x="1196" y="2502"/>
                        </a:cubicBezTo>
                        <a:cubicBezTo>
                          <a:pt x="1224" y="2502"/>
                          <a:pt x="1247" y="2496"/>
                          <a:pt x="1274" y="2496"/>
                        </a:cubicBezTo>
                        <a:cubicBezTo>
                          <a:pt x="1294" y="2496"/>
                          <a:pt x="1346" y="2493"/>
                          <a:pt x="1346" y="2493"/>
                        </a:cubicBezTo>
                        <a:cubicBezTo>
                          <a:pt x="1362" y="2425"/>
                          <a:pt x="1335" y="2523"/>
                          <a:pt x="1347" y="2335"/>
                        </a:cubicBezTo>
                        <a:cubicBezTo>
                          <a:pt x="1351" y="2271"/>
                          <a:pt x="1459" y="2259"/>
                          <a:pt x="1507" y="2251"/>
                        </a:cubicBezTo>
                        <a:cubicBezTo>
                          <a:pt x="1575" y="2255"/>
                          <a:pt x="1611" y="2223"/>
                          <a:pt x="1679" y="2239"/>
                        </a:cubicBezTo>
                        <a:cubicBezTo>
                          <a:pt x="1699" y="2251"/>
                          <a:pt x="1755" y="2279"/>
                          <a:pt x="1779" y="2283"/>
                        </a:cubicBezTo>
                        <a:cubicBezTo>
                          <a:pt x="1851" y="2311"/>
                          <a:pt x="1919" y="2339"/>
                          <a:pt x="1999" y="2351"/>
                        </a:cubicBezTo>
                        <a:cubicBezTo>
                          <a:pt x="2039" y="2351"/>
                          <a:pt x="2079" y="2355"/>
                          <a:pt x="2115" y="2347"/>
                        </a:cubicBezTo>
                        <a:cubicBezTo>
                          <a:pt x="2119" y="2347"/>
                          <a:pt x="2139" y="2303"/>
                          <a:pt x="2155" y="2299"/>
                        </a:cubicBezTo>
                        <a:cubicBezTo>
                          <a:pt x="2171" y="2283"/>
                          <a:pt x="2171" y="2271"/>
                          <a:pt x="2191" y="2259"/>
                        </a:cubicBezTo>
                        <a:cubicBezTo>
                          <a:pt x="2207" y="2247"/>
                          <a:pt x="2219" y="2215"/>
                          <a:pt x="2239" y="2203"/>
                        </a:cubicBezTo>
                        <a:cubicBezTo>
                          <a:pt x="2259" y="2191"/>
                          <a:pt x="2295" y="2195"/>
                          <a:pt x="2311" y="2183"/>
                        </a:cubicBezTo>
                        <a:cubicBezTo>
                          <a:pt x="2318" y="2150"/>
                          <a:pt x="2333" y="2154"/>
                          <a:pt x="2347" y="2135"/>
                        </a:cubicBezTo>
                        <a:cubicBezTo>
                          <a:pt x="2357" y="2088"/>
                          <a:pt x="2354" y="2100"/>
                          <a:pt x="2345" y="2078"/>
                        </a:cubicBezTo>
                        <a:cubicBezTo>
                          <a:pt x="2304" y="2069"/>
                          <a:pt x="2295" y="2072"/>
                          <a:pt x="2243" y="2071"/>
                        </a:cubicBezTo>
                        <a:cubicBezTo>
                          <a:pt x="2231" y="2067"/>
                          <a:pt x="2198" y="2064"/>
                          <a:pt x="2183" y="1979"/>
                        </a:cubicBezTo>
                        <a:cubicBezTo>
                          <a:pt x="2187" y="1956"/>
                          <a:pt x="2201" y="1937"/>
                          <a:pt x="2220" y="1892"/>
                        </a:cubicBezTo>
                        <a:cubicBezTo>
                          <a:pt x="2219" y="1854"/>
                          <a:pt x="2223" y="1859"/>
                          <a:pt x="2167" y="1855"/>
                        </a:cubicBezTo>
                        <a:cubicBezTo>
                          <a:pt x="2127" y="1859"/>
                          <a:pt x="2142" y="1817"/>
                          <a:pt x="2121" y="1823"/>
                        </a:cubicBezTo>
                        <a:cubicBezTo>
                          <a:pt x="2117" y="1815"/>
                          <a:pt x="2116" y="1798"/>
                          <a:pt x="2124" y="1790"/>
                        </a:cubicBezTo>
                        <a:cubicBezTo>
                          <a:pt x="2186" y="1788"/>
                          <a:pt x="2222" y="1743"/>
                          <a:pt x="2243" y="1733"/>
                        </a:cubicBezTo>
                        <a:cubicBezTo>
                          <a:pt x="2229" y="1704"/>
                          <a:pt x="2225" y="1695"/>
                          <a:pt x="2213" y="1659"/>
                        </a:cubicBezTo>
                        <a:cubicBezTo>
                          <a:pt x="2209" y="1647"/>
                          <a:pt x="2203" y="1619"/>
                          <a:pt x="2203" y="1619"/>
                        </a:cubicBezTo>
                        <a:cubicBezTo>
                          <a:pt x="2201" y="1590"/>
                          <a:pt x="2210" y="1589"/>
                          <a:pt x="2211" y="1581"/>
                        </a:cubicBezTo>
                        <a:cubicBezTo>
                          <a:pt x="2212" y="1573"/>
                          <a:pt x="2205" y="1571"/>
                          <a:pt x="2207" y="1568"/>
                        </a:cubicBezTo>
                        <a:cubicBezTo>
                          <a:pt x="2209" y="1565"/>
                          <a:pt x="2225" y="1564"/>
                          <a:pt x="2226" y="1560"/>
                        </a:cubicBezTo>
                        <a:cubicBezTo>
                          <a:pt x="2227" y="1556"/>
                          <a:pt x="2220" y="1555"/>
                          <a:pt x="2215" y="1543"/>
                        </a:cubicBezTo>
                        <a:cubicBezTo>
                          <a:pt x="2211" y="1519"/>
                          <a:pt x="2207" y="1507"/>
                          <a:pt x="2195" y="1487"/>
                        </a:cubicBezTo>
                        <a:cubicBezTo>
                          <a:pt x="2191" y="1455"/>
                          <a:pt x="2195" y="1431"/>
                          <a:pt x="2159" y="1423"/>
                        </a:cubicBezTo>
                        <a:cubicBezTo>
                          <a:pt x="2127" y="1423"/>
                          <a:pt x="2107" y="1435"/>
                          <a:pt x="2075" y="1439"/>
                        </a:cubicBezTo>
                        <a:cubicBezTo>
                          <a:pt x="2055" y="1443"/>
                          <a:pt x="2043" y="1483"/>
                          <a:pt x="2023" y="1495"/>
                        </a:cubicBezTo>
                        <a:cubicBezTo>
                          <a:pt x="2027" y="1467"/>
                          <a:pt x="2043" y="1423"/>
                          <a:pt x="2059" y="1399"/>
                        </a:cubicBezTo>
                        <a:cubicBezTo>
                          <a:pt x="2071" y="1379"/>
                          <a:pt x="2051" y="1367"/>
                          <a:pt x="2071" y="1339"/>
                        </a:cubicBezTo>
                        <a:cubicBezTo>
                          <a:pt x="2083" y="1323"/>
                          <a:pt x="2107" y="1311"/>
                          <a:pt x="2123" y="1295"/>
                        </a:cubicBezTo>
                        <a:cubicBezTo>
                          <a:pt x="2139" y="1279"/>
                          <a:pt x="2155" y="1256"/>
                          <a:pt x="2171" y="1232"/>
                        </a:cubicBezTo>
                        <a:cubicBezTo>
                          <a:pt x="2187" y="1208"/>
                          <a:pt x="2207" y="1180"/>
                          <a:pt x="2219" y="1156"/>
                        </a:cubicBezTo>
                        <a:cubicBezTo>
                          <a:pt x="2231" y="1132"/>
                          <a:pt x="2231" y="1096"/>
                          <a:pt x="2251" y="1084"/>
                        </a:cubicBezTo>
                        <a:cubicBezTo>
                          <a:pt x="2303" y="1088"/>
                          <a:pt x="2311" y="1096"/>
                          <a:pt x="2347" y="1092"/>
                        </a:cubicBezTo>
                        <a:cubicBezTo>
                          <a:pt x="2358" y="1082"/>
                          <a:pt x="2357" y="1088"/>
                          <a:pt x="2363" y="1082"/>
                        </a:cubicBezTo>
                        <a:cubicBezTo>
                          <a:pt x="2358" y="1073"/>
                          <a:pt x="2343" y="1034"/>
                          <a:pt x="2351" y="993"/>
                        </a:cubicBezTo>
                        <a:cubicBezTo>
                          <a:pt x="2355" y="941"/>
                          <a:pt x="2390" y="899"/>
                          <a:pt x="2414" y="833"/>
                        </a:cubicBezTo>
                        <a:cubicBezTo>
                          <a:pt x="2422" y="805"/>
                          <a:pt x="2394" y="771"/>
                          <a:pt x="2418" y="758"/>
                        </a:cubicBezTo>
                        <a:cubicBezTo>
                          <a:pt x="2469" y="747"/>
                          <a:pt x="2472" y="734"/>
                          <a:pt x="2493" y="705"/>
                        </a:cubicBezTo>
                        <a:cubicBezTo>
                          <a:pt x="2501" y="673"/>
                          <a:pt x="2489" y="680"/>
                          <a:pt x="2431" y="656"/>
                        </a:cubicBezTo>
                        <a:cubicBezTo>
                          <a:pt x="2387" y="626"/>
                          <a:pt x="2346" y="599"/>
                          <a:pt x="2307" y="608"/>
                        </a:cubicBezTo>
                        <a:cubicBezTo>
                          <a:pt x="2275" y="600"/>
                          <a:pt x="2275" y="604"/>
                          <a:pt x="2239" y="600"/>
                        </a:cubicBezTo>
                        <a:cubicBezTo>
                          <a:pt x="2219" y="580"/>
                          <a:pt x="2208" y="567"/>
                          <a:pt x="2183" y="552"/>
                        </a:cubicBezTo>
                        <a:cubicBezTo>
                          <a:pt x="2160" y="509"/>
                          <a:pt x="2162" y="504"/>
                          <a:pt x="2123" y="512"/>
                        </a:cubicBezTo>
                        <a:cubicBezTo>
                          <a:pt x="2109" y="521"/>
                          <a:pt x="2082" y="528"/>
                          <a:pt x="2061" y="513"/>
                        </a:cubicBezTo>
                        <a:cubicBezTo>
                          <a:pt x="2037" y="513"/>
                          <a:pt x="2033" y="492"/>
                          <a:pt x="2010" y="510"/>
                        </a:cubicBezTo>
                        <a:cubicBezTo>
                          <a:pt x="1964" y="497"/>
                          <a:pt x="1970" y="459"/>
                          <a:pt x="1947" y="452"/>
                        </a:cubicBezTo>
                        <a:cubicBezTo>
                          <a:pt x="1932" y="425"/>
                          <a:pt x="1903" y="414"/>
                          <a:pt x="1875" y="408"/>
                        </a:cubicBezTo>
                        <a:cubicBezTo>
                          <a:pt x="1877" y="360"/>
                          <a:pt x="1878" y="360"/>
                          <a:pt x="1860" y="345"/>
                        </a:cubicBezTo>
                        <a:cubicBezTo>
                          <a:pt x="1875" y="315"/>
                          <a:pt x="1869" y="296"/>
                          <a:pt x="1862" y="299"/>
                        </a:cubicBezTo>
                        <a:cubicBezTo>
                          <a:pt x="1836" y="302"/>
                          <a:pt x="1839" y="344"/>
                          <a:pt x="1823" y="360"/>
                        </a:cubicBezTo>
                        <a:cubicBezTo>
                          <a:pt x="1748" y="371"/>
                          <a:pt x="1761" y="356"/>
                          <a:pt x="1747" y="308"/>
                        </a:cubicBezTo>
                        <a:cubicBezTo>
                          <a:pt x="1723" y="204"/>
                          <a:pt x="1715" y="252"/>
                          <a:pt x="1665" y="234"/>
                        </a:cubicBezTo>
                        <a:cubicBezTo>
                          <a:pt x="1645" y="202"/>
                          <a:pt x="1665" y="179"/>
                          <a:pt x="1596" y="173"/>
                        </a:cubicBezTo>
                        <a:cubicBezTo>
                          <a:pt x="1589" y="159"/>
                          <a:pt x="1591" y="136"/>
                          <a:pt x="1575" y="116"/>
                        </a:cubicBezTo>
                        <a:cubicBezTo>
                          <a:pt x="1567" y="96"/>
                          <a:pt x="1557" y="95"/>
                          <a:pt x="1519" y="100"/>
                        </a:cubicBezTo>
                        <a:cubicBezTo>
                          <a:pt x="1484" y="96"/>
                          <a:pt x="1484" y="40"/>
                          <a:pt x="1484"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sp>
              <p:nvSpPr>
                <p:cNvPr id="110" name="Freeform 2548">
                  <a:extLst>
                    <a:ext uri="{FF2B5EF4-FFF2-40B4-BE49-F238E27FC236}">
                      <a16:creationId xmlns:a16="http://schemas.microsoft.com/office/drawing/2014/main" id="{01601B40-E9C0-3E48-F896-310164C189D0}"/>
                    </a:ext>
                  </a:extLst>
                </p:cNvPr>
                <p:cNvSpPr>
                  <a:spLocks noChangeAspect="1"/>
                </p:cNvSpPr>
                <p:nvPr/>
              </p:nvSpPr>
              <p:spPr bwMode="auto">
                <a:xfrm>
                  <a:off x="3711576" y="4267200"/>
                  <a:ext cx="273050" cy="241300"/>
                </a:xfrm>
                <a:custGeom>
                  <a:avLst/>
                  <a:gdLst>
                    <a:gd name="T0" fmla="*/ 181 w 691"/>
                    <a:gd name="T1" fmla="*/ 0 h 607"/>
                    <a:gd name="T2" fmla="*/ 187 w 691"/>
                    <a:gd name="T3" fmla="*/ 20 h 607"/>
                    <a:gd name="T4" fmla="*/ 214 w 691"/>
                    <a:gd name="T5" fmla="*/ 33 h 607"/>
                    <a:gd name="T6" fmla="*/ 237 w 691"/>
                    <a:gd name="T7" fmla="*/ 53 h 607"/>
                    <a:gd name="T8" fmla="*/ 312 w 691"/>
                    <a:gd name="T9" fmla="*/ 31 h 607"/>
                    <a:gd name="T10" fmla="*/ 358 w 691"/>
                    <a:gd name="T11" fmla="*/ 11 h 607"/>
                    <a:gd name="T12" fmla="*/ 375 w 691"/>
                    <a:gd name="T13" fmla="*/ 14 h 607"/>
                    <a:gd name="T14" fmla="*/ 474 w 691"/>
                    <a:gd name="T15" fmla="*/ 39 h 607"/>
                    <a:gd name="T16" fmla="*/ 521 w 691"/>
                    <a:gd name="T17" fmla="*/ 84 h 607"/>
                    <a:gd name="T18" fmla="*/ 597 w 691"/>
                    <a:gd name="T19" fmla="*/ 119 h 607"/>
                    <a:gd name="T20" fmla="*/ 558 w 691"/>
                    <a:gd name="T21" fmla="*/ 209 h 607"/>
                    <a:gd name="T22" fmla="*/ 627 w 691"/>
                    <a:gd name="T23" fmla="*/ 224 h 607"/>
                    <a:gd name="T24" fmla="*/ 649 w 691"/>
                    <a:gd name="T25" fmla="*/ 287 h 607"/>
                    <a:gd name="T26" fmla="*/ 688 w 691"/>
                    <a:gd name="T27" fmla="*/ 353 h 607"/>
                    <a:gd name="T28" fmla="*/ 661 w 691"/>
                    <a:gd name="T29" fmla="*/ 374 h 607"/>
                    <a:gd name="T30" fmla="*/ 642 w 691"/>
                    <a:gd name="T31" fmla="*/ 431 h 607"/>
                    <a:gd name="T32" fmla="*/ 591 w 691"/>
                    <a:gd name="T33" fmla="*/ 441 h 607"/>
                    <a:gd name="T34" fmla="*/ 572 w 691"/>
                    <a:gd name="T35" fmla="*/ 491 h 607"/>
                    <a:gd name="T36" fmla="*/ 561 w 691"/>
                    <a:gd name="T37" fmla="*/ 602 h 607"/>
                    <a:gd name="T38" fmla="*/ 540 w 691"/>
                    <a:gd name="T39" fmla="*/ 607 h 607"/>
                    <a:gd name="T40" fmla="*/ 476 w 691"/>
                    <a:gd name="T41" fmla="*/ 551 h 607"/>
                    <a:gd name="T42" fmla="*/ 404 w 691"/>
                    <a:gd name="T43" fmla="*/ 507 h 607"/>
                    <a:gd name="T44" fmla="*/ 384 w 691"/>
                    <a:gd name="T45" fmla="*/ 443 h 607"/>
                    <a:gd name="T46" fmla="*/ 396 w 691"/>
                    <a:gd name="T47" fmla="*/ 411 h 607"/>
                    <a:gd name="T48" fmla="*/ 360 w 691"/>
                    <a:gd name="T49" fmla="*/ 431 h 607"/>
                    <a:gd name="T50" fmla="*/ 324 w 691"/>
                    <a:gd name="T51" fmla="*/ 463 h 607"/>
                    <a:gd name="T52" fmla="*/ 288 w 691"/>
                    <a:gd name="T53" fmla="*/ 455 h 607"/>
                    <a:gd name="T54" fmla="*/ 272 w 691"/>
                    <a:gd name="T55" fmla="*/ 407 h 607"/>
                    <a:gd name="T56" fmla="*/ 192 w 691"/>
                    <a:gd name="T57" fmla="*/ 335 h 607"/>
                    <a:gd name="T58" fmla="*/ 120 w 691"/>
                    <a:gd name="T59" fmla="*/ 271 h 607"/>
                    <a:gd name="T60" fmla="*/ 72 w 691"/>
                    <a:gd name="T61" fmla="*/ 195 h 607"/>
                    <a:gd name="T62" fmla="*/ 24 w 691"/>
                    <a:gd name="T63" fmla="*/ 191 h 607"/>
                    <a:gd name="T64" fmla="*/ 12 w 691"/>
                    <a:gd name="T65" fmla="*/ 155 h 607"/>
                    <a:gd name="T66" fmla="*/ 32 w 691"/>
                    <a:gd name="T67" fmla="*/ 83 h 607"/>
                    <a:gd name="T68" fmla="*/ 88 w 691"/>
                    <a:gd name="T69" fmla="*/ 47 h 607"/>
                    <a:gd name="T70" fmla="*/ 152 w 691"/>
                    <a:gd name="T71" fmla="*/ 15 h 607"/>
                    <a:gd name="T72" fmla="*/ 181 w 691"/>
                    <a:gd name="T73" fmla="*/ 0 h 60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91"/>
                    <a:gd name="T112" fmla="*/ 0 h 607"/>
                    <a:gd name="T113" fmla="*/ 691 w 691"/>
                    <a:gd name="T114" fmla="*/ 607 h 60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91" h="607">
                      <a:moveTo>
                        <a:pt x="181" y="0"/>
                      </a:moveTo>
                      <a:cubicBezTo>
                        <a:pt x="188" y="1"/>
                        <a:pt x="178" y="11"/>
                        <a:pt x="187" y="20"/>
                      </a:cubicBezTo>
                      <a:cubicBezTo>
                        <a:pt x="192" y="25"/>
                        <a:pt x="206" y="28"/>
                        <a:pt x="214" y="33"/>
                      </a:cubicBezTo>
                      <a:cubicBezTo>
                        <a:pt x="222" y="38"/>
                        <a:pt x="213" y="54"/>
                        <a:pt x="237" y="53"/>
                      </a:cubicBezTo>
                      <a:cubicBezTo>
                        <a:pt x="273" y="60"/>
                        <a:pt x="284" y="39"/>
                        <a:pt x="312" y="31"/>
                      </a:cubicBezTo>
                      <a:cubicBezTo>
                        <a:pt x="324" y="27"/>
                        <a:pt x="358" y="11"/>
                        <a:pt x="358" y="11"/>
                      </a:cubicBezTo>
                      <a:cubicBezTo>
                        <a:pt x="374" y="10"/>
                        <a:pt x="356" y="9"/>
                        <a:pt x="375" y="14"/>
                      </a:cubicBezTo>
                      <a:cubicBezTo>
                        <a:pt x="394" y="19"/>
                        <a:pt x="450" y="27"/>
                        <a:pt x="474" y="39"/>
                      </a:cubicBezTo>
                      <a:cubicBezTo>
                        <a:pt x="484" y="74"/>
                        <a:pt x="500" y="71"/>
                        <a:pt x="521" y="84"/>
                      </a:cubicBezTo>
                      <a:cubicBezTo>
                        <a:pt x="535" y="87"/>
                        <a:pt x="590" y="99"/>
                        <a:pt x="597" y="119"/>
                      </a:cubicBezTo>
                      <a:cubicBezTo>
                        <a:pt x="603" y="144"/>
                        <a:pt x="561" y="176"/>
                        <a:pt x="558" y="209"/>
                      </a:cubicBezTo>
                      <a:cubicBezTo>
                        <a:pt x="574" y="236"/>
                        <a:pt x="576" y="239"/>
                        <a:pt x="627" y="224"/>
                      </a:cubicBezTo>
                      <a:cubicBezTo>
                        <a:pt x="622" y="236"/>
                        <a:pt x="625" y="263"/>
                        <a:pt x="649" y="287"/>
                      </a:cubicBezTo>
                      <a:cubicBezTo>
                        <a:pt x="661" y="295"/>
                        <a:pt x="691" y="338"/>
                        <a:pt x="688" y="353"/>
                      </a:cubicBezTo>
                      <a:cubicBezTo>
                        <a:pt x="684" y="373"/>
                        <a:pt x="673" y="363"/>
                        <a:pt x="661" y="374"/>
                      </a:cubicBezTo>
                      <a:cubicBezTo>
                        <a:pt x="653" y="386"/>
                        <a:pt x="642" y="431"/>
                        <a:pt x="642" y="431"/>
                      </a:cubicBezTo>
                      <a:cubicBezTo>
                        <a:pt x="627" y="434"/>
                        <a:pt x="603" y="432"/>
                        <a:pt x="591" y="441"/>
                      </a:cubicBezTo>
                      <a:cubicBezTo>
                        <a:pt x="593" y="487"/>
                        <a:pt x="576" y="475"/>
                        <a:pt x="572" y="491"/>
                      </a:cubicBezTo>
                      <a:cubicBezTo>
                        <a:pt x="566" y="516"/>
                        <a:pt x="558" y="581"/>
                        <a:pt x="561" y="602"/>
                      </a:cubicBezTo>
                      <a:cubicBezTo>
                        <a:pt x="552" y="605"/>
                        <a:pt x="561" y="602"/>
                        <a:pt x="540" y="607"/>
                      </a:cubicBezTo>
                      <a:cubicBezTo>
                        <a:pt x="484" y="595"/>
                        <a:pt x="508" y="575"/>
                        <a:pt x="476" y="551"/>
                      </a:cubicBezTo>
                      <a:cubicBezTo>
                        <a:pt x="452" y="531"/>
                        <a:pt x="436" y="511"/>
                        <a:pt x="404" y="507"/>
                      </a:cubicBezTo>
                      <a:cubicBezTo>
                        <a:pt x="396" y="483"/>
                        <a:pt x="412" y="451"/>
                        <a:pt x="384" y="443"/>
                      </a:cubicBezTo>
                      <a:cubicBezTo>
                        <a:pt x="392" y="431"/>
                        <a:pt x="388" y="423"/>
                        <a:pt x="396" y="411"/>
                      </a:cubicBezTo>
                      <a:cubicBezTo>
                        <a:pt x="384" y="375"/>
                        <a:pt x="368" y="419"/>
                        <a:pt x="360" y="431"/>
                      </a:cubicBezTo>
                      <a:cubicBezTo>
                        <a:pt x="348" y="463"/>
                        <a:pt x="352" y="455"/>
                        <a:pt x="324" y="463"/>
                      </a:cubicBezTo>
                      <a:cubicBezTo>
                        <a:pt x="312" y="459"/>
                        <a:pt x="296" y="467"/>
                        <a:pt x="288" y="455"/>
                      </a:cubicBezTo>
                      <a:cubicBezTo>
                        <a:pt x="284" y="447"/>
                        <a:pt x="272" y="407"/>
                        <a:pt x="272" y="407"/>
                      </a:cubicBezTo>
                      <a:cubicBezTo>
                        <a:pt x="248" y="327"/>
                        <a:pt x="268" y="343"/>
                        <a:pt x="192" y="335"/>
                      </a:cubicBezTo>
                      <a:cubicBezTo>
                        <a:pt x="176" y="287"/>
                        <a:pt x="172" y="279"/>
                        <a:pt x="120" y="271"/>
                      </a:cubicBezTo>
                      <a:cubicBezTo>
                        <a:pt x="104" y="235"/>
                        <a:pt x="116" y="207"/>
                        <a:pt x="72" y="195"/>
                      </a:cubicBezTo>
                      <a:cubicBezTo>
                        <a:pt x="44" y="203"/>
                        <a:pt x="48" y="207"/>
                        <a:pt x="24" y="191"/>
                      </a:cubicBezTo>
                      <a:cubicBezTo>
                        <a:pt x="20" y="179"/>
                        <a:pt x="12" y="155"/>
                        <a:pt x="12" y="155"/>
                      </a:cubicBezTo>
                      <a:cubicBezTo>
                        <a:pt x="8" y="127"/>
                        <a:pt x="0" y="95"/>
                        <a:pt x="32" y="83"/>
                      </a:cubicBezTo>
                      <a:cubicBezTo>
                        <a:pt x="48" y="55"/>
                        <a:pt x="56" y="55"/>
                        <a:pt x="88" y="47"/>
                      </a:cubicBezTo>
                      <a:cubicBezTo>
                        <a:pt x="136" y="11"/>
                        <a:pt x="12" y="43"/>
                        <a:pt x="152" y="15"/>
                      </a:cubicBezTo>
                      <a:cubicBezTo>
                        <a:pt x="160" y="15"/>
                        <a:pt x="189" y="0"/>
                        <a:pt x="181"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11" name="Freeform 2549">
                  <a:extLst>
                    <a:ext uri="{FF2B5EF4-FFF2-40B4-BE49-F238E27FC236}">
                      <a16:creationId xmlns:a16="http://schemas.microsoft.com/office/drawing/2014/main" id="{A4D6D757-7E5D-2F8C-25B2-F5962ECD5830}"/>
                    </a:ext>
                  </a:extLst>
                </p:cNvPr>
                <p:cNvSpPr>
                  <a:spLocks noChangeAspect="1"/>
                </p:cNvSpPr>
                <p:nvPr/>
              </p:nvSpPr>
              <p:spPr bwMode="auto">
                <a:xfrm>
                  <a:off x="3929063" y="4438650"/>
                  <a:ext cx="60325" cy="79375"/>
                </a:xfrm>
                <a:custGeom>
                  <a:avLst/>
                  <a:gdLst>
                    <a:gd name="T0" fmla="*/ 95 w 153"/>
                    <a:gd name="T1" fmla="*/ 0 h 200"/>
                    <a:gd name="T2" fmla="*/ 23 w 153"/>
                    <a:gd name="T3" fmla="*/ 56 h 200"/>
                    <a:gd name="T4" fmla="*/ 11 w 153"/>
                    <a:gd name="T5" fmla="*/ 168 h 200"/>
                    <a:gd name="T6" fmla="*/ 51 w 153"/>
                    <a:gd name="T7" fmla="*/ 184 h 200"/>
                    <a:gd name="T8" fmla="*/ 130 w 153"/>
                    <a:gd name="T9" fmla="*/ 178 h 200"/>
                    <a:gd name="T10" fmla="*/ 147 w 153"/>
                    <a:gd name="T11" fmla="*/ 120 h 200"/>
                    <a:gd name="T12" fmla="*/ 127 w 153"/>
                    <a:gd name="T13" fmla="*/ 63 h 200"/>
                    <a:gd name="T14" fmla="*/ 95 w 153"/>
                    <a:gd name="T15" fmla="*/ 28 h 200"/>
                    <a:gd name="T16" fmla="*/ 95 w 153"/>
                    <a:gd name="T17" fmla="*/ 0 h 2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3"/>
                    <a:gd name="T28" fmla="*/ 0 h 200"/>
                    <a:gd name="T29" fmla="*/ 153 w 153"/>
                    <a:gd name="T30" fmla="*/ 200 h 2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3" h="200">
                      <a:moveTo>
                        <a:pt x="95" y="0"/>
                      </a:moveTo>
                      <a:cubicBezTo>
                        <a:pt x="0" y="3"/>
                        <a:pt x="71" y="24"/>
                        <a:pt x="23" y="56"/>
                      </a:cubicBezTo>
                      <a:cubicBezTo>
                        <a:pt x="15" y="96"/>
                        <a:pt x="15" y="116"/>
                        <a:pt x="11" y="168"/>
                      </a:cubicBezTo>
                      <a:cubicBezTo>
                        <a:pt x="22" y="186"/>
                        <a:pt x="33" y="181"/>
                        <a:pt x="51" y="184"/>
                      </a:cubicBezTo>
                      <a:cubicBezTo>
                        <a:pt x="63" y="200"/>
                        <a:pt x="111" y="171"/>
                        <a:pt x="130" y="178"/>
                      </a:cubicBezTo>
                      <a:cubicBezTo>
                        <a:pt x="125" y="160"/>
                        <a:pt x="132" y="150"/>
                        <a:pt x="147" y="120"/>
                      </a:cubicBezTo>
                      <a:cubicBezTo>
                        <a:pt x="153" y="88"/>
                        <a:pt x="151" y="79"/>
                        <a:pt x="127" y="63"/>
                      </a:cubicBezTo>
                      <a:cubicBezTo>
                        <a:pt x="105" y="42"/>
                        <a:pt x="115" y="48"/>
                        <a:pt x="95" y="28"/>
                      </a:cubicBezTo>
                      <a:cubicBezTo>
                        <a:pt x="91" y="8"/>
                        <a:pt x="91" y="16"/>
                        <a:pt x="95"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nvGrpSpPr>
                <p:cNvPr id="112" name="Group 103">
                  <a:extLst>
                    <a:ext uri="{FF2B5EF4-FFF2-40B4-BE49-F238E27FC236}">
                      <a16:creationId xmlns:a16="http://schemas.microsoft.com/office/drawing/2014/main" id="{2A8A2C19-8029-7233-D207-0B9291C5FB57}"/>
                    </a:ext>
                  </a:extLst>
                </p:cNvPr>
                <p:cNvGrpSpPr>
                  <a:grpSpLocks/>
                </p:cNvGrpSpPr>
                <p:nvPr/>
              </p:nvGrpSpPr>
              <p:grpSpPr bwMode="auto">
                <a:xfrm>
                  <a:off x="3781426" y="4043451"/>
                  <a:ext cx="279400" cy="315927"/>
                  <a:chOff x="1507" y="4979"/>
                  <a:chExt cx="706" cy="796"/>
                </a:xfrm>
                <a:grpFill/>
              </p:grpSpPr>
              <p:sp>
                <p:nvSpPr>
                  <p:cNvPr id="126" name="Freeform 2551">
                    <a:extLst>
                      <a:ext uri="{FF2B5EF4-FFF2-40B4-BE49-F238E27FC236}">
                        <a16:creationId xmlns:a16="http://schemas.microsoft.com/office/drawing/2014/main" id="{CB220317-0E65-5EB3-1AB0-24D20556C450}"/>
                      </a:ext>
                    </a:extLst>
                  </p:cNvPr>
                  <p:cNvSpPr>
                    <a:spLocks noChangeAspect="1"/>
                  </p:cNvSpPr>
                  <p:nvPr/>
                </p:nvSpPr>
                <p:spPr bwMode="auto">
                  <a:xfrm>
                    <a:off x="1759" y="5075"/>
                    <a:ext cx="56" cy="44"/>
                  </a:xfrm>
                  <a:custGeom>
                    <a:avLst/>
                    <a:gdLst>
                      <a:gd name="T0" fmla="*/ 5 w 14"/>
                      <a:gd name="T1" fmla="*/ 0 h 11"/>
                      <a:gd name="T2" fmla="*/ 9 w 14"/>
                      <a:gd name="T3" fmla="*/ 7 h 11"/>
                      <a:gd name="T4" fmla="*/ 3 w 14"/>
                      <a:gd name="T5" fmla="*/ 11 h 11"/>
                      <a:gd name="T6" fmla="*/ 5 w 14"/>
                      <a:gd name="T7" fmla="*/ 0 h 11"/>
                      <a:gd name="T8" fmla="*/ 0 60000 65536"/>
                      <a:gd name="T9" fmla="*/ 0 60000 65536"/>
                      <a:gd name="T10" fmla="*/ 0 60000 65536"/>
                      <a:gd name="T11" fmla="*/ 0 60000 65536"/>
                      <a:gd name="T12" fmla="*/ 0 w 14"/>
                      <a:gd name="T13" fmla="*/ 0 h 11"/>
                      <a:gd name="T14" fmla="*/ 14 w 14"/>
                      <a:gd name="T15" fmla="*/ 11 h 11"/>
                    </a:gdLst>
                    <a:ahLst/>
                    <a:cxnLst>
                      <a:cxn ang="T8">
                        <a:pos x="T0" y="T1"/>
                      </a:cxn>
                      <a:cxn ang="T9">
                        <a:pos x="T2" y="T3"/>
                      </a:cxn>
                      <a:cxn ang="T10">
                        <a:pos x="T4" y="T5"/>
                      </a:cxn>
                      <a:cxn ang="T11">
                        <a:pos x="T6" y="T7"/>
                      </a:cxn>
                    </a:cxnLst>
                    <a:rect l="T12" t="T13" r="T14" b="T15"/>
                    <a:pathLst>
                      <a:path w="14" h="11">
                        <a:moveTo>
                          <a:pt x="5" y="0"/>
                        </a:moveTo>
                        <a:cubicBezTo>
                          <a:pt x="9" y="1"/>
                          <a:pt x="14" y="0"/>
                          <a:pt x="9" y="7"/>
                        </a:cubicBezTo>
                        <a:cubicBezTo>
                          <a:pt x="8" y="9"/>
                          <a:pt x="3" y="11"/>
                          <a:pt x="3" y="11"/>
                        </a:cubicBezTo>
                        <a:cubicBezTo>
                          <a:pt x="0" y="7"/>
                          <a:pt x="1" y="4"/>
                          <a:pt x="5"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27" name="Freeform 2552">
                    <a:extLst>
                      <a:ext uri="{FF2B5EF4-FFF2-40B4-BE49-F238E27FC236}">
                        <a16:creationId xmlns:a16="http://schemas.microsoft.com/office/drawing/2014/main" id="{77783AB5-AC02-27E7-1949-0411EBB9919A}"/>
                      </a:ext>
                    </a:extLst>
                  </p:cNvPr>
                  <p:cNvSpPr>
                    <a:spLocks noChangeAspect="1"/>
                  </p:cNvSpPr>
                  <p:nvPr/>
                </p:nvSpPr>
                <p:spPr bwMode="auto">
                  <a:xfrm>
                    <a:off x="1803" y="5019"/>
                    <a:ext cx="32" cy="68"/>
                  </a:xfrm>
                  <a:custGeom>
                    <a:avLst/>
                    <a:gdLst>
                      <a:gd name="T0" fmla="*/ 0 w 8"/>
                      <a:gd name="T1" fmla="*/ 8 h 17"/>
                      <a:gd name="T2" fmla="*/ 8 w 8"/>
                      <a:gd name="T3" fmla="*/ 0 h 17"/>
                      <a:gd name="T4" fmla="*/ 0 w 8"/>
                      <a:gd name="T5" fmla="*/ 8 h 17"/>
                      <a:gd name="T6" fmla="*/ 0 60000 65536"/>
                      <a:gd name="T7" fmla="*/ 0 60000 65536"/>
                      <a:gd name="T8" fmla="*/ 0 60000 65536"/>
                      <a:gd name="T9" fmla="*/ 0 w 8"/>
                      <a:gd name="T10" fmla="*/ 0 h 17"/>
                      <a:gd name="T11" fmla="*/ 8 w 8"/>
                      <a:gd name="T12" fmla="*/ 17 h 17"/>
                    </a:gdLst>
                    <a:ahLst/>
                    <a:cxnLst>
                      <a:cxn ang="T6">
                        <a:pos x="T0" y="T1"/>
                      </a:cxn>
                      <a:cxn ang="T7">
                        <a:pos x="T2" y="T3"/>
                      </a:cxn>
                      <a:cxn ang="T8">
                        <a:pos x="T4" y="T5"/>
                      </a:cxn>
                    </a:cxnLst>
                    <a:rect l="T9" t="T10" r="T11" b="T12"/>
                    <a:pathLst>
                      <a:path w="8" h="17">
                        <a:moveTo>
                          <a:pt x="0" y="8"/>
                        </a:moveTo>
                        <a:cubicBezTo>
                          <a:pt x="5" y="6"/>
                          <a:pt x="4" y="4"/>
                          <a:pt x="8" y="0"/>
                        </a:cubicBezTo>
                        <a:cubicBezTo>
                          <a:pt x="8" y="2"/>
                          <a:pt x="0" y="17"/>
                          <a:pt x="0" y="8"/>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28" name="Freeform 2553">
                    <a:extLst>
                      <a:ext uri="{FF2B5EF4-FFF2-40B4-BE49-F238E27FC236}">
                        <a16:creationId xmlns:a16="http://schemas.microsoft.com/office/drawing/2014/main" id="{C97A82FC-4A8D-D88B-9FBE-F5C94715FF83}"/>
                      </a:ext>
                    </a:extLst>
                  </p:cNvPr>
                  <p:cNvSpPr>
                    <a:spLocks noChangeAspect="1"/>
                  </p:cNvSpPr>
                  <p:nvPr/>
                </p:nvSpPr>
                <p:spPr bwMode="auto">
                  <a:xfrm>
                    <a:off x="1859" y="4991"/>
                    <a:ext cx="48" cy="40"/>
                  </a:xfrm>
                  <a:custGeom>
                    <a:avLst/>
                    <a:gdLst>
                      <a:gd name="T0" fmla="*/ 0 w 12"/>
                      <a:gd name="T1" fmla="*/ 3 h 10"/>
                      <a:gd name="T2" fmla="*/ 12 w 12"/>
                      <a:gd name="T3" fmla="*/ 2 h 10"/>
                      <a:gd name="T4" fmla="*/ 0 w 12"/>
                      <a:gd name="T5" fmla="*/ 3 h 10"/>
                      <a:gd name="T6" fmla="*/ 0 60000 65536"/>
                      <a:gd name="T7" fmla="*/ 0 60000 65536"/>
                      <a:gd name="T8" fmla="*/ 0 60000 65536"/>
                      <a:gd name="T9" fmla="*/ 0 w 12"/>
                      <a:gd name="T10" fmla="*/ 0 h 10"/>
                      <a:gd name="T11" fmla="*/ 12 w 12"/>
                      <a:gd name="T12" fmla="*/ 10 h 10"/>
                    </a:gdLst>
                    <a:ahLst/>
                    <a:cxnLst>
                      <a:cxn ang="T6">
                        <a:pos x="T0" y="T1"/>
                      </a:cxn>
                      <a:cxn ang="T7">
                        <a:pos x="T2" y="T3"/>
                      </a:cxn>
                      <a:cxn ang="T8">
                        <a:pos x="T4" y="T5"/>
                      </a:cxn>
                    </a:cxnLst>
                    <a:rect l="T9" t="T10" r="T11" b="T12"/>
                    <a:pathLst>
                      <a:path w="12" h="10">
                        <a:moveTo>
                          <a:pt x="0" y="3"/>
                        </a:moveTo>
                        <a:cubicBezTo>
                          <a:pt x="8" y="0"/>
                          <a:pt x="4" y="1"/>
                          <a:pt x="12" y="2"/>
                        </a:cubicBezTo>
                        <a:cubicBezTo>
                          <a:pt x="10" y="9"/>
                          <a:pt x="0" y="10"/>
                          <a:pt x="0" y="3"/>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29" name="Freeform 2554">
                    <a:extLst>
                      <a:ext uri="{FF2B5EF4-FFF2-40B4-BE49-F238E27FC236}">
                        <a16:creationId xmlns:a16="http://schemas.microsoft.com/office/drawing/2014/main" id="{A269FBD3-33EE-13E8-232D-C4EE7284D9FD}"/>
                      </a:ext>
                    </a:extLst>
                  </p:cNvPr>
                  <p:cNvSpPr>
                    <a:spLocks noChangeAspect="1"/>
                  </p:cNvSpPr>
                  <p:nvPr/>
                </p:nvSpPr>
                <p:spPr bwMode="auto">
                  <a:xfrm>
                    <a:off x="1919" y="4979"/>
                    <a:ext cx="96" cy="28"/>
                  </a:xfrm>
                  <a:custGeom>
                    <a:avLst/>
                    <a:gdLst>
                      <a:gd name="T0" fmla="*/ 1 w 24"/>
                      <a:gd name="T1" fmla="*/ 4 h 7"/>
                      <a:gd name="T2" fmla="*/ 12 w 24"/>
                      <a:gd name="T3" fmla="*/ 7 h 7"/>
                      <a:gd name="T4" fmla="*/ 1 w 24"/>
                      <a:gd name="T5" fmla="*/ 4 h 7"/>
                      <a:gd name="T6" fmla="*/ 0 60000 65536"/>
                      <a:gd name="T7" fmla="*/ 0 60000 65536"/>
                      <a:gd name="T8" fmla="*/ 0 60000 65536"/>
                      <a:gd name="T9" fmla="*/ 0 w 24"/>
                      <a:gd name="T10" fmla="*/ 0 h 7"/>
                      <a:gd name="T11" fmla="*/ 24 w 24"/>
                      <a:gd name="T12" fmla="*/ 7 h 7"/>
                    </a:gdLst>
                    <a:ahLst/>
                    <a:cxnLst>
                      <a:cxn ang="T6">
                        <a:pos x="T0" y="T1"/>
                      </a:cxn>
                      <a:cxn ang="T7">
                        <a:pos x="T2" y="T3"/>
                      </a:cxn>
                      <a:cxn ang="T8">
                        <a:pos x="T4" y="T5"/>
                      </a:cxn>
                    </a:cxnLst>
                    <a:rect l="T9" t="T10" r="T11" b="T12"/>
                    <a:pathLst>
                      <a:path w="24" h="7">
                        <a:moveTo>
                          <a:pt x="1" y="4"/>
                        </a:moveTo>
                        <a:cubicBezTo>
                          <a:pt x="22" y="3"/>
                          <a:pt x="24" y="3"/>
                          <a:pt x="12" y="7"/>
                        </a:cubicBezTo>
                        <a:cubicBezTo>
                          <a:pt x="6" y="6"/>
                          <a:pt x="0" y="0"/>
                          <a:pt x="1" y="4"/>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30" name="Freeform 2555">
                    <a:extLst>
                      <a:ext uri="{FF2B5EF4-FFF2-40B4-BE49-F238E27FC236}">
                        <a16:creationId xmlns:a16="http://schemas.microsoft.com/office/drawing/2014/main" id="{02FB717C-D100-CF07-C3C6-DDEC05CEEFDB}"/>
                      </a:ext>
                    </a:extLst>
                  </p:cNvPr>
                  <p:cNvSpPr>
                    <a:spLocks noChangeAspect="1"/>
                  </p:cNvSpPr>
                  <p:nvPr/>
                </p:nvSpPr>
                <p:spPr bwMode="auto">
                  <a:xfrm>
                    <a:off x="1507" y="5019"/>
                    <a:ext cx="706" cy="756"/>
                  </a:xfrm>
                  <a:custGeom>
                    <a:avLst/>
                    <a:gdLst>
                      <a:gd name="T0" fmla="*/ 694 w 706"/>
                      <a:gd name="T1" fmla="*/ 39 h 756"/>
                      <a:gd name="T2" fmla="*/ 624 w 706"/>
                      <a:gd name="T3" fmla="*/ 0 h 756"/>
                      <a:gd name="T4" fmla="*/ 508 w 706"/>
                      <a:gd name="T5" fmla="*/ 12 h 756"/>
                      <a:gd name="T6" fmla="*/ 432 w 706"/>
                      <a:gd name="T7" fmla="*/ 28 h 756"/>
                      <a:gd name="T8" fmla="*/ 376 w 706"/>
                      <a:gd name="T9" fmla="*/ 60 h 756"/>
                      <a:gd name="T10" fmla="*/ 328 w 706"/>
                      <a:gd name="T11" fmla="*/ 92 h 756"/>
                      <a:gd name="T12" fmla="*/ 304 w 706"/>
                      <a:gd name="T13" fmla="*/ 100 h 756"/>
                      <a:gd name="T14" fmla="*/ 244 w 706"/>
                      <a:gd name="T15" fmla="*/ 156 h 756"/>
                      <a:gd name="T16" fmla="*/ 364 w 706"/>
                      <a:gd name="T17" fmla="*/ 240 h 756"/>
                      <a:gd name="T18" fmla="*/ 324 w 706"/>
                      <a:gd name="T19" fmla="*/ 272 h 756"/>
                      <a:gd name="T20" fmla="*/ 220 w 706"/>
                      <a:gd name="T21" fmla="*/ 268 h 756"/>
                      <a:gd name="T22" fmla="*/ 168 w 706"/>
                      <a:gd name="T23" fmla="*/ 316 h 756"/>
                      <a:gd name="T24" fmla="*/ 112 w 706"/>
                      <a:gd name="T25" fmla="*/ 392 h 756"/>
                      <a:gd name="T26" fmla="*/ 76 w 706"/>
                      <a:gd name="T27" fmla="*/ 420 h 756"/>
                      <a:gd name="T28" fmla="*/ 12 w 706"/>
                      <a:gd name="T29" fmla="*/ 504 h 756"/>
                      <a:gd name="T30" fmla="*/ 36 w 706"/>
                      <a:gd name="T31" fmla="*/ 560 h 756"/>
                      <a:gd name="T32" fmla="*/ 76 w 706"/>
                      <a:gd name="T33" fmla="*/ 580 h 756"/>
                      <a:gd name="T34" fmla="*/ 196 w 706"/>
                      <a:gd name="T35" fmla="*/ 536 h 756"/>
                      <a:gd name="T36" fmla="*/ 300 w 706"/>
                      <a:gd name="T37" fmla="*/ 564 h 756"/>
                      <a:gd name="T38" fmla="*/ 364 w 706"/>
                      <a:gd name="T39" fmla="*/ 612 h 756"/>
                      <a:gd name="T40" fmla="*/ 400 w 706"/>
                      <a:gd name="T41" fmla="*/ 628 h 756"/>
                      <a:gd name="T42" fmla="*/ 424 w 706"/>
                      <a:gd name="T43" fmla="*/ 644 h 756"/>
                      <a:gd name="T44" fmla="*/ 392 w 706"/>
                      <a:gd name="T45" fmla="*/ 704 h 756"/>
                      <a:gd name="T46" fmla="*/ 408 w 706"/>
                      <a:gd name="T47" fmla="*/ 756 h 756"/>
                      <a:gd name="T48" fmla="*/ 464 w 706"/>
                      <a:gd name="T49" fmla="*/ 732 h 756"/>
                      <a:gd name="T50" fmla="*/ 460 w 706"/>
                      <a:gd name="T51" fmla="*/ 720 h 756"/>
                      <a:gd name="T52" fmla="*/ 440 w 706"/>
                      <a:gd name="T53" fmla="*/ 692 h 756"/>
                      <a:gd name="T54" fmla="*/ 466 w 706"/>
                      <a:gd name="T55" fmla="*/ 669 h 756"/>
                      <a:gd name="T56" fmla="*/ 484 w 706"/>
                      <a:gd name="T57" fmla="*/ 624 h 756"/>
                      <a:gd name="T58" fmla="*/ 496 w 706"/>
                      <a:gd name="T59" fmla="*/ 588 h 756"/>
                      <a:gd name="T60" fmla="*/ 484 w 706"/>
                      <a:gd name="T61" fmla="*/ 524 h 756"/>
                      <a:gd name="T62" fmla="*/ 482 w 706"/>
                      <a:gd name="T63" fmla="*/ 471 h 756"/>
                      <a:gd name="T64" fmla="*/ 464 w 706"/>
                      <a:gd name="T65" fmla="*/ 474 h 756"/>
                      <a:gd name="T66" fmla="*/ 529 w 706"/>
                      <a:gd name="T67" fmla="*/ 452 h 756"/>
                      <a:gd name="T68" fmla="*/ 610 w 706"/>
                      <a:gd name="T69" fmla="*/ 431 h 756"/>
                      <a:gd name="T70" fmla="*/ 616 w 706"/>
                      <a:gd name="T71" fmla="*/ 371 h 756"/>
                      <a:gd name="T72" fmla="*/ 652 w 706"/>
                      <a:gd name="T73" fmla="*/ 356 h 756"/>
                      <a:gd name="T74" fmla="*/ 625 w 706"/>
                      <a:gd name="T75" fmla="*/ 273 h 756"/>
                      <a:gd name="T76" fmla="*/ 593 w 706"/>
                      <a:gd name="T77" fmla="*/ 231 h 756"/>
                      <a:gd name="T78" fmla="*/ 628 w 706"/>
                      <a:gd name="T79" fmla="*/ 215 h 756"/>
                      <a:gd name="T80" fmla="*/ 646 w 706"/>
                      <a:gd name="T81" fmla="*/ 242 h 756"/>
                      <a:gd name="T82" fmla="*/ 665 w 706"/>
                      <a:gd name="T83" fmla="*/ 197 h 756"/>
                      <a:gd name="T84" fmla="*/ 694 w 706"/>
                      <a:gd name="T85" fmla="*/ 39 h 75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06"/>
                      <a:gd name="T130" fmla="*/ 0 h 756"/>
                      <a:gd name="T131" fmla="*/ 706 w 706"/>
                      <a:gd name="T132" fmla="*/ 756 h 75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06" h="756">
                        <a:moveTo>
                          <a:pt x="694" y="39"/>
                        </a:moveTo>
                        <a:cubicBezTo>
                          <a:pt x="682" y="7"/>
                          <a:pt x="652" y="20"/>
                          <a:pt x="624" y="0"/>
                        </a:cubicBezTo>
                        <a:cubicBezTo>
                          <a:pt x="584" y="4"/>
                          <a:pt x="548" y="8"/>
                          <a:pt x="508" y="12"/>
                        </a:cubicBezTo>
                        <a:cubicBezTo>
                          <a:pt x="480" y="20"/>
                          <a:pt x="460" y="24"/>
                          <a:pt x="432" y="28"/>
                        </a:cubicBezTo>
                        <a:cubicBezTo>
                          <a:pt x="412" y="36"/>
                          <a:pt x="376" y="60"/>
                          <a:pt x="376" y="60"/>
                        </a:cubicBezTo>
                        <a:cubicBezTo>
                          <a:pt x="364" y="76"/>
                          <a:pt x="344" y="80"/>
                          <a:pt x="328" y="92"/>
                        </a:cubicBezTo>
                        <a:cubicBezTo>
                          <a:pt x="320" y="96"/>
                          <a:pt x="304" y="100"/>
                          <a:pt x="304" y="100"/>
                        </a:cubicBezTo>
                        <a:cubicBezTo>
                          <a:pt x="284" y="124"/>
                          <a:pt x="268" y="140"/>
                          <a:pt x="244" y="156"/>
                        </a:cubicBezTo>
                        <a:cubicBezTo>
                          <a:pt x="252" y="228"/>
                          <a:pt x="300" y="228"/>
                          <a:pt x="364" y="240"/>
                        </a:cubicBezTo>
                        <a:cubicBezTo>
                          <a:pt x="356" y="260"/>
                          <a:pt x="340" y="268"/>
                          <a:pt x="324" y="272"/>
                        </a:cubicBezTo>
                        <a:cubicBezTo>
                          <a:pt x="280" y="268"/>
                          <a:pt x="264" y="264"/>
                          <a:pt x="220" y="268"/>
                        </a:cubicBezTo>
                        <a:cubicBezTo>
                          <a:pt x="200" y="276"/>
                          <a:pt x="176" y="296"/>
                          <a:pt x="168" y="316"/>
                        </a:cubicBezTo>
                        <a:cubicBezTo>
                          <a:pt x="164" y="332"/>
                          <a:pt x="132" y="384"/>
                          <a:pt x="112" y="392"/>
                        </a:cubicBezTo>
                        <a:cubicBezTo>
                          <a:pt x="104" y="408"/>
                          <a:pt x="92" y="412"/>
                          <a:pt x="76" y="420"/>
                        </a:cubicBezTo>
                        <a:cubicBezTo>
                          <a:pt x="68" y="440"/>
                          <a:pt x="32" y="496"/>
                          <a:pt x="12" y="504"/>
                        </a:cubicBezTo>
                        <a:cubicBezTo>
                          <a:pt x="0" y="540"/>
                          <a:pt x="12" y="544"/>
                          <a:pt x="36" y="560"/>
                        </a:cubicBezTo>
                        <a:cubicBezTo>
                          <a:pt x="44" y="580"/>
                          <a:pt x="56" y="576"/>
                          <a:pt x="76" y="580"/>
                        </a:cubicBezTo>
                        <a:cubicBezTo>
                          <a:pt x="128" y="572"/>
                          <a:pt x="148" y="540"/>
                          <a:pt x="196" y="536"/>
                        </a:cubicBezTo>
                        <a:cubicBezTo>
                          <a:pt x="228" y="548"/>
                          <a:pt x="264" y="556"/>
                          <a:pt x="300" y="564"/>
                        </a:cubicBezTo>
                        <a:cubicBezTo>
                          <a:pt x="312" y="600"/>
                          <a:pt x="324" y="608"/>
                          <a:pt x="364" y="612"/>
                        </a:cubicBezTo>
                        <a:cubicBezTo>
                          <a:pt x="376" y="620"/>
                          <a:pt x="388" y="620"/>
                          <a:pt x="400" y="628"/>
                        </a:cubicBezTo>
                        <a:cubicBezTo>
                          <a:pt x="408" y="632"/>
                          <a:pt x="424" y="644"/>
                          <a:pt x="424" y="644"/>
                        </a:cubicBezTo>
                        <a:cubicBezTo>
                          <a:pt x="416" y="668"/>
                          <a:pt x="412" y="688"/>
                          <a:pt x="392" y="704"/>
                        </a:cubicBezTo>
                        <a:cubicBezTo>
                          <a:pt x="384" y="728"/>
                          <a:pt x="380" y="748"/>
                          <a:pt x="408" y="756"/>
                        </a:cubicBezTo>
                        <a:cubicBezTo>
                          <a:pt x="436" y="752"/>
                          <a:pt x="452" y="756"/>
                          <a:pt x="464" y="732"/>
                        </a:cubicBezTo>
                        <a:cubicBezTo>
                          <a:pt x="464" y="728"/>
                          <a:pt x="464" y="724"/>
                          <a:pt x="460" y="720"/>
                        </a:cubicBezTo>
                        <a:cubicBezTo>
                          <a:pt x="456" y="713"/>
                          <a:pt x="439" y="700"/>
                          <a:pt x="440" y="692"/>
                        </a:cubicBezTo>
                        <a:cubicBezTo>
                          <a:pt x="452" y="683"/>
                          <a:pt x="454" y="681"/>
                          <a:pt x="466" y="669"/>
                        </a:cubicBezTo>
                        <a:cubicBezTo>
                          <a:pt x="470" y="653"/>
                          <a:pt x="481" y="645"/>
                          <a:pt x="484" y="624"/>
                        </a:cubicBezTo>
                        <a:cubicBezTo>
                          <a:pt x="488" y="612"/>
                          <a:pt x="490" y="597"/>
                          <a:pt x="496" y="588"/>
                        </a:cubicBezTo>
                        <a:cubicBezTo>
                          <a:pt x="497" y="570"/>
                          <a:pt x="486" y="543"/>
                          <a:pt x="484" y="524"/>
                        </a:cubicBezTo>
                        <a:cubicBezTo>
                          <a:pt x="482" y="505"/>
                          <a:pt x="485" y="479"/>
                          <a:pt x="482" y="471"/>
                        </a:cubicBezTo>
                        <a:cubicBezTo>
                          <a:pt x="479" y="463"/>
                          <a:pt x="456" y="477"/>
                          <a:pt x="464" y="474"/>
                        </a:cubicBezTo>
                        <a:cubicBezTo>
                          <a:pt x="473" y="440"/>
                          <a:pt x="485" y="453"/>
                          <a:pt x="529" y="452"/>
                        </a:cubicBezTo>
                        <a:cubicBezTo>
                          <a:pt x="569" y="446"/>
                          <a:pt x="583" y="443"/>
                          <a:pt x="610" y="431"/>
                        </a:cubicBezTo>
                        <a:cubicBezTo>
                          <a:pt x="622" y="395"/>
                          <a:pt x="577" y="395"/>
                          <a:pt x="616" y="371"/>
                        </a:cubicBezTo>
                        <a:cubicBezTo>
                          <a:pt x="628" y="363"/>
                          <a:pt x="640" y="368"/>
                          <a:pt x="652" y="356"/>
                        </a:cubicBezTo>
                        <a:cubicBezTo>
                          <a:pt x="685" y="318"/>
                          <a:pt x="654" y="255"/>
                          <a:pt x="625" y="273"/>
                        </a:cubicBezTo>
                        <a:cubicBezTo>
                          <a:pt x="603" y="263"/>
                          <a:pt x="593" y="241"/>
                          <a:pt x="593" y="231"/>
                        </a:cubicBezTo>
                        <a:cubicBezTo>
                          <a:pt x="593" y="221"/>
                          <a:pt x="619" y="213"/>
                          <a:pt x="628" y="215"/>
                        </a:cubicBezTo>
                        <a:cubicBezTo>
                          <a:pt x="638" y="230"/>
                          <a:pt x="634" y="230"/>
                          <a:pt x="646" y="242"/>
                        </a:cubicBezTo>
                        <a:cubicBezTo>
                          <a:pt x="653" y="239"/>
                          <a:pt x="657" y="231"/>
                          <a:pt x="665" y="197"/>
                        </a:cubicBezTo>
                        <a:cubicBezTo>
                          <a:pt x="673" y="163"/>
                          <a:pt x="706" y="167"/>
                          <a:pt x="694" y="39"/>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grpSp>
              <p:nvGrpSpPr>
                <p:cNvPr id="113" name="Group 104">
                  <a:extLst>
                    <a:ext uri="{FF2B5EF4-FFF2-40B4-BE49-F238E27FC236}">
                      <a16:creationId xmlns:a16="http://schemas.microsoft.com/office/drawing/2014/main" id="{AC31482C-E117-55F5-45A3-C12F10BB7754}"/>
                    </a:ext>
                  </a:extLst>
                </p:cNvPr>
                <p:cNvGrpSpPr>
                  <a:grpSpLocks/>
                </p:cNvGrpSpPr>
                <p:nvPr/>
              </p:nvGrpSpPr>
              <p:grpSpPr bwMode="auto">
                <a:xfrm>
                  <a:off x="3044824" y="3157539"/>
                  <a:ext cx="631828" cy="1181101"/>
                  <a:chOff x="-347" y="2747"/>
                  <a:chExt cx="1590" cy="2976"/>
                </a:xfrm>
                <a:grpFill/>
              </p:grpSpPr>
              <p:sp>
                <p:nvSpPr>
                  <p:cNvPr id="115" name="Freeform 2557">
                    <a:extLst>
                      <a:ext uri="{FF2B5EF4-FFF2-40B4-BE49-F238E27FC236}">
                        <a16:creationId xmlns:a16="http://schemas.microsoft.com/office/drawing/2014/main" id="{D636A30B-4080-C1CE-C39A-30D27C07169F}"/>
                      </a:ext>
                    </a:extLst>
                  </p:cNvPr>
                  <p:cNvSpPr>
                    <a:spLocks noChangeAspect="1"/>
                  </p:cNvSpPr>
                  <p:nvPr/>
                </p:nvSpPr>
                <p:spPr bwMode="auto">
                  <a:xfrm>
                    <a:off x="1007" y="2747"/>
                    <a:ext cx="144" cy="288"/>
                  </a:xfrm>
                  <a:custGeom>
                    <a:avLst/>
                    <a:gdLst>
                      <a:gd name="T0" fmla="*/ 32 w 36"/>
                      <a:gd name="T1" fmla="*/ 4 h 72"/>
                      <a:gd name="T2" fmla="*/ 20 w 36"/>
                      <a:gd name="T3" fmla="*/ 11 h 72"/>
                      <a:gd name="T4" fmla="*/ 7 w 36"/>
                      <a:gd name="T5" fmla="*/ 22 h 72"/>
                      <a:gd name="T6" fmla="*/ 3 w 36"/>
                      <a:gd name="T7" fmla="*/ 28 h 72"/>
                      <a:gd name="T8" fmla="*/ 0 w 36"/>
                      <a:gd name="T9" fmla="*/ 43 h 72"/>
                      <a:gd name="T10" fmla="*/ 7 w 36"/>
                      <a:gd name="T11" fmla="*/ 72 h 72"/>
                      <a:gd name="T12" fmla="*/ 17 w 36"/>
                      <a:gd name="T13" fmla="*/ 63 h 72"/>
                      <a:gd name="T14" fmla="*/ 21 w 36"/>
                      <a:gd name="T15" fmla="*/ 54 h 72"/>
                      <a:gd name="T16" fmla="*/ 30 w 36"/>
                      <a:gd name="T17" fmla="*/ 23 h 72"/>
                      <a:gd name="T18" fmla="*/ 36 w 36"/>
                      <a:gd name="T19" fmla="*/ 9 h 72"/>
                      <a:gd name="T20" fmla="*/ 26 w 36"/>
                      <a:gd name="T21" fmla="*/ 11 h 72"/>
                      <a:gd name="T22" fmla="*/ 32 w 36"/>
                      <a:gd name="T23" fmla="*/ 4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72"/>
                      <a:gd name="T38" fmla="*/ 36 w 36"/>
                      <a:gd name="T39" fmla="*/ 72 h 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72">
                        <a:moveTo>
                          <a:pt x="32" y="4"/>
                        </a:moveTo>
                        <a:cubicBezTo>
                          <a:pt x="24" y="5"/>
                          <a:pt x="26" y="8"/>
                          <a:pt x="20" y="11"/>
                        </a:cubicBezTo>
                        <a:cubicBezTo>
                          <a:pt x="16" y="16"/>
                          <a:pt x="11" y="17"/>
                          <a:pt x="7" y="22"/>
                        </a:cubicBezTo>
                        <a:cubicBezTo>
                          <a:pt x="5" y="24"/>
                          <a:pt x="3" y="28"/>
                          <a:pt x="3" y="28"/>
                        </a:cubicBezTo>
                        <a:cubicBezTo>
                          <a:pt x="2" y="33"/>
                          <a:pt x="2" y="38"/>
                          <a:pt x="0" y="43"/>
                        </a:cubicBezTo>
                        <a:cubicBezTo>
                          <a:pt x="2" y="53"/>
                          <a:pt x="1" y="63"/>
                          <a:pt x="7" y="72"/>
                        </a:cubicBezTo>
                        <a:cubicBezTo>
                          <a:pt x="10" y="68"/>
                          <a:pt x="12" y="66"/>
                          <a:pt x="17" y="63"/>
                        </a:cubicBezTo>
                        <a:cubicBezTo>
                          <a:pt x="18" y="60"/>
                          <a:pt x="20" y="57"/>
                          <a:pt x="21" y="54"/>
                        </a:cubicBezTo>
                        <a:cubicBezTo>
                          <a:pt x="22" y="42"/>
                          <a:pt x="20" y="30"/>
                          <a:pt x="30" y="23"/>
                        </a:cubicBezTo>
                        <a:cubicBezTo>
                          <a:pt x="32" y="19"/>
                          <a:pt x="34" y="14"/>
                          <a:pt x="36" y="9"/>
                        </a:cubicBezTo>
                        <a:cubicBezTo>
                          <a:pt x="33" y="0"/>
                          <a:pt x="30" y="7"/>
                          <a:pt x="26" y="11"/>
                        </a:cubicBezTo>
                        <a:lnTo>
                          <a:pt x="32" y="4"/>
                        </a:ln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16" name="Freeform 2558">
                    <a:extLst>
                      <a:ext uri="{FF2B5EF4-FFF2-40B4-BE49-F238E27FC236}">
                        <a16:creationId xmlns:a16="http://schemas.microsoft.com/office/drawing/2014/main" id="{3FD7DD09-8A7F-8AE9-59D1-C2D4A33A67B2}"/>
                      </a:ext>
                    </a:extLst>
                  </p:cNvPr>
                  <p:cNvSpPr>
                    <a:spLocks noChangeAspect="1"/>
                  </p:cNvSpPr>
                  <p:nvPr/>
                </p:nvSpPr>
                <p:spPr bwMode="auto">
                  <a:xfrm>
                    <a:off x="715" y="3135"/>
                    <a:ext cx="120" cy="132"/>
                  </a:xfrm>
                  <a:custGeom>
                    <a:avLst/>
                    <a:gdLst>
                      <a:gd name="T0" fmla="*/ 16 w 30"/>
                      <a:gd name="T1" fmla="*/ 0 h 33"/>
                      <a:gd name="T2" fmla="*/ 3 w 30"/>
                      <a:gd name="T3" fmla="*/ 9 h 33"/>
                      <a:gd name="T4" fmla="*/ 0 w 30"/>
                      <a:gd name="T5" fmla="*/ 21 h 33"/>
                      <a:gd name="T6" fmla="*/ 10 w 30"/>
                      <a:gd name="T7" fmla="*/ 33 h 33"/>
                      <a:gd name="T8" fmla="*/ 25 w 30"/>
                      <a:gd name="T9" fmla="*/ 26 h 33"/>
                      <a:gd name="T10" fmla="*/ 30 w 30"/>
                      <a:gd name="T11" fmla="*/ 12 h 33"/>
                      <a:gd name="T12" fmla="*/ 16 w 30"/>
                      <a:gd name="T13" fmla="*/ 0 h 33"/>
                      <a:gd name="T14" fmla="*/ 0 60000 65536"/>
                      <a:gd name="T15" fmla="*/ 0 60000 65536"/>
                      <a:gd name="T16" fmla="*/ 0 60000 65536"/>
                      <a:gd name="T17" fmla="*/ 0 60000 65536"/>
                      <a:gd name="T18" fmla="*/ 0 60000 65536"/>
                      <a:gd name="T19" fmla="*/ 0 60000 65536"/>
                      <a:gd name="T20" fmla="*/ 0 60000 65536"/>
                      <a:gd name="T21" fmla="*/ 0 w 30"/>
                      <a:gd name="T22" fmla="*/ 0 h 33"/>
                      <a:gd name="T23" fmla="*/ 30 w 30"/>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33">
                        <a:moveTo>
                          <a:pt x="16" y="0"/>
                        </a:moveTo>
                        <a:cubicBezTo>
                          <a:pt x="7" y="3"/>
                          <a:pt x="9" y="3"/>
                          <a:pt x="3" y="9"/>
                        </a:cubicBezTo>
                        <a:cubicBezTo>
                          <a:pt x="0" y="17"/>
                          <a:pt x="1" y="13"/>
                          <a:pt x="0" y="21"/>
                        </a:cubicBezTo>
                        <a:cubicBezTo>
                          <a:pt x="1" y="29"/>
                          <a:pt x="3" y="31"/>
                          <a:pt x="10" y="33"/>
                        </a:cubicBezTo>
                        <a:cubicBezTo>
                          <a:pt x="25" y="32"/>
                          <a:pt x="18" y="33"/>
                          <a:pt x="25" y="26"/>
                        </a:cubicBezTo>
                        <a:cubicBezTo>
                          <a:pt x="26" y="20"/>
                          <a:pt x="27" y="17"/>
                          <a:pt x="30" y="12"/>
                        </a:cubicBezTo>
                        <a:cubicBezTo>
                          <a:pt x="27" y="0"/>
                          <a:pt x="24" y="5"/>
                          <a:pt x="16"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17" name="Freeform 2559">
                    <a:extLst>
                      <a:ext uri="{FF2B5EF4-FFF2-40B4-BE49-F238E27FC236}">
                        <a16:creationId xmlns:a16="http://schemas.microsoft.com/office/drawing/2014/main" id="{2EB53D7C-80CD-0607-D7B3-10491BD40BA3}"/>
                      </a:ext>
                    </a:extLst>
                  </p:cNvPr>
                  <p:cNvSpPr>
                    <a:spLocks noChangeAspect="1"/>
                  </p:cNvSpPr>
                  <p:nvPr/>
                </p:nvSpPr>
                <p:spPr bwMode="auto">
                  <a:xfrm>
                    <a:off x="-88" y="3271"/>
                    <a:ext cx="340" cy="432"/>
                  </a:xfrm>
                  <a:custGeom>
                    <a:avLst/>
                    <a:gdLst>
                      <a:gd name="T0" fmla="*/ 81 w 85"/>
                      <a:gd name="T1" fmla="*/ 0 h 108"/>
                      <a:gd name="T2" fmla="*/ 45 w 85"/>
                      <a:gd name="T3" fmla="*/ 7 h 108"/>
                      <a:gd name="T4" fmla="*/ 36 w 85"/>
                      <a:gd name="T5" fmla="*/ 42 h 108"/>
                      <a:gd name="T6" fmla="*/ 21 w 85"/>
                      <a:gd name="T7" fmla="*/ 55 h 108"/>
                      <a:gd name="T8" fmla="*/ 6 w 85"/>
                      <a:gd name="T9" fmla="*/ 90 h 108"/>
                      <a:gd name="T10" fmla="*/ 0 w 85"/>
                      <a:gd name="T11" fmla="*/ 103 h 108"/>
                      <a:gd name="T12" fmla="*/ 7 w 85"/>
                      <a:gd name="T13" fmla="*/ 108 h 108"/>
                      <a:gd name="T14" fmla="*/ 23 w 85"/>
                      <a:gd name="T15" fmla="*/ 82 h 108"/>
                      <a:gd name="T16" fmla="*/ 34 w 85"/>
                      <a:gd name="T17" fmla="*/ 64 h 108"/>
                      <a:gd name="T18" fmla="*/ 40 w 85"/>
                      <a:gd name="T19" fmla="*/ 55 h 108"/>
                      <a:gd name="T20" fmla="*/ 58 w 85"/>
                      <a:gd name="T21" fmla="*/ 48 h 108"/>
                      <a:gd name="T22" fmla="*/ 69 w 85"/>
                      <a:gd name="T23" fmla="*/ 40 h 108"/>
                      <a:gd name="T24" fmla="*/ 81 w 85"/>
                      <a:gd name="T25" fmla="*/ 22 h 108"/>
                      <a:gd name="T26" fmla="*/ 84 w 85"/>
                      <a:gd name="T27" fmla="*/ 10 h 108"/>
                      <a:gd name="T28" fmla="*/ 81 w 85"/>
                      <a:gd name="T29" fmla="*/ 0 h 10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5"/>
                      <a:gd name="T46" fmla="*/ 0 h 108"/>
                      <a:gd name="T47" fmla="*/ 85 w 85"/>
                      <a:gd name="T48" fmla="*/ 108 h 10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5" h="108">
                        <a:moveTo>
                          <a:pt x="81" y="0"/>
                        </a:moveTo>
                        <a:cubicBezTo>
                          <a:pt x="69" y="1"/>
                          <a:pt x="55" y="0"/>
                          <a:pt x="45" y="7"/>
                        </a:cubicBezTo>
                        <a:cubicBezTo>
                          <a:pt x="38" y="18"/>
                          <a:pt x="41" y="31"/>
                          <a:pt x="36" y="42"/>
                        </a:cubicBezTo>
                        <a:cubicBezTo>
                          <a:pt x="33" y="48"/>
                          <a:pt x="26" y="52"/>
                          <a:pt x="21" y="55"/>
                        </a:cubicBezTo>
                        <a:cubicBezTo>
                          <a:pt x="14" y="65"/>
                          <a:pt x="17" y="83"/>
                          <a:pt x="6" y="90"/>
                        </a:cubicBezTo>
                        <a:cubicBezTo>
                          <a:pt x="5" y="96"/>
                          <a:pt x="4" y="99"/>
                          <a:pt x="0" y="103"/>
                        </a:cubicBezTo>
                        <a:cubicBezTo>
                          <a:pt x="1" y="106"/>
                          <a:pt x="7" y="108"/>
                          <a:pt x="7" y="108"/>
                        </a:cubicBezTo>
                        <a:cubicBezTo>
                          <a:pt x="12" y="99"/>
                          <a:pt x="15" y="88"/>
                          <a:pt x="23" y="82"/>
                        </a:cubicBezTo>
                        <a:cubicBezTo>
                          <a:pt x="25" y="77"/>
                          <a:pt x="30" y="68"/>
                          <a:pt x="34" y="64"/>
                        </a:cubicBezTo>
                        <a:cubicBezTo>
                          <a:pt x="35" y="60"/>
                          <a:pt x="35" y="57"/>
                          <a:pt x="40" y="55"/>
                        </a:cubicBezTo>
                        <a:cubicBezTo>
                          <a:pt x="45" y="50"/>
                          <a:pt x="51" y="49"/>
                          <a:pt x="58" y="48"/>
                        </a:cubicBezTo>
                        <a:cubicBezTo>
                          <a:pt x="61" y="46"/>
                          <a:pt x="66" y="41"/>
                          <a:pt x="69" y="40"/>
                        </a:cubicBezTo>
                        <a:cubicBezTo>
                          <a:pt x="72" y="34"/>
                          <a:pt x="77" y="26"/>
                          <a:pt x="81" y="22"/>
                        </a:cubicBezTo>
                        <a:cubicBezTo>
                          <a:pt x="82" y="18"/>
                          <a:pt x="83" y="14"/>
                          <a:pt x="84" y="10"/>
                        </a:cubicBezTo>
                        <a:cubicBezTo>
                          <a:pt x="83" y="1"/>
                          <a:pt x="85" y="4"/>
                          <a:pt x="81"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18" name="Freeform 2560">
                    <a:extLst>
                      <a:ext uri="{FF2B5EF4-FFF2-40B4-BE49-F238E27FC236}">
                        <a16:creationId xmlns:a16="http://schemas.microsoft.com/office/drawing/2014/main" id="{E83E2CF3-B7AD-105B-B552-9E079080766D}"/>
                      </a:ext>
                    </a:extLst>
                  </p:cNvPr>
                  <p:cNvSpPr>
                    <a:spLocks noChangeAspect="1"/>
                  </p:cNvSpPr>
                  <p:nvPr/>
                </p:nvSpPr>
                <p:spPr bwMode="auto">
                  <a:xfrm>
                    <a:off x="76" y="3503"/>
                    <a:ext cx="176" cy="200"/>
                  </a:xfrm>
                  <a:custGeom>
                    <a:avLst/>
                    <a:gdLst>
                      <a:gd name="T0" fmla="*/ 23 w 44"/>
                      <a:gd name="T1" fmla="*/ 0 h 50"/>
                      <a:gd name="T2" fmla="*/ 41 w 44"/>
                      <a:gd name="T3" fmla="*/ 31 h 50"/>
                      <a:gd name="T4" fmla="*/ 31 w 44"/>
                      <a:gd name="T5" fmla="*/ 46 h 50"/>
                      <a:gd name="T6" fmla="*/ 25 w 44"/>
                      <a:gd name="T7" fmla="*/ 49 h 50"/>
                      <a:gd name="T8" fmla="*/ 16 w 44"/>
                      <a:gd name="T9" fmla="*/ 30 h 50"/>
                      <a:gd name="T10" fmla="*/ 4 w 44"/>
                      <a:gd name="T11" fmla="*/ 18 h 50"/>
                      <a:gd name="T12" fmla="*/ 12 w 44"/>
                      <a:gd name="T13" fmla="*/ 7 h 50"/>
                      <a:gd name="T14" fmla="*/ 17 w 44"/>
                      <a:gd name="T15" fmla="*/ 8 h 50"/>
                      <a:gd name="T16" fmla="*/ 19 w 44"/>
                      <a:gd name="T17" fmla="*/ 12 h 50"/>
                      <a:gd name="T18" fmla="*/ 23 w 44"/>
                      <a:gd name="T19" fmla="*/ 0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50"/>
                      <a:gd name="T32" fmla="*/ 44 w 44"/>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50">
                        <a:moveTo>
                          <a:pt x="23" y="0"/>
                        </a:moveTo>
                        <a:cubicBezTo>
                          <a:pt x="38" y="10"/>
                          <a:pt x="20" y="24"/>
                          <a:pt x="41" y="31"/>
                        </a:cubicBezTo>
                        <a:cubicBezTo>
                          <a:pt x="44" y="39"/>
                          <a:pt x="38" y="45"/>
                          <a:pt x="31" y="46"/>
                        </a:cubicBezTo>
                        <a:cubicBezTo>
                          <a:pt x="30" y="46"/>
                          <a:pt x="26" y="50"/>
                          <a:pt x="25" y="49"/>
                        </a:cubicBezTo>
                        <a:cubicBezTo>
                          <a:pt x="18" y="46"/>
                          <a:pt x="19" y="35"/>
                          <a:pt x="16" y="30"/>
                        </a:cubicBezTo>
                        <a:cubicBezTo>
                          <a:pt x="11" y="22"/>
                          <a:pt x="11" y="22"/>
                          <a:pt x="4" y="18"/>
                        </a:cubicBezTo>
                        <a:cubicBezTo>
                          <a:pt x="0" y="10"/>
                          <a:pt x="4" y="9"/>
                          <a:pt x="12" y="7"/>
                        </a:cubicBezTo>
                        <a:cubicBezTo>
                          <a:pt x="14" y="7"/>
                          <a:pt x="16" y="7"/>
                          <a:pt x="17" y="8"/>
                        </a:cubicBezTo>
                        <a:cubicBezTo>
                          <a:pt x="18" y="9"/>
                          <a:pt x="19" y="12"/>
                          <a:pt x="19" y="12"/>
                        </a:cubicBezTo>
                        <a:lnTo>
                          <a:pt x="23" y="0"/>
                        </a:ln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19" name="Freeform 2561">
                    <a:extLst>
                      <a:ext uri="{FF2B5EF4-FFF2-40B4-BE49-F238E27FC236}">
                        <a16:creationId xmlns:a16="http://schemas.microsoft.com/office/drawing/2014/main" id="{8395687B-558D-B455-7BBB-F4BD88671417}"/>
                      </a:ext>
                    </a:extLst>
                  </p:cNvPr>
                  <p:cNvSpPr>
                    <a:spLocks noChangeAspect="1"/>
                  </p:cNvSpPr>
                  <p:nvPr/>
                </p:nvSpPr>
                <p:spPr bwMode="auto">
                  <a:xfrm>
                    <a:off x="12" y="3987"/>
                    <a:ext cx="108" cy="128"/>
                  </a:xfrm>
                  <a:custGeom>
                    <a:avLst/>
                    <a:gdLst>
                      <a:gd name="T0" fmla="*/ 8 w 27"/>
                      <a:gd name="T1" fmla="*/ 7 h 32"/>
                      <a:gd name="T2" fmla="*/ 8 w 27"/>
                      <a:gd name="T3" fmla="*/ 23 h 32"/>
                      <a:gd name="T4" fmla="*/ 10 w 27"/>
                      <a:gd name="T5" fmla="*/ 26 h 32"/>
                      <a:gd name="T6" fmla="*/ 9 w 27"/>
                      <a:gd name="T7" fmla="*/ 30 h 32"/>
                      <a:gd name="T8" fmla="*/ 6 w 27"/>
                      <a:gd name="T9" fmla="*/ 32 h 32"/>
                      <a:gd name="T10" fmla="*/ 17 w 27"/>
                      <a:gd name="T11" fmla="*/ 31 h 32"/>
                      <a:gd name="T12" fmla="*/ 27 w 27"/>
                      <a:gd name="T13" fmla="*/ 12 h 32"/>
                      <a:gd name="T14" fmla="*/ 8 w 27"/>
                      <a:gd name="T15" fmla="*/ 7 h 32"/>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32"/>
                      <a:gd name="T26" fmla="*/ 27 w 27"/>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32">
                        <a:moveTo>
                          <a:pt x="8" y="7"/>
                        </a:moveTo>
                        <a:cubicBezTo>
                          <a:pt x="0" y="11"/>
                          <a:pt x="1" y="18"/>
                          <a:pt x="8" y="23"/>
                        </a:cubicBezTo>
                        <a:cubicBezTo>
                          <a:pt x="9" y="24"/>
                          <a:pt x="10" y="25"/>
                          <a:pt x="10" y="26"/>
                        </a:cubicBezTo>
                        <a:cubicBezTo>
                          <a:pt x="10" y="27"/>
                          <a:pt x="10" y="29"/>
                          <a:pt x="9" y="30"/>
                        </a:cubicBezTo>
                        <a:cubicBezTo>
                          <a:pt x="8" y="31"/>
                          <a:pt x="5" y="32"/>
                          <a:pt x="6" y="32"/>
                        </a:cubicBezTo>
                        <a:cubicBezTo>
                          <a:pt x="10" y="32"/>
                          <a:pt x="13" y="31"/>
                          <a:pt x="17" y="31"/>
                        </a:cubicBezTo>
                        <a:cubicBezTo>
                          <a:pt x="25" y="25"/>
                          <a:pt x="16" y="19"/>
                          <a:pt x="27" y="12"/>
                        </a:cubicBezTo>
                        <a:cubicBezTo>
                          <a:pt x="24" y="0"/>
                          <a:pt x="0" y="18"/>
                          <a:pt x="8" y="7"/>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20" name="Freeform 2562">
                    <a:extLst>
                      <a:ext uri="{FF2B5EF4-FFF2-40B4-BE49-F238E27FC236}">
                        <a16:creationId xmlns:a16="http://schemas.microsoft.com/office/drawing/2014/main" id="{F79FE495-A9AE-F038-93C6-5BA8812ED6A3}"/>
                      </a:ext>
                    </a:extLst>
                  </p:cNvPr>
                  <p:cNvSpPr>
                    <a:spLocks noChangeAspect="1"/>
                  </p:cNvSpPr>
                  <p:nvPr/>
                </p:nvSpPr>
                <p:spPr bwMode="auto">
                  <a:xfrm>
                    <a:off x="172" y="4495"/>
                    <a:ext cx="128" cy="100"/>
                  </a:xfrm>
                  <a:custGeom>
                    <a:avLst/>
                    <a:gdLst>
                      <a:gd name="T0" fmla="*/ 19 w 32"/>
                      <a:gd name="T1" fmla="*/ 0 h 25"/>
                      <a:gd name="T2" fmla="*/ 13 w 32"/>
                      <a:gd name="T3" fmla="*/ 10 h 25"/>
                      <a:gd name="T4" fmla="*/ 7 w 32"/>
                      <a:gd name="T5" fmla="*/ 14 h 25"/>
                      <a:gd name="T6" fmla="*/ 0 w 32"/>
                      <a:gd name="T7" fmla="*/ 23 h 25"/>
                      <a:gd name="T8" fmla="*/ 19 w 32"/>
                      <a:gd name="T9" fmla="*/ 24 h 25"/>
                      <a:gd name="T10" fmla="*/ 28 w 32"/>
                      <a:gd name="T11" fmla="*/ 18 h 25"/>
                      <a:gd name="T12" fmla="*/ 23 w 32"/>
                      <a:gd name="T13" fmla="*/ 1 h 25"/>
                      <a:gd name="T14" fmla="*/ 19 w 32"/>
                      <a:gd name="T15" fmla="*/ 0 h 25"/>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25"/>
                      <a:gd name="T26" fmla="*/ 32 w 32"/>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25">
                        <a:moveTo>
                          <a:pt x="19" y="0"/>
                        </a:moveTo>
                        <a:cubicBezTo>
                          <a:pt x="18" y="3"/>
                          <a:pt x="15" y="8"/>
                          <a:pt x="13" y="10"/>
                        </a:cubicBezTo>
                        <a:cubicBezTo>
                          <a:pt x="11" y="12"/>
                          <a:pt x="7" y="14"/>
                          <a:pt x="7" y="14"/>
                        </a:cubicBezTo>
                        <a:cubicBezTo>
                          <a:pt x="5" y="17"/>
                          <a:pt x="2" y="20"/>
                          <a:pt x="0" y="23"/>
                        </a:cubicBezTo>
                        <a:cubicBezTo>
                          <a:pt x="7" y="25"/>
                          <a:pt x="12" y="25"/>
                          <a:pt x="19" y="24"/>
                        </a:cubicBezTo>
                        <a:cubicBezTo>
                          <a:pt x="22" y="22"/>
                          <a:pt x="24" y="19"/>
                          <a:pt x="28" y="18"/>
                        </a:cubicBezTo>
                        <a:cubicBezTo>
                          <a:pt x="30" y="10"/>
                          <a:pt x="32" y="4"/>
                          <a:pt x="23" y="1"/>
                        </a:cubicBezTo>
                        <a:cubicBezTo>
                          <a:pt x="17" y="2"/>
                          <a:pt x="14" y="9"/>
                          <a:pt x="19"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21" name="Freeform 2563">
                    <a:extLst>
                      <a:ext uri="{FF2B5EF4-FFF2-40B4-BE49-F238E27FC236}">
                        <a16:creationId xmlns:a16="http://schemas.microsoft.com/office/drawing/2014/main" id="{DCD084D6-6C04-0C4E-B1DC-ECB5842298C7}"/>
                      </a:ext>
                    </a:extLst>
                  </p:cNvPr>
                  <p:cNvSpPr>
                    <a:spLocks noChangeAspect="1"/>
                  </p:cNvSpPr>
                  <p:nvPr/>
                </p:nvSpPr>
                <p:spPr bwMode="auto">
                  <a:xfrm>
                    <a:off x="152" y="4783"/>
                    <a:ext cx="112" cy="100"/>
                  </a:xfrm>
                  <a:custGeom>
                    <a:avLst/>
                    <a:gdLst>
                      <a:gd name="T0" fmla="*/ 11 w 28"/>
                      <a:gd name="T1" fmla="*/ 0 h 25"/>
                      <a:gd name="T2" fmla="*/ 28 w 28"/>
                      <a:gd name="T3" fmla="*/ 10 h 25"/>
                      <a:gd name="T4" fmla="*/ 16 w 28"/>
                      <a:gd name="T5" fmla="*/ 17 h 25"/>
                      <a:gd name="T6" fmla="*/ 3 w 28"/>
                      <a:gd name="T7" fmla="*/ 12 h 25"/>
                      <a:gd name="T8" fmla="*/ 9 w 28"/>
                      <a:gd name="T9" fmla="*/ 4 h 25"/>
                      <a:gd name="T10" fmla="*/ 11 w 28"/>
                      <a:gd name="T11" fmla="*/ 0 h 25"/>
                      <a:gd name="T12" fmla="*/ 0 60000 65536"/>
                      <a:gd name="T13" fmla="*/ 0 60000 65536"/>
                      <a:gd name="T14" fmla="*/ 0 60000 65536"/>
                      <a:gd name="T15" fmla="*/ 0 60000 65536"/>
                      <a:gd name="T16" fmla="*/ 0 60000 65536"/>
                      <a:gd name="T17" fmla="*/ 0 60000 65536"/>
                      <a:gd name="T18" fmla="*/ 0 w 28"/>
                      <a:gd name="T19" fmla="*/ 0 h 25"/>
                      <a:gd name="T20" fmla="*/ 28 w 28"/>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28" h="25">
                        <a:moveTo>
                          <a:pt x="11" y="0"/>
                        </a:moveTo>
                        <a:cubicBezTo>
                          <a:pt x="19" y="2"/>
                          <a:pt x="23" y="4"/>
                          <a:pt x="28" y="10"/>
                        </a:cubicBezTo>
                        <a:cubicBezTo>
                          <a:pt x="26" y="15"/>
                          <a:pt x="21" y="15"/>
                          <a:pt x="16" y="17"/>
                        </a:cubicBezTo>
                        <a:cubicBezTo>
                          <a:pt x="8" y="25"/>
                          <a:pt x="9" y="14"/>
                          <a:pt x="3" y="12"/>
                        </a:cubicBezTo>
                        <a:cubicBezTo>
                          <a:pt x="0" y="5"/>
                          <a:pt x="2" y="5"/>
                          <a:pt x="9" y="4"/>
                        </a:cubicBezTo>
                        <a:cubicBezTo>
                          <a:pt x="13" y="2"/>
                          <a:pt x="18" y="2"/>
                          <a:pt x="11"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22" name="Freeform 2564">
                    <a:extLst>
                      <a:ext uri="{FF2B5EF4-FFF2-40B4-BE49-F238E27FC236}">
                        <a16:creationId xmlns:a16="http://schemas.microsoft.com/office/drawing/2014/main" id="{D88D2DB8-6C4C-06FE-C839-35EC42AFD621}"/>
                      </a:ext>
                    </a:extLst>
                  </p:cNvPr>
                  <p:cNvSpPr>
                    <a:spLocks noChangeAspect="1"/>
                  </p:cNvSpPr>
                  <p:nvPr/>
                </p:nvSpPr>
                <p:spPr bwMode="auto">
                  <a:xfrm>
                    <a:off x="-236" y="3311"/>
                    <a:ext cx="1479" cy="2412"/>
                  </a:xfrm>
                  <a:custGeom>
                    <a:avLst/>
                    <a:gdLst>
                      <a:gd name="T0" fmla="*/ 240 w 370"/>
                      <a:gd name="T1" fmla="*/ 6 h 603"/>
                      <a:gd name="T2" fmla="*/ 185 w 370"/>
                      <a:gd name="T3" fmla="*/ 69 h 603"/>
                      <a:gd name="T4" fmla="*/ 181 w 370"/>
                      <a:gd name="T5" fmla="*/ 78 h 603"/>
                      <a:gd name="T6" fmla="*/ 270 w 370"/>
                      <a:gd name="T7" fmla="*/ 90 h 603"/>
                      <a:gd name="T8" fmla="*/ 235 w 370"/>
                      <a:gd name="T9" fmla="*/ 152 h 603"/>
                      <a:gd name="T10" fmla="*/ 202 w 370"/>
                      <a:gd name="T11" fmla="*/ 162 h 603"/>
                      <a:gd name="T12" fmla="*/ 217 w 370"/>
                      <a:gd name="T13" fmla="*/ 178 h 603"/>
                      <a:gd name="T14" fmla="*/ 193 w 370"/>
                      <a:gd name="T15" fmla="*/ 196 h 603"/>
                      <a:gd name="T16" fmla="*/ 242 w 370"/>
                      <a:gd name="T17" fmla="*/ 212 h 603"/>
                      <a:gd name="T18" fmla="*/ 260 w 370"/>
                      <a:gd name="T19" fmla="*/ 268 h 603"/>
                      <a:gd name="T20" fmla="*/ 270 w 370"/>
                      <a:gd name="T21" fmla="*/ 306 h 603"/>
                      <a:gd name="T22" fmla="*/ 287 w 370"/>
                      <a:gd name="T23" fmla="*/ 319 h 603"/>
                      <a:gd name="T24" fmla="*/ 305 w 370"/>
                      <a:gd name="T25" fmla="*/ 385 h 603"/>
                      <a:gd name="T26" fmla="*/ 269 w 370"/>
                      <a:gd name="T27" fmla="*/ 376 h 603"/>
                      <a:gd name="T28" fmla="*/ 310 w 370"/>
                      <a:gd name="T29" fmla="*/ 402 h 603"/>
                      <a:gd name="T30" fmla="*/ 302 w 370"/>
                      <a:gd name="T31" fmla="*/ 445 h 603"/>
                      <a:gd name="T32" fmla="*/ 342 w 370"/>
                      <a:gd name="T33" fmla="*/ 436 h 603"/>
                      <a:gd name="T34" fmla="*/ 365 w 370"/>
                      <a:gd name="T35" fmla="*/ 459 h 603"/>
                      <a:gd name="T36" fmla="*/ 351 w 370"/>
                      <a:gd name="T37" fmla="*/ 510 h 603"/>
                      <a:gd name="T38" fmla="*/ 324 w 370"/>
                      <a:gd name="T39" fmla="*/ 522 h 603"/>
                      <a:gd name="T40" fmla="*/ 304 w 370"/>
                      <a:gd name="T41" fmla="*/ 544 h 603"/>
                      <a:gd name="T42" fmla="*/ 331 w 370"/>
                      <a:gd name="T43" fmla="*/ 552 h 603"/>
                      <a:gd name="T44" fmla="*/ 317 w 370"/>
                      <a:gd name="T45" fmla="*/ 584 h 603"/>
                      <a:gd name="T46" fmla="*/ 284 w 370"/>
                      <a:gd name="T47" fmla="*/ 595 h 603"/>
                      <a:gd name="T48" fmla="*/ 251 w 370"/>
                      <a:gd name="T49" fmla="*/ 585 h 603"/>
                      <a:gd name="T50" fmla="*/ 221 w 370"/>
                      <a:gd name="T51" fmla="*/ 578 h 603"/>
                      <a:gd name="T52" fmla="*/ 198 w 370"/>
                      <a:gd name="T53" fmla="*/ 580 h 603"/>
                      <a:gd name="T54" fmla="*/ 174 w 370"/>
                      <a:gd name="T55" fmla="*/ 584 h 603"/>
                      <a:gd name="T56" fmla="*/ 120 w 370"/>
                      <a:gd name="T57" fmla="*/ 574 h 603"/>
                      <a:gd name="T58" fmla="*/ 97 w 370"/>
                      <a:gd name="T59" fmla="*/ 596 h 603"/>
                      <a:gd name="T60" fmla="*/ 49 w 370"/>
                      <a:gd name="T61" fmla="*/ 590 h 603"/>
                      <a:gd name="T62" fmla="*/ 8 w 370"/>
                      <a:gd name="T63" fmla="*/ 594 h 603"/>
                      <a:gd name="T64" fmla="*/ 40 w 370"/>
                      <a:gd name="T65" fmla="*/ 583 h 603"/>
                      <a:gd name="T66" fmla="*/ 82 w 370"/>
                      <a:gd name="T67" fmla="*/ 543 h 603"/>
                      <a:gd name="T68" fmla="*/ 120 w 370"/>
                      <a:gd name="T69" fmla="*/ 535 h 603"/>
                      <a:gd name="T70" fmla="*/ 172 w 370"/>
                      <a:gd name="T71" fmla="*/ 508 h 603"/>
                      <a:gd name="T72" fmla="*/ 164 w 370"/>
                      <a:gd name="T73" fmla="*/ 507 h 603"/>
                      <a:gd name="T74" fmla="*/ 127 w 370"/>
                      <a:gd name="T75" fmla="*/ 519 h 603"/>
                      <a:gd name="T76" fmla="*/ 90 w 370"/>
                      <a:gd name="T77" fmla="*/ 487 h 603"/>
                      <a:gd name="T78" fmla="*/ 88 w 370"/>
                      <a:gd name="T79" fmla="*/ 460 h 603"/>
                      <a:gd name="T80" fmla="*/ 118 w 370"/>
                      <a:gd name="T81" fmla="*/ 432 h 603"/>
                      <a:gd name="T82" fmla="*/ 92 w 370"/>
                      <a:gd name="T83" fmla="*/ 410 h 603"/>
                      <a:gd name="T84" fmla="*/ 131 w 370"/>
                      <a:gd name="T85" fmla="*/ 385 h 603"/>
                      <a:gd name="T86" fmla="*/ 174 w 370"/>
                      <a:gd name="T87" fmla="*/ 369 h 603"/>
                      <a:gd name="T88" fmla="*/ 197 w 370"/>
                      <a:gd name="T89" fmla="*/ 325 h 603"/>
                      <a:gd name="T90" fmla="*/ 179 w 370"/>
                      <a:gd name="T91" fmla="*/ 276 h 603"/>
                      <a:gd name="T92" fmla="*/ 115 w 370"/>
                      <a:gd name="T93" fmla="*/ 270 h 603"/>
                      <a:gd name="T94" fmla="*/ 130 w 370"/>
                      <a:gd name="T95" fmla="*/ 230 h 603"/>
                      <a:gd name="T96" fmla="*/ 124 w 370"/>
                      <a:gd name="T97" fmla="*/ 177 h 603"/>
                      <a:gd name="T98" fmla="*/ 118 w 370"/>
                      <a:gd name="T99" fmla="*/ 145 h 603"/>
                      <a:gd name="T100" fmla="*/ 78 w 370"/>
                      <a:gd name="T101" fmla="*/ 146 h 603"/>
                      <a:gd name="T102" fmla="*/ 100 w 370"/>
                      <a:gd name="T103" fmla="*/ 115 h 603"/>
                      <a:gd name="T104" fmla="*/ 122 w 370"/>
                      <a:gd name="T105" fmla="*/ 67 h 603"/>
                      <a:gd name="T106" fmla="*/ 160 w 370"/>
                      <a:gd name="T107" fmla="*/ 12 h 603"/>
                      <a:gd name="T108" fmla="*/ 174 w 370"/>
                      <a:gd name="T109" fmla="*/ 3 h 60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70"/>
                      <a:gd name="T166" fmla="*/ 0 h 603"/>
                      <a:gd name="T167" fmla="*/ 370 w 370"/>
                      <a:gd name="T168" fmla="*/ 603 h 60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70" h="603">
                        <a:moveTo>
                          <a:pt x="174" y="3"/>
                        </a:moveTo>
                        <a:cubicBezTo>
                          <a:pt x="184" y="2"/>
                          <a:pt x="190" y="6"/>
                          <a:pt x="199" y="7"/>
                        </a:cubicBezTo>
                        <a:cubicBezTo>
                          <a:pt x="217" y="6"/>
                          <a:pt x="224" y="4"/>
                          <a:pt x="240" y="6"/>
                        </a:cubicBezTo>
                        <a:cubicBezTo>
                          <a:pt x="237" y="29"/>
                          <a:pt x="221" y="37"/>
                          <a:pt x="199" y="40"/>
                        </a:cubicBezTo>
                        <a:cubicBezTo>
                          <a:pt x="193" y="44"/>
                          <a:pt x="192" y="44"/>
                          <a:pt x="190" y="51"/>
                        </a:cubicBezTo>
                        <a:cubicBezTo>
                          <a:pt x="192" y="60"/>
                          <a:pt x="193" y="64"/>
                          <a:pt x="185" y="69"/>
                        </a:cubicBezTo>
                        <a:cubicBezTo>
                          <a:pt x="183" y="75"/>
                          <a:pt x="182" y="78"/>
                          <a:pt x="176" y="79"/>
                        </a:cubicBezTo>
                        <a:cubicBezTo>
                          <a:pt x="173" y="80"/>
                          <a:pt x="165" y="82"/>
                          <a:pt x="168" y="81"/>
                        </a:cubicBezTo>
                        <a:cubicBezTo>
                          <a:pt x="172" y="80"/>
                          <a:pt x="177" y="79"/>
                          <a:pt x="181" y="78"/>
                        </a:cubicBezTo>
                        <a:cubicBezTo>
                          <a:pt x="188" y="73"/>
                          <a:pt x="195" y="75"/>
                          <a:pt x="204" y="74"/>
                        </a:cubicBezTo>
                        <a:cubicBezTo>
                          <a:pt x="224" y="70"/>
                          <a:pt x="243" y="79"/>
                          <a:pt x="263" y="82"/>
                        </a:cubicBezTo>
                        <a:cubicBezTo>
                          <a:pt x="268" y="85"/>
                          <a:pt x="269" y="83"/>
                          <a:pt x="270" y="90"/>
                        </a:cubicBezTo>
                        <a:cubicBezTo>
                          <a:pt x="269" y="97"/>
                          <a:pt x="272" y="104"/>
                          <a:pt x="265" y="106"/>
                        </a:cubicBezTo>
                        <a:cubicBezTo>
                          <a:pt x="260" y="114"/>
                          <a:pt x="254" y="126"/>
                          <a:pt x="248" y="132"/>
                        </a:cubicBezTo>
                        <a:cubicBezTo>
                          <a:pt x="245" y="141"/>
                          <a:pt x="243" y="146"/>
                          <a:pt x="235" y="152"/>
                        </a:cubicBezTo>
                        <a:cubicBezTo>
                          <a:pt x="233" y="157"/>
                          <a:pt x="230" y="161"/>
                          <a:pt x="227" y="165"/>
                        </a:cubicBezTo>
                        <a:cubicBezTo>
                          <a:pt x="222" y="164"/>
                          <a:pt x="217" y="163"/>
                          <a:pt x="212" y="160"/>
                        </a:cubicBezTo>
                        <a:cubicBezTo>
                          <a:pt x="209" y="161"/>
                          <a:pt x="205" y="160"/>
                          <a:pt x="202" y="162"/>
                        </a:cubicBezTo>
                        <a:cubicBezTo>
                          <a:pt x="202" y="162"/>
                          <a:pt x="208" y="165"/>
                          <a:pt x="212" y="166"/>
                        </a:cubicBezTo>
                        <a:cubicBezTo>
                          <a:pt x="217" y="168"/>
                          <a:pt x="222" y="169"/>
                          <a:pt x="226" y="172"/>
                        </a:cubicBezTo>
                        <a:cubicBezTo>
                          <a:pt x="223" y="175"/>
                          <a:pt x="221" y="177"/>
                          <a:pt x="217" y="178"/>
                        </a:cubicBezTo>
                        <a:cubicBezTo>
                          <a:pt x="212" y="185"/>
                          <a:pt x="201" y="183"/>
                          <a:pt x="194" y="184"/>
                        </a:cubicBezTo>
                        <a:cubicBezTo>
                          <a:pt x="191" y="186"/>
                          <a:pt x="188" y="187"/>
                          <a:pt x="184" y="188"/>
                        </a:cubicBezTo>
                        <a:cubicBezTo>
                          <a:pt x="180" y="195"/>
                          <a:pt x="187" y="194"/>
                          <a:pt x="193" y="196"/>
                        </a:cubicBezTo>
                        <a:cubicBezTo>
                          <a:pt x="205" y="195"/>
                          <a:pt x="206" y="189"/>
                          <a:pt x="216" y="192"/>
                        </a:cubicBezTo>
                        <a:cubicBezTo>
                          <a:pt x="219" y="194"/>
                          <a:pt x="230" y="198"/>
                          <a:pt x="233" y="200"/>
                        </a:cubicBezTo>
                        <a:cubicBezTo>
                          <a:pt x="236" y="204"/>
                          <a:pt x="238" y="209"/>
                          <a:pt x="242" y="212"/>
                        </a:cubicBezTo>
                        <a:cubicBezTo>
                          <a:pt x="243" y="216"/>
                          <a:pt x="241" y="221"/>
                          <a:pt x="245" y="224"/>
                        </a:cubicBezTo>
                        <a:cubicBezTo>
                          <a:pt x="248" y="235"/>
                          <a:pt x="243" y="233"/>
                          <a:pt x="254" y="237"/>
                        </a:cubicBezTo>
                        <a:cubicBezTo>
                          <a:pt x="253" y="242"/>
                          <a:pt x="262" y="263"/>
                          <a:pt x="260" y="268"/>
                        </a:cubicBezTo>
                        <a:cubicBezTo>
                          <a:pt x="259" y="270"/>
                          <a:pt x="258" y="274"/>
                          <a:pt x="258" y="274"/>
                        </a:cubicBezTo>
                        <a:cubicBezTo>
                          <a:pt x="259" y="296"/>
                          <a:pt x="255" y="289"/>
                          <a:pt x="266" y="296"/>
                        </a:cubicBezTo>
                        <a:cubicBezTo>
                          <a:pt x="269" y="302"/>
                          <a:pt x="268" y="299"/>
                          <a:pt x="270" y="306"/>
                        </a:cubicBezTo>
                        <a:cubicBezTo>
                          <a:pt x="271" y="308"/>
                          <a:pt x="272" y="312"/>
                          <a:pt x="272" y="312"/>
                        </a:cubicBezTo>
                        <a:cubicBezTo>
                          <a:pt x="275" y="310"/>
                          <a:pt x="289" y="311"/>
                          <a:pt x="270" y="315"/>
                        </a:cubicBezTo>
                        <a:cubicBezTo>
                          <a:pt x="272" y="316"/>
                          <a:pt x="283" y="316"/>
                          <a:pt x="287" y="319"/>
                        </a:cubicBezTo>
                        <a:cubicBezTo>
                          <a:pt x="290" y="311"/>
                          <a:pt x="278" y="330"/>
                          <a:pt x="296" y="333"/>
                        </a:cubicBezTo>
                        <a:cubicBezTo>
                          <a:pt x="300" y="339"/>
                          <a:pt x="303" y="345"/>
                          <a:pt x="305" y="352"/>
                        </a:cubicBezTo>
                        <a:cubicBezTo>
                          <a:pt x="304" y="364"/>
                          <a:pt x="301" y="372"/>
                          <a:pt x="305" y="385"/>
                        </a:cubicBezTo>
                        <a:cubicBezTo>
                          <a:pt x="298" y="387"/>
                          <a:pt x="299" y="379"/>
                          <a:pt x="294" y="376"/>
                        </a:cubicBezTo>
                        <a:cubicBezTo>
                          <a:pt x="289" y="373"/>
                          <a:pt x="281" y="374"/>
                          <a:pt x="275" y="372"/>
                        </a:cubicBezTo>
                        <a:cubicBezTo>
                          <a:pt x="275" y="372"/>
                          <a:pt x="267" y="373"/>
                          <a:pt x="269" y="376"/>
                        </a:cubicBezTo>
                        <a:cubicBezTo>
                          <a:pt x="271" y="380"/>
                          <a:pt x="284" y="386"/>
                          <a:pt x="288" y="387"/>
                        </a:cubicBezTo>
                        <a:cubicBezTo>
                          <a:pt x="291" y="389"/>
                          <a:pt x="299" y="392"/>
                          <a:pt x="299" y="392"/>
                        </a:cubicBezTo>
                        <a:cubicBezTo>
                          <a:pt x="302" y="396"/>
                          <a:pt x="306" y="398"/>
                          <a:pt x="310" y="402"/>
                        </a:cubicBezTo>
                        <a:cubicBezTo>
                          <a:pt x="312" y="409"/>
                          <a:pt x="315" y="419"/>
                          <a:pt x="308" y="424"/>
                        </a:cubicBezTo>
                        <a:cubicBezTo>
                          <a:pt x="305" y="428"/>
                          <a:pt x="302" y="429"/>
                          <a:pt x="301" y="434"/>
                        </a:cubicBezTo>
                        <a:cubicBezTo>
                          <a:pt x="301" y="438"/>
                          <a:pt x="301" y="442"/>
                          <a:pt x="302" y="445"/>
                        </a:cubicBezTo>
                        <a:cubicBezTo>
                          <a:pt x="303" y="448"/>
                          <a:pt x="311" y="444"/>
                          <a:pt x="311" y="444"/>
                        </a:cubicBezTo>
                        <a:cubicBezTo>
                          <a:pt x="314" y="440"/>
                          <a:pt x="315" y="440"/>
                          <a:pt x="320" y="439"/>
                        </a:cubicBezTo>
                        <a:cubicBezTo>
                          <a:pt x="338" y="440"/>
                          <a:pt x="332" y="431"/>
                          <a:pt x="342" y="436"/>
                        </a:cubicBezTo>
                        <a:cubicBezTo>
                          <a:pt x="345" y="438"/>
                          <a:pt x="354" y="440"/>
                          <a:pt x="354" y="440"/>
                        </a:cubicBezTo>
                        <a:cubicBezTo>
                          <a:pt x="357" y="443"/>
                          <a:pt x="360" y="450"/>
                          <a:pt x="364" y="451"/>
                        </a:cubicBezTo>
                        <a:cubicBezTo>
                          <a:pt x="366" y="453"/>
                          <a:pt x="364" y="457"/>
                          <a:pt x="365" y="459"/>
                        </a:cubicBezTo>
                        <a:cubicBezTo>
                          <a:pt x="366" y="461"/>
                          <a:pt x="367" y="465"/>
                          <a:pt x="367" y="465"/>
                        </a:cubicBezTo>
                        <a:cubicBezTo>
                          <a:pt x="368" y="475"/>
                          <a:pt x="370" y="488"/>
                          <a:pt x="361" y="494"/>
                        </a:cubicBezTo>
                        <a:cubicBezTo>
                          <a:pt x="358" y="501"/>
                          <a:pt x="354" y="505"/>
                          <a:pt x="351" y="510"/>
                        </a:cubicBezTo>
                        <a:cubicBezTo>
                          <a:pt x="347" y="512"/>
                          <a:pt x="338" y="506"/>
                          <a:pt x="336" y="508"/>
                        </a:cubicBezTo>
                        <a:cubicBezTo>
                          <a:pt x="334" y="510"/>
                          <a:pt x="343" y="520"/>
                          <a:pt x="341" y="522"/>
                        </a:cubicBezTo>
                        <a:cubicBezTo>
                          <a:pt x="340" y="525"/>
                          <a:pt x="327" y="521"/>
                          <a:pt x="324" y="522"/>
                        </a:cubicBezTo>
                        <a:cubicBezTo>
                          <a:pt x="321" y="523"/>
                          <a:pt x="327" y="527"/>
                          <a:pt x="325" y="530"/>
                        </a:cubicBezTo>
                        <a:cubicBezTo>
                          <a:pt x="323" y="533"/>
                          <a:pt x="315" y="536"/>
                          <a:pt x="311" y="538"/>
                        </a:cubicBezTo>
                        <a:cubicBezTo>
                          <a:pt x="310" y="541"/>
                          <a:pt x="304" y="544"/>
                          <a:pt x="304" y="544"/>
                        </a:cubicBezTo>
                        <a:cubicBezTo>
                          <a:pt x="307" y="552"/>
                          <a:pt x="307" y="552"/>
                          <a:pt x="316" y="553"/>
                        </a:cubicBezTo>
                        <a:cubicBezTo>
                          <a:pt x="320" y="552"/>
                          <a:pt x="324" y="549"/>
                          <a:pt x="328" y="549"/>
                        </a:cubicBezTo>
                        <a:cubicBezTo>
                          <a:pt x="329" y="549"/>
                          <a:pt x="330" y="551"/>
                          <a:pt x="331" y="552"/>
                        </a:cubicBezTo>
                        <a:cubicBezTo>
                          <a:pt x="335" y="554"/>
                          <a:pt x="340" y="554"/>
                          <a:pt x="344" y="554"/>
                        </a:cubicBezTo>
                        <a:cubicBezTo>
                          <a:pt x="343" y="561"/>
                          <a:pt x="343" y="568"/>
                          <a:pt x="338" y="573"/>
                        </a:cubicBezTo>
                        <a:cubicBezTo>
                          <a:pt x="335" y="582"/>
                          <a:pt x="325" y="583"/>
                          <a:pt x="317" y="584"/>
                        </a:cubicBezTo>
                        <a:cubicBezTo>
                          <a:pt x="311" y="586"/>
                          <a:pt x="305" y="588"/>
                          <a:pt x="300" y="591"/>
                        </a:cubicBezTo>
                        <a:cubicBezTo>
                          <a:pt x="297" y="593"/>
                          <a:pt x="290" y="596"/>
                          <a:pt x="290" y="596"/>
                        </a:cubicBezTo>
                        <a:cubicBezTo>
                          <a:pt x="288" y="596"/>
                          <a:pt x="286" y="596"/>
                          <a:pt x="284" y="595"/>
                        </a:cubicBezTo>
                        <a:cubicBezTo>
                          <a:pt x="283" y="594"/>
                          <a:pt x="284" y="593"/>
                          <a:pt x="283" y="592"/>
                        </a:cubicBezTo>
                        <a:cubicBezTo>
                          <a:pt x="281" y="591"/>
                          <a:pt x="277" y="590"/>
                          <a:pt x="277" y="590"/>
                        </a:cubicBezTo>
                        <a:cubicBezTo>
                          <a:pt x="272" y="589"/>
                          <a:pt x="256" y="586"/>
                          <a:pt x="251" y="585"/>
                        </a:cubicBezTo>
                        <a:cubicBezTo>
                          <a:pt x="249" y="584"/>
                          <a:pt x="245" y="583"/>
                          <a:pt x="245" y="583"/>
                        </a:cubicBezTo>
                        <a:cubicBezTo>
                          <a:pt x="235" y="585"/>
                          <a:pt x="228" y="580"/>
                          <a:pt x="218" y="579"/>
                        </a:cubicBezTo>
                        <a:cubicBezTo>
                          <a:pt x="219" y="579"/>
                          <a:pt x="220" y="577"/>
                          <a:pt x="221" y="578"/>
                        </a:cubicBezTo>
                        <a:cubicBezTo>
                          <a:pt x="222" y="579"/>
                          <a:pt x="221" y="582"/>
                          <a:pt x="220" y="582"/>
                        </a:cubicBezTo>
                        <a:cubicBezTo>
                          <a:pt x="215" y="582"/>
                          <a:pt x="206" y="579"/>
                          <a:pt x="206" y="579"/>
                        </a:cubicBezTo>
                        <a:cubicBezTo>
                          <a:pt x="201" y="581"/>
                          <a:pt x="201" y="585"/>
                          <a:pt x="198" y="580"/>
                        </a:cubicBezTo>
                        <a:cubicBezTo>
                          <a:pt x="196" y="580"/>
                          <a:pt x="195" y="580"/>
                          <a:pt x="193" y="580"/>
                        </a:cubicBezTo>
                        <a:cubicBezTo>
                          <a:pt x="195" y="579"/>
                          <a:pt x="189" y="583"/>
                          <a:pt x="187" y="583"/>
                        </a:cubicBezTo>
                        <a:cubicBezTo>
                          <a:pt x="183" y="584"/>
                          <a:pt x="178" y="584"/>
                          <a:pt x="174" y="584"/>
                        </a:cubicBezTo>
                        <a:cubicBezTo>
                          <a:pt x="171" y="595"/>
                          <a:pt x="155" y="577"/>
                          <a:pt x="148" y="574"/>
                        </a:cubicBezTo>
                        <a:cubicBezTo>
                          <a:pt x="145" y="573"/>
                          <a:pt x="140" y="572"/>
                          <a:pt x="140" y="572"/>
                        </a:cubicBezTo>
                        <a:cubicBezTo>
                          <a:pt x="133" y="573"/>
                          <a:pt x="126" y="571"/>
                          <a:pt x="120" y="574"/>
                        </a:cubicBezTo>
                        <a:cubicBezTo>
                          <a:pt x="118" y="575"/>
                          <a:pt x="116" y="580"/>
                          <a:pt x="116" y="580"/>
                        </a:cubicBezTo>
                        <a:cubicBezTo>
                          <a:pt x="114" y="589"/>
                          <a:pt x="117" y="579"/>
                          <a:pt x="106" y="586"/>
                        </a:cubicBezTo>
                        <a:cubicBezTo>
                          <a:pt x="103" y="589"/>
                          <a:pt x="99" y="595"/>
                          <a:pt x="97" y="596"/>
                        </a:cubicBezTo>
                        <a:cubicBezTo>
                          <a:pt x="104" y="591"/>
                          <a:pt x="100" y="591"/>
                          <a:pt x="92" y="590"/>
                        </a:cubicBezTo>
                        <a:cubicBezTo>
                          <a:pt x="83" y="587"/>
                          <a:pt x="75" y="586"/>
                          <a:pt x="66" y="585"/>
                        </a:cubicBezTo>
                        <a:cubicBezTo>
                          <a:pt x="59" y="586"/>
                          <a:pt x="56" y="588"/>
                          <a:pt x="49" y="590"/>
                        </a:cubicBezTo>
                        <a:cubicBezTo>
                          <a:pt x="47" y="591"/>
                          <a:pt x="43" y="592"/>
                          <a:pt x="43" y="592"/>
                        </a:cubicBezTo>
                        <a:cubicBezTo>
                          <a:pt x="39" y="596"/>
                          <a:pt x="37" y="598"/>
                          <a:pt x="34" y="603"/>
                        </a:cubicBezTo>
                        <a:cubicBezTo>
                          <a:pt x="19" y="601"/>
                          <a:pt x="22" y="595"/>
                          <a:pt x="8" y="594"/>
                        </a:cubicBezTo>
                        <a:cubicBezTo>
                          <a:pt x="2" y="596"/>
                          <a:pt x="3" y="600"/>
                          <a:pt x="0" y="592"/>
                        </a:cubicBezTo>
                        <a:cubicBezTo>
                          <a:pt x="4" y="590"/>
                          <a:pt x="7" y="589"/>
                          <a:pt x="12" y="588"/>
                        </a:cubicBezTo>
                        <a:cubicBezTo>
                          <a:pt x="24" y="582"/>
                          <a:pt x="18" y="584"/>
                          <a:pt x="40" y="583"/>
                        </a:cubicBezTo>
                        <a:cubicBezTo>
                          <a:pt x="45" y="564"/>
                          <a:pt x="44" y="571"/>
                          <a:pt x="58" y="562"/>
                        </a:cubicBezTo>
                        <a:cubicBezTo>
                          <a:pt x="63" y="555"/>
                          <a:pt x="60" y="557"/>
                          <a:pt x="65" y="554"/>
                        </a:cubicBezTo>
                        <a:cubicBezTo>
                          <a:pt x="68" y="548"/>
                          <a:pt x="76" y="545"/>
                          <a:pt x="82" y="543"/>
                        </a:cubicBezTo>
                        <a:cubicBezTo>
                          <a:pt x="85" y="540"/>
                          <a:pt x="86" y="537"/>
                          <a:pt x="89" y="534"/>
                        </a:cubicBezTo>
                        <a:cubicBezTo>
                          <a:pt x="91" y="525"/>
                          <a:pt x="107" y="530"/>
                          <a:pt x="114" y="530"/>
                        </a:cubicBezTo>
                        <a:cubicBezTo>
                          <a:pt x="116" y="531"/>
                          <a:pt x="118" y="534"/>
                          <a:pt x="120" y="535"/>
                        </a:cubicBezTo>
                        <a:cubicBezTo>
                          <a:pt x="122" y="536"/>
                          <a:pt x="128" y="537"/>
                          <a:pt x="128" y="537"/>
                        </a:cubicBezTo>
                        <a:cubicBezTo>
                          <a:pt x="155" y="535"/>
                          <a:pt x="148" y="523"/>
                          <a:pt x="162" y="518"/>
                        </a:cubicBezTo>
                        <a:cubicBezTo>
                          <a:pt x="165" y="514"/>
                          <a:pt x="168" y="511"/>
                          <a:pt x="172" y="508"/>
                        </a:cubicBezTo>
                        <a:cubicBezTo>
                          <a:pt x="174" y="507"/>
                          <a:pt x="178" y="504"/>
                          <a:pt x="178" y="504"/>
                        </a:cubicBezTo>
                        <a:cubicBezTo>
                          <a:pt x="179" y="503"/>
                          <a:pt x="181" y="502"/>
                          <a:pt x="180" y="501"/>
                        </a:cubicBezTo>
                        <a:cubicBezTo>
                          <a:pt x="175" y="498"/>
                          <a:pt x="164" y="507"/>
                          <a:pt x="164" y="507"/>
                        </a:cubicBezTo>
                        <a:cubicBezTo>
                          <a:pt x="159" y="512"/>
                          <a:pt x="157" y="511"/>
                          <a:pt x="149" y="512"/>
                        </a:cubicBezTo>
                        <a:cubicBezTo>
                          <a:pt x="146" y="513"/>
                          <a:pt x="140" y="516"/>
                          <a:pt x="140" y="516"/>
                        </a:cubicBezTo>
                        <a:cubicBezTo>
                          <a:pt x="136" y="518"/>
                          <a:pt x="127" y="519"/>
                          <a:pt x="127" y="519"/>
                        </a:cubicBezTo>
                        <a:cubicBezTo>
                          <a:pt x="121" y="517"/>
                          <a:pt x="122" y="512"/>
                          <a:pt x="118" y="508"/>
                        </a:cubicBezTo>
                        <a:cubicBezTo>
                          <a:pt x="108" y="498"/>
                          <a:pt x="97" y="502"/>
                          <a:pt x="91" y="501"/>
                        </a:cubicBezTo>
                        <a:cubicBezTo>
                          <a:pt x="86" y="498"/>
                          <a:pt x="95" y="490"/>
                          <a:pt x="90" y="487"/>
                        </a:cubicBezTo>
                        <a:cubicBezTo>
                          <a:pt x="86" y="484"/>
                          <a:pt x="75" y="483"/>
                          <a:pt x="70" y="484"/>
                        </a:cubicBezTo>
                        <a:cubicBezTo>
                          <a:pt x="63" y="489"/>
                          <a:pt x="60" y="491"/>
                          <a:pt x="58" y="482"/>
                        </a:cubicBezTo>
                        <a:cubicBezTo>
                          <a:pt x="52" y="458"/>
                          <a:pt x="55" y="464"/>
                          <a:pt x="88" y="460"/>
                        </a:cubicBezTo>
                        <a:cubicBezTo>
                          <a:pt x="94" y="458"/>
                          <a:pt x="96" y="449"/>
                          <a:pt x="101" y="448"/>
                        </a:cubicBezTo>
                        <a:cubicBezTo>
                          <a:pt x="105" y="447"/>
                          <a:pt x="112" y="445"/>
                          <a:pt x="112" y="445"/>
                        </a:cubicBezTo>
                        <a:cubicBezTo>
                          <a:pt x="115" y="441"/>
                          <a:pt x="115" y="436"/>
                          <a:pt x="118" y="432"/>
                        </a:cubicBezTo>
                        <a:cubicBezTo>
                          <a:pt x="120" y="423"/>
                          <a:pt x="121" y="417"/>
                          <a:pt x="118" y="406"/>
                        </a:cubicBezTo>
                        <a:cubicBezTo>
                          <a:pt x="117" y="404"/>
                          <a:pt x="112" y="404"/>
                          <a:pt x="112" y="404"/>
                        </a:cubicBezTo>
                        <a:cubicBezTo>
                          <a:pt x="105" y="406"/>
                          <a:pt x="99" y="409"/>
                          <a:pt x="92" y="410"/>
                        </a:cubicBezTo>
                        <a:cubicBezTo>
                          <a:pt x="91" y="405"/>
                          <a:pt x="90" y="404"/>
                          <a:pt x="95" y="402"/>
                        </a:cubicBezTo>
                        <a:cubicBezTo>
                          <a:pt x="99" y="398"/>
                          <a:pt x="115" y="392"/>
                          <a:pt x="122" y="390"/>
                        </a:cubicBezTo>
                        <a:cubicBezTo>
                          <a:pt x="129" y="385"/>
                          <a:pt x="126" y="387"/>
                          <a:pt x="131" y="385"/>
                        </a:cubicBezTo>
                        <a:cubicBezTo>
                          <a:pt x="144" y="385"/>
                          <a:pt x="148" y="385"/>
                          <a:pt x="161" y="381"/>
                        </a:cubicBezTo>
                        <a:cubicBezTo>
                          <a:pt x="167" y="380"/>
                          <a:pt x="172" y="390"/>
                          <a:pt x="174" y="388"/>
                        </a:cubicBezTo>
                        <a:cubicBezTo>
                          <a:pt x="176" y="386"/>
                          <a:pt x="173" y="375"/>
                          <a:pt x="174" y="369"/>
                        </a:cubicBezTo>
                        <a:cubicBezTo>
                          <a:pt x="175" y="363"/>
                          <a:pt x="176" y="357"/>
                          <a:pt x="179" y="352"/>
                        </a:cubicBezTo>
                        <a:cubicBezTo>
                          <a:pt x="180" y="345"/>
                          <a:pt x="193" y="336"/>
                          <a:pt x="193" y="336"/>
                        </a:cubicBezTo>
                        <a:cubicBezTo>
                          <a:pt x="194" y="332"/>
                          <a:pt x="196" y="329"/>
                          <a:pt x="197" y="325"/>
                        </a:cubicBezTo>
                        <a:cubicBezTo>
                          <a:pt x="195" y="307"/>
                          <a:pt x="189" y="323"/>
                          <a:pt x="170" y="322"/>
                        </a:cubicBezTo>
                        <a:cubicBezTo>
                          <a:pt x="164" y="318"/>
                          <a:pt x="160" y="308"/>
                          <a:pt x="158" y="301"/>
                        </a:cubicBezTo>
                        <a:cubicBezTo>
                          <a:pt x="162" y="290"/>
                          <a:pt x="167" y="280"/>
                          <a:pt x="179" y="276"/>
                        </a:cubicBezTo>
                        <a:cubicBezTo>
                          <a:pt x="187" y="268"/>
                          <a:pt x="186" y="270"/>
                          <a:pt x="170" y="266"/>
                        </a:cubicBezTo>
                        <a:cubicBezTo>
                          <a:pt x="157" y="267"/>
                          <a:pt x="147" y="271"/>
                          <a:pt x="134" y="272"/>
                        </a:cubicBezTo>
                        <a:cubicBezTo>
                          <a:pt x="128" y="272"/>
                          <a:pt x="120" y="274"/>
                          <a:pt x="115" y="270"/>
                        </a:cubicBezTo>
                        <a:cubicBezTo>
                          <a:pt x="109" y="266"/>
                          <a:pt x="108" y="258"/>
                          <a:pt x="103" y="254"/>
                        </a:cubicBezTo>
                        <a:cubicBezTo>
                          <a:pt x="107" y="246"/>
                          <a:pt x="113" y="243"/>
                          <a:pt x="122" y="240"/>
                        </a:cubicBezTo>
                        <a:cubicBezTo>
                          <a:pt x="125" y="236"/>
                          <a:pt x="126" y="233"/>
                          <a:pt x="130" y="230"/>
                        </a:cubicBezTo>
                        <a:cubicBezTo>
                          <a:pt x="134" y="222"/>
                          <a:pt x="133" y="202"/>
                          <a:pt x="127" y="194"/>
                        </a:cubicBezTo>
                        <a:cubicBezTo>
                          <a:pt x="124" y="190"/>
                          <a:pt x="124" y="201"/>
                          <a:pt x="120" y="198"/>
                        </a:cubicBezTo>
                        <a:cubicBezTo>
                          <a:pt x="118" y="197"/>
                          <a:pt x="124" y="177"/>
                          <a:pt x="124" y="177"/>
                        </a:cubicBezTo>
                        <a:cubicBezTo>
                          <a:pt x="123" y="173"/>
                          <a:pt x="85" y="223"/>
                          <a:pt x="85" y="223"/>
                        </a:cubicBezTo>
                        <a:cubicBezTo>
                          <a:pt x="87" y="212"/>
                          <a:pt x="101" y="156"/>
                          <a:pt x="110" y="153"/>
                        </a:cubicBezTo>
                        <a:cubicBezTo>
                          <a:pt x="117" y="146"/>
                          <a:pt x="115" y="152"/>
                          <a:pt x="118" y="145"/>
                        </a:cubicBezTo>
                        <a:cubicBezTo>
                          <a:pt x="119" y="138"/>
                          <a:pt x="125" y="137"/>
                          <a:pt x="127" y="130"/>
                        </a:cubicBezTo>
                        <a:cubicBezTo>
                          <a:pt x="122" y="121"/>
                          <a:pt x="106" y="142"/>
                          <a:pt x="97" y="145"/>
                        </a:cubicBezTo>
                        <a:cubicBezTo>
                          <a:pt x="94" y="148"/>
                          <a:pt x="81" y="142"/>
                          <a:pt x="78" y="146"/>
                        </a:cubicBezTo>
                        <a:cubicBezTo>
                          <a:pt x="73" y="139"/>
                          <a:pt x="76" y="129"/>
                          <a:pt x="84" y="123"/>
                        </a:cubicBezTo>
                        <a:cubicBezTo>
                          <a:pt x="88" y="120"/>
                          <a:pt x="92" y="118"/>
                          <a:pt x="97" y="116"/>
                        </a:cubicBezTo>
                        <a:cubicBezTo>
                          <a:pt x="98" y="116"/>
                          <a:pt x="100" y="115"/>
                          <a:pt x="100" y="115"/>
                        </a:cubicBezTo>
                        <a:cubicBezTo>
                          <a:pt x="103" y="110"/>
                          <a:pt x="110" y="109"/>
                          <a:pt x="115" y="105"/>
                        </a:cubicBezTo>
                        <a:cubicBezTo>
                          <a:pt x="118" y="102"/>
                          <a:pt x="124" y="97"/>
                          <a:pt x="124" y="97"/>
                        </a:cubicBezTo>
                        <a:cubicBezTo>
                          <a:pt x="127" y="87"/>
                          <a:pt x="129" y="77"/>
                          <a:pt x="122" y="67"/>
                        </a:cubicBezTo>
                        <a:cubicBezTo>
                          <a:pt x="120" y="60"/>
                          <a:pt x="124" y="62"/>
                          <a:pt x="127" y="56"/>
                        </a:cubicBezTo>
                        <a:cubicBezTo>
                          <a:pt x="136" y="38"/>
                          <a:pt x="125" y="46"/>
                          <a:pt x="152" y="36"/>
                        </a:cubicBezTo>
                        <a:cubicBezTo>
                          <a:pt x="154" y="24"/>
                          <a:pt x="155" y="21"/>
                          <a:pt x="160" y="12"/>
                        </a:cubicBezTo>
                        <a:cubicBezTo>
                          <a:pt x="163" y="8"/>
                          <a:pt x="170" y="0"/>
                          <a:pt x="170" y="0"/>
                        </a:cubicBezTo>
                        <a:cubicBezTo>
                          <a:pt x="176" y="2"/>
                          <a:pt x="180" y="2"/>
                          <a:pt x="185" y="7"/>
                        </a:cubicBezTo>
                        <a:lnTo>
                          <a:pt x="174" y="3"/>
                        </a:ln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23" name="Freeform 2565">
                    <a:extLst>
                      <a:ext uri="{FF2B5EF4-FFF2-40B4-BE49-F238E27FC236}">
                        <a16:creationId xmlns:a16="http://schemas.microsoft.com/office/drawing/2014/main" id="{636385F4-677C-9114-8706-1812EBFE7450}"/>
                      </a:ext>
                    </a:extLst>
                  </p:cNvPr>
                  <p:cNvSpPr>
                    <a:spLocks noChangeAspect="1"/>
                  </p:cNvSpPr>
                  <p:nvPr/>
                </p:nvSpPr>
                <p:spPr bwMode="auto">
                  <a:xfrm>
                    <a:off x="164" y="4091"/>
                    <a:ext cx="84" cy="108"/>
                  </a:xfrm>
                  <a:custGeom>
                    <a:avLst/>
                    <a:gdLst>
                      <a:gd name="T0" fmla="*/ 6 w 21"/>
                      <a:gd name="T1" fmla="*/ 7 h 27"/>
                      <a:gd name="T2" fmla="*/ 9 w 21"/>
                      <a:gd name="T3" fmla="*/ 27 h 27"/>
                      <a:gd name="T4" fmla="*/ 14 w 21"/>
                      <a:gd name="T5" fmla="*/ 0 h 27"/>
                      <a:gd name="T6" fmla="*/ 9 w 21"/>
                      <a:gd name="T7" fmla="*/ 1 h 27"/>
                      <a:gd name="T8" fmla="*/ 6 w 21"/>
                      <a:gd name="T9" fmla="*/ 7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6" y="7"/>
                        </a:moveTo>
                        <a:cubicBezTo>
                          <a:pt x="4" y="18"/>
                          <a:pt x="0" y="21"/>
                          <a:pt x="9" y="27"/>
                        </a:cubicBezTo>
                        <a:cubicBezTo>
                          <a:pt x="21" y="23"/>
                          <a:pt x="18" y="12"/>
                          <a:pt x="14" y="0"/>
                        </a:cubicBezTo>
                        <a:cubicBezTo>
                          <a:pt x="12" y="0"/>
                          <a:pt x="10" y="0"/>
                          <a:pt x="9" y="1"/>
                        </a:cubicBezTo>
                        <a:cubicBezTo>
                          <a:pt x="7" y="2"/>
                          <a:pt x="6" y="7"/>
                          <a:pt x="6" y="7"/>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24" name="Freeform 2566">
                    <a:extLst>
                      <a:ext uri="{FF2B5EF4-FFF2-40B4-BE49-F238E27FC236}">
                        <a16:creationId xmlns:a16="http://schemas.microsoft.com/office/drawing/2014/main" id="{2EFAB8D2-AD4B-3E16-5EE1-222E58322E3D}"/>
                      </a:ext>
                    </a:extLst>
                  </p:cNvPr>
                  <p:cNvSpPr>
                    <a:spLocks noChangeAspect="1"/>
                  </p:cNvSpPr>
                  <p:nvPr/>
                </p:nvSpPr>
                <p:spPr bwMode="auto">
                  <a:xfrm>
                    <a:off x="587" y="5655"/>
                    <a:ext cx="96" cy="52"/>
                  </a:xfrm>
                  <a:custGeom>
                    <a:avLst/>
                    <a:gdLst>
                      <a:gd name="T0" fmla="*/ 0 w 24"/>
                      <a:gd name="T1" fmla="*/ 0 h 13"/>
                      <a:gd name="T2" fmla="*/ 12 w 24"/>
                      <a:gd name="T3" fmla="*/ 8 h 13"/>
                      <a:gd name="T4" fmla="*/ 3 w 24"/>
                      <a:gd name="T5" fmla="*/ 11 h 13"/>
                      <a:gd name="T6" fmla="*/ 0 w 24"/>
                      <a:gd name="T7" fmla="*/ 0 h 13"/>
                      <a:gd name="T8" fmla="*/ 0 60000 65536"/>
                      <a:gd name="T9" fmla="*/ 0 60000 65536"/>
                      <a:gd name="T10" fmla="*/ 0 60000 65536"/>
                      <a:gd name="T11" fmla="*/ 0 60000 65536"/>
                      <a:gd name="T12" fmla="*/ 0 w 24"/>
                      <a:gd name="T13" fmla="*/ 0 h 13"/>
                      <a:gd name="T14" fmla="*/ 24 w 24"/>
                      <a:gd name="T15" fmla="*/ 13 h 13"/>
                    </a:gdLst>
                    <a:ahLst/>
                    <a:cxnLst>
                      <a:cxn ang="T8">
                        <a:pos x="T0" y="T1"/>
                      </a:cxn>
                      <a:cxn ang="T9">
                        <a:pos x="T2" y="T3"/>
                      </a:cxn>
                      <a:cxn ang="T10">
                        <a:pos x="T4" y="T5"/>
                      </a:cxn>
                      <a:cxn ang="T11">
                        <a:pos x="T6" y="T7"/>
                      </a:cxn>
                    </a:cxnLst>
                    <a:rect l="T12" t="T13" r="T14" b="T15"/>
                    <a:pathLst>
                      <a:path w="24" h="13">
                        <a:moveTo>
                          <a:pt x="0" y="0"/>
                        </a:moveTo>
                        <a:cubicBezTo>
                          <a:pt x="7" y="4"/>
                          <a:pt x="24" y="0"/>
                          <a:pt x="12" y="8"/>
                        </a:cubicBezTo>
                        <a:cubicBezTo>
                          <a:pt x="9" y="12"/>
                          <a:pt x="8" y="13"/>
                          <a:pt x="3" y="11"/>
                        </a:cubicBezTo>
                        <a:cubicBezTo>
                          <a:pt x="2" y="3"/>
                          <a:pt x="3" y="6"/>
                          <a:pt x="0" y="0"/>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sp>
                <p:nvSpPr>
                  <p:cNvPr id="125" name="Freeform 2567">
                    <a:extLst>
                      <a:ext uri="{FF2B5EF4-FFF2-40B4-BE49-F238E27FC236}">
                        <a16:creationId xmlns:a16="http://schemas.microsoft.com/office/drawing/2014/main" id="{796E6412-D27D-FB20-7210-B77B936C888F}"/>
                      </a:ext>
                    </a:extLst>
                  </p:cNvPr>
                  <p:cNvSpPr>
                    <a:spLocks noChangeAspect="1"/>
                  </p:cNvSpPr>
                  <p:nvPr/>
                </p:nvSpPr>
                <p:spPr bwMode="auto">
                  <a:xfrm>
                    <a:off x="-347" y="4175"/>
                    <a:ext cx="451" cy="376"/>
                  </a:xfrm>
                  <a:custGeom>
                    <a:avLst/>
                    <a:gdLst>
                      <a:gd name="T0" fmla="*/ 303 w 451"/>
                      <a:gd name="T1" fmla="*/ 376 h 376"/>
                      <a:gd name="T2" fmla="*/ 399 w 451"/>
                      <a:gd name="T3" fmla="*/ 352 h 376"/>
                      <a:gd name="T4" fmla="*/ 439 w 451"/>
                      <a:gd name="T5" fmla="*/ 340 h 376"/>
                      <a:gd name="T6" fmla="*/ 451 w 451"/>
                      <a:gd name="T7" fmla="*/ 280 h 376"/>
                      <a:gd name="T8" fmla="*/ 395 w 451"/>
                      <a:gd name="T9" fmla="*/ 216 h 376"/>
                      <a:gd name="T10" fmla="*/ 407 w 451"/>
                      <a:gd name="T11" fmla="*/ 196 h 376"/>
                      <a:gd name="T12" fmla="*/ 407 w 451"/>
                      <a:gd name="T13" fmla="*/ 96 h 376"/>
                      <a:gd name="T14" fmla="*/ 259 w 451"/>
                      <a:gd name="T15" fmla="*/ 24 h 376"/>
                      <a:gd name="T16" fmla="*/ 199 w 451"/>
                      <a:gd name="T17" fmla="*/ 48 h 376"/>
                      <a:gd name="T18" fmla="*/ 174 w 451"/>
                      <a:gd name="T19" fmla="*/ 54 h 376"/>
                      <a:gd name="T20" fmla="*/ 152 w 451"/>
                      <a:gd name="T21" fmla="*/ 90 h 376"/>
                      <a:gd name="T22" fmla="*/ 83 w 451"/>
                      <a:gd name="T23" fmla="*/ 124 h 376"/>
                      <a:gd name="T24" fmla="*/ 60 w 451"/>
                      <a:gd name="T25" fmla="*/ 165 h 376"/>
                      <a:gd name="T26" fmla="*/ 12 w 451"/>
                      <a:gd name="T27" fmla="*/ 178 h 376"/>
                      <a:gd name="T28" fmla="*/ 24 w 451"/>
                      <a:gd name="T29" fmla="*/ 219 h 376"/>
                      <a:gd name="T30" fmla="*/ 83 w 451"/>
                      <a:gd name="T31" fmla="*/ 268 h 376"/>
                      <a:gd name="T32" fmla="*/ 105 w 451"/>
                      <a:gd name="T33" fmla="*/ 298 h 376"/>
                      <a:gd name="T34" fmla="*/ 144 w 451"/>
                      <a:gd name="T35" fmla="*/ 298 h 376"/>
                      <a:gd name="T36" fmla="*/ 179 w 451"/>
                      <a:gd name="T37" fmla="*/ 248 h 376"/>
                      <a:gd name="T38" fmla="*/ 228 w 451"/>
                      <a:gd name="T39" fmla="*/ 322 h 376"/>
                      <a:gd name="T40" fmla="*/ 258 w 451"/>
                      <a:gd name="T41" fmla="*/ 351 h 376"/>
                      <a:gd name="T42" fmla="*/ 303 w 451"/>
                      <a:gd name="T43" fmla="*/ 376 h 3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1"/>
                      <a:gd name="T67" fmla="*/ 0 h 376"/>
                      <a:gd name="T68" fmla="*/ 451 w 451"/>
                      <a:gd name="T69" fmla="*/ 376 h 3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1" h="376">
                        <a:moveTo>
                          <a:pt x="303" y="376"/>
                        </a:moveTo>
                        <a:cubicBezTo>
                          <a:pt x="335" y="368"/>
                          <a:pt x="367" y="360"/>
                          <a:pt x="399" y="352"/>
                        </a:cubicBezTo>
                        <a:cubicBezTo>
                          <a:pt x="411" y="348"/>
                          <a:pt x="439" y="340"/>
                          <a:pt x="439" y="340"/>
                        </a:cubicBezTo>
                        <a:cubicBezTo>
                          <a:pt x="443" y="320"/>
                          <a:pt x="447" y="304"/>
                          <a:pt x="451" y="280"/>
                        </a:cubicBezTo>
                        <a:cubicBezTo>
                          <a:pt x="447" y="232"/>
                          <a:pt x="443" y="224"/>
                          <a:pt x="395" y="216"/>
                        </a:cubicBezTo>
                        <a:cubicBezTo>
                          <a:pt x="375" y="204"/>
                          <a:pt x="391" y="204"/>
                          <a:pt x="407" y="196"/>
                        </a:cubicBezTo>
                        <a:cubicBezTo>
                          <a:pt x="431" y="164"/>
                          <a:pt x="427" y="132"/>
                          <a:pt x="407" y="96"/>
                        </a:cubicBezTo>
                        <a:cubicBezTo>
                          <a:pt x="391" y="0"/>
                          <a:pt x="351" y="32"/>
                          <a:pt x="259" y="24"/>
                        </a:cubicBezTo>
                        <a:cubicBezTo>
                          <a:pt x="239" y="32"/>
                          <a:pt x="219" y="36"/>
                          <a:pt x="199" y="48"/>
                        </a:cubicBezTo>
                        <a:cubicBezTo>
                          <a:pt x="186" y="51"/>
                          <a:pt x="182" y="47"/>
                          <a:pt x="174" y="54"/>
                        </a:cubicBezTo>
                        <a:cubicBezTo>
                          <a:pt x="156" y="64"/>
                          <a:pt x="164" y="78"/>
                          <a:pt x="152" y="90"/>
                        </a:cubicBezTo>
                        <a:cubicBezTo>
                          <a:pt x="140" y="117"/>
                          <a:pt x="116" y="124"/>
                          <a:pt x="83" y="124"/>
                        </a:cubicBezTo>
                        <a:cubicBezTo>
                          <a:pt x="79" y="140"/>
                          <a:pt x="72" y="156"/>
                          <a:pt x="60" y="165"/>
                        </a:cubicBezTo>
                        <a:cubicBezTo>
                          <a:pt x="48" y="161"/>
                          <a:pt x="30" y="171"/>
                          <a:pt x="12" y="178"/>
                        </a:cubicBezTo>
                        <a:cubicBezTo>
                          <a:pt x="0" y="178"/>
                          <a:pt x="20" y="207"/>
                          <a:pt x="24" y="219"/>
                        </a:cubicBezTo>
                        <a:cubicBezTo>
                          <a:pt x="38" y="232"/>
                          <a:pt x="59" y="244"/>
                          <a:pt x="83" y="268"/>
                        </a:cubicBezTo>
                        <a:cubicBezTo>
                          <a:pt x="99" y="284"/>
                          <a:pt x="89" y="282"/>
                          <a:pt x="105" y="298"/>
                        </a:cubicBezTo>
                        <a:cubicBezTo>
                          <a:pt x="122" y="300"/>
                          <a:pt x="126" y="303"/>
                          <a:pt x="144" y="298"/>
                        </a:cubicBezTo>
                        <a:cubicBezTo>
                          <a:pt x="148" y="278"/>
                          <a:pt x="159" y="256"/>
                          <a:pt x="179" y="248"/>
                        </a:cubicBezTo>
                        <a:cubicBezTo>
                          <a:pt x="215" y="256"/>
                          <a:pt x="191" y="300"/>
                          <a:pt x="228" y="322"/>
                        </a:cubicBezTo>
                        <a:cubicBezTo>
                          <a:pt x="242" y="338"/>
                          <a:pt x="246" y="342"/>
                          <a:pt x="258" y="351"/>
                        </a:cubicBezTo>
                        <a:cubicBezTo>
                          <a:pt x="270" y="360"/>
                          <a:pt x="291" y="351"/>
                          <a:pt x="303" y="376"/>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sp>
              <p:nvSpPr>
                <p:cNvPr id="114" name="Freeform 2568">
                  <a:extLst>
                    <a:ext uri="{FF2B5EF4-FFF2-40B4-BE49-F238E27FC236}">
                      <a16:creationId xmlns:a16="http://schemas.microsoft.com/office/drawing/2014/main" id="{C4674AC6-7893-D1E6-B089-B7DCFEBE9F46}"/>
                    </a:ext>
                  </a:extLst>
                </p:cNvPr>
                <p:cNvSpPr>
                  <a:spLocks noChangeAspect="1"/>
                </p:cNvSpPr>
                <p:nvPr/>
              </p:nvSpPr>
              <p:spPr bwMode="auto">
                <a:xfrm>
                  <a:off x="2478088" y="5173663"/>
                  <a:ext cx="361950" cy="596900"/>
                </a:xfrm>
                <a:custGeom>
                  <a:avLst/>
                  <a:gdLst>
                    <a:gd name="T0" fmla="*/ 384 w 913"/>
                    <a:gd name="T1" fmla="*/ 13 h 1504"/>
                    <a:gd name="T2" fmla="*/ 296 w 913"/>
                    <a:gd name="T3" fmla="*/ 416 h 1504"/>
                    <a:gd name="T4" fmla="*/ 224 w 913"/>
                    <a:gd name="T5" fmla="*/ 588 h 1504"/>
                    <a:gd name="T6" fmla="*/ 180 w 913"/>
                    <a:gd name="T7" fmla="*/ 632 h 1504"/>
                    <a:gd name="T8" fmla="*/ 156 w 913"/>
                    <a:gd name="T9" fmla="*/ 672 h 1504"/>
                    <a:gd name="T10" fmla="*/ 116 w 913"/>
                    <a:gd name="T11" fmla="*/ 696 h 1504"/>
                    <a:gd name="T12" fmla="*/ 72 w 913"/>
                    <a:gd name="T13" fmla="*/ 756 h 1504"/>
                    <a:gd name="T14" fmla="*/ 20 w 913"/>
                    <a:gd name="T15" fmla="*/ 836 h 1504"/>
                    <a:gd name="T16" fmla="*/ 4 w 913"/>
                    <a:gd name="T17" fmla="*/ 872 h 1504"/>
                    <a:gd name="T18" fmla="*/ 8 w 913"/>
                    <a:gd name="T19" fmla="*/ 884 h 1504"/>
                    <a:gd name="T20" fmla="*/ 24 w 913"/>
                    <a:gd name="T21" fmla="*/ 888 h 1504"/>
                    <a:gd name="T22" fmla="*/ 36 w 913"/>
                    <a:gd name="T23" fmla="*/ 924 h 1504"/>
                    <a:gd name="T24" fmla="*/ 128 w 913"/>
                    <a:gd name="T25" fmla="*/ 980 h 1504"/>
                    <a:gd name="T26" fmla="*/ 128 w 913"/>
                    <a:gd name="T27" fmla="*/ 1036 h 1504"/>
                    <a:gd name="T28" fmla="*/ 120 w 913"/>
                    <a:gd name="T29" fmla="*/ 1052 h 1504"/>
                    <a:gd name="T30" fmla="*/ 108 w 913"/>
                    <a:gd name="T31" fmla="*/ 1060 h 1504"/>
                    <a:gd name="T32" fmla="*/ 60 w 913"/>
                    <a:gd name="T33" fmla="*/ 1176 h 1504"/>
                    <a:gd name="T34" fmla="*/ 8 w 913"/>
                    <a:gd name="T35" fmla="*/ 1376 h 1504"/>
                    <a:gd name="T36" fmla="*/ 32 w 913"/>
                    <a:gd name="T37" fmla="*/ 1412 h 1504"/>
                    <a:gd name="T38" fmla="*/ 116 w 913"/>
                    <a:gd name="T39" fmla="*/ 1416 h 1504"/>
                    <a:gd name="T40" fmla="*/ 216 w 913"/>
                    <a:gd name="T41" fmla="*/ 1476 h 1504"/>
                    <a:gd name="T42" fmla="*/ 358 w 913"/>
                    <a:gd name="T43" fmla="*/ 1476 h 1504"/>
                    <a:gd name="T44" fmla="*/ 345 w 913"/>
                    <a:gd name="T45" fmla="*/ 1387 h 1504"/>
                    <a:gd name="T46" fmla="*/ 394 w 913"/>
                    <a:gd name="T47" fmla="*/ 1282 h 1504"/>
                    <a:gd name="T48" fmla="*/ 439 w 913"/>
                    <a:gd name="T49" fmla="*/ 1255 h 1504"/>
                    <a:gd name="T50" fmla="*/ 507 w 913"/>
                    <a:gd name="T51" fmla="*/ 1230 h 1504"/>
                    <a:gd name="T52" fmla="*/ 508 w 913"/>
                    <a:gd name="T53" fmla="*/ 1192 h 1504"/>
                    <a:gd name="T54" fmla="*/ 474 w 913"/>
                    <a:gd name="T55" fmla="*/ 1129 h 1504"/>
                    <a:gd name="T56" fmla="*/ 496 w 913"/>
                    <a:gd name="T57" fmla="*/ 1062 h 1504"/>
                    <a:gd name="T58" fmla="*/ 560 w 913"/>
                    <a:gd name="T59" fmla="*/ 980 h 1504"/>
                    <a:gd name="T60" fmla="*/ 559 w 913"/>
                    <a:gd name="T61" fmla="*/ 933 h 1504"/>
                    <a:gd name="T62" fmla="*/ 532 w 913"/>
                    <a:gd name="T63" fmla="*/ 824 h 1504"/>
                    <a:gd name="T64" fmla="*/ 516 w 913"/>
                    <a:gd name="T65" fmla="*/ 768 h 1504"/>
                    <a:gd name="T66" fmla="*/ 560 w 913"/>
                    <a:gd name="T67" fmla="*/ 748 h 1504"/>
                    <a:gd name="T68" fmla="*/ 633 w 913"/>
                    <a:gd name="T69" fmla="*/ 735 h 1504"/>
                    <a:gd name="T70" fmla="*/ 657 w 913"/>
                    <a:gd name="T71" fmla="*/ 693 h 1504"/>
                    <a:gd name="T72" fmla="*/ 656 w 913"/>
                    <a:gd name="T73" fmla="*/ 624 h 1504"/>
                    <a:gd name="T74" fmla="*/ 697 w 913"/>
                    <a:gd name="T75" fmla="*/ 592 h 1504"/>
                    <a:gd name="T76" fmla="*/ 705 w 913"/>
                    <a:gd name="T77" fmla="*/ 544 h 1504"/>
                    <a:gd name="T78" fmla="*/ 712 w 913"/>
                    <a:gd name="T79" fmla="*/ 528 h 1504"/>
                    <a:gd name="T80" fmla="*/ 780 w 913"/>
                    <a:gd name="T81" fmla="*/ 343 h 1504"/>
                    <a:gd name="T82" fmla="*/ 844 w 913"/>
                    <a:gd name="T83" fmla="*/ 327 h 1504"/>
                    <a:gd name="T84" fmla="*/ 880 w 913"/>
                    <a:gd name="T85" fmla="*/ 298 h 1504"/>
                    <a:gd name="T86" fmla="*/ 910 w 913"/>
                    <a:gd name="T87" fmla="*/ 228 h 1504"/>
                    <a:gd name="T88" fmla="*/ 873 w 913"/>
                    <a:gd name="T89" fmla="*/ 193 h 1504"/>
                    <a:gd name="T90" fmla="*/ 840 w 913"/>
                    <a:gd name="T91" fmla="*/ 120 h 1504"/>
                    <a:gd name="T92" fmla="*/ 740 w 913"/>
                    <a:gd name="T93" fmla="*/ 104 h 1504"/>
                    <a:gd name="T94" fmla="*/ 658 w 913"/>
                    <a:gd name="T95" fmla="*/ 111 h 1504"/>
                    <a:gd name="T96" fmla="*/ 616 w 913"/>
                    <a:gd name="T97" fmla="*/ 103 h 1504"/>
                    <a:gd name="T98" fmla="*/ 552 w 913"/>
                    <a:gd name="T99" fmla="*/ 92 h 1504"/>
                    <a:gd name="T100" fmla="*/ 516 w 913"/>
                    <a:gd name="T101" fmla="*/ 78 h 1504"/>
                    <a:gd name="T102" fmla="*/ 540 w 913"/>
                    <a:gd name="T103" fmla="*/ 34 h 1504"/>
                    <a:gd name="T104" fmla="*/ 476 w 913"/>
                    <a:gd name="T105" fmla="*/ 4 h 1504"/>
                    <a:gd name="T106" fmla="*/ 429 w 913"/>
                    <a:gd name="T107" fmla="*/ 21 h 1504"/>
                    <a:gd name="T108" fmla="*/ 384 w 913"/>
                    <a:gd name="T109" fmla="*/ 13 h 15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13"/>
                    <a:gd name="T166" fmla="*/ 0 h 1504"/>
                    <a:gd name="T167" fmla="*/ 913 w 913"/>
                    <a:gd name="T168" fmla="*/ 1504 h 15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13" h="1504">
                      <a:moveTo>
                        <a:pt x="384" y="13"/>
                      </a:moveTo>
                      <a:cubicBezTo>
                        <a:pt x="380" y="117"/>
                        <a:pt x="368" y="312"/>
                        <a:pt x="296" y="416"/>
                      </a:cubicBezTo>
                      <a:cubicBezTo>
                        <a:pt x="280" y="468"/>
                        <a:pt x="288" y="568"/>
                        <a:pt x="224" y="588"/>
                      </a:cubicBezTo>
                      <a:cubicBezTo>
                        <a:pt x="212" y="604"/>
                        <a:pt x="196" y="616"/>
                        <a:pt x="180" y="632"/>
                      </a:cubicBezTo>
                      <a:cubicBezTo>
                        <a:pt x="172" y="652"/>
                        <a:pt x="176" y="664"/>
                        <a:pt x="156" y="672"/>
                      </a:cubicBezTo>
                      <a:cubicBezTo>
                        <a:pt x="136" y="700"/>
                        <a:pt x="136" y="684"/>
                        <a:pt x="116" y="696"/>
                      </a:cubicBezTo>
                      <a:cubicBezTo>
                        <a:pt x="112" y="712"/>
                        <a:pt x="88" y="752"/>
                        <a:pt x="72" y="756"/>
                      </a:cubicBezTo>
                      <a:cubicBezTo>
                        <a:pt x="56" y="780"/>
                        <a:pt x="36" y="808"/>
                        <a:pt x="20" y="836"/>
                      </a:cubicBezTo>
                      <a:cubicBezTo>
                        <a:pt x="12" y="848"/>
                        <a:pt x="4" y="872"/>
                        <a:pt x="4" y="872"/>
                      </a:cubicBezTo>
                      <a:cubicBezTo>
                        <a:pt x="4" y="876"/>
                        <a:pt x="4" y="880"/>
                        <a:pt x="8" y="884"/>
                      </a:cubicBezTo>
                      <a:cubicBezTo>
                        <a:pt x="12" y="888"/>
                        <a:pt x="20" y="884"/>
                        <a:pt x="24" y="888"/>
                      </a:cubicBezTo>
                      <a:cubicBezTo>
                        <a:pt x="32" y="896"/>
                        <a:pt x="36" y="924"/>
                        <a:pt x="36" y="924"/>
                      </a:cubicBezTo>
                      <a:cubicBezTo>
                        <a:pt x="44" y="996"/>
                        <a:pt x="40" y="1040"/>
                        <a:pt x="128" y="980"/>
                      </a:cubicBezTo>
                      <a:cubicBezTo>
                        <a:pt x="152" y="988"/>
                        <a:pt x="148" y="1024"/>
                        <a:pt x="128" y="1036"/>
                      </a:cubicBezTo>
                      <a:cubicBezTo>
                        <a:pt x="124" y="1040"/>
                        <a:pt x="124" y="1048"/>
                        <a:pt x="120" y="1052"/>
                      </a:cubicBezTo>
                      <a:cubicBezTo>
                        <a:pt x="116" y="1056"/>
                        <a:pt x="112" y="1056"/>
                        <a:pt x="108" y="1060"/>
                      </a:cubicBezTo>
                      <a:cubicBezTo>
                        <a:pt x="88" y="1092"/>
                        <a:pt x="84" y="1140"/>
                        <a:pt x="60" y="1176"/>
                      </a:cubicBezTo>
                      <a:cubicBezTo>
                        <a:pt x="48" y="1228"/>
                        <a:pt x="56" y="1344"/>
                        <a:pt x="8" y="1376"/>
                      </a:cubicBezTo>
                      <a:cubicBezTo>
                        <a:pt x="0" y="1396"/>
                        <a:pt x="20" y="1396"/>
                        <a:pt x="32" y="1412"/>
                      </a:cubicBezTo>
                      <a:cubicBezTo>
                        <a:pt x="76" y="1388"/>
                        <a:pt x="72" y="1408"/>
                        <a:pt x="116" y="1416"/>
                      </a:cubicBezTo>
                      <a:cubicBezTo>
                        <a:pt x="144" y="1436"/>
                        <a:pt x="180" y="1464"/>
                        <a:pt x="216" y="1476"/>
                      </a:cubicBezTo>
                      <a:cubicBezTo>
                        <a:pt x="244" y="1504"/>
                        <a:pt x="326" y="1496"/>
                        <a:pt x="358" y="1476"/>
                      </a:cubicBezTo>
                      <a:cubicBezTo>
                        <a:pt x="362" y="1452"/>
                        <a:pt x="343" y="1414"/>
                        <a:pt x="345" y="1387"/>
                      </a:cubicBezTo>
                      <a:cubicBezTo>
                        <a:pt x="355" y="1357"/>
                        <a:pt x="378" y="1304"/>
                        <a:pt x="394" y="1282"/>
                      </a:cubicBezTo>
                      <a:cubicBezTo>
                        <a:pt x="410" y="1260"/>
                        <a:pt x="432" y="1282"/>
                        <a:pt x="439" y="1255"/>
                      </a:cubicBezTo>
                      <a:cubicBezTo>
                        <a:pt x="465" y="1254"/>
                        <a:pt x="496" y="1240"/>
                        <a:pt x="507" y="1230"/>
                      </a:cubicBezTo>
                      <a:cubicBezTo>
                        <a:pt x="536" y="1196"/>
                        <a:pt x="513" y="1209"/>
                        <a:pt x="508" y="1192"/>
                      </a:cubicBezTo>
                      <a:cubicBezTo>
                        <a:pt x="503" y="1175"/>
                        <a:pt x="476" y="1151"/>
                        <a:pt x="474" y="1129"/>
                      </a:cubicBezTo>
                      <a:cubicBezTo>
                        <a:pt x="483" y="1087"/>
                        <a:pt x="480" y="1111"/>
                        <a:pt x="496" y="1062"/>
                      </a:cubicBezTo>
                      <a:cubicBezTo>
                        <a:pt x="516" y="1017"/>
                        <a:pt x="531" y="988"/>
                        <a:pt x="560" y="980"/>
                      </a:cubicBezTo>
                      <a:cubicBezTo>
                        <a:pt x="564" y="960"/>
                        <a:pt x="598" y="948"/>
                        <a:pt x="559" y="933"/>
                      </a:cubicBezTo>
                      <a:cubicBezTo>
                        <a:pt x="559" y="898"/>
                        <a:pt x="544" y="862"/>
                        <a:pt x="532" y="824"/>
                      </a:cubicBezTo>
                      <a:cubicBezTo>
                        <a:pt x="525" y="805"/>
                        <a:pt x="526" y="780"/>
                        <a:pt x="516" y="768"/>
                      </a:cubicBezTo>
                      <a:cubicBezTo>
                        <a:pt x="504" y="742"/>
                        <a:pt x="532" y="744"/>
                        <a:pt x="560" y="748"/>
                      </a:cubicBezTo>
                      <a:cubicBezTo>
                        <a:pt x="595" y="771"/>
                        <a:pt x="633" y="735"/>
                        <a:pt x="633" y="735"/>
                      </a:cubicBezTo>
                      <a:cubicBezTo>
                        <a:pt x="651" y="717"/>
                        <a:pt x="641" y="709"/>
                        <a:pt x="657" y="693"/>
                      </a:cubicBezTo>
                      <a:cubicBezTo>
                        <a:pt x="665" y="669"/>
                        <a:pt x="684" y="632"/>
                        <a:pt x="656" y="624"/>
                      </a:cubicBezTo>
                      <a:cubicBezTo>
                        <a:pt x="660" y="608"/>
                        <a:pt x="697" y="592"/>
                        <a:pt x="697" y="592"/>
                      </a:cubicBezTo>
                      <a:cubicBezTo>
                        <a:pt x="705" y="579"/>
                        <a:pt x="702" y="555"/>
                        <a:pt x="705" y="544"/>
                      </a:cubicBezTo>
                      <a:cubicBezTo>
                        <a:pt x="708" y="533"/>
                        <a:pt x="700" y="561"/>
                        <a:pt x="712" y="528"/>
                      </a:cubicBezTo>
                      <a:cubicBezTo>
                        <a:pt x="720" y="484"/>
                        <a:pt x="730" y="372"/>
                        <a:pt x="780" y="343"/>
                      </a:cubicBezTo>
                      <a:cubicBezTo>
                        <a:pt x="810" y="330"/>
                        <a:pt x="824" y="339"/>
                        <a:pt x="844" y="327"/>
                      </a:cubicBezTo>
                      <a:cubicBezTo>
                        <a:pt x="856" y="319"/>
                        <a:pt x="880" y="298"/>
                        <a:pt x="880" y="298"/>
                      </a:cubicBezTo>
                      <a:cubicBezTo>
                        <a:pt x="901" y="282"/>
                        <a:pt x="913" y="246"/>
                        <a:pt x="910" y="228"/>
                      </a:cubicBezTo>
                      <a:cubicBezTo>
                        <a:pt x="895" y="219"/>
                        <a:pt x="885" y="211"/>
                        <a:pt x="873" y="193"/>
                      </a:cubicBezTo>
                      <a:cubicBezTo>
                        <a:pt x="861" y="175"/>
                        <a:pt x="876" y="130"/>
                        <a:pt x="840" y="120"/>
                      </a:cubicBezTo>
                      <a:cubicBezTo>
                        <a:pt x="820" y="104"/>
                        <a:pt x="762" y="96"/>
                        <a:pt x="740" y="104"/>
                      </a:cubicBezTo>
                      <a:cubicBezTo>
                        <a:pt x="710" y="102"/>
                        <a:pt x="689" y="113"/>
                        <a:pt x="658" y="111"/>
                      </a:cubicBezTo>
                      <a:cubicBezTo>
                        <a:pt x="637" y="111"/>
                        <a:pt x="634" y="106"/>
                        <a:pt x="616" y="103"/>
                      </a:cubicBezTo>
                      <a:cubicBezTo>
                        <a:pt x="598" y="100"/>
                        <a:pt x="585" y="112"/>
                        <a:pt x="552" y="92"/>
                      </a:cubicBezTo>
                      <a:cubicBezTo>
                        <a:pt x="517" y="81"/>
                        <a:pt x="518" y="88"/>
                        <a:pt x="516" y="78"/>
                      </a:cubicBezTo>
                      <a:cubicBezTo>
                        <a:pt x="514" y="68"/>
                        <a:pt x="547" y="46"/>
                        <a:pt x="540" y="34"/>
                      </a:cubicBezTo>
                      <a:cubicBezTo>
                        <a:pt x="528" y="0"/>
                        <a:pt x="516" y="8"/>
                        <a:pt x="476" y="4"/>
                      </a:cubicBezTo>
                      <a:cubicBezTo>
                        <a:pt x="460" y="8"/>
                        <a:pt x="444" y="6"/>
                        <a:pt x="429" y="21"/>
                      </a:cubicBezTo>
                      <a:cubicBezTo>
                        <a:pt x="413" y="22"/>
                        <a:pt x="390" y="28"/>
                        <a:pt x="384" y="13"/>
                      </a:cubicBezTo>
                      <a:close/>
                    </a:path>
                  </a:pathLst>
                </a:custGeom>
                <a:grpFill/>
                <a:ln w="6350" cmpd="sng">
                  <a:solidFill>
                    <a:schemeClr val="bg1"/>
                  </a:solidFill>
                  <a:round/>
                  <a:headEnd/>
                  <a:tailEnd/>
                </a:ln>
              </p:spPr>
              <p:txBody>
                <a:bodyPr wrap="none" lIns="0" tIns="0" rIns="0" bIns="0" anchor="ctr"/>
                <a:lstStyle>
                  <a:defPPr>
                    <a:defRPr lang="en-EN"/>
                  </a:defPPr>
                  <a:lvl1pPr algn="l" rtl="0" fontAlgn="base">
                    <a:spcBef>
                      <a:spcPct val="0"/>
                    </a:spcBef>
                    <a:spcAft>
                      <a:spcPct val="0"/>
                    </a:spcAft>
                    <a:defRPr sz="1200" b="1" kern="1200">
                      <a:solidFill>
                        <a:schemeClr val="tx1"/>
                      </a:solidFill>
                      <a:latin typeface="+mn-lt" charset="0"/>
                      <a:ea typeface="+mn-ea"/>
                      <a:cs typeface="+mn-cs"/>
                    </a:defRPr>
                  </a:lvl1pPr>
                  <a:lvl2pPr marL="457200" algn="l" rtl="0" fontAlgn="base">
                    <a:spcBef>
                      <a:spcPct val="0"/>
                    </a:spcBef>
                    <a:spcAft>
                      <a:spcPct val="0"/>
                    </a:spcAft>
                    <a:defRPr sz="1200" b="1" kern="1200">
                      <a:solidFill>
                        <a:schemeClr val="tx1"/>
                      </a:solidFill>
                      <a:latin typeface="+mn-lt" charset="0"/>
                      <a:ea typeface="+mn-ea"/>
                      <a:cs typeface="+mn-cs"/>
                    </a:defRPr>
                  </a:lvl2pPr>
                  <a:lvl3pPr marL="914400" algn="l" rtl="0" fontAlgn="base">
                    <a:spcBef>
                      <a:spcPct val="0"/>
                    </a:spcBef>
                    <a:spcAft>
                      <a:spcPct val="0"/>
                    </a:spcAft>
                    <a:defRPr sz="1200" b="1" kern="1200">
                      <a:solidFill>
                        <a:schemeClr val="tx1"/>
                      </a:solidFill>
                      <a:latin typeface="+mn-lt" charset="0"/>
                      <a:ea typeface="+mn-ea"/>
                      <a:cs typeface="+mn-cs"/>
                    </a:defRPr>
                  </a:lvl3pPr>
                  <a:lvl4pPr marL="1371600" algn="l" rtl="0" fontAlgn="base">
                    <a:spcBef>
                      <a:spcPct val="0"/>
                    </a:spcBef>
                    <a:spcAft>
                      <a:spcPct val="0"/>
                    </a:spcAft>
                    <a:defRPr sz="1200" b="1" kern="1200">
                      <a:solidFill>
                        <a:schemeClr val="tx1"/>
                      </a:solidFill>
                      <a:latin typeface="+mn-lt" charset="0"/>
                      <a:ea typeface="+mn-ea"/>
                      <a:cs typeface="+mn-cs"/>
                    </a:defRPr>
                  </a:lvl4pPr>
                  <a:lvl5pPr marL="1828800" algn="l" rtl="0" fontAlgn="base">
                    <a:spcBef>
                      <a:spcPct val="0"/>
                    </a:spcBef>
                    <a:spcAft>
                      <a:spcPct val="0"/>
                    </a:spcAft>
                    <a:defRPr sz="1200" b="1" kern="1200">
                      <a:solidFill>
                        <a:schemeClr val="tx1"/>
                      </a:solidFill>
                      <a:latin typeface="+mn-lt" charset="0"/>
                      <a:ea typeface="+mn-ea"/>
                      <a:cs typeface="+mn-cs"/>
                    </a:defRPr>
                  </a:lvl5pPr>
                  <a:lvl6pPr marL="2286000" algn="l" defTabSz="914400" rtl="0" eaLnBrk="1" latinLnBrk="0" hangingPunct="1">
                    <a:defRPr sz="1200" b="1" kern="1200">
                      <a:solidFill>
                        <a:schemeClr val="tx1"/>
                      </a:solidFill>
                      <a:latin typeface="+mn-lt" charset="0"/>
                      <a:ea typeface="+mn-ea"/>
                      <a:cs typeface="+mn-cs"/>
                    </a:defRPr>
                  </a:lvl6pPr>
                  <a:lvl7pPr marL="2743200" algn="l" defTabSz="914400" rtl="0" eaLnBrk="1" latinLnBrk="0" hangingPunct="1">
                    <a:defRPr sz="1200" b="1" kern="1200">
                      <a:solidFill>
                        <a:schemeClr val="tx1"/>
                      </a:solidFill>
                      <a:latin typeface="+mn-lt" charset="0"/>
                      <a:ea typeface="+mn-ea"/>
                      <a:cs typeface="+mn-cs"/>
                    </a:defRPr>
                  </a:lvl7pPr>
                  <a:lvl8pPr marL="3200400" algn="l" defTabSz="914400" rtl="0" eaLnBrk="1" latinLnBrk="0" hangingPunct="1">
                    <a:defRPr sz="1200" b="1" kern="1200">
                      <a:solidFill>
                        <a:schemeClr val="tx1"/>
                      </a:solidFill>
                      <a:latin typeface="+mn-lt" charset="0"/>
                      <a:ea typeface="+mn-ea"/>
                      <a:cs typeface="+mn-cs"/>
                    </a:defRPr>
                  </a:lvl8pPr>
                  <a:lvl9pPr marL="3657600" algn="l" defTabSz="914400" rtl="0" eaLnBrk="1" latinLnBrk="0" hangingPunct="1">
                    <a:defRPr sz="1200" b="1" kern="1200">
                      <a:solidFill>
                        <a:schemeClr val="tx1"/>
                      </a:solidFill>
                      <a:latin typeface="+mn-lt" charset="0"/>
                      <a:ea typeface="+mn-ea"/>
                      <a:cs typeface="+mn-cs"/>
                    </a:defRPr>
                  </a:lvl9pPr>
                </a:lstStyle>
                <a:p>
                  <a:endParaRPr lang="de-DE" sz="900"/>
                </a:p>
              </p:txBody>
            </p:sp>
          </p:grpSp>
          <p:sp>
            <p:nvSpPr>
              <p:cNvPr id="21" name="Oval 12">
                <a:extLst>
                  <a:ext uri="{FF2B5EF4-FFF2-40B4-BE49-F238E27FC236}">
                    <a16:creationId xmlns:a16="http://schemas.microsoft.com/office/drawing/2014/main" id="{03AC3578-4BB2-D8F9-6A12-78D7C1EB9B41}"/>
                  </a:ext>
                </a:extLst>
              </p:cNvPr>
              <p:cNvSpPr/>
              <p:nvPr/>
            </p:nvSpPr>
            <p:spPr>
              <a:xfrm>
                <a:off x="2180083" y="3485377"/>
                <a:ext cx="60753" cy="60753"/>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22" name="Oval 13">
                <a:extLst>
                  <a:ext uri="{FF2B5EF4-FFF2-40B4-BE49-F238E27FC236}">
                    <a16:creationId xmlns:a16="http://schemas.microsoft.com/office/drawing/2014/main" id="{D92AF4C9-086A-8D40-1C8D-9C4B87AC1C26}"/>
                  </a:ext>
                </a:extLst>
              </p:cNvPr>
              <p:cNvSpPr/>
              <p:nvPr/>
            </p:nvSpPr>
            <p:spPr>
              <a:xfrm>
                <a:off x="2204167" y="3384465"/>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23" name="Oval 14">
                <a:extLst>
                  <a:ext uri="{FF2B5EF4-FFF2-40B4-BE49-F238E27FC236}">
                    <a16:creationId xmlns:a16="http://schemas.microsoft.com/office/drawing/2014/main" id="{09C64E55-BB1F-2FA4-4D6A-0D8ED845B7B5}"/>
                  </a:ext>
                </a:extLst>
              </p:cNvPr>
              <p:cNvSpPr/>
              <p:nvPr/>
            </p:nvSpPr>
            <p:spPr>
              <a:xfrm>
                <a:off x="2117535" y="3367960"/>
                <a:ext cx="60753" cy="60753"/>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24" name="Oval 15">
                <a:extLst>
                  <a:ext uri="{FF2B5EF4-FFF2-40B4-BE49-F238E27FC236}">
                    <a16:creationId xmlns:a16="http://schemas.microsoft.com/office/drawing/2014/main" id="{9DCD719F-A81B-1212-46CF-DBE9AF25E2E6}"/>
                  </a:ext>
                </a:extLst>
              </p:cNvPr>
              <p:cNvSpPr/>
              <p:nvPr/>
            </p:nvSpPr>
            <p:spPr>
              <a:xfrm>
                <a:off x="2105084" y="3467893"/>
                <a:ext cx="60753" cy="60753"/>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25" name="Oval 16">
                <a:extLst>
                  <a:ext uri="{FF2B5EF4-FFF2-40B4-BE49-F238E27FC236}">
                    <a16:creationId xmlns:a16="http://schemas.microsoft.com/office/drawing/2014/main" id="{C1ABFA22-3D85-08D5-3BE9-18E1C4D0A015}"/>
                  </a:ext>
                </a:extLst>
              </p:cNvPr>
              <p:cNvSpPr/>
              <p:nvPr/>
            </p:nvSpPr>
            <p:spPr>
              <a:xfrm>
                <a:off x="2075804" y="3516431"/>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26" name="Oval 17">
                <a:extLst>
                  <a:ext uri="{FF2B5EF4-FFF2-40B4-BE49-F238E27FC236}">
                    <a16:creationId xmlns:a16="http://schemas.microsoft.com/office/drawing/2014/main" id="{EC9DAB8E-EB50-F2D7-C011-1490E7DA65D5}"/>
                  </a:ext>
                </a:extLst>
              </p:cNvPr>
              <p:cNvSpPr/>
              <p:nvPr/>
            </p:nvSpPr>
            <p:spPr>
              <a:xfrm>
                <a:off x="1993732" y="3491783"/>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27" name="Oval 18">
                <a:extLst>
                  <a:ext uri="{FF2B5EF4-FFF2-40B4-BE49-F238E27FC236}">
                    <a16:creationId xmlns:a16="http://schemas.microsoft.com/office/drawing/2014/main" id="{035FC938-93FC-0B18-7977-F7F519B468C0}"/>
                  </a:ext>
                </a:extLst>
              </p:cNvPr>
              <p:cNvSpPr/>
              <p:nvPr/>
            </p:nvSpPr>
            <p:spPr>
              <a:xfrm>
                <a:off x="1971525" y="3500665"/>
                <a:ext cx="60753" cy="60753"/>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28" name="Oval 19">
                <a:extLst>
                  <a:ext uri="{FF2B5EF4-FFF2-40B4-BE49-F238E27FC236}">
                    <a16:creationId xmlns:a16="http://schemas.microsoft.com/office/drawing/2014/main" id="{055ECF6B-4DC2-8E41-26F1-0C0C4DA4FFD6}"/>
                  </a:ext>
                </a:extLst>
              </p:cNvPr>
              <p:cNvSpPr/>
              <p:nvPr/>
            </p:nvSpPr>
            <p:spPr>
              <a:xfrm>
                <a:off x="1868265" y="3702674"/>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29" name="Oval 20">
                <a:extLst>
                  <a:ext uri="{FF2B5EF4-FFF2-40B4-BE49-F238E27FC236}">
                    <a16:creationId xmlns:a16="http://schemas.microsoft.com/office/drawing/2014/main" id="{9963F803-372B-3810-8F1C-FE1CF0BFC9E9}"/>
                  </a:ext>
                </a:extLst>
              </p:cNvPr>
              <p:cNvSpPr/>
              <p:nvPr/>
            </p:nvSpPr>
            <p:spPr>
              <a:xfrm>
                <a:off x="1759912" y="3685746"/>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30" name="Oval 21">
                <a:extLst>
                  <a:ext uri="{FF2B5EF4-FFF2-40B4-BE49-F238E27FC236}">
                    <a16:creationId xmlns:a16="http://schemas.microsoft.com/office/drawing/2014/main" id="{33A25092-9171-7796-FCB1-AC61A9C611A7}"/>
                  </a:ext>
                </a:extLst>
              </p:cNvPr>
              <p:cNvSpPr/>
              <p:nvPr/>
            </p:nvSpPr>
            <p:spPr>
              <a:xfrm>
                <a:off x="2411079" y="3670552"/>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31" name="Oval 22">
                <a:extLst>
                  <a:ext uri="{FF2B5EF4-FFF2-40B4-BE49-F238E27FC236}">
                    <a16:creationId xmlns:a16="http://schemas.microsoft.com/office/drawing/2014/main" id="{1A55F4A8-78FC-7466-EC36-5C6B282269A6}"/>
                  </a:ext>
                </a:extLst>
              </p:cNvPr>
              <p:cNvSpPr/>
              <p:nvPr/>
            </p:nvSpPr>
            <p:spPr>
              <a:xfrm>
                <a:off x="2311855" y="3689735"/>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32" name="Oval 23">
                <a:extLst>
                  <a:ext uri="{FF2B5EF4-FFF2-40B4-BE49-F238E27FC236}">
                    <a16:creationId xmlns:a16="http://schemas.microsoft.com/office/drawing/2014/main" id="{DDAF46B5-8FD2-F355-1CA9-D52ED83194D4}"/>
                  </a:ext>
                </a:extLst>
              </p:cNvPr>
              <p:cNvSpPr/>
              <p:nvPr/>
            </p:nvSpPr>
            <p:spPr>
              <a:xfrm>
                <a:off x="2103342" y="3870810"/>
                <a:ext cx="60753" cy="60753"/>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33" name="Oval 24">
                <a:extLst>
                  <a:ext uri="{FF2B5EF4-FFF2-40B4-BE49-F238E27FC236}">
                    <a16:creationId xmlns:a16="http://schemas.microsoft.com/office/drawing/2014/main" id="{8FCFCF89-D504-05D1-6890-C519FB294296}"/>
                  </a:ext>
                </a:extLst>
              </p:cNvPr>
              <p:cNvSpPr/>
              <p:nvPr/>
            </p:nvSpPr>
            <p:spPr>
              <a:xfrm>
                <a:off x="2193937" y="3915094"/>
                <a:ext cx="60753" cy="60753"/>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34" name="Oval 25">
                <a:extLst>
                  <a:ext uri="{FF2B5EF4-FFF2-40B4-BE49-F238E27FC236}">
                    <a16:creationId xmlns:a16="http://schemas.microsoft.com/office/drawing/2014/main" id="{5AEC87FC-1D4E-FFBF-E65F-6E13F6489EF2}"/>
                  </a:ext>
                </a:extLst>
              </p:cNvPr>
              <p:cNvSpPr/>
              <p:nvPr/>
            </p:nvSpPr>
            <p:spPr>
              <a:xfrm>
                <a:off x="2324937" y="3972888"/>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35" name="Oval 26">
                <a:extLst>
                  <a:ext uri="{FF2B5EF4-FFF2-40B4-BE49-F238E27FC236}">
                    <a16:creationId xmlns:a16="http://schemas.microsoft.com/office/drawing/2014/main" id="{A7E37EE0-3D7D-559A-C8C2-CBAFF89088C0}"/>
                  </a:ext>
                </a:extLst>
              </p:cNvPr>
              <p:cNvSpPr/>
              <p:nvPr/>
            </p:nvSpPr>
            <p:spPr>
              <a:xfrm>
                <a:off x="1831272" y="4098028"/>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36" name="Oval 27">
                <a:extLst>
                  <a:ext uri="{FF2B5EF4-FFF2-40B4-BE49-F238E27FC236}">
                    <a16:creationId xmlns:a16="http://schemas.microsoft.com/office/drawing/2014/main" id="{3A843989-2755-1679-38ED-B247D4AC9F86}"/>
                  </a:ext>
                </a:extLst>
              </p:cNvPr>
              <p:cNvSpPr/>
              <p:nvPr/>
            </p:nvSpPr>
            <p:spPr>
              <a:xfrm>
                <a:off x="1878258" y="4267407"/>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37" name="Oval 28">
                <a:extLst>
                  <a:ext uri="{FF2B5EF4-FFF2-40B4-BE49-F238E27FC236}">
                    <a16:creationId xmlns:a16="http://schemas.microsoft.com/office/drawing/2014/main" id="{1A56D53F-F289-23AB-591F-B93B2FA3A9EF}"/>
                  </a:ext>
                </a:extLst>
              </p:cNvPr>
              <p:cNvSpPr/>
              <p:nvPr/>
            </p:nvSpPr>
            <p:spPr>
              <a:xfrm>
                <a:off x="2193439" y="4288103"/>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38" name="Oval 29">
                <a:extLst>
                  <a:ext uri="{FF2B5EF4-FFF2-40B4-BE49-F238E27FC236}">
                    <a16:creationId xmlns:a16="http://schemas.microsoft.com/office/drawing/2014/main" id="{708BEB68-AFCA-5612-41D2-70CD0A9A3B14}"/>
                  </a:ext>
                </a:extLst>
              </p:cNvPr>
              <p:cNvSpPr/>
              <p:nvPr/>
            </p:nvSpPr>
            <p:spPr>
              <a:xfrm>
                <a:off x="2259181" y="4535050"/>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39" name="Oval 30">
                <a:extLst>
                  <a:ext uri="{FF2B5EF4-FFF2-40B4-BE49-F238E27FC236}">
                    <a16:creationId xmlns:a16="http://schemas.microsoft.com/office/drawing/2014/main" id="{97CD6B10-5BC3-CC41-B6CD-B5137180918D}"/>
                  </a:ext>
                </a:extLst>
              </p:cNvPr>
              <p:cNvSpPr/>
              <p:nvPr/>
            </p:nvSpPr>
            <p:spPr>
              <a:xfrm>
                <a:off x="2489767" y="4010265"/>
                <a:ext cx="60753" cy="60753"/>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40" name="Oval 31">
                <a:extLst>
                  <a:ext uri="{FF2B5EF4-FFF2-40B4-BE49-F238E27FC236}">
                    <a16:creationId xmlns:a16="http://schemas.microsoft.com/office/drawing/2014/main" id="{17E09CD8-4DE2-AEC3-608D-5C2D51ECC3BA}"/>
                  </a:ext>
                </a:extLst>
              </p:cNvPr>
              <p:cNvSpPr/>
              <p:nvPr/>
            </p:nvSpPr>
            <p:spPr>
              <a:xfrm>
                <a:off x="2819692" y="4038161"/>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41" name="Oval 32">
                <a:extLst>
                  <a:ext uri="{FF2B5EF4-FFF2-40B4-BE49-F238E27FC236}">
                    <a16:creationId xmlns:a16="http://schemas.microsoft.com/office/drawing/2014/main" id="{8384C48B-80AD-AAC3-779B-D09A17F6A16F}"/>
                  </a:ext>
                </a:extLst>
              </p:cNvPr>
              <p:cNvSpPr/>
              <p:nvPr/>
            </p:nvSpPr>
            <p:spPr>
              <a:xfrm>
                <a:off x="2946265" y="3903940"/>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42" name="Oval 33">
                <a:extLst>
                  <a:ext uri="{FF2B5EF4-FFF2-40B4-BE49-F238E27FC236}">
                    <a16:creationId xmlns:a16="http://schemas.microsoft.com/office/drawing/2014/main" id="{B98E03A2-6ACE-EF31-3710-6E473376D02E}"/>
                  </a:ext>
                </a:extLst>
              </p:cNvPr>
              <p:cNvSpPr/>
              <p:nvPr/>
            </p:nvSpPr>
            <p:spPr>
              <a:xfrm>
                <a:off x="2685403" y="3319505"/>
                <a:ext cx="60753" cy="60753"/>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43" name="Oval 34">
                <a:extLst>
                  <a:ext uri="{FF2B5EF4-FFF2-40B4-BE49-F238E27FC236}">
                    <a16:creationId xmlns:a16="http://schemas.microsoft.com/office/drawing/2014/main" id="{BEB74F46-BEDA-7684-5814-F904A449F278}"/>
                  </a:ext>
                </a:extLst>
              </p:cNvPr>
              <p:cNvSpPr/>
              <p:nvPr/>
            </p:nvSpPr>
            <p:spPr>
              <a:xfrm>
                <a:off x="3373761" y="4226288"/>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44" name="Oval 35">
                <a:extLst>
                  <a:ext uri="{FF2B5EF4-FFF2-40B4-BE49-F238E27FC236}">
                    <a16:creationId xmlns:a16="http://schemas.microsoft.com/office/drawing/2014/main" id="{EEE05131-CDC3-F4BA-7338-5CDD69820A6C}"/>
                  </a:ext>
                </a:extLst>
              </p:cNvPr>
              <p:cNvSpPr/>
              <p:nvPr/>
            </p:nvSpPr>
            <p:spPr>
              <a:xfrm>
                <a:off x="3635096" y="4660459"/>
                <a:ext cx="60753" cy="60753"/>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45" name="Oval 36">
                <a:extLst>
                  <a:ext uri="{FF2B5EF4-FFF2-40B4-BE49-F238E27FC236}">
                    <a16:creationId xmlns:a16="http://schemas.microsoft.com/office/drawing/2014/main" id="{0775DFEC-BCC6-5F8A-F14B-90644D99343B}"/>
                  </a:ext>
                </a:extLst>
              </p:cNvPr>
              <p:cNvSpPr/>
              <p:nvPr/>
            </p:nvSpPr>
            <p:spPr>
              <a:xfrm>
                <a:off x="1358775" y="4802436"/>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46" name="Oval 37">
                <a:extLst>
                  <a:ext uri="{FF2B5EF4-FFF2-40B4-BE49-F238E27FC236}">
                    <a16:creationId xmlns:a16="http://schemas.microsoft.com/office/drawing/2014/main" id="{E85BC713-B8CA-2612-55F8-23891D66E351}"/>
                  </a:ext>
                </a:extLst>
              </p:cNvPr>
              <p:cNvSpPr/>
              <p:nvPr/>
            </p:nvSpPr>
            <p:spPr>
              <a:xfrm>
                <a:off x="1208151" y="4457562"/>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47" name="Oval 38">
                <a:extLst>
                  <a:ext uri="{FF2B5EF4-FFF2-40B4-BE49-F238E27FC236}">
                    <a16:creationId xmlns:a16="http://schemas.microsoft.com/office/drawing/2014/main" id="{57B6E850-0B22-DDCD-69EC-C46BA360C299}"/>
                  </a:ext>
                </a:extLst>
              </p:cNvPr>
              <p:cNvSpPr/>
              <p:nvPr/>
            </p:nvSpPr>
            <p:spPr>
              <a:xfrm>
                <a:off x="964026" y="4455737"/>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48" name="Oval 39">
                <a:extLst>
                  <a:ext uri="{FF2B5EF4-FFF2-40B4-BE49-F238E27FC236}">
                    <a16:creationId xmlns:a16="http://schemas.microsoft.com/office/drawing/2014/main" id="{2277C579-2B1C-0E0E-4E6A-97A258B910BD}"/>
                  </a:ext>
                </a:extLst>
              </p:cNvPr>
              <p:cNvSpPr/>
              <p:nvPr/>
            </p:nvSpPr>
            <p:spPr>
              <a:xfrm>
                <a:off x="719905" y="4636013"/>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49" name="Oval 40">
                <a:extLst>
                  <a:ext uri="{FF2B5EF4-FFF2-40B4-BE49-F238E27FC236}">
                    <a16:creationId xmlns:a16="http://schemas.microsoft.com/office/drawing/2014/main" id="{9C9539FF-8F43-33AD-6553-CD2A35D4E58A}"/>
                  </a:ext>
                </a:extLst>
              </p:cNvPr>
              <p:cNvSpPr/>
              <p:nvPr/>
            </p:nvSpPr>
            <p:spPr>
              <a:xfrm>
                <a:off x="648922" y="4772059"/>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50" name="Oval 41">
                <a:extLst>
                  <a:ext uri="{FF2B5EF4-FFF2-40B4-BE49-F238E27FC236}">
                    <a16:creationId xmlns:a16="http://schemas.microsoft.com/office/drawing/2014/main" id="{C2CB9E8B-59F9-AE8A-EFDA-227DFC7EF96A}"/>
                  </a:ext>
                </a:extLst>
              </p:cNvPr>
              <p:cNvSpPr/>
              <p:nvPr/>
            </p:nvSpPr>
            <p:spPr>
              <a:xfrm>
                <a:off x="2111982" y="3163791"/>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51" name="Oval 42">
                <a:extLst>
                  <a:ext uri="{FF2B5EF4-FFF2-40B4-BE49-F238E27FC236}">
                    <a16:creationId xmlns:a16="http://schemas.microsoft.com/office/drawing/2014/main" id="{48F118C7-611B-E4B5-8C11-7C35CE25B440}"/>
                  </a:ext>
                </a:extLst>
              </p:cNvPr>
              <p:cNvSpPr/>
              <p:nvPr/>
            </p:nvSpPr>
            <p:spPr>
              <a:xfrm>
                <a:off x="2190076" y="3174049"/>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52" name="Oval 43">
                <a:extLst>
                  <a:ext uri="{FF2B5EF4-FFF2-40B4-BE49-F238E27FC236}">
                    <a16:creationId xmlns:a16="http://schemas.microsoft.com/office/drawing/2014/main" id="{956A795C-C2A6-7DB2-AA92-7E1429362CBA}"/>
                  </a:ext>
                </a:extLst>
              </p:cNvPr>
              <p:cNvSpPr/>
              <p:nvPr/>
            </p:nvSpPr>
            <p:spPr>
              <a:xfrm>
                <a:off x="1409838" y="3392719"/>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53" name="Oval 44">
                <a:extLst>
                  <a:ext uri="{FF2B5EF4-FFF2-40B4-BE49-F238E27FC236}">
                    <a16:creationId xmlns:a16="http://schemas.microsoft.com/office/drawing/2014/main" id="{14E61D2C-1548-A5ED-11EC-59BEBB5B47BE}"/>
                  </a:ext>
                </a:extLst>
              </p:cNvPr>
              <p:cNvSpPr/>
              <p:nvPr/>
            </p:nvSpPr>
            <p:spPr>
              <a:xfrm>
                <a:off x="1960106" y="2612374"/>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54" name="Oval 45">
                <a:extLst>
                  <a:ext uri="{FF2B5EF4-FFF2-40B4-BE49-F238E27FC236}">
                    <a16:creationId xmlns:a16="http://schemas.microsoft.com/office/drawing/2014/main" id="{D152CF09-FD49-6C73-DB58-EC9FA0618C25}"/>
                  </a:ext>
                </a:extLst>
              </p:cNvPr>
              <p:cNvSpPr/>
              <p:nvPr/>
            </p:nvSpPr>
            <p:spPr>
              <a:xfrm>
                <a:off x="2215998" y="2422965"/>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55" name="Oval 46">
                <a:extLst>
                  <a:ext uri="{FF2B5EF4-FFF2-40B4-BE49-F238E27FC236}">
                    <a16:creationId xmlns:a16="http://schemas.microsoft.com/office/drawing/2014/main" id="{9BA8C739-0C7F-4B58-A0D5-7ED47D351B93}"/>
                  </a:ext>
                </a:extLst>
              </p:cNvPr>
              <p:cNvSpPr/>
              <p:nvPr/>
            </p:nvSpPr>
            <p:spPr>
              <a:xfrm>
                <a:off x="826149" y="5084679"/>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56" name="Oval 47">
                <a:extLst>
                  <a:ext uri="{FF2B5EF4-FFF2-40B4-BE49-F238E27FC236}">
                    <a16:creationId xmlns:a16="http://schemas.microsoft.com/office/drawing/2014/main" id="{C2687B69-8B0D-4DF9-57F4-17DB67B1F87A}"/>
                  </a:ext>
                </a:extLst>
              </p:cNvPr>
              <p:cNvSpPr/>
              <p:nvPr/>
            </p:nvSpPr>
            <p:spPr>
              <a:xfrm>
                <a:off x="550520" y="4857689"/>
                <a:ext cx="129835" cy="129835"/>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57" name="Oval 48">
                <a:extLst>
                  <a:ext uri="{FF2B5EF4-FFF2-40B4-BE49-F238E27FC236}">
                    <a16:creationId xmlns:a16="http://schemas.microsoft.com/office/drawing/2014/main" id="{326409AF-4718-79D4-7ABE-93A7F49A1A2D}"/>
                  </a:ext>
                </a:extLst>
              </p:cNvPr>
              <p:cNvSpPr/>
              <p:nvPr/>
            </p:nvSpPr>
            <p:spPr>
              <a:xfrm>
                <a:off x="639550" y="4877279"/>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58" name="Oval 49">
                <a:extLst>
                  <a:ext uri="{FF2B5EF4-FFF2-40B4-BE49-F238E27FC236}">
                    <a16:creationId xmlns:a16="http://schemas.microsoft.com/office/drawing/2014/main" id="{51B107C5-CB14-CE37-C116-AEB2CC8D3102}"/>
                  </a:ext>
                </a:extLst>
              </p:cNvPr>
              <p:cNvSpPr/>
              <p:nvPr/>
            </p:nvSpPr>
            <p:spPr>
              <a:xfrm>
                <a:off x="635355" y="4913286"/>
                <a:ext cx="60753" cy="60753"/>
              </a:xfrm>
              <a:prstGeom prst="ellipse">
                <a:avLst/>
              </a:prstGeom>
              <a:solidFill>
                <a:schemeClr val="accent2"/>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59" name="Oval 50">
                <a:extLst>
                  <a:ext uri="{FF2B5EF4-FFF2-40B4-BE49-F238E27FC236}">
                    <a16:creationId xmlns:a16="http://schemas.microsoft.com/office/drawing/2014/main" id="{56C0D2C6-38DF-91C1-89B7-454D39DC2695}"/>
                  </a:ext>
                </a:extLst>
              </p:cNvPr>
              <p:cNvSpPr/>
              <p:nvPr/>
            </p:nvSpPr>
            <p:spPr>
              <a:xfrm>
                <a:off x="1614249" y="4885659"/>
                <a:ext cx="60753" cy="60753"/>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60" name="Oval 51">
                <a:extLst>
                  <a:ext uri="{FF2B5EF4-FFF2-40B4-BE49-F238E27FC236}">
                    <a16:creationId xmlns:a16="http://schemas.microsoft.com/office/drawing/2014/main" id="{A0797D14-A59F-016B-763C-5396D23BD5FD}"/>
                  </a:ext>
                </a:extLst>
              </p:cNvPr>
              <p:cNvSpPr/>
              <p:nvPr/>
            </p:nvSpPr>
            <p:spPr>
              <a:xfrm>
                <a:off x="1528582" y="3813245"/>
                <a:ext cx="97960" cy="97960"/>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61" name="Oval 52">
                <a:extLst>
                  <a:ext uri="{FF2B5EF4-FFF2-40B4-BE49-F238E27FC236}">
                    <a16:creationId xmlns:a16="http://schemas.microsoft.com/office/drawing/2014/main" id="{7F4AA747-358C-2CD7-00DD-841E17369FAB}"/>
                  </a:ext>
                </a:extLst>
              </p:cNvPr>
              <p:cNvSpPr/>
              <p:nvPr/>
            </p:nvSpPr>
            <p:spPr>
              <a:xfrm>
                <a:off x="2297363" y="4187180"/>
                <a:ext cx="60753" cy="60753"/>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62" name="Oval 53">
                <a:extLst>
                  <a:ext uri="{FF2B5EF4-FFF2-40B4-BE49-F238E27FC236}">
                    <a16:creationId xmlns:a16="http://schemas.microsoft.com/office/drawing/2014/main" id="{CD9FD546-E4CE-8E00-1AA1-7A6CED7CAD17}"/>
                  </a:ext>
                </a:extLst>
              </p:cNvPr>
              <p:cNvSpPr/>
              <p:nvPr/>
            </p:nvSpPr>
            <p:spPr>
              <a:xfrm>
                <a:off x="1936607" y="3859513"/>
                <a:ext cx="129835" cy="129835"/>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63" name="Oval 54">
                <a:extLst>
                  <a:ext uri="{FF2B5EF4-FFF2-40B4-BE49-F238E27FC236}">
                    <a16:creationId xmlns:a16="http://schemas.microsoft.com/office/drawing/2014/main" id="{C6BA3F8D-AAF7-4728-11B9-B24B3D720FB6}"/>
                  </a:ext>
                </a:extLst>
              </p:cNvPr>
              <p:cNvSpPr/>
              <p:nvPr/>
            </p:nvSpPr>
            <p:spPr>
              <a:xfrm>
                <a:off x="1993416" y="3712367"/>
                <a:ext cx="97960" cy="97960"/>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64" name="Oval 55">
                <a:extLst>
                  <a:ext uri="{FF2B5EF4-FFF2-40B4-BE49-F238E27FC236}">
                    <a16:creationId xmlns:a16="http://schemas.microsoft.com/office/drawing/2014/main" id="{A6B2C167-E2CD-4C8F-AFED-264A42508F47}"/>
                  </a:ext>
                </a:extLst>
              </p:cNvPr>
              <p:cNvSpPr/>
              <p:nvPr/>
            </p:nvSpPr>
            <p:spPr>
              <a:xfrm>
                <a:off x="1754985" y="3583015"/>
                <a:ext cx="129835" cy="129835"/>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65" name="Oval 56">
                <a:extLst>
                  <a:ext uri="{FF2B5EF4-FFF2-40B4-BE49-F238E27FC236}">
                    <a16:creationId xmlns:a16="http://schemas.microsoft.com/office/drawing/2014/main" id="{DCE7DF9F-4E40-21E3-EB1B-EC9B5E6885C0}"/>
                  </a:ext>
                </a:extLst>
              </p:cNvPr>
              <p:cNvSpPr/>
              <p:nvPr/>
            </p:nvSpPr>
            <p:spPr>
              <a:xfrm>
                <a:off x="1785971" y="3392484"/>
                <a:ext cx="219378" cy="219378"/>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66" name="Oval 57">
                <a:extLst>
                  <a:ext uri="{FF2B5EF4-FFF2-40B4-BE49-F238E27FC236}">
                    <a16:creationId xmlns:a16="http://schemas.microsoft.com/office/drawing/2014/main" id="{836004CA-88CA-2784-39B1-73DE6B928D64}"/>
                  </a:ext>
                </a:extLst>
              </p:cNvPr>
              <p:cNvSpPr/>
              <p:nvPr/>
            </p:nvSpPr>
            <p:spPr>
              <a:xfrm>
                <a:off x="1802387" y="3552966"/>
                <a:ext cx="97960" cy="97960"/>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67" name="Oval 58">
                <a:extLst>
                  <a:ext uri="{FF2B5EF4-FFF2-40B4-BE49-F238E27FC236}">
                    <a16:creationId xmlns:a16="http://schemas.microsoft.com/office/drawing/2014/main" id="{6659B5AB-2128-D04D-CD53-43091E85266A}"/>
                  </a:ext>
                </a:extLst>
              </p:cNvPr>
              <p:cNvSpPr/>
              <p:nvPr/>
            </p:nvSpPr>
            <p:spPr>
              <a:xfrm>
                <a:off x="1898073" y="3485603"/>
                <a:ext cx="97960" cy="97960"/>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68" name="Oval 59">
                <a:extLst>
                  <a:ext uri="{FF2B5EF4-FFF2-40B4-BE49-F238E27FC236}">
                    <a16:creationId xmlns:a16="http://schemas.microsoft.com/office/drawing/2014/main" id="{8F5BA23B-10D5-143C-3F23-88D9149FC43D}"/>
                  </a:ext>
                </a:extLst>
              </p:cNvPr>
              <p:cNvSpPr/>
              <p:nvPr/>
            </p:nvSpPr>
            <p:spPr>
              <a:xfrm>
                <a:off x="2043653" y="3538932"/>
                <a:ext cx="97960" cy="97960"/>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69" name="Oval 60">
                <a:extLst>
                  <a:ext uri="{FF2B5EF4-FFF2-40B4-BE49-F238E27FC236}">
                    <a16:creationId xmlns:a16="http://schemas.microsoft.com/office/drawing/2014/main" id="{D601E9EB-2747-F917-F8DD-AF05FA69055E}"/>
                  </a:ext>
                </a:extLst>
              </p:cNvPr>
              <p:cNvSpPr/>
              <p:nvPr/>
            </p:nvSpPr>
            <p:spPr>
              <a:xfrm>
                <a:off x="2020037" y="2950118"/>
                <a:ext cx="97960" cy="97960"/>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70" name="Oval 61">
                <a:extLst>
                  <a:ext uri="{FF2B5EF4-FFF2-40B4-BE49-F238E27FC236}">
                    <a16:creationId xmlns:a16="http://schemas.microsoft.com/office/drawing/2014/main" id="{89E4D337-7FEB-1534-57D6-223C5FDAEC32}"/>
                  </a:ext>
                </a:extLst>
              </p:cNvPr>
              <p:cNvSpPr/>
              <p:nvPr/>
            </p:nvSpPr>
            <p:spPr>
              <a:xfrm>
                <a:off x="2789672" y="2674976"/>
                <a:ext cx="97960" cy="97960"/>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71" name="Oval 62">
                <a:extLst>
                  <a:ext uri="{FF2B5EF4-FFF2-40B4-BE49-F238E27FC236}">
                    <a16:creationId xmlns:a16="http://schemas.microsoft.com/office/drawing/2014/main" id="{C0E2B808-6C17-B3C5-264F-F08148FE221E}"/>
                  </a:ext>
                </a:extLst>
              </p:cNvPr>
              <p:cNvSpPr/>
              <p:nvPr/>
            </p:nvSpPr>
            <p:spPr>
              <a:xfrm>
                <a:off x="2898279" y="2675359"/>
                <a:ext cx="219378" cy="219378"/>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72" name="Oval 63">
                <a:extLst>
                  <a:ext uri="{FF2B5EF4-FFF2-40B4-BE49-F238E27FC236}">
                    <a16:creationId xmlns:a16="http://schemas.microsoft.com/office/drawing/2014/main" id="{826E5F90-C0D7-7727-508C-AAA7B0B68236}"/>
                  </a:ext>
                </a:extLst>
              </p:cNvPr>
              <p:cNvSpPr/>
              <p:nvPr/>
            </p:nvSpPr>
            <p:spPr>
              <a:xfrm>
                <a:off x="2937776" y="2602392"/>
                <a:ext cx="129835" cy="129835"/>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73" name="Oval 64">
                <a:extLst>
                  <a:ext uri="{FF2B5EF4-FFF2-40B4-BE49-F238E27FC236}">
                    <a16:creationId xmlns:a16="http://schemas.microsoft.com/office/drawing/2014/main" id="{6D767951-7330-6207-DC6E-8C32764611FC}"/>
                  </a:ext>
                </a:extLst>
              </p:cNvPr>
              <p:cNvSpPr/>
              <p:nvPr/>
            </p:nvSpPr>
            <p:spPr>
              <a:xfrm>
                <a:off x="3453626" y="3981920"/>
                <a:ext cx="219378" cy="219378"/>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74" name="Oval 65">
                <a:extLst>
                  <a:ext uri="{FF2B5EF4-FFF2-40B4-BE49-F238E27FC236}">
                    <a16:creationId xmlns:a16="http://schemas.microsoft.com/office/drawing/2014/main" id="{9F83EEC4-5D1C-DFC3-76EE-F2B08332A76F}"/>
                  </a:ext>
                </a:extLst>
              </p:cNvPr>
              <p:cNvSpPr/>
              <p:nvPr/>
            </p:nvSpPr>
            <p:spPr>
              <a:xfrm>
                <a:off x="3504086" y="4210616"/>
                <a:ext cx="129835" cy="129835"/>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sp>
            <p:nvSpPr>
              <p:cNvPr id="75" name="Oval 66">
                <a:extLst>
                  <a:ext uri="{FF2B5EF4-FFF2-40B4-BE49-F238E27FC236}">
                    <a16:creationId xmlns:a16="http://schemas.microsoft.com/office/drawing/2014/main" id="{B3A25AC4-22E1-0AC6-2472-474EF062726F}"/>
                  </a:ext>
                </a:extLst>
              </p:cNvPr>
              <p:cNvSpPr/>
              <p:nvPr/>
            </p:nvSpPr>
            <p:spPr>
              <a:xfrm>
                <a:off x="1139974" y="4407824"/>
                <a:ext cx="97960" cy="97960"/>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err="1">
                  <a:solidFill>
                    <a:schemeClr val="tx1"/>
                  </a:solidFill>
                  <a:sym typeface="+mn-lt"/>
                </a:endParaRPr>
              </a:p>
            </p:txBody>
          </p:sp>
        </p:grpSp>
        <p:sp>
          <p:nvSpPr>
            <p:cNvPr id="12" name="Oval 197">
              <a:extLst>
                <a:ext uri="{FF2B5EF4-FFF2-40B4-BE49-F238E27FC236}">
                  <a16:creationId xmlns:a16="http://schemas.microsoft.com/office/drawing/2014/main" id="{D98C29D6-155F-7265-F166-3053D96190D7}"/>
                </a:ext>
              </a:extLst>
            </p:cNvPr>
            <p:cNvSpPr/>
            <p:nvPr/>
          </p:nvSpPr>
          <p:spPr>
            <a:xfrm>
              <a:off x="3827656" y="5078575"/>
              <a:ext cx="293257" cy="495149"/>
            </a:xfrm>
            <a:prstGeom prst="ellipse">
              <a:avLst/>
            </a:prstGeom>
            <a:noFill/>
            <a:ln w="6350">
              <a:solidFill>
                <a:schemeClr val="accent5"/>
              </a:solidFill>
              <a:prstDash val="dash"/>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spcBef>
                  <a:spcPts val="300"/>
                </a:spcBef>
                <a:spcAft>
                  <a:spcPct val="0"/>
                </a:spcAft>
                <a:buSzPct val="100000"/>
              </a:pPr>
              <a:endParaRPr lang="en-US" sz="900" err="1">
                <a:solidFill>
                  <a:schemeClr val="tx1"/>
                </a:solidFill>
                <a:sym typeface="+mn-lt"/>
              </a:endParaRPr>
            </a:p>
          </p:txBody>
        </p:sp>
        <p:sp>
          <p:nvSpPr>
            <p:cNvPr id="13" name="Oval 199">
              <a:extLst>
                <a:ext uri="{FF2B5EF4-FFF2-40B4-BE49-F238E27FC236}">
                  <a16:creationId xmlns:a16="http://schemas.microsoft.com/office/drawing/2014/main" id="{392B9B89-94C2-AE11-948C-2137887B6A07}"/>
                </a:ext>
              </a:extLst>
            </p:cNvPr>
            <p:cNvSpPr/>
            <p:nvPr/>
          </p:nvSpPr>
          <p:spPr>
            <a:xfrm rot="5948508">
              <a:off x="5334974" y="4208707"/>
              <a:ext cx="235123" cy="495149"/>
            </a:xfrm>
            <a:prstGeom prst="ellipse">
              <a:avLst/>
            </a:prstGeom>
            <a:noFill/>
            <a:ln w="6350">
              <a:solidFill>
                <a:schemeClr val="accent5"/>
              </a:solidFill>
              <a:prstDash val="dash"/>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spcBef>
                  <a:spcPts val="300"/>
                </a:spcBef>
                <a:spcAft>
                  <a:spcPct val="0"/>
                </a:spcAft>
                <a:buSzPct val="100000"/>
              </a:pPr>
              <a:endParaRPr lang="en-US" sz="900" err="1">
                <a:solidFill>
                  <a:schemeClr val="tx1"/>
                </a:solidFill>
                <a:sym typeface="+mn-lt"/>
              </a:endParaRPr>
            </a:p>
          </p:txBody>
        </p:sp>
        <p:sp>
          <p:nvSpPr>
            <p:cNvPr id="14" name="Oval 200">
              <a:extLst>
                <a:ext uri="{FF2B5EF4-FFF2-40B4-BE49-F238E27FC236}">
                  <a16:creationId xmlns:a16="http://schemas.microsoft.com/office/drawing/2014/main" id="{10799F4E-0FFD-ABD8-6041-AEC41E018AC7}"/>
                </a:ext>
              </a:extLst>
            </p:cNvPr>
            <p:cNvSpPr/>
            <p:nvPr/>
          </p:nvSpPr>
          <p:spPr>
            <a:xfrm rot="3998296">
              <a:off x="5165283" y="3714509"/>
              <a:ext cx="235123" cy="686747"/>
            </a:xfrm>
            <a:prstGeom prst="ellipse">
              <a:avLst/>
            </a:prstGeom>
            <a:noFill/>
            <a:ln w="6350">
              <a:solidFill>
                <a:schemeClr val="accent5"/>
              </a:solidFill>
              <a:prstDash val="dash"/>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spcBef>
                  <a:spcPts val="300"/>
                </a:spcBef>
                <a:spcAft>
                  <a:spcPct val="0"/>
                </a:spcAft>
                <a:buSzPct val="100000"/>
              </a:pPr>
              <a:endParaRPr lang="en-US" sz="900" err="1">
                <a:solidFill>
                  <a:schemeClr val="tx1"/>
                </a:solidFill>
                <a:sym typeface="+mn-lt"/>
              </a:endParaRPr>
            </a:p>
          </p:txBody>
        </p:sp>
        <p:sp>
          <p:nvSpPr>
            <p:cNvPr id="15" name="Oval 201">
              <a:extLst>
                <a:ext uri="{FF2B5EF4-FFF2-40B4-BE49-F238E27FC236}">
                  <a16:creationId xmlns:a16="http://schemas.microsoft.com/office/drawing/2014/main" id="{9D868856-153E-2D11-B64A-E814D01C27AE}"/>
                </a:ext>
              </a:extLst>
            </p:cNvPr>
            <p:cNvSpPr/>
            <p:nvPr/>
          </p:nvSpPr>
          <p:spPr>
            <a:xfrm rot="5948508">
              <a:off x="6134682" y="3052872"/>
              <a:ext cx="235123" cy="446197"/>
            </a:xfrm>
            <a:prstGeom prst="ellipse">
              <a:avLst/>
            </a:prstGeom>
            <a:noFill/>
            <a:ln w="6350">
              <a:solidFill>
                <a:schemeClr val="accent5"/>
              </a:solidFill>
              <a:prstDash val="dash"/>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spcBef>
                  <a:spcPts val="300"/>
                </a:spcBef>
                <a:spcAft>
                  <a:spcPct val="0"/>
                </a:spcAft>
                <a:buSzPct val="100000"/>
              </a:pPr>
              <a:endParaRPr lang="en-US" sz="900" err="1">
                <a:solidFill>
                  <a:schemeClr val="tx1"/>
                </a:solidFill>
                <a:sym typeface="+mn-lt"/>
              </a:endParaRPr>
            </a:p>
          </p:txBody>
        </p:sp>
      </p:grpSp>
      <p:sp>
        <p:nvSpPr>
          <p:cNvPr id="197" name="Oval 202">
            <a:extLst>
              <a:ext uri="{FF2B5EF4-FFF2-40B4-BE49-F238E27FC236}">
                <a16:creationId xmlns:a16="http://schemas.microsoft.com/office/drawing/2014/main" id="{30307718-777F-7C4A-96CD-425D038C8FBA}"/>
              </a:ext>
            </a:extLst>
          </p:cNvPr>
          <p:cNvSpPr/>
          <p:nvPr/>
        </p:nvSpPr>
        <p:spPr>
          <a:xfrm rot="5400000">
            <a:off x="420388" y="4017120"/>
            <a:ext cx="127268" cy="219942"/>
          </a:xfrm>
          <a:prstGeom prst="ellipse">
            <a:avLst/>
          </a:prstGeom>
          <a:noFill/>
          <a:ln w="6350">
            <a:solidFill>
              <a:schemeClr val="accent5"/>
            </a:solidFill>
            <a:prstDash val="dash"/>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spcBef>
                <a:spcPts val="300"/>
              </a:spcBef>
              <a:spcAft>
                <a:spcPct val="0"/>
              </a:spcAft>
              <a:buSzPct val="100000"/>
            </a:pPr>
            <a:endParaRPr lang="en-US" sz="900">
              <a:solidFill>
                <a:schemeClr val="tx1"/>
              </a:solidFill>
              <a:sym typeface="+mn-lt"/>
            </a:endParaRPr>
          </a:p>
        </p:txBody>
      </p:sp>
      <p:sp>
        <p:nvSpPr>
          <p:cNvPr id="198" name="RBRightUShape">
            <a:extLst>
              <a:ext uri="{FF2B5EF4-FFF2-40B4-BE49-F238E27FC236}">
                <a16:creationId xmlns:a16="http://schemas.microsoft.com/office/drawing/2014/main" id="{FBEF620B-AAC0-CCA9-CE28-DA86731084CA}"/>
              </a:ext>
            </a:extLst>
          </p:cNvPr>
          <p:cNvSpPr/>
          <p:nvPr/>
        </p:nvSpPr>
        <p:spPr>
          <a:xfrm>
            <a:off x="4898514" y="1774322"/>
            <a:ext cx="3919322" cy="2846533"/>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solidFill>
            <a:schemeClr val="bg1"/>
          </a:solidFill>
          <a:ln w="19050" cmpd="sng">
            <a:solidFill>
              <a:schemeClr val="accent5"/>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sz="1350"/>
          </a:p>
        </p:txBody>
      </p:sp>
      <p:sp>
        <p:nvSpPr>
          <p:cNvPr id="199" name="RBContent96">
            <a:extLst>
              <a:ext uri="{FF2B5EF4-FFF2-40B4-BE49-F238E27FC236}">
                <a16:creationId xmlns:a16="http://schemas.microsoft.com/office/drawing/2014/main" id="{991F046A-9CD8-B36F-517D-D16F6F6A63BD}"/>
              </a:ext>
            </a:extLst>
          </p:cNvPr>
          <p:cNvSpPr txBox="1">
            <a:spLocks/>
          </p:cNvSpPr>
          <p:nvPr/>
        </p:nvSpPr>
        <p:spPr>
          <a:xfrm>
            <a:off x="4978477" y="1726823"/>
            <a:ext cx="3307931" cy="166199"/>
          </a:xfrm>
          <a:prstGeom prst="rect">
            <a:avLst/>
          </a:prstGeom>
          <a:solidFill>
            <a:schemeClr val="bg1"/>
          </a:solidFill>
          <a:ln w="9525">
            <a:noFill/>
          </a:ln>
        </p:spPr>
        <p:txBody>
          <a:bodyPr vert="horz" wrap="square" lIns="54000" tIns="0" rIns="0" bIns="0" rtlCol="0">
            <a:spAutoFit/>
          </a:bodyPr>
          <a:lstStyle/>
          <a:p>
            <a:pPr>
              <a:lnSpc>
                <a:spcPct val="90000"/>
              </a:lnSpc>
              <a:spcBef>
                <a:spcPts val="300"/>
              </a:spcBef>
              <a:buSzPct val="100000"/>
            </a:pPr>
            <a:r>
              <a:rPr lang="en-US" sz="1200">
                <a:solidFill>
                  <a:schemeClr val="accent5">
                    <a:lumMod val="100000"/>
                  </a:schemeClr>
                </a:solidFill>
                <a:sym typeface="+mn-lt"/>
              </a:rPr>
              <a:t>European Hydrogen Backbone: Key facts</a:t>
            </a:r>
          </a:p>
        </p:txBody>
      </p:sp>
      <p:graphicFrame>
        <p:nvGraphicFramePr>
          <p:cNvPr id="200" name="Tabelle 432">
            <a:extLst>
              <a:ext uri="{FF2B5EF4-FFF2-40B4-BE49-F238E27FC236}">
                <a16:creationId xmlns:a16="http://schemas.microsoft.com/office/drawing/2014/main" id="{6438B5E5-F602-3C28-7910-FDF557152380}"/>
              </a:ext>
            </a:extLst>
          </p:cNvPr>
          <p:cNvGraphicFramePr>
            <a:graphicFrameLocks noGrp="1"/>
          </p:cNvGraphicFramePr>
          <p:nvPr>
            <p:extLst>
              <p:ext uri="{D42A27DB-BD31-4B8C-83A1-F6EECF244321}">
                <p14:modId xmlns:p14="http://schemas.microsoft.com/office/powerpoint/2010/main" val="1080511413"/>
              </p:ext>
            </p:extLst>
          </p:nvPr>
        </p:nvGraphicFramePr>
        <p:xfrm>
          <a:off x="4971627" y="2037172"/>
          <a:ext cx="3846209" cy="2573727"/>
        </p:xfrm>
        <a:graphic>
          <a:graphicData uri="http://schemas.openxmlformats.org/drawingml/2006/table">
            <a:tbl>
              <a:tblPr firstRow="1" bandRow="1">
                <a:tableStyleId>{5C22544A-7EE6-4342-B048-85BDC9FD1C3A}</a:tableStyleId>
              </a:tblPr>
              <a:tblGrid>
                <a:gridCol w="1098917">
                  <a:extLst>
                    <a:ext uri="{9D8B030D-6E8A-4147-A177-3AD203B41FA5}">
                      <a16:colId xmlns:a16="http://schemas.microsoft.com/office/drawing/2014/main" val="3944680458"/>
                    </a:ext>
                  </a:extLst>
                </a:gridCol>
                <a:gridCol w="2747292">
                  <a:extLst>
                    <a:ext uri="{9D8B030D-6E8A-4147-A177-3AD203B41FA5}">
                      <a16:colId xmlns:a16="http://schemas.microsoft.com/office/drawing/2014/main" val="456241312"/>
                    </a:ext>
                  </a:extLst>
                </a:gridCol>
              </a:tblGrid>
              <a:tr h="509492">
                <a:tc>
                  <a:txBody>
                    <a:bodyPr/>
                    <a:lstStyle/>
                    <a:p>
                      <a:pPr marL="354013" indent="0" rtl="0">
                        <a:spcAft>
                          <a:spcPts val="200"/>
                        </a:spcAft>
                      </a:pPr>
                      <a:r>
                        <a:rPr lang="en-US" sz="900" b="1" noProof="0">
                          <a:solidFill>
                            <a:schemeClr val="tx1"/>
                          </a:solidFill>
                        </a:rPr>
                        <a:t>Objective:</a:t>
                      </a:r>
                    </a:p>
                  </a:txBody>
                  <a:tcPr marL="27000" marR="27000" marT="27000" marB="27000">
                    <a:lnL w="12700" cmpd="sng">
                      <a:noFill/>
                    </a:lnL>
                    <a:lnR w="12700" cmpd="sng">
                      <a:noFill/>
                    </a:lnR>
                    <a:lnT w="12700" cmpd="sng">
                      <a:noFill/>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spcAft>
                          <a:spcPts val="200"/>
                        </a:spcAft>
                      </a:pPr>
                      <a:r>
                        <a:rPr lang="en-US" sz="900" b="0" noProof="0">
                          <a:solidFill>
                            <a:schemeClr val="tx1"/>
                          </a:solidFill>
                        </a:rPr>
                        <a:t>Development of a </a:t>
                      </a:r>
                      <a:r>
                        <a:rPr lang="en-US" sz="900" b="1" noProof="0">
                          <a:solidFill>
                            <a:schemeClr val="tx1"/>
                          </a:solidFill>
                        </a:rPr>
                        <a:t>dedicated hydrogen pipeline transport network across European countries </a:t>
                      </a:r>
                      <a:r>
                        <a:rPr lang="en-US" sz="900" b="0" noProof="0">
                          <a:solidFill>
                            <a:schemeClr val="tx1"/>
                          </a:solidFill>
                        </a:rPr>
                        <a:t>to enable large-scale transport and use of hydrogen</a:t>
                      </a:r>
                    </a:p>
                  </a:txBody>
                  <a:tcPr marL="27000" marR="27000" marT="27000" marB="27000">
                    <a:lnL w="12700" cmpd="sng">
                      <a:noFill/>
                    </a:lnL>
                    <a:lnR w="12700" cmpd="sng">
                      <a:noFill/>
                    </a:lnR>
                    <a:lnT w="12700" cmpd="sng">
                      <a:noFill/>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9448247"/>
                  </a:ext>
                </a:extLst>
              </a:tr>
              <a:tr h="359363">
                <a:tc>
                  <a:txBody>
                    <a:bodyPr/>
                    <a:lstStyle/>
                    <a:p>
                      <a:pPr marL="354013" indent="0" rtl="0">
                        <a:spcAft>
                          <a:spcPts val="200"/>
                        </a:spcAft>
                      </a:pPr>
                      <a:r>
                        <a:rPr lang="en-US" sz="900" b="1" noProof="0">
                          <a:solidFill>
                            <a:schemeClr val="tx1"/>
                          </a:solidFill>
                        </a:rPr>
                        <a:t>Initiators:</a:t>
                      </a:r>
                    </a:p>
                  </a:txBody>
                  <a:tcPr marL="27000" marR="27000" marT="27000" marB="27000" anchor="ctr">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200"/>
                        </a:spcAft>
                        <a:buClrTx/>
                        <a:buSzTx/>
                        <a:buFontTx/>
                        <a:buNone/>
                        <a:tabLst/>
                        <a:defRPr/>
                      </a:pPr>
                      <a:r>
                        <a:rPr lang="en-US" sz="900" b="1" noProof="0" dirty="0">
                          <a:solidFill>
                            <a:schemeClr val="tx1"/>
                          </a:solidFill>
                        </a:rPr>
                        <a:t>European Hydrogen Backbone </a:t>
                      </a:r>
                      <a:r>
                        <a:rPr lang="en-US" sz="900" b="0" noProof="0" dirty="0">
                          <a:solidFill>
                            <a:schemeClr val="tx1"/>
                          </a:solidFill>
                        </a:rPr>
                        <a:t>initiative; group of </a:t>
                      </a:r>
                      <a:r>
                        <a:rPr lang="en-US" sz="900" b="1" noProof="0" dirty="0">
                          <a:solidFill>
                            <a:schemeClr val="tx1"/>
                          </a:solidFill>
                        </a:rPr>
                        <a:t>31 EU gas Transmission System Operators </a:t>
                      </a:r>
                    </a:p>
                  </a:txBody>
                  <a:tcPr marL="27000" marR="27000" marT="27000" marB="27000" anchor="ctr">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9210493"/>
                  </a:ext>
                </a:extLst>
              </a:tr>
              <a:tr h="265976">
                <a:tc>
                  <a:txBody>
                    <a:bodyPr/>
                    <a:lstStyle/>
                    <a:p>
                      <a:pPr marL="354013" indent="0" rtl="0">
                        <a:spcAft>
                          <a:spcPts val="200"/>
                        </a:spcAft>
                      </a:pPr>
                      <a:r>
                        <a:rPr lang="en-US" sz="900" b="1" noProof="0">
                          <a:solidFill>
                            <a:schemeClr val="tx1"/>
                          </a:solidFill>
                        </a:rPr>
                        <a:t>COD:</a:t>
                      </a:r>
                    </a:p>
                  </a:txBody>
                  <a:tcPr marL="27000" marR="27000" marT="27000" marB="27000" anchor="ctr">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25444" rtl="0" eaLnBrk="1" fontAlgn="auto" latinLnBrk="0" hangingPunct="1">
                        <a:lnSpc>
                          <a:spcPct val="100000"/>
                        </a:lnSpc>
                        <a:spcBef>
                          <a:spcPts val="0"/>
                        </a:spcBef>
                        <a:spcAft>
                          <a:spcPts val="200"/>
                        </a:spcAft>
                        <a:buClrTx/>
                        <a:buSzTx/>
                        <a:buFontTx/>
                        <a:buNone/>
                        <a:tabLst/>
                        <a:defRPr/>
                      </a:pPr>
                      <a:r>
                        <a:rPr lang="en-US" sz="900" b="1" noProof="0">
                          <a:solidFill>
                            <a:schemeClr val="tx1"/>
                          </a:solidFill>
                        </a:rPr>
                        <a:t>2040 </a:t>
                      </a:r>
                      <a:r>
                        <a:rPr lang="en-US" sz="900" b="0" noProof="0">
                          <a:solidFill>
                            <a:schemeClr val="tx1"/>
                          </a:solidFill>
                        </a:rPr>
                        <a:t>(final stage of pipeline construction / upgrade)</a:t>
                      </a:r>
                    </a:p>
                  </a:txBody>
                  <a:tcPr marL="27000" marR="27000" marT="27000" marB="27000" anchor="ctr">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1917786"/>
                  </a:ext>
                </a:extLst>
              </a:tr>
              <a:tr h="265976">
                <a:tc>
                  <a:txBody>
                    <a:bodyPr/>
                    <a:lstStyle/>
                    <a:p>
                      <a:pPr marL="354013" indent="0" algn="l" defTabSz="1125444" rtl="0" eaLnBrk="1" latinLnBrk="0" hangingPunct="1">
                        <a:spcAft>
                          <a:spcPts val="200"/>
                        </a:spcAft>
                      </a:pPr>
                      <a:r>
                        <a:rPr lang="en-US" sz="900" b="1" kern="1200" noProof="0">
                          <a:solidFill>
                            <a:schemeClr val="tx1"/>
                          </a:solidFill>
                          <a:latin typeface="+mn-lt"/>
                          <a:ea typeface="+mn-ea"/>
                          <a:cs typeface="+mn-cs"/>
                        </a:rPr>
                        <a:t>Length:</a:t>
                      </a:r>
                    </a:p>
                  </a:txBody>
                  <a:tcPr marL="27000" marR="27000" marT="27000" marB="27000" anchor="ctr">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spcAft>
                          <a:spcPts val="200"/>
                        </a:spcAft>
                      </a:pPr>
                      <a:r>
                        <a:rPr lang="en-US" sz="900" b="1" noProof="0" dirty="0">
                          <a:solidFill>
                            <a:schemeClr val="tx1"/>
                          </a:solidFill>
                        </a:rPr>
                        <a:t>53,000 km </a:t>
                      </a:r>
                      <a:r>
                        <a:rPr lang="en-US" sz="900" b="0" noProof="0" dirty="0">
                          <a:solidFill>
                            <a:schemeClr val="tx1"/>
                          </a:solidFill>
                        </a:rPr>
                        <a:t>by 2040 (accelerated </a:t>
                      </a:r>
                      <a:r>
                        <a:rPr lang="en-US" sz="900" b="0" noProof="0" dirty="0" err="1">
                          <a:solidFill>
                            <a:schemeClr val="tx1"/>
                          </a:solidFill>
                        </a:rPr>
                        <a:t>EHB</a:t>
                      </a:r>
                      <a:r>
                        <a:rPr lang="en-US" sz="900" b="0" noProof="0" dirty="0">
                          <a:solidFill>
                            <a:schemeClr val="tx1"/>
                          </a:solidFill>
                        </a:rPr>
                        <a:t> vision)</a:t>
                      </a:r>
                    </a:p>
                  </a:txBody>
                  <a:tcPr marL="27000" marR="27000" marT="27000" marB="27000" anchor="ctr">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0598038"/>
                  </a:ext>
                </a:extLst>
              </a:tr>
              <a:tr h="328320">
                <a:tc>
                  <a:txBody>
                    <a:bodyPr/>
                    <a:lstStyle/>
                    <a:p>
                      <a:pPr marL="354013" indent="0" algn="l" defTabSz="1125444" rtl="0" eaLnBrk="1" latinLnBrk="0" hangingPunct="1">
                        <a:spcAft>
                          <a:spcPts val="200"/>
                        </a:spcAft>
                      </a:pPr>
                      <a:r>
                        <a:rPr lang="en-US" sz="900" b="1" kern="1200" noProof="0">
                          <a:solidFill>
                            <a:schemeClr val="tx1"/>
                          </a:solidFill>
                          <a:latin typeface="+mn-lt"/>
                          <a:ea typeface="+mn-ea"/>
                          <a:cs typeface="+mn-cs"/>
                        </a:rPr>
                        <a:t>Required invest:</a:t>
                      </a:r>
                    </a:p>
                  </a:txBody>
                  <a:tcPr marL="27000" marR="27000" marT="27000" marB="27000" anchor="ctr">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spcAft>
                          <a:spcPts val="200"/>
                        </a:spcAft>
                      </a:pPr>
                      <a:r>
                        <a:rPr lang="en-US" sz="900" b="1" noProof="0">
                          <a:solidFill>
                            <a:schemeClr val="tx1"/>
                          </a:solidFill>
                        </a:rPr>
                        <a:t>EUR 80-143 bn </a:t>
                      </a:r>
                      <a:r>
                        <a:rPr lang="en-US" sz="900" b="0" noProof="0">
                          <a:solidFill>
                            <a:schemeClr val="tx1"/>
                          </a:solidFill>
                        </a:rPr>
                        <a:t>(60% repurposing, 40% new)</a:t>
                      </a:r>
                    </a:p>
                  </a:txBody>
                  <a:tcPr marL="27000" marR="27000" marT="27000" marB="27000" anchor="ctr">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1523377"/>
                  </a:ext>
                </a:extLst>
              </a:tr>
              <a:tr h="328320">
                <a:tc>
                  <a:txBody>
                    <a:bodyPr/>
                    <a:lstStyle/>
                    <a:p>
                      <a:pPr marL="354013" marR="0" lvl="0" indent="0" algn="l" defTabSz="1125444" rtl="0" eaLnBrk="1" fontAlgn="auto" latinLnBrk="0" hangingPunct="1">
                        <a:lnSpc>
                          <a:spcPct val="100000"/>
                        </a:lnSpc>
                        <a:spcBef>
                          <a:spcPts val="0"/>
                        </a:spcBef>
                        <a:spcAft>
                          <a:spcPts val="200"/>
                        </a:spcAft>
                        <a:buClrTx/>
                        <a:buSzTx/>
                        <a:buFontTx/>
                        <a:buNone/>
                        <a:tabLst/>
                        <a:defRPr/>
                      </a:pPr>
                      <a:r>
                        <a:rPr lang="en-US" sz="900" b="1" kern="1200" noProof="0">
                          <a:solidFill>
                            <a:schemeClr val="tx1"/>
                          </a:solidFill>
                          <a:latin typeface="+mn-lt"/>
                          <a:ea typeface="+mn-ea"/>
                          <a:cs typeface="+mn-cs"/>
                        </a:rPr>
                        <a:t>Countries covered:</a:t>
                      </a:r>
                    </a:p>
                  </a:txBody>
                  <a:tcPr marL="27000" marR="27000" marT="27000" marB="27000" anchor="ctr">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spcAft>
                          <a:spcPts val="200"/>
                        </a:spcAft>
                      </a:pPr>
                      <a:r>
                        <a:rPr lang="en-US" sz="900" b="1" noProof="0">
                          <a:solidFill>
                            <a:schemeClr val="tx1"/>
                          </a:solidFill>
                        </a:rPr>
                        <a:t>28</a:t>
                      </a:r>
                      <a:r>
                        <a:rPr lang="en-US" sz="900" b="0" noProof="0">
                          <a:solidFill>
                            <a:schemeClr val="tx1"/>
                          </a:solidFill>
                        </a:rPr>
                        <a:t> countries</a:t>
                      </a:r>
                    </a:p>
                  </a:txBody>
                  <a:tcPr marL="27000" marR="27000" marT="27000" marB="27000" anchor="ctr">
                    <a:lnL w="12700" cmpd="sng">
                      <a:noFill/>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2858152"/>
                  </a:ext>
                </a:extLst>
              </a:tr>
              <a:tr h="509492">
                <a:tc>
                  <a:txBody>
                    <a:bodyPr/>
                    <a:lstStyle/>
                    <a:p>
                      <a:pPr marL="354013" marR="0" lvl="0" indent="0" algn="l" defTabSz="1125444" rtl="0" eaLnBrk="1" fontAlgn="auto" latinLnBrk="0" hangingPunct="1">
                        <a:lnSpc>
                          <a:spcPct val="100000"/>
                        </a:lnSpc>
                        <a:spcBef>
                          <a:spcPts val="0"/>
                        </a:spcBef>
                        <a:spcAft>
                          <a:spcPts val="200"/>
                        </a:spcAft>
                        <a:buClrTx/>
                        <a:buSzTx/>
                        <a:buFontTx/>
                        <a:buNone/>
                        <a:tabLst/>
                        <a:defRPr/>
                      </a:pPr>
                      <a:r>
                        <a:rPr lang="en-US" sz="900" b="1" kern="1200" noProof="0">
                          <a:solidFill>
                            <a:schemeClr val="tx1"/>
                          </a:solidFill>
                          <a:latin typeface="+mn-lt"/>
                          <a:ea typeface="+mn-ea"/>
                          <a:cs typeface="+mn-cs"/>
                        </a:rPr>
                        <a:t>Approach:</a:t>
                      </a:r>
                    </a:p>
                  </a:txBody>
                  <a:tcPr marL="27000" marR="27000" marT="27000" marB="27000">
                    <a:lnL w="12700" cmpd="sng">
                      <a:noFill/>
                    </a:lnL>
                    <a:lnR w="12700" cmpd="sng">
                      <a:noFill/>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spcAft>
                          <a:spcPts val="200"/>
                        </a:spcAft>
                      </a:pPr>
                      <a:r>
                        <a:rPr lang="en-US" sz="900" b="0" noProof="0" dirty="0">
                          <a:solidFill>
                            <a:schemeClr val="tx1"/>
                          </a:solidFill>
                        </a:rPr>
                        <a:t>2030: Initial pipeline network of 28,000 km</a:t>
                      </a:r>
                    </a:p>
                    <a:p>
                      <a:pPr rtl="0">
                        <a:spcAft>
                          <a:spcPts val="200"/>
                        </a:spcAft>
                      </a:pPr>
                      <a:r>
                        <a:rPr lang="en-US" sz="900" b="0" noProof="0" dirty="0">
                          <a:solidFill>
                            <a:schemeClr val="tx1"/>
                          </a:solidFill>
                        </a:rPr>
                        <a:t>2035: Extended pipeline network</a:t>
                      </a:r>
                    </a:p>
                    <a:p>
                      <a:pPr rtl="0">
                        <a:spcAft>
                          <a:spcPts val="200"/>
                        </a:spcAft>
                      </a:pPr>
                      <a:r>
                        <a:rPr lang="en-US" sz="900" b="0" noProof="0" dirty="0">
                          <a:solidFill>
                            <a:schemeClr val="tx1"/>
                          </a:solidFill>
                        </a:rPr>
                        <a:t>2040: Mature pipeline network of 53,000 km</a:t>
                      </a:r>
                    </a:p>
                  </a:txBody>
                  <a:tcPr marL="27000" marR="27000" marT="27000" marB="27000">
                    <a:lnL w="12700" cmpd="sng">
                      <a:noFill/>
                    </a:lnL>
                    <a:lnR w="12700" cmpd="sng">
                      <a:noFill/>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4087093"/>
                  </a:ext>
                </a:extLst>
              </a:tr>
            </a:tbl>
          </a:graphicData>
        </a:graphic>
      </p:graphicFrame>
      <p:sp>
        <p:nvSpPr>
          <p:cNvPr id="201" name="Freeform: Shape 7">
            <a:extLst>
              <a:ext uri="{FF2B5EF4-FFF2-40B4-BE49-F238E27FC236}">
                <a16:creationId xmlns:a16="http://schemas.microsoft.com/office/drawing/2014/main" id="{DAE92455-3028-C5C3-8D1C-225D370A92C7}"/>
              </a:ext>
            </a:extLst>
          </p:cNvPr>
          <p:cNvSpPr>
            <a:spLocks noChangeAspect="1"/>
          </p:cNvSpPr>
          <p:nvPr/>
        </p:nvSpPr>
        <p:spPr>
          <a:xfrm>
            <a:off x="4973714" y="1965527"/>
            <a:ext cx="264167" cy="264029"/>
          </a:xfrm>
          <a:custGeom>
            <a:avLst/>
            <a:gdLst>
              <a:gd name="connsiteX0" fmla="*/ 1260407 w 3391315"/>
              <a:gd name="connsiteY0" fmla="*/ 1440680 h 3389544"/>
              <a:gd name="connsiteX1" fmla="*/ 1615227 w 3391315"/>
              <a:gd name="connsiteY1" fmla="*/ 1541300 h 3389544"/>
              <a:gd name="connsiteX2" fmla="*/ 1329252 w 3391315"/>
              <a:gd name="connsiteY2" fmla="*/ 1827275 h 3389544"/>
              <a:gd name="connsiteX3" fmla="*/ 1265702 w 3391315"/>
              <a:gd name="connsiteY3" fmla="*/ 1821979 h 3389544"/>
              <a:gd name="connsiteX4" fmla="*/ 969136 w 3391315"/>
              <a:gd name="connsiteY4" fmla="*/ 2118546 h 3389544"/>
              <a:gd name="connsiteX5" fmla="*/ 1265702 w 3391315"/>
              <a:gd name="connsiteY5" fmla="*/ 2415112 h 3389544"/>
              <a:gd name="connsiteX6" fmla="*/ 1562269 w 3391315"/>
              <a:gd name="connsiteY6" fmla="*/ 2118546 h 3389544"/>
              <a:gd name="connsiteX7" fmla="*/ 1556973 w 3391315"/>
              <a:gd name="connsiteY7" fmla="*/ 2054996 h 3389544"/>
              <a:gd name="connsiteX8" fmla="*/ 1848244 w 3391315"/>
              <a:gd name="connsiteY8" fmla="*/ 1763725 h 3389544"/>
              <a:gd name="connsiteX9" fmla="*/ 1938272 w 3391315"/>
              <a:gd name="connsiteY9" fmla="*/ 2118546 h 3389544"/>
              <a:gd name="connsiteX10" fmla="*/ 1260407 w 3391315"/>
              <a:gd name="connsiteY10" fmla="*/ 2796411 h 3389544"/>
              <a:gd name="connsiteX11" fmla="*/ 582541 w 3391315"/>
              <a:gd name="connsiteY11" fmla="*/ 2118546 h 3389544"/>
              <a:gd name="connsiteX12" fmla="*/ 1260407 w 3391315"/>
              <a:gd name="connsiteY12" fmla="*/ 1440680 h 3389544"/>
              <a:gd name="connsiteX13" fmla="*/ 1265702 w 3391315"/>
              <a:gd name="connsiteY13" fmla="*/ 847547 h 3389544"/>
              <a:gd name="connsiteX14" fmla="*/ 2044189 w 3391315"/>
              <a:gd name="connsiteY14" fmla="*/ 1112338 h 3389544"/>
              <a:gd name="connsiteX15" fmla="*/ 1694664 w 3391315"/>
              <a:gd name="connsiteY15" fmla="*/ 1461863 h 3389544"/>
              <a:gd name="connsiteX16" fmla="*/ 1265702 w 3391315"/>
              <a:gd name="connsiteY16" fmla="*/ 1334763 h 3389544"/>
              <a:gd name="connsiteX17" fmla="*/ 481920 w 3391315"/>
              <a:gd name="connsiteY17" fmla="*/ 2118545 h 3389544"/>
              <a:gd name="connsiteX18" fmla="*/ 1265702 w 3391315"/>
              <a:gd name="connsiteY18" fmla="*/ 2902328 h 3389544"/>
              <a:gd name="connsiteX19" fmla="*/ 2049485 w 3391315"/>
              <a:gd name="connsiteY19" fmla="*/ 2118545 h 3389544"/>
              <a:gd name="connsiteX20" fmla="*/ 1922385 w 3391315"/>
              <a:gd name="connsiteY20" fmla="*/ 1689583 h 3389544"/>
              <a:gd name="connsiteX21" fmla="*/ 2271910 w 3391315"/>
              <a:gd name="connsiteY21" fmla="*/ 1340059 h 3389544"/>
              <a:gd name="connsiteX22" fmla="*/ 2541997 w 3391315"/>
              <a:gd name="connsiteY22" fmla="*/ 2118545 h 3389544"/>
              <a:gd name="connsiteX23" fmla="*/ 1270998 w 3391315"/>
              <a:gd name="connsiteY23" fmla="*/ 3389544 h 3389544"/>
              <a:gd name="connsiteX24" fmla="*/ 0 w 3391315"/>
              <a:gd name="connsiteY24" fmla="*/ 2118545 h 3389544"/>
              <a:gd name="connsiteX25" fmla="*/ 1265702 w 3391315"/>
              <a:gd name="connsiteY25" fmla="*/ 847547 h 3389544"/>
              <a:gd name="connsiteX26" fmla="*/ 2882254 w 3391315"/>
              <a:gd name="connsiteY26" fmla="*/ 876 h 3389544"/>
              <a:gd name="connsiteX27" fmla="*/ 2912705 w 3391315"/>
              <a:gd name="connsiteY27" fmla="*/ 5510 h 3389544"/>
              <a:gd name="connsiteX28" fmla="*/ 2944479 w 3391315"/>
              <a:gd name="connsiteY28" fmla="*/ 58468 h 3389544"/>
              <a:gd name="connsiteX29" fmla="*/ 2912705 w 3391315"/>
              <a:gd name="connsiteY29" fmla="*/ 476839 h 3389544"/>
              <a:gd name="connsiteX30" fmla="*/ 3336371 w 3391315"/>
              <a:gd name="connsiteY30" fmla="*/ 445064 h 3389544"/>
              <a:gd name="connsiteX31" fmla="*/ 3389329 w 3391315"/>
              <a:gd name="connsiteY31" fmla="*/ 476839 h 3389544"/>
              <a:gd name="connsiteX32" fmla="*/ 3373441 w 3391315"/>
              <a:gd name="connsiteY32" fmla="*/ 535093 h 3389544"/>
              <a:gd name="connsiteX33" fmla="*/ 2965663 w 3391315"/>
              <a:gd name="connsiteY33" fmla="*/ 948167 h 3389544"/>
              <a:gd name="connsiteX34" fmla="*/ 2933888 w 3391315"/>
              <a:gd name="connsiteY34" fmla="*/ 964055 h 3389544"/>
              <a:gd name="connsiteX35" fmla="*/ 2467855 w 3391315"/>
              <a:gd name="connsiteY35" fmla="*/ 1001126 h 3389544"/>
              <a:gd name="connsiteX36" fmla="*/ 1308069 w 3391315"/>
              <a:gd name="connsiteY36" fmla="*/ 2155616 h 3389544"/>
              <a:gd name="connsiteX37" fmla="*/ 1233927 w 3391315"/>
              <a:gd name="connsiteY37" fmla="*/ 2155616 h 3389544"/>
              <a:gd name="connsiteX38" fmla="*/ 1233927 w 3391315"/>
              <a:gd name="connsiteY38" fmla="*/ 2081474 h 3389544"/>
              <a:gd name="connsiteX39" fmla="*/ 2393713 w 3391315"/>
              <a:gd name="connsiteY39" fmla="*/ 926984 h 3389544"/>
              <a:gd name="connsiteX40" fmla="*/ 2430784 w 3391315"/>
              <a:gd name="connsiteY40" fmla="*/ 460951 h 3389544"/>
              <a:gd name="connsiteX41" fmla="*/ 2446672 w 3391315"/>
              <a:gd name="connsiteY41" fmla="*/ 429176 h 3389544"/>
              <a:gd name="connsiteX42" fmla="*/ 2859746 w 3391315"/>
              <a:gd name="connsiteY42" fmla="*/ 16102 h 3389544"/>
              <a:gd name="connsiteX43" fmla="*/ 2882254 w 3391315"/>
              <a:gd name="connsiteY43" fmla="*/ 876 h 338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391315" h="3389544">
                <a:moveTo>
                  <a:pt x="1260407" y="1440680"/>
                </a:moveTo>
                <a:cubicBezTo>
                  <a:pt x="1392802" y="1440680"/>
                  <a:pt x="1514606" y="1477750"/>
                  <a:pt x="1615227" y="1541300"/>
                </a:cubicBezTo>
                <a:lnTo>
                  <a:pt x="1329252" y="1827275"/>
                </a:lnTo>
                <a:cubicBezTo>
                  <a:pt x="1308069" y="1821979"/>
                  <a:pt x="1286886" y="1821979"/>
                  <a:pt x="1265702" y="1821979"/>
                </a:cubicBezTo>
                <a:cubicBezTo>
                  <a:pt x="1101532" y="1821979"/>
                  <a:pt x="969136" y="1954375"/>
                  <a:pt x="969136" y="2118546"/>
                </a:cubicBezTo>
                <a:cubicBezTo>
                  <a:pt x="969136" y="2282716"/>
                  <a:pt x="1101532" y="2415112"/>
                  <a:pt x="1265702" y="2415112"/>
                </a:cubicBezTo>
                <a:cubicBezTo>
                  <a:pt x="1429873" y="2415112"/>
                  <a:pt x="1562269" y="2282716"/>
                  <a:pt x="1562269" y="2118546"/>
                </a:cubicBezTo>
                <a:cubicBezTo>
                  <a:pt x="1562269" y="2097362"/>
                  <a:pt x="1562269" y="2076179"/>
                  <a:pt x="1556973" y="2054996"/>
                </a:cubicBezTo>
                <a:lnTo>
                  <a:pt x="1848244" y="1763725"/>
                </a:lnTo>
                <a:cubicBezTo>
                  <a:pt x="1911793" y="1869642"/>
                  <a:pt x="1948864" y="1991446"/>
                  <a:pt x="1938272" y="2118546"/>
                </a:cubicBezTo>
                <a:cubicBezTo>
                  <a:pt x="1938272" y="2494549"/>
                  <a:pt x="1631115" y="2796411"/>
                  <a:pt x="1260407" y="2796411"/>
                </a:cubicBezTo>
                <a:cubicBezTo>
                  <a:pt x="884403" y="2796411"/>
                  <a:pt x="582541" y="2494549"/>
                  <a:pt x="582541" y="2118546"/>
                </a:cubicBezTo>
                <a:cubicBezTo>
                  <a:pt x="582541" y="1742542"/>
                  <a:pt x="884403" y="1440680"/>
                  <a:pt x="1260407" y="1440680"/>
                </a:cubicBezTo>
                <a:close/>
                <a:moveTo>
                  <a:pt x="1265702" y="847547"/>
                </a:moveTo>
                <a:cubicBezTo>
                  <a:pt x="1556973" y="847547"/>
                  <a:pt x="1827060" y="942872"/>
                  <a:pt x="2044189" y="1112338"/>
                </a:cubicBezTo>
                <a:lnTo>
                  <a:pt x="1694664" y="1461863"/>
                </a:lnTo>
                <a:cubicBezTo>
                  <a:pt x="1572861" y="1382425"/>
                  <a:pt x="1424577" y="1334763"/>
                  <a:pt x="1265702" y="1334763"/>
                </a:cubicBezTo>
                <a:cubicBezTo>
                  <a:pt x="831445" y="1334763"/>
                  <a:pt x="481920" y="1689583"/>
                  <a:pt x="481920" y="2118545"/>
                </a:cubicBezTo>
                <a:cubicBezTo>
                  <a:pt x="481920" y="2552803"/>
                  <a:pt x="831445" y="2902328"/>
                  <a:pt x="1265702" y="2902328"/>
                </a:cubicBezTo>
                <a:cubicBezTo>
                  <a:pt x="1699960" y="2902328"/>
                  <a:pt x="2049485" y="2552803"/>
                  <a:pt x="2049485" y="2118545"/>
                </a:cubicBezTo>
                <a:cubicBezTo>
                  <a:pt x="2049485" y="1959670"/>
                  <a:pt x="2001822" y="1811387"/>
                  <a:pt x="1922385" y="1689583"/>
                </a:cubicBezTo>
                <a:lnTo>
                  <a:pt x="2271910" y="1340059"/>
                </a:lnTo>
                <a:cubicBezTo>
                  <a:pt x="2441376" y="1557188"/>
                  <a:pt x="2541997" y="1827275"/>
                  <a:pt x="2541997" y="2118545"/>
                </a:cubicBezTo>
                <a:cubicBezTo>
                  <a:pt x="2541997" y="2817595"/>
                  <a:pt x="1970048" y="3389544"/>
                  <a:pt x="1270998" y="3389544"/>
                </a:cubicBezTo>
                <a:cubicBezTo>
                  <a:pt x="571949" y="3389544"/>
                  <a:pt x="0" y="2817595"/>
                  <a:pt x="0" y="2118545"/>
                </a:cubicBezTo>
                <a:cubicBezTo>
                  <a:pt x="0" y="1419496"/>
                  <a:pt x="571949" y="847547"/>
                  <a:pt x="1265702" y="847547"/>
                </a:cubicBezTo>
                <a:close/>
                <a:moveTo>
                  <a:pt x="2882254" y="876"/>
                </a:moveTo>
                <a:cubicBezTo>
                  <a:pt x="2891522" y="-1110"/>
                  <a:pt x="2902113" y="214"/>
                  <a:pt x="2912705" y="5510"/>
                </a:cubicBezTo>
                <a:cubicBezTo>
                  <a:pt x="2933888" y="16102"/>
                  <a:pt x="2944479" y="37285"/>
                  <a:pt x="2944479" y="58468"/>
                </a:cubicBezTo>
                <a:lnTo>
                  <a:pt x="2912705" y="476839"/>
                </a:lnTo>
                <a:lnTo>
                  <a:pt x="3336371" y="445064"/>
                </a:lnTo>
                <a:cubicBezTo>
                  <a:pt x="3357554" y="445064"/>
                  <a:pt x="3378738" y="455655"/>
                  <a:pt x="3389329" y="476839"/>
                </a:cubicBezTo>
                <a:cubicBezTo>
                  <a:pt x="3394625" y="498022"/>
                  <a:pt x="3389329" y="519205"/>
                  <a:pt x="3373441" y="535093"/>
                </a:cubicBezTo>
                <a:lnTo>
                  <a:pt x="2965663" y="948167"/>
                </a:lnTo>
                <a:cubicBezTo>
                  <a:pt x="2955071" y="958759"/>
                  <a:pt x="2944479" y="964055"/>
                  <a:pt x="2933888" y="964055"/>
                </a:cubicBezTo>
                <a:lnTo>
                  <a:pt x="2467855" y="1001126"/>
                </a:lnTo>
                <a:lnTo>
                  <a:pt x="1308069" y="2155616"/>
                </a:lnTo>
                <a:cubicBezTo>
                  <a:pt x="1286885" y="2176799"/>
                  <a:pt x="1255111" y="2176799"/>
                  <a:pt x="1233927" y="2155616"/>
                </a:cubicBezTo>
                <a:cubicBezTo>
                  <a:pt x="1212744" y="2134433"/>
                  <a:pt x="1212744" y="2102658"/>
                  <a:pt x="1233927" y="2081474"/>
                </a:cubicBezTo>
                <a:lnTo>
                  <a:pt x="2393713" y="926984"/>
                </a:lnTo>
                <a:lnTo>
                  <a:pt x="2430784" y="460951"/>
                </a:lnTo>
                <a:cubicBezTo>
                  <a:pt x="2430784" y="450360"/>
                  <a:pt x="2436080" y="434472"/>
                  <a:pt x="2446672" y="429176"/>
                </a:cubicBezTo>
                <a:lnTo>
                  <a:pt x="2859746" y="16102"/>
                </a:lnTo>
                <a:cubicBezTo>
                  <a:pt x="2865042" y="8158"/>
                  <a:pt x="2872986" y="2862"/>
                  <a:pt x="2882254" y="876"/>
                </a:cubicBezTo>
                <a:close/>
              </a:path>
            </a:pathLst>
          </a:custGeom>
          <a:solidFill>
            <a:schemeClr val="accent5"/>
          </a:solidFill>
          <a:ln w="9525" cap="flat">
            <a:noFill/>
            <a:prstDash val="solid"/>
            <a:miter/>
          </a:ln>
        </p:spPr>
        <p:txBody>
          <a:bodyPr rtlCol="0" anchor="ctr"/>
          <a:lstStyle/>
          <a:p>
            <a:endParaRPr lang="en-US" sz="1350"/>
          </a:p>
        </p:txBody>
      </p:sp>
      <p:sp>
        <p:nvSpPr>
          <p:cNvPr id="202" name="Freeform: Shape 38">
            <a:extLst>
              <a:ext uri="{FF2B5EF4-FFF2-40B4-BE49-F238E27FC236}">
                <a16:creationId xmlns:a16="http://schemas.microsoft.com/office/drawing/2014/main" id="{8D199B45-FAB7-D18C-E207-42EDC3221AA6}"/>
              </a:ext>
            </a:extLst>
          </p:cNvPr>
          <p:cNvSpPr>
            <a:spLocks noChangeAspect="1"/>
          </p:cNvSpPr>
          <p:nvPr/>
        </p:nvSpPr>
        <p:spPr>
          <a:xfrm>
            <a:off x="5011496" y="3040986"/>
            <a:ext cx="183840" cy="213193"/>
          </a:xfrm>
          <a:custGeom>
            <a:avLst/>
            <a:gdLst>
              <a:gd name="connsiteX0" fmla="*/ 1521142 w 1930527"/>
              <a:gd name="connsiteY0" fmla="*/ 1732693 h 2238756"/>
              <a:gd name="connsiteX1" fmla="*/ 1521142 w 1930527"/>
              <a:gd name="connsiteY1" fmla="*/ 2001774 h 2238756"/>
              <a:gd name="connsiteX2" fmla="*/ 1789176 w 1930527"/>
              <a:gd name="connsiteY2" fmla="*/ 2001774 h 2238756"/>
              <a:gd name="connsiteX3" fmla="*/ 1789176 w 1930527"/>
              <a:gd name="connsiteY3" fmla="*/ 1732693 h 2238756"/>
              <a:gd name="connsiteX4" fmla="*/ 1176242 w 1930527"/>
              <a:gd name="connsiteY4" fmla="*/ 1732693 h 2238756"/>
              <a:gd name="connsiteX5" fmla="*/ 1176242 w 1930527"/>
              <a:gd name="connsiteY5" fmla="*/ 2001774 h 2238756"/>
              <a:gd name="connsiteX6" fmla="*/ 1444561 w 1930527"/>
              <a:gd name="connsiteY6" fmla="*/ 2001774 h 2238756"/>
              <a:gd name="connsiteX7" fmla="*/ 1444561 w 1930527"/>
              <a:gd name="connsiteY7" fmla="*/ 1732693 h 2238756"/>
              <a:gd name="connsiteX8" fmla="*/ 831437 w 1930527"/>
              <a:gd name="connsiteY8" fmla="*/ 1732693 h 2238756"/>
              <a:gd name="connsiteX9" fmla="*/ 831437 w 1930527"/>
              <a:gd name="connsiteY9" fmla="*/ 2001774 h 2238756"/>
              <a:gd name="connsiteX10" fmla="*/ 1099756 w 1930527"/>
              <a:gd name="connsiteY10" fmla="*/ 2001774 h 2238756"/>
              <a:gd name="connsiteX11" fmla="*/ 1099756 w 1930527"/>
              <a:gd name="connsiteY11" fmla="*/ 1732693 h 2238756"/>
              <a:gd name="connsiteX12" fmla="*/ 485965 w 1930527"/>
              <a:gd name="connsiteY12" fmla="*/ 1732693 h 2238756"/>
              <a:gd name="connsiteX13" fmla="*/ 485965 w 1930527"/>
              <a:gd name="connsiteY13" fmla="*/ 2001774 h 2238756"/>
              <a:gd name="connsiteX14" fmla="*/ 754856 w 1930527"/>
              <a:gd name="connsiteY14" fmla="*/ 2001774 h 2238756"/>
              <a:gd name="connsiteX15" fmla="*/ 754856 w 1930527"/>
              <a:gd name="connsiteY15" fmla="*/ 1732693 h 2238756"/>
              <a:gd name="connsiteX16" fmla="*/ 141351 w 1930527"/>
              <a:gd name="connsiteY16" fmla="*/ 1732693 h 2238756"/>
              <a:gd name="connsiteX17" fmla="*/ 141351 w 1930527"/>
              <a:gd name="connsiteY17" fmla="*/ 2001774 h 2238756"/>
              <a:gd name="connsiteX18" fmla="*/ 410337 w 1930527"/>
              <a:gd name="connsiteY18" fmla="*/ 2001774 h 2238756"/>
              <a:gd name="connsiteX19" fmla="*/ 410337 w 1930527"/>
              <a:gd name="connsiteY19" fmla="*/ 1732693 h 2238756"/>
              <a:gd name="connsiteX20" fmla="*/ 1521142 w 1930527"/>
              <a:gd name="connsiteY20" fmla="*/ 1397794 h 2238756"/>
              <a:gd name="connsiteX21" fmla="*/ 1521142 w 1930527"/>
              <a:gd name="connsiteY21" fmla="*/ 1667256 h 2238756"/>
              <a:gd name="connsiteX22" fmla="*/ 1789176 w 1930527"/>
              <a:gd name="connsiteY22" fmla="*/ 1667256 h 2238756"/>
              <a:gd name="connsiteX23" fmla="*/ 1789176 w 1930527"/>
              <a:gd name="connsiteY23" fmla="*/ 1397794 h 2238756"/>
              <a:gd name="connsiteX24" fmla="*/ 1176242 w 1930527"/>
              <a:gd name="connsiteY24" fmla="*/ 1397794 h 2238756"/>
              <a:gd name="connsiteX25" fmla="*/ 1176242 w 1930527"/>
              <a:gd name="connsiteY25" fmla="*/ 1667256 h 2238756"/>
              <a:gd name="connsiteX26" fmla="*/ 1444561 w 1930527"/>
              <a:gd name="connsiteY26" fmla="*/ 1667256 h 2238756"/>
              <a:gd name="connsiteX27" fmla="*/ 1444561 w 1930527"/>
              <a:gd name="connsiteY27" fmla="*/ 1397794 h 2238756"/>
              <a:gd name="connsiteX28" fmla="*/ 831437 w 1930527"/>
              <a:gd name="connsiteY28" fmla="*/ 1397794 h 2238756"/>
              <a:gd name="connsiteX29" fmla="*/ 831437 w 1930527"/>
              <a:gd name="connsiteY29" fmla="*/ 1667256 h 2238756"/>
              <a:gd name="connsiteX30" fmla="*/ 1099756 w 1930527"/>
              <a:gd name="connsiteY30" fmla="*/ 1667256 h 2238756"/>
              <a:gd name="connsiteX31" fmla="*/ 1099756 w 1930527"/>
              <a:gd name="connsiteY31" fmla="*/ 1397794 h 2238756"/>
              <a:gd name="connsiteX32" fmla="*/ 485965 w 1930527"/>
              <a:gd name="connsiteY32" fmla="*/ 1397794 h 2238756"/>
              <a:gd name="connsiteX33" fmla="*/ 485965 w 1930527"/>
              <a:gd name="connsiteY33" fmla="*/ 1667256 h 2238756"/>
              <a:gd name="connsiteX34" fmla="*/ 754856 w 1930527"/>
              <a:gd name="connsiteY34" fmla="*/ 1667256 h 2238756"/>
              <a:gd name="connsiteX35" fmla="*/ 754856 w 1930527"/>
              <a:gd name="connsiteY35" fmla="*/ 1397794 h 2238756"/>
              <a:gd name="connsiteX36" fmla="*/ 141351 w 1930527"/>
              <a:gd name="connsiteY36" fmla="*/ 1397794 h 2238756"/>
              <a:gd name="connsiteX37" fmla="*/ 141351 w 1930527"/>
              <a:gd name="connsiteY37" fmla="*/ 1667256 h 2238756"/>
              <a:gd name="connsiteX38" fmla="*/ 410337 w 1930527"/>
              <a:gd name="connsiteY38" fmla="*/ 1667256 h 2238756"/>
              <a:gd name="connsiteX39" fmla="*/ 410337 w 1930527"/>
              <a:gd name="connsiteY39" fmla="*/ 1397794 h 2238756"/>
              <a:gd name="connsiteX40" fmla="*/ 1521142 w 1930527"/>
              <a:gd name="connsiteY40" fmla="*/ 1062895 h 2238756"/>
              <a:gd name="connsiteX41" fmla="*/ 1521142 w 1930527"/>
              <a:gd name="connsiteY41" fmla="*/ 1331976 h 2238756"/>
              <a:gd name="connsiteX42" fmla="*/ 1789176 w 1930527"/>
              <a:gd name="connsiteY42" fmla="*/ 1331976 h 2238756"/>
              <a:gd name="connsiteX43" fmla="*/ 1789176 w 1930527"/>
              <a:gd name="connsiteY43" fmla="*/ 1062895 h 2238756"/>
              <a:gd name="connsiteX44" fmla="*/ 1176242 w 1930527"/>
              <a:gd name="connsiteY44" fmla="*/ 1062895 h 2238756"/>
              <a:gd name="connsiteX45" fmla="*/ 1176242 w 1930527"/>
              <a:gd name="connsiteY45" fmla="*/ 1331976 h 2238756"/>
              <a:gd name="connsiteX46" fmla="*/ 1444561 w 1930527"/>
              <a:gd name="connsiteY46" fmla="*/ 1331976 h 2238756"/>
              <a:gd name="connsiteX47" fmla="*/ 1444561 w 1930527"/>
              <a:gd name="connsiteY47" fmla="*/ 1062895 h 2238756"/>
              <a:gd name="connsiteX48" fmla="*/ 831437 w 1930527"/>
              <a:gd name="connsiteY48" fmla="*/ 1062895 h 2238756"/>
              <a:gd name="connsiteX49" fmla="*/ 831437 w 1930527"/>
              <a:gd name="connsiteY49" fmla="*/ 1331976 h 2238756"/>
              <a:gd name="connsiteX50" fmla="*/ 1099756 w 1930527"/>
              <a:gd name="connsiteY50" fmla="*/ 1331976 h 2238756"/>
              <a:gd name="connsiteX51" fmla="*/ 1099756 w 1930527"/>
              <a:gd name="connsiteY51" fmla="*/ 1062895 h 2238756"/>
              <a:gd name="connsiteX52" fmla="*/ 485965 w 1930527"/>
              <a:gd name="connsiteY52" fmla="*/ 1062895 h 2238756"/>
              <a:gd name="connsiteX53" fmla="*/ 485965 w 1930527"/>
              <a:gd name="connsiteY53" fmla="*/ 1331976 h 2238756"/>
              <a:gd name="connsiteX54" fmla="*/ 754856 w 1930527"/>
              <a:gd name="connsiteY54" fmla="*/ 1331976 h 2238756"/>
              <a:gd name="connsiteX55" fmla="*/ 754856 w 1930527"/>
              <a:gd name="connsiteY55" fmla="*/ 1062895 h 2238756"/>
              <a:gd name="connsiteX56" fmla="*/ 141351 w 1930527"/>
              <a:gd name="connsiteY56" fmla="*/ 1062895 h 2238756"/>
              <a:gd name="connsiteX57" fmla="*/ 141351 w 1930527"/>
              <a:gd name="connsiteY57" fmla="*/ 1331976 h 2238756"/>
              <a:gd name="connsiteX58" fmla="*/ 410337 w 1930527"/>
              <a:gd name="connsiteY58" fmla="*/ 1331976 h 2238756"/>
              <a:gd name="connsiteX59" fmla="*/ 410337 w 1930527"/>
              <a:gd name="connsiteY59" fmla="*/ 1062895 h 2238756"/>
              <a:gd name="connsiteX60" fmla="*/ 0 w 1930527"/>
              <a:gd name="connsiteY60" fmla="*/ 834390 h 2238756"/>
              <a:gd name="connsiteX61" fmla="*/ 1930527 w 1930527"/>
              <a:gd name="connsiteY61" fmla="*/ 834390 h 2238756"/>
              <a:gd name="connsiteX62" fmla="*/ 1930527 w 1930527"/>
              <a:gd name="connsiteY62" fmla="*/ 2238756 h 2238756"/>
              <a:gd name="connsiteX63" fmla="*/ 0 w 1930527"/>
              <a:gd name="connsiteY63" fmla="*/ 2238756 h 2238756"/>
              <a:gd name="connsiteX64" fmla="*/ 0 w 1930527"/>
              <a:gd name="connsiteY64" fmla="*/ 835628 h 2238756"/>
              <a:gd name="connsiteX65" fmla="*/ 1624121 w 1930527"/>
              <a:gd name="connsiteY65" fmla="*/ 280 h 2238756"/>
              <a:gd name="connsiteX66" fmla="*/ 1635361 w 1930527"/>
              <a:gd name="connsiteY66" fmla="*/ 1518 h 2238756"/>
              <a:gd name="connsiteX67" fmla="*/ 1645457 w 1930527"/>
              <a:gd name="connsiteY67" fmla="*/ 6662 h 2238756"/>
              <a:gd name="connsiteX68" fmla="*/ 1653744 w 1930527"/>
              <a:gd name="connsiteY68" fmla="*/ 13710 h 2238756"/>
              <a:gd name="connsiteX69" fmla="*/ 1659650 w 1930527"/>
              <a:gd name="connsiteY69" fmla="*/ 21902 h 2238756"/>
              <a:gd name="connsiteX70" fmla="*/ 1664412 w 1930527"/>
              <a:gd name="connsiteY70" fmla="*/ 32760 h 2238756"/>
              <a:gd name="connsiteX71" fmla="*/ 1665555 w 1930527"/>
              <a:gd name="connsiteY71" fmla="*/ 44857 h 2238756"/>
              <a:gd name="connsiteX72" fmla="*/ 1665555 w 1930527"/>
              <a:gd name="connsiteY72" fmla="*/ 68479 h 2238756"/>
              <a:gd name="connsiteX73" fmla="*/ 1665555 w 1930527"/>
              <a:gd name="connsiteY73" fmla="*/ 87624 h 2238756"/>
              <a:gd name="connsiteX74" fmla="*/ 1665555 w 1930527"/>
              <a:gd name="connsiteY74" fmla="*/ 102960 h 2238756"/>
              <a:gd name="connsiteX75" fmla="*/ 1665555 w 1930527"/>
              <a:gd name="connsiteY75" fmla="*/ 113723 h 2238756"/>
              <a:gd name="connsiteX76" fmla="*/ 1665555 w 1930527"/>
              <a:gd name="connsiteY76" fmla="*/ 122010 h 2238756"/>
              <a:gd name="connsiteX77" fmla="*/ 1665555 w 1930527"/>
              <a:gd name="connsiteY77" fmla="*/ 130296 h 2238756"/>
              <a:gd name="connsiteX78" fmla="*/ 1665555 w 1930527"/>
              <a:gd name="connsiteY78" fmla="*/ 132201 h 2238756"/>
              <a:gd name="connsiteX79" fmla="*/ 1665555 w 1930527"/>
              <a:gd name="connsiteY79" fmla="*/ 132868 h 2238756"/>
              <a:gd name="connsiteX80" fmla="*/ 1583259 w 1930527"/>
              <a:gd name="connsiteY80" fmla="*/ 132868 h 2238756"/>
              <a:gd name="connsiteX81" fmla="*/ 1583259 w 1930527"/>
              <a:gd name="connsiteY81" fmla="*/ 109246 h 2238756"/>
              <a:gd name="connsiteX82" fmla="*/ 1583259 w 1930527"/>
              <a:gd name="connsiteY82" fmla="*/ 90196 h 2238756"/>
              <a:gd name="connsiteX83" fmla="*/ 1583259 w 1930527"/>
              <a:gd name="connsiteY83" fmla="*/ 74861 h 2238756"/>
              <a:gd name="connsiteX84" fmla="*/ 1583259 w 1930527"/>
              <a:gd name="connsiteY84" fmla="*/ 55716 h 2238756"/>
              <a:gd name="connsiteX85" fmla="*/ 1583259 w 1930527"/>
              <a:gd name="connsiteY85" fmla="*/ 50000 h 2238756"/>
              <a:gd name="connsiteX86" fmla="*/ 1583259 w 1930527"/>
              <a:gd name="connsiteY86" fmla="*/ 46762 h 2238756"/>
              <a:gd name="connsiteX87" fmla="*/ 1583259 w 1930527"/>
              <a:gd name="connsiteY87" fmla="*/ 45524 h 2238756"/>
              <a:gd name="connsiteX88" fmla="*/ 1583259 w 1930527"/>
              <a:gd name="connsiteY88" fmla="*/ 44857 h 2238756"/>
              <a:gd name="connsiteX89" fmla="*/ 1585069 w 1930527"/>
              <a:gd name="connsiteY89" fmla="*/ 32760 h 2238756"/>
              <a:gd name="connsiteX90" fmla="*/ 1588593 w 1930527"/>
              <a:gd name="connsiteY90" fmla="*/ 21902 h 2238756"/>
              <a:gd name="connsiteX91" fmla="*/ 1595070 w 1930527"/>
              <a:gd name="connsiteY91" fmla="*/ 13710 h 2238756"/>
              <a:gd name="connsiteX92" fmla="*/ 1604024 w 1930527"/>
              <a:gd name="connsiteY92" fmla="*/ 6662 h 2238756"/>
              <a:gd name="connsiteX93" fmla="*/ 1613453 w 1930527"/>
              <a:gd name="connsiteY93" fmla="*/ 1518 h 2238756"/>
              <a:gd name="connsiteX94" fmla="*/ 307671 w 1930527"/>
              <a:gd name="connsiteY94" fmla="*/ 280 h 2238756"/>
              <a:gd name="connsiteX95" fmla="*/ 318244 w 1930527"/>
              <a:gd name="connsiteY95" fmla="*/ 1518 h 2238756"/>
              <a:gd name="connsiteX96" fmla="*/ 328245 w 1930527"/>
              <a:gd name="connsiteY96" fmla="*/ 6662 h 2238756"/>
              <a:gd name="connsiteX97" fmla="*/ 336437 w 1930527"/>
              <a:gd name="connsiteY97" fmla="*/ 13710 h 2238756"/>
              <a:gd name="connsiteX98" fmla="*/ 342914 w 1930527"/>
              <a:gd name="connsiteY98" fmla="*/ 21902 h 2238756"/>
              <a:gd name="connsiteX99" fmla="*/ 346438 w 1930527"/>
              <a:gd name="connsiteY99" fmla="*/ 32760 h 2238756"/>
              <a:gd name="connsiteX100" fmla="*/ 348819 w 1930527"/>
              <a:gd name="connsiteY100" fmla="*/ 44857 h 2238756"/>
              <a:gd name="connsiteX101" fmla="*/ 348819 w 1930527"/>
              <a:gd name="connsiteY101" fmla="*/ 68479 h 2238756"/>
              <a:gd name="connsiteX102" fmla="*/ 348819 w 1930527"/>
              <a:gd name="connsiteY102" fmla="*/ 87624 h 2238756"/>
              <a:gd name="connsiteX103" fmla="*/ 348819 w 1930527"/>
              <a:gd name="connsiteY103" fmla="*/ 102960 h 2238756"/>
              <a:gd name="connsiteX104" fmla="*/ 348819 w 1930527"/>
              <a:gd name="connsiteY104" fmla="*/ 113723 h 2238756"/>
              <a:gd name="connsiteX105" fmla="*/ 348819 w 1930527"/>
              <a:gd name="connsiteY105" fmla="*/ 127725 h 2238756"/>
              <a:gd name="connsiteX106" fmla="*/ 348819 w 1930527"/>
              <a:gd name="connsiteY106" fmla="*/ 130296 h 2238756"/>
              <a:gd name="connsiteX107" fmla="*/ 348819 w 1930527"/>
              <a:gd name="connsiteY107" fmla="*/ 132201 h 2238756"/>
              <a:gd name="connsiteX108" fmla="*/ 348819 w 1930527"/>
              <a:gd name="connsiteY108" fmla="*/ 132868 h 2238756"/>
              <a:gd name="connsiteX109" fmla="*/ 326530 w 1930527"/>
              <a:gd name="connsiteY109" fmla="*/ 132868 h 2238756"/>
              <a:gd name="connsiteX110" fmla="*/ 308814 w 1930527"/>
              <a:gd name="connsiteY110" fmla="*/ 132868 h 2238756"/>
              <a:gd name="connsiteX111" fmla="*/ 295289 w 1930527"/>
              <a:gd name="connsiteY111" fmla="*/ 132868 h 2238756"/>
              <a:gd name="connsiteX112" fmla="*/ 272429 w 1930527"/>
              <a:gd name="connsiteY112" fmla="*/ 132868 h 2238756"/>
              <a:gd name="connsiteX113" fmla="*/ 269476 w 1930527"/>
              <a:gd name="connsiteY113" fmla="*/ 132868 h 2238756"/>
              <a:gd name="connsiteX114" fmla="*/ 267095 w 1930527"/>
              <a:gd name="connsiteY114" fmla="*/ 132868 h 2238756"/>
              <a:gd name="connsiteX115" fmla="*/ 266523 w 1930527"/>
              <a:gd name="connsiteY115" fmla="*/ 132868 h 2238756"/>
              <a:gd name="connsiteX116" fmla="*/ 266523 w 1930527"/>
              <a:gd name="connsiteY116" fmla="*/ 44857 h 2238756"/>
              <a:gd name="connsiteX117" fmla="*/ 268904 w 1930527"/>
              <a:gd name="connsiteY117" fmla="*/ 32760 h 2238756"/>
              <a:gd name="connsiteX118" fmla="*/ 272429 w 1930527"/>
              <a:gd name="connsiteY118" fmla="*/ 21902 h 2238756"/>
              <a:gd name="connsiteX119" fmla="*/ 278906 w 1930527"/>
              <a:gd name="connsiteY119" fmla="*/ 13710 h 2238756"/>
              <a:gd name="connsiteX120" fmla="*/ 287097 w 1930527"/>
              <a:gd name="connsiteY120" fmla="*/ 6662 h 2238756"/>
              <a:gd name="connsiteX121" fmla="*/ 297098 w 1930527"/>
              <a:gd name="connsiteY121" fmla="*/ 1518 h 2238756"/>
              <a:gd name="connsiteX122" fmla="*/ 570452 w 1930527"/>
              <a:gd name="connsiteY122" fmla="*/ 0 h 2238756"/>
              <a:gd name="connsiteX123" fmla="*/ 581882 w 1930527"/>
              <a:gd name="connsiteY123" fmla="*/ 1238 h 2238756"/>
              <a:gd name="connsiteX124" fmla="*/ 592074 w 1930527"/>
              <a:gd name="connsiteY124" fmla="*/ 6382 h 2238756"/>
              <a:gd name="connsiteX125" fmla="*/ 601027 w 1930527"/>
              <a:gd name="connsiteY125" fmla="*/ 13430 h 2238756"/>
              <a:gd name="connsiteX126" fmla="*/ 608075 w 1930527"/>
              <a:gd name="connsiteY126" fmla="*/ 21717 h 2238756"/>
              <a:gd name="connsiteX127" fmla="*/ 612552 w 1930527"/>
              <a:gd name="connsiteY127" fmla="*/ 32480 h 2238756"/>
              <a:gd name="connsiteX128" fmla="*/ 613790 w 1930527"/>
              <a:gd name="connsiteY128" fmla="*/ 44577 h 2238756"/>
              <a:gd name="connsiteX129" fmla="*/ 613790 w 1930527"/>
              <a:gd name="connsiteY129" fmla="*/ 132588 h 2238756"/>
              <a:gd name="connsiteX130" fmla="*/ 526446 w 1930527"/>
              <a:gd name="connsiteY130" fmla="*/ 132588 h 2238756"/>
              <a:gd name="connsiteX131" fmla="*/ 526446 w 1930527"/>
              <a:gd name="connsiteY131" fmla="*/ 276511 h 2238756"/>
              <a:gd name="connsiteX132" fmla="*/ 514445 w 1930527"/>
              <a:gd name="connsiteY132" fmla="*/ 284702 h 2238756"/>
              <a:gd name="connsiteX133" fmla="*/ 503682 w 1930527"/>
              <a:gd name="connsiteY133" fmla="*/ 294894 h 2238756"/>
              <a:gd name="connsiteX134" fmla="*/ 494823 w 1930527"/>
              <a:gd name="connsiteY134" fmla="*/ 306896 h 2238756"/>
              <a:gd name="connsiteX135" fmla="*/ 487870 w 1930527"/>
              <a:gd name="connsiteY135" fmla="*/ 320135 h 2238756"/>
              <a:gd name="connsiteX136" fmla="*/ 483393 w 1930527"/>
              <a:gd name="connsiteY136" fmla="*/ 335947 h 2238756"/>
              <a:gd name="connsiteX137" fmla="*/ 482155 w 1930527"/>
              <a:gd name="connsiteY137" fmla="*/ 351759 h 2238756"/>
              <a:gd name="connsiteX138" fmla="*/ 484727 w 1930527"/>
              <a:gd name="connsiteY138" fmla="*/ 369475 h 2238756"/>
              <a:gd name="connsiteX139" fmla="*/ 489108 w 1930527"/>
              <a:gd name="connsiteY139" fmla="*/ 385286 h 2238756"/>
              <a:gd name="connsiteX140" fmla="*/ 497300 w 1930527"/>
              <a:gd name="connsiteY140" fmla="*/ 400431 h 2238756"/>
              <a:gd name="connsiteX141" fmla="*/ 508063 w 1930527"/>
              <a:gd name="connsiteY141" fmla="*/ 413861 h 2238756"/>
              <a:gd name="connsiteX142" fmla="*/ 520731 w 1930527"/>
              <a:gd name="connsiteY142" fmla="*/ 424625 h 2238756"/>
              <a:gd name="connsiteX143" fmla="*/ 535971 w 1930527"/>
              <a:gd name="connsiteY143" fmla="*/ 432245 h 2238756"/>
              <a:gd name="connsiteX144" fmla="*/ 553021 w 1930527"/>
              <a:gd name="connsiteY144" fmla="*/ 437864 h 2238756"/>
              <a:gd name="connsiteX145" fmla="*/ 570737 w 1930527"/>
              <a:gd name="connsiteY145" fmla="*/ 439769 h 2238756"/>
              <a:gd name="connsiteX146" fmla="*/ 587787 w 1930527"/>
              <a:gd name="connsiteY146" fmla="*/ 437864 h 2238756"/>
              <a:gd name="connsiteX147" fmla="*/ 604265 w 1930527"/>
              <a:gd name="connsiteY147" fmla="*/ 432245 h 2238756"/>
              <a:gd name="connsiteX148" fmla="*/ 619506 w 1930527"/>
              <a:gd name="connsiteY148" fmla="*/ 424625 h 2238756"/>
              <a:gd name="connsiteX149" fmla="*/ 632078 w 1930527"/>
              <a:gd name="connsiteY149" fmla="*/ 413861 h 2238756"/>
              <a:gd name="connsiteX150" fmla="*/ 642842 w 1930527"/>
              <a:gd name="connsiteY150" fmla="*/ 400622 h 2238756"/>
              <a:gd name="connsiteX151" fmla="*/ 651128 w 1930527"/>
              <a:gd name="connsiteY151" fmla="*/ 385477 h 2238756"/>
              <a:gd name="connsiteX152" fmla="*/ 656177 w 1930527"/>
              <a:gd name="connsiteY152" fmla="*/ 369665 h 2238756"/>
              <a:gd name="connsiteX153" fmla="*/ 658082 w 1930527"/>
              <a:gd name="connsiteY153" fmla="*/ 351854 h 2238756"/>
              <a:gd name="connsiteX154" fmla="*/ 656177 w 1930527"/>
              <a:gd name="connsiteY154" fmla="*/ 336042 h 2238756"/>
              <a:gd name="connsiteX155" fmla="*/ 652367 w 1930527"/>
              <a:gd name="connsiteY155" fmla="*/ 320231 h 2238756"/>
              <a:gd name="connsiteX156" fmla="*/ 645414 w 1930527"/>
              <a:gd name="connsiteY156" fmla="*/ 306991 h 2238756"/>
              <a:gd name="connsiteX157" fmla="*/ 637793 w 1930527"/>
              <a:gd name="connsiteY157" fmla="*/ 294989 h 2238756"/>
              <a:gd name="connsiteX158" fmla="*/ 626459 w 1930527"/>
              <a:gd name="connsiteY158" fmla="*/ 284797 h 2238756"/>
              <a:gd name="connsiteX159" fmla="*/ 613790 w 1930527"/>
              <a:gd name="connsiteY159" fmla="*/ 276606 h 2238756"/>
              <a:gd name="connsiteX160" fmla="*/ 613790 w 1930527"/>
              <a:gd name="connsiteY160" fmla="*/ 132588 h 2238756"/>
              <a:gd name="connsiteX161" fmla="*/ 789622 w 1930527"/>
              <a:gd name="connsiteY161" fmla="*/ 132588 h 2238756"/>
              <a:gd name="connsiteX162" fmla="*/ 789622 w 1930527"/>
              <a:gd name="connsiteY162" fmla="*/ 276511 h 2238756"/>
              <a:gd name="connsiteX163" fmla="*/ 776954 w 1930527"/>
              <a:gd name="connsiteY163" fmla="*/ 284702 h 2238756"/>
              <a:gd name="connsiteX164" fmla="*/ 766190 w 1930527"/>
              <a:gd name="connsiteY164" fmla="*/ 294894 h 2238756"/>
              <a:gd name="connsiteX165" fmla="*/ 757904 w 1930527"/>
              <a:gd name="connsiteY165" fmla="*/ 306896 h 2238756"/>
              <a:gd name="connsiteX166" fmla="*/ 750950 w 1930527"/>
              <a:gd name="connsiteY166" fmla="*/ 320135 h 2238756"/>
              <a:gd name="connsiteX167" fmla="*/ 747140 w 1930527"/>
              <a:gd name="connsiteY167" fmla="*/ 335947 h 2238756"/>
              <a:gd name="connsiteX168" fmla="*/ 745902 w 1930527"/>
              <a:gd name="connsiteY168" fmla="*/ 351759 h 2238756"/>
              <a:gd name="connsiteX169" fmla="*/ 747140 w 1930527"/>
              <a:gd name="connsiteY169" fmla="*/ 369475 h 2238756"/>
              <a:gd name="connsiteX170" fmla="*/ 752856 w 1930527"/>
              <a:gd name="connsiteY170" fmla="*/ 385286 h 2238756"/>
              <a:gd name="connsiteX171" fmla="*/ 760475 w 1930527"/>
              <a:gd name="connsiteY171" fmla="*/ 400431 h 2238756"/>
              <a:gd name="connsiteX172" fmla="*/ 772001 w 1930527"/>
              <a:gd name="connsiteY172" fmla="*/ 413766 h 2238756"/>
              <a:gd name="connsiteX173" fmla="*/ 784574 w 1930527"/>
              <a:gd name="connsiteY173" fmla="*/ 424529 h 2238756"/>
              <a:gd name="connsiteX174" fmla="*/ 799147 w 1930527"/>
              <a:gd name="connsiteY174" fmla="*/ 432149 h 2238756"/>
              <a:gd name="connsiteX175" fmla="*/ 815625 w 1930527"/>
              <a:gd name="connsiteY175" fmla="*/ 437769 h 2238756"/>
              <a:gd name="connsiteX176" fmla="*/ 833342 w 1930527"/>
              <a:gd name="connsiteY176" fmla="*/ 439674 h 2238756"/>
              <a:gd name="connsiteX177" fmla="*/ 851058 w 1930527"/>
              <a:gd name="connsiteY177" fmla="*/ 437769 h 2238756"/>
              <a:gd name="connsiteX178" fmla="*/ 868108 w 1930527"/>
              <a:gd name="connsiteY178" fmla="*/ 432149 h 2238756"/>
              <a:gd name="connsiteX179" fmla="*/ 882681 w 1930527"/>
              <a:gd name="connsiteY179" fmla="*/ 424529 h 2238756"/>
              <a:gd name="connsiteX180" fmla="*/ 895349 w 1930527"/>
              <a:gd name="connsiteY180" fmla="*/ 413766 h 2238756"/>
              <a:gd name="connsiteX181" fmla="*/ 906779 w 1930527"/>
              <a:gd name="connsiteY181" fmla="*/ 400526 h 2238756"/>
              <a:gd name="connsiteX182" fmla="*/ 914304 w 1930527"/>
              <a:gd name="connsiteY182" fmla="*/ 385382 h 2238756"/>
              <a:gd name="connsiteX183" fmla="*/ 919352 w 1930527"/>
              <a:gd name="connsiteY183" fmla="*/ 369570 h 2238756"/>
              <a:gd name="connsiteX184" fmla="*/ 921257 w 1930527"/>
              <a:gd name="connsiteY184" fmla="*/ 351854 h 2238756"/>
              <a:gd name="connsiteX185" fmla="*/ 920019 w 1930527"/>
              <a:gd name="connsiteY185" fmla="*/ 336042 h 2238756"/>
              <a:gd name="connsiteX186" fmla="*/ 916209 w 1930527"/>
              <a:gd name="connsiteY186" fmla="*/ 320231 h 2238756"/>
              <a:gd name="connsiteX187" fmla="*/ 909256 w 1930527"/>
              <a:gd name="connsiteY187" fmla="*/ 306991 h 2238756"/>
              <a:gd name="connsiteX188" fmla="*/ 900398 w 1930527"/>
              <a:gd name="connsiteY188" fmla="*/ 294989 h 2238756"/>
              <a:gd name="connsiteX189" fmla="*/ 889634 w 1930527"/>
              <a:gd name="connsiteY189" fmla="*/ 284797 h 2238756"/>
              <a:gd name="connsiteX190" fmla="*/ 877633 w 1930527"/>
              <a:gd name="connsiteY190" fmla="*/ 276606 h 2238756"/>
              <a:gd name="connsiteX191" fmla="*/ 877633 w 1930527"/>
              <a:gd name="connsiteY191" fmla="*/ 132588 h 2238756"/>
              <a:gd name="connsiteX192" fmla="*/ 790956 w 1930527"/>
              <a:gd name="connsiteY192" fmla="*/ 132588 h 2238756"/>
              <a:gd name="connsiteX193" fmla="*/ 790956 w 1930527"/>
              <a:gd name="connsiteY193" fmla="*/ 44577 h 2238756"/>
              <a:gd name="connsiteX194" fmla="*/ 792860 w 1930527"/>
              <a:gd name="connsiteY194" fmla="*/ 32480 h 2238756"/>
              <a:gd name="connsiteX195" fmla="*/ 796766 w 1930527"/>
              <a:gd name="connsiteY195" fmla="*/ 21717 h 2238756"/>
              <a:gd name="connsiteX196" fmla="*/ 804386 w 1930527"/>
              <a:gd name="connsiteY196" fmla="*/ 13430 h 2238756"/>
              <a:gd name="connsiteX197" fmla="*/ 813434 w 1930527"/>
              <a:gd name="connsiteY197" fmla="*/ 6382 h 2238756"/>
              <a:gd name="connsiteX198" fmla="*/ 823626 w 1930527"/>
              <a:gd name="connsiteY198" fmla="*/ 1238 h 2238756"/>
              <a:gd name="connsiteX199" fmla="*/ 835247 w 1930527"/>
              <a:gd name="connsiteY199" fmla="*/ 0 h 2238756"/>
              <a:gd name="connsiteX200" fmla="*/ 846772 w 1930527"/>
              <a:gd name="connsiteY200" fmla="*/ 1238 h 2238756"/>
              <a:gd name="connsiteX201" fmla="*/ 857631 w 1930527"/>
              <a:gd name="connsiteY201" fmla="*/ 6382 h 2238756"/>
              <a:gd name="connsiteX202" fmla="*/ 866679 w 1930527"/>
              <a:gd name="connsiteY202" fmla="*/ 13430 h 2238756"/>
              <a:gd name="connsiteX203" fmla="*/ 873728 w 1930527"/>
              <a:gd name="connsiteY203" fmla="*/ 21717 h 2238756"/>
              <a:gd name="connsiteX204" fmla="*/ 878204 w 1930527"/>
              <a:gd name="connsiteY204" fmla="*/ 32480 h 2238756"/>
              <a:gd name="connsiteX205" fmla="*/ 880109 w 1930527"/>
              <a:gd name="connsiteY205" fmla="*/ 44577 h 2238756"/>
              <a:gd name="connsiteX206" fmla="*/ 880109 w 1930527"/>
              <a:gd name="connsiteY206" fmla="*/ 132588 h 2238756"/>
              <a:gd name="connsiteX207" fmla="*/ 1050416 w 1930527"/>
              <a:gd name="connsiteY207" fmla="*/ 132588 h 2238756"/>
              <a:gd name="connsiteX208" fmla="*/ 1050416 w 1930527"/>
              <a:gd name="connsiteY208" fmla="*/ 44577 h 2238756"/>
              <a:gd name="connsiteX209" fmla="*/ 1051655 w 1930527"/>
              <a:gd name="connsiteY209" fmla="*/ 32480 h 2238756"/>
              <a:gd name="connsiteX210" fmla="*/ 1056227 w 1930527"/>
              <a:gd name="connsiteY210" fmla="*/ 21717 h 2238756"/>
              <a:gd name="connsiteX211" fmla="*/ 1063275 w 1930527"/>
              <a:gd name="connsiteY211" fmla="*/ 13430 h 2238756"/>
              <a:gd name="connsiteX212" fmla="*/ 1072229 w 1930527"/>
              <a:gd name="connsiteY212" fmla="*/ 6382 h 2238756"/>
              <a:gd name="connsiteX213" fmla="*/ 1083087 w 1930527"/>
              <a:gd name="connsiteY213" fmla="*/ 1238 h 2238756"/>
              <a:gd name="connsiteX214" fmla="*/ 1094708 w 1930527"/>
              <a:gd name="connsiteY214" fmla="*/ 0 h 2238756"/>
              <a:gd name="connsiteX215" fmla="*/ 1106900 w 1930527"/>
              <a:gd name="connsiteY215" fmla="*/ 1238 h 2238756"/>
              <a:gd name="connsiteX216" fmla="*/ 1117758 w 1930527"/>
              <a:gd name="connsiteY216" fmla="*/ 6382 h 2238756"/>
              <a:gd name="connsiteX217" fmla="*/ 1126712 w 1930527"/>
              <a:gd name="connsiteY217" fmla="*/ 13430 h 2238756"/>
              <a:gd name="connsiteX218" fmla="*/ 1133189 w 1930527"/>
              <a:gd name="connsiteY218" fmla="*/ 21717 h 2238756"/>
              <a:gd name="connsiteX219" fmla="*/ 1137666 w 1930527"/>
              <a:gd name="connsiteY219" fmla="*/ 32480 h 2238756"/>
              <a:gd name="connsiteX220" fmla="*/ 1139570 w 1930527"/>
              <a:gd name="connsiteY220" fmla="*/ 44577 h 2238756"/>
              <a:gd name="connsiteX221" fmla="*/ 1139570 w 1930527"/>
              <a:gd name="connsiteY221" fmla="*/ 132588 h 2238756"/>
              <a:gd name="connsiteX222" fmla="*/ 1052893 w 1930527"/>
              <a:gd name="connsiteY222" fmla="*/ 132588 h 2238756"/>
              <a:gd name="connsiteX223" fmla="*/ 1052893 w 1930527"/>
              <a:gd name="connsiteY223" fmla="*/ 276511 h 2238756"/>
              <a:gd name="connsiteX224" fmla="*/ 1040891 w 1930527"/>
              <a:gd name="connsiteY224" fmla="*/ 284702 h 2238756"/>
              <a:gd name="connsiteX225" fmla="*/ 1029461 w 1930527"/>
              <a:gd name="connsiteY225" fmla="*/ 294894 h 2238756"/>
              <a:gd name="connsiteX226" fmla="*/ 1021270 w 1930527"/>
              <a:gd name="connsiteY226" fmla="*/ 306896 h 2238756"/>
              <a:gd name="connsiteX227" fmla="*/ 1014888 w 1930527"/>
              <a:gd name="connsiteY227" fmla="*/ 320135 h 2238756"/>
              <a:gd name="connsiteX228" fmla="*/ 1009840 w 1930527"/>
              <a:gd name="connsiteY228" fmla="*/ 335947 h 2238756"/>
              <a:gd name="connsiteX229" fmla="*/ 1008602 w 1930527"/>
              <a:gd name="connsiteY229" fmla="*/ 351759 h 2238756"/>
              <a:gd name="connsiteX230" fmla="*/ 1010507 w 1930527"/>
              <a:gd name="connsiteY230" fmla="*/ 369475 h 2238756"/>
              <a:gd name="connsiteX231" fmla="*/ 1016222 w 1930527"/>
              <a:gd name="connsiteY231" fmla="*/ 385286 h 2238756"/>
              <a:gd name="connsiteX232" fmla="*/ 1024413 w 1930527"/>
              <a:gd name="connsiteY232" fmla="*/ 400431 h 2238756"/>
              <a:gd name="connsiteX233" fmla="*/ 1034510 w 1930527"/>
              <a:gd name="connsiteY233" fmla="*/ 413766 h 2238756"/>
              <a:gd name="connsiteX234" fmla="*/ 1047845 w 1930527"/>
              <a:gd name="connsiteY234" fmla="*/ 424529 h 2238756"/>
              <a:gd name="connsiteX235" fmla="*/ 1062990 w 1930527"/>
              <a:gd name="connsiteY235" fmla="*/ 432149 h 2238756"/>
              <a:gd name="connsiteX236" fmla="*/ 1079468 w 1930527"/>
              <a:gd name="connsiteY236" fmla="*/ 437769 h 2238756"/>
              <a:gd name="connsiteX237" fmla="*/ 1096517 w 1930527"/>
              <a:gd name="connsiteY237" fmla="*/ 439674 h 2238756"/>
              <a:gd name="connsiteX238" fmla="*/ 1114234 w 1930527"/>
              <a:gd name="connsiteY238" fmla="*/ 437769 h 2238756"/>
              <a:gd name="connsiteX239" fmla="*/ 1130712 w 1930527"/>
              <a:gd name="connsiteY239" fmla="*/ 432149 h 2238756"/>
              <a:gd name="connsiteX240" fmla="*/ 1145952 w 1930527"/>
              <a:gd name="connsiteY240" fmla="*/ 424529 h 2238756"/>
              <a:gd name="connsiteX241" fmla="*/ 1158525 w 1930527"/>
              <a:gd name="connsiteY241" fmla="*/ 413766 h 2238756"/>
              <a:gd name="connsiteX242" fmla="*/ 1169289 w 1930527"/>
              <a:gd name="connsiteY242" fmla="*/ 400526 h 2238756"/>
              <a:gd name="connsiteX243" fmla="*/ 1177575 w 1930527"/>
              <a:gd name="connsiteY243" fmla="*/ 385382 h 2238756"/>
              <a:gd name="connsiteX244" fmla="*/ 1182624 w 1930527"/>
              <a:gd name="connsiteY244" fmla="*/ 369570 h 2238756"/>
              <a:gd name="connsiteX245" fmla="*/ 1184528 w 1930527"/>
              <a:gd name="connsiteY245" fmla="*/ 351854 h 2238756"/>
              <a:gd name="connsiteX246" fmla="*/ 1182624 w 1930527"/>
              <a:gd name="connsiteY246" fmla="*/ 336042 h 2238756"/>
              <a:gd name="connsiteX247" fmla="*/ 1178814 w 1930527"/>
              <a:gd name="connsiteY247" fmla="*/ 320231 h 2238756"/>
              <a:gd name="connsiteX248" fmla="*/ 1172527 w 1930527"/>
              <a:gd name="connsiteY248" fmla="*/ 306991 h 2238756"/>
              <a:gd name="connsiteX249" fmla="*/ 1163669 w 1930527"/>
              <a:gd name="connsiteY249" fmla="*/ 294989 h 2238756"/>
              <a:gd name="connsiteX250" fmla="*/ 1152906 w 1930527"/>
              <a:gd name="connsiteY250" fmla="*/ 284797 h 2238756"/>
              <a:gd name="connsiteX251" fmla="*/ 1140809 w 1930527"/>
              <a:gd name="connsiteY251" fmla="*/ 276606 h 2238756"/>
              <a:gd name="connsiteX252" fmla="*/ 1140809 w 1930527"/>
              <a:gd name="connsiteY252" fmla="*/ 132588 h 2238756"/>
              <a:gd name="connsiteX253" fmla="*/ 1316164 w 1930527"/>
              <a:gd name="connsiteY253" fmla="*/ 132588 h 2238756"/>
              <a:gd name="connsiteX254" fmla="*/ 1316164 w 1930527"/>
              <a:gd name="connsiteY254" fmla="*/ 276511 h 2238756"/>
              <a:gd name="connsiteX255" fmla="*/ 1303496 w 1930527"/>
              <a:gd name="connsiteY255" fmla="*/ 284702 h 2238756"/>
              <a:gd name="connsiteX256" fmla="*/ 1293304 w 1930527"/>
              <a:gd name="connsiteY256" fmla="*/ 294894 h 2238756"/>
              <a:gd name="connsiteX257" fmla="*/ 1284446 w 1930527"/>
              <a:gd name="connsiteY257" fmla="*/ 306896 h 2238756"/>
              <a:gd name="connsiteX258" fmla="*/ 1277492 w 1930527"/>
              <a:gd name="connsiteY258" fmla="*/ 320135 h 2238756"/>
              <a:gd name="connsiteX259" fmla="*/ 1273683 w 1930527"/>
              <a:gd name="connsiteY259" fmla="*/ 335947 h 2238756"/>
              <a:gd name="connsiteX260" fmla="*/ 1272444 w 1930527"/>
              <a:gd name="connsiteY260" fmla="*/ 351759 h 2238756"/>
              <a:gd name="connsiteX261" fmla="*/ 1274349 w 1930527"/>
              <a:gd name="connsiteY261" fmla="*/ 369475 h 2238756"/>
              <a:gd name="connsiteX262" fmla="*/ 1278826 w 1930527"/>
              <a:gd name="connsiteY262" fmla="*/ 385286 h 2238756"/>
              <a:gd name="connsiteX263" fmla="*/ 1287017 w 1930527"/>
              <a:gd name="connsiteY263" fmla="*/ 400431 h 2238756"/>
              <a:gd name="connsiteX264" fmla="*/ 1297781 w 1930527"/>
              <a:gd name="connsiteY264" fmla="*/ 413766 h 2238756"/>
              <a:gd name="connsiteX265" fmla="*/ 1311020 w 1930527"/>
              <a:gd name="connsiteY265" fmla="*/ 424529 h 2238756"/>
              <a:gd name="connsiteX266" fmla="*/ 1325594 w 1930527"/>
              <a:gd name="connsiteY266" fmla="*/ 432149 h 2238756"/>
              <a:gd name="connsiteX267" fmla="*/ 1342072 w 1930527"/>
              <a:gd name="connsiteY267" fmla="*/ 437769 h 2238756"/>
              <a:gd name="connsiteX268" fmla="*/ 1359789 w 1930527"/>
              <a:gd name="connsiteY268" fmla="*/ 439674 h 2238756"/>
              <a:gd name="connsiteX269" fmla="*/ 1378172 w 1930527"/>
              <a:gd name="connsiteY269" fmla="*/ 437769 h 2238756"/>
              <a:gd name="connsiteX270" fmla="*/ 1393983 w 1930527"/>
              <a:gd name="connsiteY270" fmla="*/ 432149 h 2238756"/>
              <a:gd name="connsiteX271" fmla="*/ 1409128 w 1930527"/>
              <a:gd name="connsiteY271" fmla="*/ 424529 h 2238756"/>
              <a:gd name="connsiteX272" fmla="*/ 1421796 w 1930527"/>
              <a:gd name="connsiteY272" fmla="*/ 413766 h 2238756"/>
              <a:gd name="connsiteX273" fmla="*/ 1432559 w 1930527"/>
              <a:gd name="connsiteY273" fmla="*/ 400526 h 2238756"/>
              <a:gd name="connsiteX274" fmla="*/ 1440751 w 1930527"/>
              <a:gd name="connsiteY274" fmla="*/ 385382 h 2238756"/>
              <a:gd name="connsiteX275" fmla="*/ 1445799 w 1930527"/>
              <a:gd name="connsiteY275" fmla="*/ 369570 h 2238756"/>
              <a:gd name="connsiteX276" fmla="*/ 1447704 w 1930527"/>
              <a:gd name="connsiteY276" fmla="*/ 351854 h 2238756"/>
              <a:gd name="connsiteX277" fmla="*/ 1446466 w 1930527"/>
              <a:gd name="connsiteY277" fmla="*/ 336042 h 2238756"/>
              <a:gd name="connsiteX278" fmla="*/ 1442084 w 1930527"/>
              <a:gd name="connsiteY278" fmla="*/ 320231 h 2238756"/>
              <a:gd name="connsiteX279" fmla="*/ 1435703 w 1930527"/>
              <a:gd name="connsiteY279" fmla="*/ 306991 h 2238756"/>
              <a:gd name="connsiteX280" fmla="*/ 1426844 w 1930527"/>
              <a:gd name="connsiteY280" fmla="*/ 294989 h 2238756"/>
              <a:gd name="connsiteX281" fmla="*/ 1416748 w 1930527"/>
              <a:gd name="connsiteY281" fmla="*/ 284797 h 2238756"/>
              <a:gd name="connsiteX282" fmla="*/ 1403413 w 1930527"/>
              <a:gd name="connsiteY282" fmla="*/ 276606 h 2238756"/>
              <a:gd name="connsiteX283" fmla="*/ 1403413 w 1930527"/>
              <a:gd name="connsiteY283" fmla="*/ 132588 h 2238756"/>
              <a:gd name="connsiteX284" fmla="*/ 1316735 w 1930527"/>
              <a:gd name="connsiteY284" fmla="*/ 132588 h 2238756"/>
              <a:gd name="connsiteX285" fmla="*/ 1316735 w 1930527"/>
              <a:gd name="connsiteY285" fmla="*/ 44577 h 2238756"/>
              <a:gd name="connsiteX286" fmla="*/ 1318069 w 1930527"/>
              <a:gd name="connsiteY286" fmla="*/ 32480 h 2238756"/>
              <a:gd name="connsiteX287" fmla="*/ 1323212 w 1930527"/>
              <a:gd name="connsiteY287" fmla="*/ 21717 h 2238756"/>
              <a:gd name="connsiteX288" fmla="*/ 1330261 w 1930527"/>
              <a:gd name="connsiteY288" fmla="*/ 13430 h 2238756"/>
              <a:gd name="connsiteX289" fmla="*/ 1339310 w 1930527"/>
              <a:gd name="connsiteY289" fmla="*/ 6382 h 2238756"/>
              <a:gd name="connsiteX290" fmla="*/ 1349692 w 1930527"/>
              <a:gd name="connsiteY290" fmla="*/ 1238 h 2238756"/>
              <a:gd name="connsiteX291" fmla="*/ 1361312 w 1930527"/>
              <a:gd name="connsiteY291" fmla="*/ 0 h 2238756"/>
              <a:gd name="connsiteX292" fmla="*/ 1373600 w 1930527"/>
              <a:gd name="connsiteY292" fmla="*/ 1238 h 2238756"/>
              <a:gd name="connsiteX293" fmla="*/ 1383887 w 1930527"/>
              <a:gd name="connsiteY293" fmla="*/ 6382 h 2238756"/>
              <a:gd name="connsiteX294" fmla="*/ 1392935 w 1930527"/>
              <a:gd name="connsiteY294" fmla="*/ 13430 h 2238756"/>
              <a:gd name="connsiteX295" fmla="*/ 1400079 w 1930527"/>
              <a:gd name="connsiteY295" fmla="*/ 21717 h 2238756"/>
              <a:gd name="connsiteX296" fmla="*/ 1404556 w 1930527"/>
              <a:gd name="connsiteY296" fmla="*/ 32480 h 2238756"/>
              <a:gd name="connsiteX297" fmla="*/ 1405890 w 1930527"/>
              <a:gd name="connsiteY297" fmla="*/ 44577 h 2238756"/>
              <a:gd name="connsiteX298" fmla="*/ 1405890 w 1930527"/>
              <a:gd name="connsiteY298" fmla="*/ 132588 h 2238756"/>
              <a:gd name="connsiteX299" fmla="*/ 1579625 w 1930527"/>
              <a:gd name="connsiteY299" fmla="*/ 132588 h 2238756"/>
              <a:gd name="connsiteX300" fmla="*/ 1579625 w 1930527"/>
              <a:gd name="connsiteY300" fmla="*/ 276606 h 2238756"/>
              <a:gd name="connsiteX301" fmla="*/ 1566862 w 1930527"/>
              <a:gd name="connsiteY301" fmla="*/ 284702 h 2238756"/>
              <a:gd name="connsiteX302" fmla="*/ 1556099 w 1930527"/>
              <a:gd name="connsiteY302" fmla="*/ 294894 h 2238756"/>
              <a:gd name="connsiteX303" fmla="*/ 1547241 w 1930527"/>
              <a:gd name="connsiteY303" fmla="*/ 306896 h 2238756"/>
              <a:gd name="connsiteX304" fmla="*/ 1541621 w 1930527"/>
              <a:gd name="connsiteY304" fmla="*/ 320135 h 2238756"/>
              <a:gd name="connsiteX305" fmla="*/ 1537144 w 1930527"/>
              <a:gd name="connsiteY305" fmla="*/ 335947 h 2238756"/>
              <a:gd name="connsiteX306" fmla="*/ 1535906 w 1930527"/>
              <a:gd name="connsiteY306" fmla="*/ 351759 h 2238756"/>
              <a:gd name="connsiteX307" fmla="*/ 1537144 w 1930527"/>
              <a:gd name="connsiteY307" fmla="*/ 369475 h 2238756"/>
              <a:gd name="connsiteX308" fmla="*/ 1542859 w 1930527"/>
              <a:gd name="connsiteY308" fmla="*/ 385286 h 2238756"/>
              <a:gd name="connsiteX309" fmla="*/ 1551050 w 1930527"/>
              <a:gd name="connsiteY309" fmla="*/ 400431 h 2238756"/>
              <a:gd name="connsiteX310" fmla="*/ 1561623 w 1930527"/>
              <a:gd name="connsiteY310" fmla="*/ 413766 h 2238756"/>
              <a:gd name="connsiteX311" fmla="*/ 1574291 w 1930527"/>
              <a:gd name="connsiteY311" fmla="*/ 424529 h 2238756"/>
              <a:gd name="connsiteX312" fmla="*/ 1589436 w 1930527"/>
              <a:gd name="connsiteY312" fmla="*/ 432149 h 2238756"/>
              <a:gd name="connsiteX313" fmla="*/ 1605915 w 1930527"/>
              <a:gd name="connsiteY313" fmla="*/ 437769 h 2238756"/>
              <a:gd name="connsiteX314" fmla="*/ 1622964 w 1930527"/>
              <a:gd name="connsiteY314" fmla="*/ 439674 h 2238756"/>
              <a:gd name="connsiteX315" fmla="*/ 1640681 w 1930527"/>
              <a:gd name="connsiteY315" fmla="*/ 437769 h 2238756"/>
              <a:gd name="connsiteX316" fmla="*/ 1657159 w 1930527"/>
              <a:gd name="connsiteY316" fmla="*/ 432149 h 2238756"/>
              <a:gd name="connsiteX317" fmla="*/ 1671732 w 1930527"/>
              <a:gd name="connsiteY317" fmla="*/ 424529 h 2238756"/>
              <a:gd name="connsiteX318" fmla="*/ 1685639 w 1930527"/>
              <a:gd name="connsiteY318" fmla="*/ 413766 h 2238756"/>
              <a:gd name="connsiteX319" fmla="*/ 1696402 w 1930527"/>
              <a:gd name="connsiteY319" fmla="*/ 400526 h 2238756"/>
              <a:gd name="connsiteX320" fmla="*/ 1704022 w 1930527"/>
              <a:gd name="connsiteY320" fmla="*/ 385382 h 2238756"/>
              <a:gd name="connsiteX321" fmla="*/ 1709070 w 1930527"/>
              <a:gd name="connsiteY321" fmla="*/ 369570 h 2238756"/>
              <a:gd name="connsiteX322" fmla="*/ 1711547 w 1930527"/>
              <a:gd name="connsiteY322" fmla="*/ 351854 h 2238756"/>
              <a:gd name="connsiteX323" fmla="*/ 1709737 w 1930527"/>
              <a:gd name="connsiteY323" fmla="*/ 336042 h 2238756"/>
              <a:gd name="connsiteX324" fmla="*/ 1705927 w 1930527"/>
              <a:gd name="connsiteY324" fmla="*/ 320231 h 2238756"/>
              <a:gd name="connsiteX325" fmla="*/ 1698974 w 1930527"/>
              <a:gd name="connsiteY325" fmla="*/ 306991 h 2238756"/>
              <a:gd name="connsiteX326" fmla="*/ 1690116 w 1930527"/>
              <a:gd name="connsiteY326" fmla="*/ 294989 h 2238756"/>
              <a:gd name="connsiteX327" fmla="*/ 1679352 w 1930527"/>
              <a:gd name="connsiteY327" fmla="*/ 284797 h 2238756"/>
              <a:gd name="connsiteX328" fmla="*/ 1667256 w 1930527"/>
              <a:gd name="connsiteY328" fmla="*/ 276606 h 2238756"/>
              <a:gd name="connsiteX329" fmla="*/ 1667256 w 1930527"/>
              <a:gd name="connsiteY329" fmla="*/ 132588 h 2238756"/>
              <a:gd name="connsiteX330" fmla="*/ 1798891 w 1930527"/>
              <a:gd name="connsiteY330" fmla="*/ 132588 h 2238756"/>
              <a:gd name="connsiteX331" fmla="*/ 1822323 w 1930527"/>
              <a:gd name="connsiteY331" fmla="*/ 134493 h 2238756"/>
              <a:gd name="connsiteX332" fmla="*/ 1844516 w 1930527"/>
              <a:gd name="connsiteY332" fmla="*/ 140780 h 2238756"/>
              <a:gd name="connsiteX333" fmla="*/ 1865375 w 1930527"/>
              <a:gd name="connsiteY333" fmla="*/ 150305 h 2238756"/>
              <a:gd name="connsiteX334" fmla="*/ 1883092 w 1930527"/>
              <a:gd name="connsiteY334" fmla="*/ 164211 h 2238756"/>
              <a:gd name="connsiteX335" fmla="*/ 1899475 w 1930527"/>
              <a:gd name="connsiteY335" fmla="*/ 179356 h 2238756"/>
              <a:gd name="connsiteX336" fmla="*/ 1912810 w 1930527"/>
              <a:gd name="connsiteY336" fmla="*/ 197739 h 2238756"/>
              <a:gd name="connsiteX337" fmla="*/ 1922335 w 1930527"/>
              <a:gd name="connsiteY337" fmla="*/ 217932 h 2238756"/>
              <a:gd name="connsiteX338" fmla="*/ 1927955 w 1930527"/>
              <a:gd name="connsiteY338" fmla="*/ 240697 h 2238756"/>
              <a:gd name="connsiteX339" fmla="*/ 1930526 w 1930527"/>
              <a:gd name="connsiteY339" fmla="*/ 264033 h 2238756"/>
              <a:gd name="connsiteX340" fmla="*/ 1930526 w 1930527"/>
              <a:gd name="connsiteY340" fmla="*/ 746379 h 2238756"/>
              <a:gd name="connsiteX341" fmla="*/ 190 w 1930527"/>
              <a:gd name="connsiteY341" fmla="*/ 746379 h 2238756"/>
              <a:gd name="connsiteX342" fmla="*/ 190 w 1930527"/>
              <a:gd name="connsiteY342" fmla="*/ 264033 h 2238756"/>
              <a:gd name="connsiteX343" fmla="*/ 2095 w 1930527"/>
              <a:gd name="connsiteY343" fmla="*/ 240697 h 2238756"/>
              <a:gd name="connsiteX344" fmla="*/ 8381 w 1930527"/>
              <a:gd name="connsiteY344" fmla="*/ 217932 h 2238756"/>
              <a:gd name="connsiteX345" fmla="*/ 17906 w 1930527"/>
              <a:gd name="connsiteY345" fmla="*/ 197739 h 2238756"/>
              <a:gd name="connsiteX346" fmla="*/ 31241 w 1930527"/>
              <a:gd name="connsiteY346" fmla="*/ 179356 h 2238756"/>
              <a:gd name="connsiteX347" fmla="*/ 47053 w 1930527"/>
              <a:gd name="connsiteY347" fmla="*/ 164211 h 2238756"/>
              <a:gd name="connsiteX348" fmla="*/ 65341 w 1930527"/>
              <a:gd name="connsiteY348" fmla="*/ 150305 h 2238756"/>
              <a:gd name="connsiteX349" fmla="*/ 85629 w 1930527"/>
              <a:gd name="connsiteY349" fmla="*/ 140780 h 2238756"/>
              <a:gd name="connsiteX350" fmla="*/ 107727 w 1930527"/>
              <a:gd name="connsiteY350" fmla="*/ 134493 h 2238756"/>
              <a:gd name="connsiteX351" fmla="*/ 131825 w 1930527"/>
              <a:gd name="connsiteY351" fmla="*/ 132588 h 2238756"/>
              <a:gd name="connsiteX352" fmla="*/ 262985 w 1930527"/>
              <a:gd name="connsiteY352" fmla="*/ 132588 h 2238756"/>
              <a:gd name="connsiteX353" fmla="*/ 262985 w 1930527"/>
              <a:gd name="connsiteY353" fmla="*/ 276701 h 2238756"/>
              <a:gd name="connsiteX354" fmla="*/ 250983 w 1930527"/>
              <a:gd name="connsiteY354" fmla="*/ 284893 h 2238756"/>
              <a:gd name="connsiteX355" fmla="*/ 240220 w 1930527"/>
              <a:gd name="connsiteY355" fmla="*/ 295085 h 2238756"/>
              <a:gd name="connsiteX356" fmla="*/ 231362 w 1930527"/>
              <a:gd name="connsiteY356" fmla="*/ 307086 h 2238756"/>
              <a:gd name="connsiteX357" fmla="*/ 224980 w 1930527"/>
              <a:gd name="connsiteY357" fmla="*/ 320326 h 2238756"/>
              <a:gd name="connsiteX358" fmla="*/ 221170 w 1930527"/>
              <a:gd name="connsiteY358" fmla="*/ 336137 h 2238756"/>
              <a:gd name="connsiteX359" fmla="*/ 219932 w 1930527"/>
              <a:gd name="connsiteY359" fmla="*/ 351949 h 2238756"/>
              <a:gd name="connsiteX360" fmla="*/ 221170 w 1930527"/>
              <a:gd name="connsiteY360" fmla="*/ 369665 h 2238756"/>
              <a:gd name="connsiteX361" fmla="*/ 226885 w 1930527"/>
              <a:gd name="connsiteY361" fmla="*/ 385477 h 2238756"/>
              <a:gd name="connsiteX362" fmla="*/ 234505 w 1930527"/>
              <a:gd name="connsiteY362" fmla="*/ 400622 h 2238756"/>
              <a:gd name="connsiteX363" fmla="*/ 245935 w 1930527"/>
              <a:gd name="connsiteY363" fmla="*/ 413861 h 2238756"/>
              <a:gd name="connsiteX364" fmla="*/ 258508 w 1930527"/>
              <a:gd name="connsiteY364" fmla="*/ 424625 h 2238756"/>
              <a:gd name="connsiteX365" fmla="*/ 273081 w 1930527"/>
              <a:gd name="connsiteY365" fmla="*/ 432245 h 2238756"/>
              <a:gd name="connsiteX366" fmla="*/ 289559 w 1930527"/>
              <a:gd name="connsiteY366" fmla="*/ 437864 h 2238756"/>
              <a:gd name="connsiteX367" fmla="*/ 307276 w 1930527"/>
              <a:gd name="connsiteY367" fmla="*/ 439769 h 2238756"/>
              <a:gd name="connsiteX368" fmla="*/ 324992 w 1930527"/>
              <a:gd name="connsiteY368" fmla="*/ 437864 h 2238756"/>
              <a:gd name="connsiteX369" fmla="*/ 341471 w 1930527"/>
              <a:gd name="connsiteY369" fmla="*/ 432245 h 2238756"/>
              <a:gd name="connsiteX370" fmla="*/ 355949 w 1930527"/>
              <a:gd name="connsiteY370" fmla="*/ 424625 h 2238756"/>
              <a:gd name="connsiteX371" fmla="*/ 369950 w 1930527"/>
              <a:gd name="connsiteY371" fmla="*/ 413861 h 2238756"/>
              <a:gd name="connsiteX372" fmla="*/ 379475 w 1930527"/>
              <a:gd name="connsiteY372" fmla="*/ 400431 h 2238756"/>
              <a:gd name="connsiteX373" fmla="*/ 387000 w 1930527"/>
              <a:gd name="connsiteY373" fmla="*/ 385382 h 2238756"/>
              <a:gd name="connsiteX374" fmla="*/ 392620 w 1930527"/>
              <a:gd name="connsiteY374" fmla="*/ 369570 h 2238756"/>
              <a:gd name="connsiteX375" fmla="*/ 394525 w 1930527"/>
              <a:gd name="connsiteY375" fmla="*/ 351854 h 2238756"/>
              <a:gd name="connsiteX376" fmla="*/ 393287 w 1930527"/>
              <a:gd name="connsiteY376" fmla="*/ 336042 h 2238756"/>
              <a:gd name="connsiteX377" fmla="*/ 388810 w 1930527"/>
              <a:gd name="connsiteY377" fmla="*/ 320231 h 2238756"/>
              <a:gd name="connsiteX378" fmla="*/ 382523 w 1930527"/>
              <a:gd name="connsiteY378" fmla="*/ 306991 h 2238756"/>
              <a:gd name="connsiteX379" fmla="*/ 373665 w 1930527"/>
              <a:gd name="connsiteY379" fmla="*/ 294989 h 2238756"/>
              <a:gd name="connsiteX380" fmla="*/ 362902 w 1930527"/>
              <a:gd name="connsiteY380" fmla="*/ 284797 h 2238756"/>
              <a:gd name="connsiteX381" fmla="*/ 350900 w 1930527"/>
              <a:gd name="connsiteY381" fmla="*/ 276606 h 2238756"/>
              <a:gd name="connsiteX382" fmla="*/ 350900 w 1930527"/>
              <a:gd name="connsiteY382" fmla="*/ 132588 h 2238756"/>
              <a:gd name="connsiteX383" fmla="*/ 525779 w 1930527"/>
              <a:gd name="connsiteY383" fmla="*/ 132588 h 2238756"/>
              <a:gd name="connsiteX384" fmla="*/ 525779 w 1930527"/>
              <a:gd name="connsiteY384" fmla="*/ 44577 h 2238756"/>
              <a:gd name="connsiteX385" fmla="*/ 527018 w 1930527"/>
              <a:gd name="connsiteY385" fmla="*/ 32480 h 2238756"/>
              <a:gd name="connsiteX386" fmla="*/ 532161 w 1930527"/>
              <a:gd name="connsiteY386" fmla="*/ 21717 h 2238756"/>
              <a:gd name="connsiteX387" fmla="*/ 538543 w 1930527"/>
              <a:gd name="connsiteY387" fmla="*/ 13430 h 2238756"/>
              <a:gd name="connsiteX388" fmla="*/ 547497 w 1930527"/>
              <a:gd name="connsiteY388" fmla="*/ 6382 h 2238756"/>
              <a:gd name="connsiteX389" fmla="*/ 557688 w 1930527"/>
              <a:gd name="connsiteY389" fmla="*/ 1238 h 2238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Lst>
            <a:rect l="l" t="t" r="r" b="b"/>
            <a:pathLst>
              <a:path w="1930527" h="2238756">
                <a:moveTo>
                  <a:pt x="1521142" y="1732693"/>
                </a:moveTo>
                <a:lnTo>
                  <a:pt x="1521142" y="2001774"/>
                </a:lnTo>
                <a:lnTo>
                  <a:pt x="1789176" y="2001774"/>
                </a:lnTo>
                <a:lnTo>
                  <a:pt x="1789176" y="1732693"/>
                </a:lnTo>
                <a:close/>
                <a:moveTo>
                  <a:pt x="1176242" y="1732693"/>
                </a:moveTo>
                <a:lnTo>
                  <a:pt x="1176242" y="2001774"/>
                </a:lnTo>
                <a:lnTo>
                  <a:pt x="1444561" y="2001774"/>
                </a:lnTo>
                <a:lnTo>
                  <a:pt x="1444561" y="1732693"/>
                </a:lnTo>
                <a:close/>
                <a:moveTo>
                  <a:pt x="831437" y="1732693"/>
                </a:moveTo>
                <a:lnTo>
                  <a:pt x="831437" y="2001774"/>
                </a:lnTo>
                <a:lnTo>
                  <a:pt x="1099756" y="2001774"/>
                </a:lnTo>
                <a:lnTo>
                  <a:pt x="1099756" y="1732693"/>
                </a:lnTo>
                <a:close/>
                <a:moveTo>
                  <a:pt x="485965" y="1732693"/>
                </a:moveTo>
                <a:lnTo>
                  <a:pt x="485965" y="2001774"/>
                </a:lnTo>
                <a:lnTo>
                  <a:pt x="754856" y="2001774"/>
                </a:lnTo>
                <a:lnTo>
                  <a:pt x="754856" y="1732693"/>
                </a:lnTo>
                <a:close/>
                <a:moveTo>
                  <a:pt x="141351" y="1732693"/>
                </a:moveTo>
                <a:lnTo>
                  <a:pt x="141351" y="2001774"/>
                </a:lnTo>
                <a:lnTo>
                  <a:pt x="410337" y="2001774"/>
                </a:lnTo>
                <a:lnTo>
                  <a:pt x="410337" y="1732693"/>
                </a:lnTo>
                <a:close/>
                <a:moveTo>
                  <a:pt x="1521142" y="1397794"/>
                </a:moveTo>
                <a:lnTo>
                  <a:pt x="1521142" y="1667256"/>
                </a:lnTo>
                <a:lnTo>
                  <a:pt x="1789176" y="1667256"/>
                </a:lnTo>
                <a:lnTo>
                  <a:pt x="1789176" y="1397794"/>
                </a:lnTo>
                <a:close/>
                <a:moveTo>
                  <a:pt x="1176242" y="1397794"/>
                </a:moveTo>
                <a:lnTo>
                  <a:pt x="1176242" y="1667256"/>
                </a:lnTo>
                <a:lnTo>
                  <a:pt x="1444561" y="1667256"/>
                </a:lnTo>
                <a:lnTo>
                  <a:pt x="1444561" y="1397794"/>
                </a:lnTo>
                <a:close/>
                <a:moveTo>
                  <a:pt x="831437" y="1397794"/>
                </a:moveTo>
                <a:lnTo>
                  <a:pt x="831437" y="1667256"/>
                </a:lnTo>
                <a:lnTo>
                  <a:pt x="1099756" y="1667256"/>
                </a:lnTo>
                <a:lnTo>
                  <a:pt x="1099756" y="1397794"/>
                </a:lnTo>
                <a:close/>
                <a:moveTo>
                  <a:pt x="485965" y="1397794"/>
                </a:moveTo>
                <a:lnTo>
                  <a:pt x="485965" y="1667256"/>
                </a:lnTo>
                <a:lnTo>
                  <a:pt x="754856" y="1667256"/>
                </a:lnTo>
                <a:lnTo>
                  <a:pt x="754856" y="1397794"/>
                </a:lnTo>
                <a:close/>
                <a:moveTo>
                  <a:pt x="141351" y="1397794"/>
                </a:moveTo>
                <a:lnTo>
                  <a:pt x="141351" y="1667256"/>
                </a:lnTo>
                <a:lnTo>
                  <a:pt x="410337" y="1667256"/>
                </a:lnTo>
                <a:lnTo>
                  <a:pt x="410337" y="1397794"/>
                </a:lnTo>
                <a:close/>
                <a:moveTo>
                  <a:pt x="1521142" y="1062895"/>
                </a:moveTo>
                <a:lnTo>
                  <a:pt x="1521142" y="1331976"/>
                </a:lnTo>
                <a:lnTo>
                  <a:pt x="1789176" y="1331976"/>
                </a:lnTo>
                <a:lnTo>
                  <a:pt x="1789176" y="1062895"/>
                </a:lnTo>
                <a:close/>
                <a:moveTo>
                  <a:pt x="1176242" y="1062895"/>
                </a:moveTo>
                <a:lnTo>
                  <a:pt x="1176242" y="1331976"/>
                </a:lnTo>
                <a:lnTo>
                  <a:pt x="1444561" y="1331976"/>
                </a:lnTo>
                <a:lnTo>
                  <a:pt x="1444561" y="1062895"/>
                </a:lnTo>
                <a:close/>
                <a:moveTo>
                  <a:pt x="831437" y="1062895"/>
                </a:moveTo>
                <a:lnTo>
                  <a:pt x="831437" y="1331976"/>
                </a:lnTo>
                <a:lnTo>
                  <a:pt x="1099756" y="1331976"/>
                </a:lnTo>
                <a:lnTo>
                  <a:pt x="1099756" y="1062895"/>
                </a:lnTo>
                <a:close/>
                <a:moveTo>
                  <a:pt x="485965" y="1062895"/>
                </a:moveTo>
                <a:lnTo>
                  <a:pt x="485965" y="1331976"/>
                </a:lnTo>
                <a:lnTo>
                  <a:pt x="754856" y="1331976"/>
                </a:lnTo>
                <a:lnTo>
                  <a:pt x="754856" y="1062895"/>
                </a:lnTo>
                <a:close/>
                <a:moveTo>
                  <a:pt x="141351" y="1062895"/>
                </a:moveTo>
                <a:lnTo>
                  <a:pt x="141351" y="1331976"/>
                </a:lnTo>
                <a:lnTo>
                  <a:pt x="410337" y="1331976"/>
                </a:lnTo>
                <a:lnTo>
                  <a:pt x="410337" y="1062895"/>
                </a:lnTo>
                <a:close/>
                <a:moveTo>
                  <a:pt x="0" y="834390"/>
                </a:moveTo>
                <a:lnTo>
                  <a:pt x="1930527" y="834390"/>
                </a:lnTo>
                <a:lnTo>
                  <a:pt x="1930527" y="2238756"/>
                </a:lnTo>
                <a:lnTo>
                  <a:pt x="0" y="2238756"/>
                </a:lnTo>
                <a:lnTo>
                  <a:pt x="0" y="835628"/>
                </a:lnTo>
                <a:close/>
                <a:moveTo>
                  <a:pt x="1624121" y="280"/>
                </a:moveTo>
                <a:lnTo>
                  <a:pt x="1635361" y="1518"/>
                </a:lnTo>
                <a:lnTo>
                  <a:pt x="1645457" y="6662"/>
                </a:lnTo>
                <a:lnTo>
                  <a:pt x="1653744" y="13710"/>
                </a:lnTo>
                <a:lnTo>
                  <a:pt x="1659650" y="21902"/>
                </a:lnTo>
                <a:lnTo>
                  <a:pt x="1664412" y="32760"/>
                </a:lnTo>
                <a:lnTo>
                  <a:pt x="1665555" y="44857"/>
                </a:lnTo>
                <a:lnTo>
                  <a:pt x="1665555" y="68479"/>
                </a:lnTo>
                <a:lnTo>
                  <a:pt x="1665555" y="87624"/>
                </a:lnTo>
                <a:lnTo>
                  <a:pt x="1665555" y="102960"/>
                </a:lnTo>
                <a:lnTo>
                  <a:pt x="1665555" y="113723"/>
                </a:lnTo>
                <a:lnTo>
                  <a:pt x="1665555" y="122010"/>
                </a:lnTo>
                <a:lnTo>
                  <a:pt x="1665555" y="130296"/>
                </a:lnTo>
                <a:lnTo>
                  <a:pt x="1665555" y="132201"/>
                </a:lnTo>
                <a:lnTo>
                  <a:pt x="1665555" y="132868"/>
                </a:lnTo>
                <a:lnTo>
                  <a:pt x="1583259" y="132868"/>
                </a:lnTo>
                <a:lnTo>
                  <a:pt x="1583259" y="109246"/>
                </a:lnTo>
                <a:lnTo>
                  <a:pt x="1583259" y="90196"/>
                </a:lnTo>
                <a:lnTo>
                  <a:pt x="1583259" y="74861"/>
                </a:lnTo>
                <a:lnTo>
                  <a:pt x="1583259" y="55716"/>
                </a:lnTo>
                <a:lnTo>
                  <a:pt x="1583259" y="50000"/>
                </a:lnTo>
                <a:lnTo>
                  <a:pt x="1583259" y="46762"/>
                </a:lnTo>
                <a:lnTo>
                  <a:pt x="1583259" y="45524"/>
                </a:lnTo>
                <a:lnTo>
                  <a:pt x="1583259" y="44857"/>
                </a:lnTo>
                <a:lnTo>
                  <a:pt x="1585069" y="32760"/>
                </a:lnTo>
                <a:lnTo>
                  <a:pt x="1588593" y="21902"/>
                </a:lnTo>
                <a:lnTo>
                  <a:pt x="1595070" y="13710"/>
                </a:lnTo>
                <a:lnTo>
                  <a:pt x="1604024" y="6662"/>
                </a:lnTo>
                <a:lnTo>
                  <a:pt x="1613453" y="1518"/>
                </a:lnTo>
                <a:close/>
                <a:moveTo>
                  <a:pt x="307671" y="280"/>
                </a:moveTo>
                <a:lnTo>
                  <a:pt x="318244" y="1518"/>
                </a:lnTo>
                <a:lnTo>
                  <a:pt x="328245" y="6662"/>
                </a:lnTo>
                <a:lnTo>
                  <a:pt x="336437" y="13710"/>
                </a:lnTo>
                <a:lnTo>
                  <a:pt x="342914" y="21902"/>
                </a:lnTo>
                <a:lnTo>
                  <a:pt x="346438" y="32760"/>
                </a:lnTo>
                <a:lnTo>
                  <a:pt x="348819" y="44857"/>
                </a:lnTo>
                <a:lnTo>
                  <a:pt x="348819" y="68479"/>
                </a:lnTo>
                <a:lnTo>
                  <a:pt x="348819" y="87624"/>
                </a:lnTo>
                <a:lnTo>
                  <a:pt x="348819" y="102960"/>
                </a:lnTo>
                <a:lnTo>
                  <a:pt x="348819" y="113723"/>
                </a:lnTo>
                <a:lnTo>
                  <a:pt x="348819" y="127725"/>
                </a:lnTo>
                <a:lnTo>
                  <a:pt x="348819" y="130296"/>
                </a:lnTo>
                <a:lnTo>
                  <a:pt x="348819" y="132201"/>
                </a:lnTo>
                <a:lnTo>
                  <a:pt x="348819" y="132868"/>
                </a:lnTo>
                <a:lnTo>
                  <a:pt x="326530" y="132868"/>
                </a:lnTo>
                <a:lnTo>
                  <a:pt x="308814" y="132868"/>
                </a:lnTo>
                <a:lnTo>
                  <a:pt x="295289" y="132868"/>
                </a:lnTo>
                <a:lnTo>
                  <a:pt x="272429" y="132868"/>
                </a:lnTo>
                <a:lnTo>
                  <a:pt x="269476" y="132868"/>
                </a:lnTo>
                <a:lnTo>
                  <a:pt x="267095" y="132868"/>
                </a:lnTo>
                <a:lnTo>
                  <a:pt x="266523" y="132868"/>
                </a:lnTo>
                <a:lnTo>
                  <a:pt x="266523" y="44857"/>
                </a:lnTo>
                <a:lnTo>
                  <a:pt x="268904" y="32760"/>
                </a:lnTo>
                <a:lnTo>
                  <a:pt x="272429" y="21902"/>
                </a:lnTo>
                <a:lnTo>
                  <a:pt x="278906" y="13710"/>
                </a:lnTo>
                <a:lnTo>
                  <a:pt x="287097" y="6662"/>
                </a:lnTo>
                <a:lnTo>
                  <a:pt x="297098" y="1518"/>
                </a:lnTo>
                <a:close/>
                <a:moveTo>
                  <a:pt x="570452" y="0"/>
                </a:moveTo>
                <a:lnTo>
                  <a:pt x="581882" y="1238"/>
                </a:lnTo>
                <a:lnTo>
                  <a:pt x="592074" y="6382"/>
                </a:lnTo>
                <a:lnTo>
                  <a:pt x="601027" y="13430"/>
                </a:lnTo>
                <a:lnTo>
                  <a:pt x="608075" y="21717"/>
                </a:lnTo>
                <a:lnTo>
                  <a:pt x="612552" y="32480"/>
                </a:lnTo>
                <a:lnTo>
                  <a:pt x="613790" y="44577"/>
                </a:lnTo>
                <a:lnTo>
                  <a:pt x="613790" y="132588"/>
                </a:lnTo>
                <a:lnTo>
                  <a:pt x="526446" y="132588"/>
                </a:lnTo>
                <a:lnTo>
                  <a:pt x="526446" y="276511"/>
                </a:lnTo>
                <a:lnTo>
                  <a:pt x="514445" y="284702"/>
                </a:lnTo>
                <a:lnTo>
                  <a:pt x="503682" y="294894"/>
                </a:lnTo>
                <a:lnTo>
                  <a:pt x="494823" y="306896"/>
                </a:lnTo>
                <a:lnTo>
                  <a:pt x="487870" y="320135"/>
                </a:lnTo>
                <a:lnTo>
                  <a:pt x="483393" y="335947"/>
                </a:lnTo>
                <a:lnTo>
                  <a:pt x="482155" y="351759"/>
                </a:lnTo>
                <a:lnTo>
                  <a:pt x="484727" y="369475"/>
                </a:lnTo>
                <a:lnTo>
                  <a:pt x="489108" y="385286"/>
                </a:lnTo>
                <a:lnTo>
                  <a:pt x="497300" y="400431"/>
                </a:lnTo>
                <a:lnTo>
                  <a:pt x="508063" y="413861"/>
                </a:lnTo>
                <a:lnTo>
                  <a:pt x="520731" y="424625"/>
                </a:lnTo>
                <a:lnTo>
                  <a:pt x="535971" y="432245"/>
                </a:lnTo>
                <a:lnTo>
                  <a:pt x="553021" y="437864"/>
                </a:lnTo>
                <a:lnTo>
                  <a:pt x="570737" y="439769"/>
                </a:lnTo>
                <a:lnTo>
                  <a:pt x="587787" y="437864"/>
                </a:lnTo>
                <a:lnTo>
                  <a:pt x="604265" y="432245"/>
                </a:lnTo>
                <a:lnTo>
                  <a:pt x="619506" y="424625"/>
                </a:lnTo>
                <a:lnTo>
                  <a:pt x="632078" y="413861"/>
                </a:lnTo>
                <a:lnTo>
                  <a:pt x="642842" y="400622"/>
                </a:lnTo>
                <a:lnTo>
                  <a:pt x="651128" y="385477"/>
                </a:lnTo>
                <a:lnTo>
                  <a:pt x="656177" y="369665"/>
                </a:lnTo>
                <a:lnTo>
                  <a:pt x="658082" y="351854"/>
                </a:lnTo>
                <a:lnTo>
                  <a:pt x="656177" y="336042"/>
                </a:lnTo>
                <a:lnTo>
                  <a:pt x="652367" y="320231"/>
                </a:lnTo>
                <a:lnTo>
                  <a:pt x="645414" y="306991"/>
                </a:lnTo>
                <a:lnTo>
                  <a:pt x="637793" y="294989"/>
                </a:lnTo>
                <a:lnTo>
                  <a:pt x="626459" y="284797"/>
                </a:lnTo>
                <a:lnTo>
                  <a:pt x="613790" y="276606"/>
                </a:lnTo>
                <a:lnTo>
                  <a:pt x="613790" y="132588"/>
                </a:lnTo>
                <a:lnTo>
                  <a:pt x="789622" y="132588"/>
                </a:lnTo>
                <a:lnTo>
                  <a:pt x="789622" y="276511"/>
                </a:lnTo>
                <a:lnTo>
                  <a:pt x="776954" y="284702"/>
                </a:lnTo>
                <a:lnTo>
                  <a:pt x="766190" y="294894"/>
                </a:lnTo>
                <a:lnTo>
                  <a:pt x="757904" y="306896"/>
                </a:lnTo>
                <a:lnTo>
                  <a:pt x="750950" y="320135"/>
                </a:lnTo>
                <a:lnTo>
                  <a:pt x="747140" y="335947"/>
                </a:lnTo>
                <a:lnTo>
                  <a:pt x="745902" y="351759"/>
                </a:lnTo>
                <a:lnTo>
                  <a:pt x="747140" y="369475"/>
                </a:lnTo>
                <a:lnTo>
                  <a:pt x="752856" y="385286"/>
                </a:lnTo>
                <a:lnTo>
                  <a:pt x="760475" y="400431"/>
                </a:lnTo>
                <a:lnTo>
                  <a:pt x="772001" y="413766"/>
                </a:lnTo>
                <a:lnTo>
                  <a:pt x="784574" y="424529"/>
                </a:lnTo>
                <a:lnTo>
                  <a:pt x="799147" y="432149"/>
                </a:lnTo>
                <a:lnTo>
                  <a:pt x="815625" y="437769"/>
                </a:lnTo>
                <a:lnTo>
                  <a:pt x="833342" y="439674"/>
                </a:lnTo>
                <a:lnTo>
                  <a:pt x="851058" y="437769"/>
                </a:lnTo>
                <a:lnTo>
                  <a:pt x="868108" y="432149"/>
                </a:lnTo>
                <a:lnTo>
                  <a:pt x="882681" y="424529"/>
                </a:lnTo>
                <a:lnTo>
                  <a:pt x="895349" y="413766"/>
                </a:lnTo>
                <a:lnTo>
                  <a:pt x="906779" y="400526"/>
                </a:lnTo>
                <a:lnTo>
                  <a:pt x="914304" y="385382"/>
                </a:lnTo>
                <a:lnTo>
                  <a:pt x="919352" y="369570"/>
                </a:lnTo>
                <a:lnTo>
                  <a:pt x="921257" y="351854"/>
                </a:lnTo>
                <a:lnTo>
                  <a:pt x="920019" y="336042"/>
                </a:lnTo>
                <a:lnTo>
                  <a:pt x="916209" y="320231"/>
                </a:lnTo>
                <a:lnTo>
                  <a:pt x="909256" y="306991"/>
                </a:lnTo>
                <a:lnTo>
                  <a:pt x="900398" y="294989"/>
                </a:lnTo>
                <a:lnTo>
                  <a:pt x="889634" y="284797"/>
                </a:lnTo>
                <a:lnTo>
                  <a:pt x="877633" y="276606"/>
                </a:lnTo>
                <a:lnTo>
                  <a:pt x="877633" y="132588"/>
                </a:lnTo>
                <a:lnTo>
                  <a:pt x="790956" y="132588"/>
                </a:lnTo>
                <a:lnTo>
                  <a:pt x="790956" y="44577"/>
                </a:lnTo>
                <a:lnTo>
                  <a:pt x="792860" y="32480"/>
                </a:lnTo>
                <a:lnTo>
                  <a:pt x="796766" y="21717"/>
                </a:lnTo>
                <a:lnTo>
                  <a:pt x="804386" y="13430"/>
                </a:lnTo>
                <a:lnTo>
                  <a:pt x="813434" y="6382"/>
                </a:lnTo>
                <a:lnTo>
                  <a:pt x="823626" y="1238"/>
                </a:lnTo>
                <a:lnTo>
                  <a:pt x="835247" y="0"/>
                </a:lnTo>
                <a:lnTo>
                  <a:pt x="846772" y="1238"/>
                </a:lnTo>
                <a:lnTo>
                  <a:pt x="857631" y="6382"/>
                </a:lnTo>
                <a:lnTo>
                  <a:pt x="866679" y="13430"/>
                </a:lnTo>
                <a:lnTo>
                  <a:pt x="873728" y="21717"/>
                </a:lnTo>
                <a:lnTo>
                  <a:pt x="878204" y="32480"/>
                </a:lnTo>
                <a:lnTo>
                  <a:pt x="880109" y="44577"/>
                </a:lnTo>
                <a:lnTo>
                  <a:pt x="880109" y="132588"/>
                </a:lnTo>
                <a:lnTo>
                  <a:pt x="1050416" y="132588"/>
                </a:lnTo>
                <a:lnTo>
                  <a:pt x="1050416" y="44577"/>
                </a:lnTo>
                <a:lnTo>
                  <a:pt x="1051655" y="32480"/>
                </a:lnTo>
                <a:lnTo>
                  <a:pt x="1056227" y="21717"/>
                </a:lnTo>
                <a:lnTo>
                  <a:pt x="1063275" y="13430"/>
                </a:lnTo>
                <a:lnTo>
                  <a:pt x="1072229" y="6382"/>
                </a:lnTo>
                <a:lnTo>
                  <a:pt x="1083087" y="1238"/>
                </a:lnTo>
                <a:lnTo>
                  <a:pt x="1094708" y="0"/>
                </a:lnTo>
                <a:lnTo>
                  <a:pt x="1106900" y="1238"/>
                </a:lnTo>
                <a:lnTo>
                  <a:pt x="1117758" y="6382"/>
                </a:lnTo>
                <a:lnTo>
                  <a:pt x="1126712" y="13430"/>
                </a:lnTo>
                <a:lnTo>
                  <a:pt x="1133189" y="21717"/>
                </a:lnTo>
                <a:lnTo>
                  <a:pt x="1137666" y="32480"/>
                </a:lnTo>
                <a:lnTo>
                  <a:pt x="1139570" y="44577"/>
                </a:lnTo>
                <a:lnTo>
                  <a:pt x="1139570" y="132588"/>
                </a:lnTo>
                <a:lnTo>
                  <a:pt x="1052893" y="132588"/>
                </a:lnTo>
                <a:lnTo>
                  <a:pt x="1052893" y="276511"/>
                </a:lnTo>
                <a:lnTo>
                  <a:pt x="1040891" y="284702"/>
                </a:lnTo>
                <a:lnTo>
                  <a:pt x="1029461" y="294894"/>
                </a:lnTo>
                <a:lnTo>
                  <a:pt x="1021270" y="306896"/>
                </a:lnTo>
                <a:lnTo>
                  <a:pt x="1014888" y="320135"/>
                </a:lnTo>
                <a:lnTo>
                  <a:pt x="1009840" y="335947"/>
                </a:lnTo>
                <a:lnTo>
                  <a:pt x="1008602" y="351759"/>
                </a:lnTo>
                <a:lnTo>
                  <a:pt x="1010507" y="369475"/>
                </a:lnTo>
                <a:lnTo>
                  <a:pt x="1016222" y="385286"/>
                </a:lnTo>
                <a:lnTo>
                  <a:pt x="1024413" y="400431"/>
                </a:lnTo>
                <a:lnTo>
                  <a:pt x="1034510" y="413766"/>
                </a:lnTo>
                <a:lnTo>
                  <a:pt x="1047845" y="424529"/>
                </a:lnTo>
                <a:lnTo>
                  <a:pt x="1062990" y="432149"/>
                </a:lnTo>
                <a:lnTo>
                  <a:pt x="1079468" y="437769"/>
                </a:lnTo>
                <a:lnTo>
                  <a:pt x="1096517" y="439674"/>
                </a:lnTo>
                <a:lnTo>
                  <a:pt x="1114234" y="437769"/>
                </a:lnTo>
                <a:lnTo>
                  <a:pt x="1130712" y="432149"/>
                </a:lnTo>
                <a:lnTo>
                  <a:pt x="1145952" y="424529"/>
                </a:lnTo>
                <a:lnTo>
                  <a:pt x="1158525" y="413766"/>
                </a:lnTo>
                <a:lnTo>
                  <a:pt x="1169289" y="400526"/>
                </a:lnTo>
                <a:lnTo>
                  <a:pt x="1177575" y="385382"/>
                </a:lnTo>
                <a:lnTo>
                  <a:pt x="1182624" y="369570"/>
                </a:lnTo>
                <a:lnTo>
                  <a:pt x="1184528" y="351854"/>
                </a:lnTo>
                <a:lnTo>
                  <a:pt x="1182624" y="336042"/>
                </a:lnTo>
                <a:lnTo>
                  <a:pt x="1178814" y="320231"/>
                </a:lnTo>
                <a:lnTo>
                  <a:pt x="1172527" y="306991"/>
                </a:lnTo>
                <a:lnTo>
                  <a:pt x="1163669" y="294989"/>
                </a:lnTo>
                <a:lnTo>
                  <a:pt x="1152906" y="284797"/>
                </a:lnTo>
                <a:lnTo>
                  <a:pt x="1140809" y="276606"/>
                </a:lnTo>
                <a:lnTo>
                  <a:pt x="1140809" y="132588"/>
                </a:lnTo>
                <a:lnTo>
                  <a:pt x="1316164" y="132588"/>
                </a:lnTo>
                <a:lnTo>
                  <a:pt x="1316164" y="276511"/>
                </a:lnTo>
                <a:lnTo>
                  <a:pt x="1303496" y="284702"/>
                </a:lnTo>
                <a:lnTo>
                  <a:pt x="1293304" y="294894"/>
                </a:lnTo>
                <a:lnTo>
                  <a:pt x="1284446" y="306896"/>
                </a:lnTo>
                <a:lnTo>
                  <a:pt x="1277492" y="320135"/>
                </a:lnTo>
                <a:lnTo>
                  <a:pt x="1273683" y="335947"/>
                </a:lnTo>
                <a:lnTo>
                  <a:pt x="1272444" y="351759"/>
                </a:lnTo>
                <a:lnTo>
                  <a:pt x="1274349" y="369475"/>
                </a:lnTo>
                <a:lnTo>
                  <a:pt x="1278826" y="385286"/>
                </a:lnTo>
                <a:lnTo>
                  <a:pt x="1287017" y="400431"/>
                </a:lnTo>
                <a:lnTo>
                  <a:pt x="1297781" y="413766"/>
                </a:lnTo>
                <a:lnTo>
                  <a:pt x="1311020" y="424529"/>
                </a:lnTo>
                <a:lnTo>
                  <a:pt x="1325594" y="432149"/>
                </a:lnTo>
                <a:lnTo>
                  <a:pt x="1342072" y="437769"/>
                </a:lnTo>
                <a:lnTo>
                  <a:pt x="1359789" y="439674"/>
                </a:lnTo>
                <a:lnTo>
                  <a:pt x="1378172" y="437769"/>
                </a:lnTo>
                <a:lnTo>
                  <a:pt x="1393983" y="432149"/>
                </a:lnTo>
                <a:lnTo>
                  <a:pt x="1409128" y="424529"/>
                </a:lnTo>
                <a:lnTo>
                  <a:pt x="1421796" y="413766"/>
                </a:lnTo>
                <a:lnTo>
                  <a:pt x="1432559" y="400526"/>
                </a:lnTo>
                <a:lnTo>
                  <a:pt x="1440751" y="385382"/>
                </a:lnTo>
                <a:lnTo>
                  <a:pt x="1445799" y="369570"/>
                </a:lnTo>
                <a:lnTo>
                  <a:pt x="1447704" y="351854"/>
                </a:lnTo>
                <a:lnTo>
                  <a:pt x="1446466" y="336042"/>
                </a:lnTo>
                <a:lnTo>
                  <a:pt x="1442084" y="320231"/>
                </a:lnTo>
                <a:lnTo>
                  <a:pt x="1435703" y="306991"/>
                </a:lnTo>
                <a:lnTo>
                  <a:pt x="1426844" y="294989"/>
                </a:lnTo>
                <a:lnTo>
                  <a:pt x="1416748" y="284797"/>
                </a:lnTo>
                <a:lnTo>
                  <a:pt x="1403413" y="276606"/>
                </a:lnTo>
                <a:lnTo>
                  <a:pt x="1403413" y="132588"/>
                </a:lnTo>
                <a:lnTo>
                  <a:pt x="1316735" y="132588"/>
                </a:lnTo>
                <a:lnTo>
                  <a:pt x="1316735" y="44577"/>
                </a:lnTo>
                <a:lnTo>
                  <a:pt x="1318069" y="32480"/>
                </a:lnTo>
                <a:lnTo>
                  <a:pt x="1323212" y="21717"/>
                </a:lnTo>
                <a:lnTo>
                  <a:pt x="1330261" y="13430"/>
                </a:lnTo>
                <a:lnTo>
                  <a:pt x="1339310" y="6382"/>
                </a:lnTo>
                <a:lnTo>
                  <a:pt x="1349692" y="1238"/>
                </a:lnTo>
                <a:lnTo>
                  <a:pt x="1361312" y="0"/>
                </a:lnTo>
                <a:lnTo>
                  <a:pt x="1373600" y="1238"/>
                </a:lnTo>
                <a:lnTo>
                  <a:pt x="1383887" y="6382"/>
                </a:lnTo>
                <a:lnTo>
                  <a:pt x="1392935" y="13430"/>
                </a:lnTo>
                <a:lnTo>
                  <a:pt x="1400079" y="21717"/>
                </a:lnTo>
                <a:lnTo>
                  <a:pt x="1404556" y="32480"/>
                </a:lnTo>
                <a:lnTo>
                  <a:pt x="1405890" y="44577"/>
                </a:lnTo>
                <a:lnTo>
                  <a:pt x="1405890" y="132588"/>
                </a:lnTo>
                <a:lnTo>
                  <a:pt x="1579625" y="132588"/>
                </a:lnTo>
                <a:lnTo>
                  <a:pt x="1579625" y="276606"/>
                </a:lnTo>
                <a:lnTo>
                  <a:pt x="1566862" y="284702"/>
                </a:lnTo>
                <a:lnTo>
                  <a:pt x="1556099" y="294894"/>
                </a:lnTo>
                <a:lnTo>
                  <a:pt x="1547241" y="306896"/>
                </a:lnTo>
                <a:lnTo>
                  <a:pt x="1541621" y="320135"/>
                </a:lnTo>
                <a:lnTo>
                  <a:pt x="1537144" y="335947"/>
                </a:lnTo>
                <a:lnTo>
                  <a:pt x="1535906" y="351759"/>
                </a:lnTo>
                <a:lnTo>
                  <a:pt x="1537144" y="369475"/>
                </a:lnTo>
                <a:lnTo>
                  <a:pt x="1542859" y="385286"/>
                </a:lnTo>
                <a:lnTo>
                  <a:pt x="1551050" y="400431"/>
                </a:lnTo>
                <a:lnTo>
                  <a:pt x="1561623" y="413766"/>
                </a:lnTo>
                <a:lnTo>
                  <a:pt x="1574291" y="424529"/>
                </a:lnTo>
                <a:lnTo>
                  <a:pt x="1589436" y="432149"/>
                </a:lnTo>
                <a:lnTo>
                  <a:pt x="1605915" y="437769"/>
                </a:lnTo>
                <a:lnTo>
                  <a:pt x="1622964" y="439674"/>
                </a:lnTo>
                <a:lnTo>
                  <a:pt x="1640681" y="437769"/>
                </a:lnTo>
                <a:lnTo>
                  <a:pt x="1657159" y="432149"/>
                </a:lnTo>
                <a:lnTo>
                  <a:pt x="1671732" y="424529"/>
                </a:lnTo>
                <a:lnTo>
                  <a:pt x="1685639" y="413766"/>
                </a:lnTo>
                <a:lnTo>
                  <a:pt x="1696402" y="400526"/>
                </a:lnTo>
                <a:lnTo>
                  <a:pt x="1704022" y="385382"/>
                </a:lnTo>
                <a:lnTo>
                  <a:pt x="1709070" y="369570"/>
                </a:lnTo>
                <a:lnTo>
                  <a:pt x="1711547" y="351854"/>
                </a:lnTo>
                <a:lnTo>
                  <a:pt x="1709737" y="336042"/>
                </a:lnTo>
                <a:lnTo>
                  <a:pt x="1705927" y="320231"/>
                </a:lnTo>
                <a:lnTo>
                  <a:pt x="1698974" y="306991"/>
                </a:lnTo>
                <a:lnTo>
                  <a:pt x="1690116" y="294989"/>
                </a:lnTo>
                <a:lnTo>
                  <a:pt x="1679352" y="284797"/>
                </a:lnTo>
                <a:lnTo>
                  <a:pt x="1667256" y="276606"/>
                </a:lnTo>
                <a:lnTo>
                  <a:pt x="1667256" y="132588"/>
                </a:lnTo>
                <a:lnTo>
                  <a:pt x="1798891" y="132588"/>
                </a:lnTo>
                <a:lnTo>
                  <a:pt x="1822323" y="134493"/>
                </a:lnTo>
                <a:lnTo>
                  <a:pt x="1844516" y="140780"/>
                </a:lnTo>
                <a:lnTo>
                  <a:pt x="1865375" y="150305"/>
                </a:lnTo>
                <a:lnTo>
                  <a:pt x="1883092" y="164211"/>
                </a:lnTo>
                <a:lnTo>
                  <a:pt x="1899475" y="179356"/>
                </a:lnTo>
                <a:lnTo>
                  <a:pt x="1912810" y="197739"/>
                </a:lnTo>
                <a:lnTo>
                  <a:pt x="1922335" y="217932"/>
                </a:lnTo>
                <a:lnTo>
                  <a:pt x="1927955" y="240697"/>
                </a:lnTo>
                <a:lnTo>
                  <a:pt x="1930526" y="264033"/>
                </a:lnTo>
                <a:lnTo>
                  <a:pt x="1930526" y="746379"/>
                </a:lnTo>
                <a:lnTo>
                  <a:pt x="190" y="746379"/>
                </a:lnTo>
                <a:lnTo>
                  <a:pt x="190" y="264033"/>
                </a:lnTo>
                <a:lnTo>
                  <a:pt x="2095" y="240697"/>
                </a:lnTo>
                <a:lnTo>
                  <a:pt x="8381" y="217932"/>
                </a:lnTo>
                <a:lnTo>
                  <a:pt x="17906" y="197739"/>
                </a:lnTo>
                <a:lnTo>
                  <a:pt x="31241" y="179356"/>
                </a:lnTo>
                <a:lnTo>
                  <a:pt x="47053" y="164211"/>
                </a:lnTo>
                <a:lnTo>
                  <a:pt x="65341" y="150305"/>
                </a:lnTo>
                <a:lnTo>
                  <a:pt x="85629" y="140780"/>
                </a:lnTo>
                <a:lnTo>
                  <a:pt x="107727" y="134493"/>
                </a:lnTo>
                <a:lnTo>
                  <a:pt x="131825" y="132588"/>
                </a:lnTo>
                <a:lnTo>
                  <a:pt x="262985" y="132588"/>
                </a:lnTo>
                <a:lnTo>
                  <a:pt x="262985" y="276701"/>
                </a:lnTo>
                <a:lnTo>
                  <a:pt x="250983" y="284893"/>
                </a:lnTo>
                <a:lnTo>
                  <a:pt x="240220" y="295085"/>
                </a:lnTo>
                <a:lnTo>
                  <a:pt x="231362" y="307086"/>
                </a:lnTo>
                <a:lnTo>
                  <a:pt x="224980" y="320326"/>
                </a:lnTo>
                <a:lnTo>
                  <a:pt x="221170" y="336137"/>
                </a:lnTo>
                <a:lnTo>
                  <a:pt x="219932" y="351949"/>
                </a:lnTo>
                <a:lnTo>
                  <a:pt x="221170" y="369665"/>
                </a:lnTo>
                <a:lnTo>
                  <a:pt x="226885" y="385477"/>
                </a:lnTo>
                <a:lnTo>
                  <a:pt x="234505" y="400622"/>
                </a:lnTo>
                <a:lnTo>
                  <a:pt x="245935" y="413861"/>
                </a:lnTo>
                <a:lnTo>
                  <a:pt x="258508" y="424625"/>
                </a:lnTo>
                <a:lnTo>
                  <a:pt x="273081" y="432245"/>
                </a:lnTo>
                <a:lnTo>
                  <a:pt x="289559" y="437864"/>
                </a:lnTo>
                <a:lnTo>
                  <a:pt x="307276" y="439769"/>
                </a:lnTo>
                <a:lnTo>
                  <a:pt x="324992" y="437864"/>
                </a:lnTo>
                <a:lnTo>
                  <a:pt x="341471" y="432245"/>
                </a:lnTo>
                <a:lnTo>
                  <a:pt x="355949" y="424625"/>
                </a:lnTo>
                <a:lnTo>
                  <a:pt x="369950" y="413861"/>
                </a:lnTo>
                <a:lnTo>
                  <a:pt x="379475" y="400431"/>
                </a:lnTo>
                <a:lnTo>
                  <a:pt x="387000" y="385382"/>
                </a:lnTo>
                <a:lnTo>
                  <a:pt x="392620" y="369570"/>
                </a:lnTo>
                <a:lnTo>
                  <a:pt x="394525" y="351854"/>
                </a:lnTo>
                <a:lnTo>
                  <a:pt x="393287" y="336042"/>
                </a:lnTo>
                <a:lnTo>
                  <a:pt x="388810" y="320231"/>
                </a:lnTo>
                <a:lnTo>
                  <a:pt x="382523" y="306991"/>
                </a:lnTo>
                <a:lnTo>
                  <a:pt x="373665" y="294989"/>
                </a:lnTo>
                <a:lnTo>
                  <a:pt x="362902" y="284797"/>
                </a:lnTo>
                <a:lnTo>
                  <a:pt x="350900" y="276606"/>
                </a:lnTo>
                <a:lnTo>
                  <a:pt x="350900" y="132588"/>
                </a:lnTo>
                <a:lnTo>
                  <a:pt x="525779" y="132588"/>
                </a:lnTo>
                <a:lnTo>
                  <a:pt x="525779" y="44577"/>
                </a:lnTo>
                <a:lnTo>
                  <a:pt x="527018" y="32480"/>
                </a:lnTo>
                <a:lnTo>
                  <a:pt x="532161" y="21717"/>
                </a:lnTo>
                <a:lnTo>
                  <a:pt x="538543" y="13430"/>
                </a:lnTo>
                <a:lnTo>
                  <a:pt x="547497" y="6382"/>
                </a:lnTo>
                <a:lnTo>
                  <a:pt x="557688" y="1238"/>
                </a:lnTo>
                <a:close/>
              </a:path>
            </a:pathLst>
          </a:custGeom>
          <a:solidFill>
            <a:schemeClr val="accent5"/>
          </a:solidFill>
          <a:ln w="29468" cap="flat">
            <a:noFill/>
            <a:prstDash val="solid"/>
            <a:miter/>
          </a:ln>
        </p:spPr>
        <p:txBody>
          <a:bodyPr rtlCol="0" anchor="ctr"/>
          <a:lstStyle/>
          <a:p>
            <a:endParaRPr lang="en-US" sz="1350"/>
          </a:p>
        </p:txBody>
      </p:sp>
      <p:sp>
        <p:nvSpPr>
          <p:cNvPr id="203" name="Freeform 12">
            <a:extLst>
              <a:ext uri="{FF2B5EF4-FFF2-40B4-BE49-F238E27FC236}">
                <a16:creationId xmlns:a16="http://schemas.microsoft.com/office/drawing/2014/main" id="{9661C330-91BF-68D3-A873-7BD8825841A1}"/>
              </a:ext>
            </a:extLst>
          </p:cNvPr>
          <p:cNvSpPr>
            <a:spLocks noChangeAspect="1" noEditPoints="1"/>
          </p:cNvSpPr>
          <p:nvPr/>
        </p:nvSpPr>
        <p:spPr bwMode="auto">
          <a:xfrm>
            <a:off x="4978476" y="3673788"/>
            <a:ext cx="243000" cy="130643"/>
          </a:xfrm>
          <a:custGeom>
            <a:avLst/>
            <a:gdLst>
              <a:gd name="T0" fmla="*/ 3398 w 3998"/>
              <a:gd name="T1" fmla="*/ 401 h 2141"/>
              <a:gd name="T2" fmla="*/ 3398 w 3998"/>
              <a:gd name="T3" fmla="*/ 267 h 2141"/>
              <a:gd name="T4" fmla="*/ 3731 w 3998"/>
              <a:gd name="T5" fmla="*/ 334 h 2141"/>
              <a:gd name="T6" fmla="*/ 3665 w 3998"/>
              <a:gd name="T7" fmla="*/ 401 h 2141"/>
              <a:gd name="T8" fmla="*/ 134 w 3998"/>
              <a:gd name="T9" fmla="*/ 2007 h 2141"/>
              <a:gd name="T10" fmla="*/ 267 w 3998"/>
              <a:gd name="T11" fmla="*/ 401 h 2141"/>
              <a:gd name="T12" fmla="*/ 334 w 3998"/>
              <a:gd name="T13" fmla="*/ 1873 h 2141"/>
              <a:gd name="T14" fmla="*/ 3598 w 3998"/>
              <a:gd name="T15" fmla="*/ 2007 h 2141"/>
              <a:gd name="T16" fmla="*/ 867 w 3998"/>
              <a:gd name="T17" fmla="*/ 1472 h 2141"/>
              <a:gd name="T18" fmla="*/ 867 w 3998"/>
              <a:gd name="T19" fmla="*/ 1605 h 2141"/>
              <a:gd name="T20" fmla="*/ 533 w 3998"/>
              <a:gd name="T21" fmla="*/ 1539 h 2141"/>
              <a:gd name="T22" fmla="*/ 600 w 3998"/>
              <a:gd name="T23" fmla="*/ 1472 h 2141"/>
              <a:gd name="T24" fmla="*/ 1602 w 3998"/>
              <a:gd name="T25" fmla="*/ 869 h 2141"/>
              <a:gd name="T26" fmla="*/ 1400 w 3998"/>
              <a:gd name="T27" fmla="*/ 803 h 2141"/>
              <a:gd name="T28" fmla="*/ 1627 w 3998"/>
              <a:gd name="T29" fmla="*/ 736 h 2141"/>
              <a:gd name="T30" fmla="*/ 2502 w 3998"/>
              <a:gd name="T31" fmla="*/ 359 h 2141"/>
              <a:gd name="T32" fmla="*/ 2429 w 3998"/>
              <a:gd name="T33" fmla="*/ 471 h 2141"/>
              <a:gd name="T34" fmla="*/ 1767 w 3998"/>
              <a:gd name="T35" fmla="*/ 736 h 2141"/>
              <a:gd name="T36" fmla="*/ 2066 w 3998"/>
              <a:gd name="T37" fmla="*/ 803 h 2141"/>
              <a:gd name="T38" fmla="*/ 1737 w 3998"/>
              <a:gd name="T39" fmla="*/ 869 h 2141"/>
              <a:gd name="T40" fmla="*/ 1737 w 3998"/>
              <a:gd name="T41" fmla="*/ 1003 h 2141"/>
              <a:gd name="T42" fmla="*/ 2066 w 3998"/>
              <a:gd name="T43" fmla="*/ 1070 h 2141"/>
              <a:gd name="T44" fmla="*/ 1767 w 3998"/>
              <a:gd name="T45" fmla="*/ 1137 h 2141"/>
              <a:gd name="T46" fmla="*/ 2429 w 3998"/>
              <a:gd name="T47" fmla="*/ 1402 h 2141"/>
              <a:gd name="T48" fmla="*/ 2502 w 3998"/>
              <a:gd name="T49" fmla="*/ 1514 h 2141"/>
              <a:gd name="T50" fmla="*/ 1627 w 3998"/>
              <a:gd name="T51" fmla="*/ 1137 h 2141"/>
              <a:gd name="T52" fmla="*/ 1400 w 3998"/>
              <a:gd name="T53" fmla="*/ 1070 h 2141"/>
              <a:gd name="T54" fmla="*/ 1602 w 3998"/>
              <a:gd name="T55" fmla="*/ 1003 h 2141"/>
              <a:gd name="T56" fmla="*/ 1599 w 3998"/>
              <a:gd name="T57" fmla="*/ 936 h 2141"/>
              <a:gd name="T58" fmla="*/ 334 w 3998"/>
              <a:gd name="T59" fmla="*/ 0 h 2141"/>
              <a:gd name="T60" fmla="*/ 267 w 3998"/>
              <a:gd name="T61" fmla="*/ 267 h 2141"/>
              <a:gd name="T62" fmla="*/ 0 w 3998"/>
              <a:gd name="T63" fmla="*/ 334 h 2141"/>
              <a:gd name="T64" fmla="*/ 67 w 3998"/>
              <a:gd name="T65" fmla="*/ 2141 h 2141"/>
              <a:gd name="T66" fmla="*/ 3731 w 3998"/>
              <a:gd name="T67" fmla="*/ 2074 h 2141"/>
              <a:gd name="T68" fmla="*/ 3931 w 3998"/>
              <a:gd name="T69" fmla="*/ 1873 h 2141"/>
              <a:gd name="T70" fmla="*/ 3998 w 3998"/>
              <a:gd name="T71" fmla="*/ 67 h 2141"/>
              <a:gd name="T72" fmla="*/ 3931 w 3998"/>
              <a:gd name="T73" fmla="*/ 0 h 2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98" h="2141">
                <a:moveTo>
                  <a:pt x="3665" y="401"/>
                </a:moveTo>
                <a:lnTo>
                  <a:pt x="3398" y="401"/>
                </a:lnTo>
                <a:cubicBezTo>
                  <a:pt x="3361" y="401"/>
                  <a:pt x="3332" y="371"/>
                  <a:pt x="3332" y="334"/>
                </a:cubicBezTo>
                <a:cubicBezTo>
                  <a:pt x="3332" y="297"/>
                  <a:pt x="3361" y="267"/>
                  <a:pt x="3398" y="267"/>
                </a:cubicBezTo>
                <a:lnTo>
                  <a:pt x="3665" y="267"/>
                </a:lnTo>
                <a:cubicBezTo>
                  <a:pt x="3701" y="267"/>
                  <a:pt x="3731" y="297"/>
                  <a:pt x="3731" y="334"/>
                </a:cubicBezTo>
                <a:cubicBezTo>
                  <a:pt x="3731" y="371"/>
                  <a:pt x="3701" y="401"/>
                  <a:pt x="3665" y="401"/>
                </a:cubicBezTo>
                <a:lnTo>
                  <a:pt x="3665" y="401"/>
                </a:lnTo>
                <a:close/>
                <a:moveTo>
                  <a:pt x="3598" y="2007"/>
                </a:moveTo>
                <a:lnTo>
                  <a:pt x="134" y="2007"/>
                </a:lnTo>
                <a:lnTo>
                  <a:pt x="134" y="401"/>
                </a:lnTo>
                <a:lnTo>
                  <a:pt x="267" y="401"/>
                </a:lnTo>
                <a:lnTo>
                  <a:pt x="267" y="1806"/>
                </a:lnTo>
                <a:cubicBezTo>
                  <a:pt x="267" y="1843"/>
                  <a:pt x="297" y="1873"/>
                  <a:pt x="334" y="1873"/>
                </a:cubicBezTo>
                <a:lnTo>
                  <a:pt x="3598" y="1873"/>
                </a:lnTo>
                <a:lnTo>
                  <a:pt x="3598" y="2007"/>
                </a:lnTo>
                <a:close/>
                <a:moveTo>
                  <a:pt x="600" y="1472"/>
                </a:moveTo>
                <a:lnTo>
                  <a:pt x="867" y="1472"/>
                </a:lnTo>
                <a:cubicBezTo>
                  <a:pt x="903" y="1472"/>
                  <a:pt x="933" y="1502"/>
                  <a:pt x="933" y="1539"/>
                </a:cubicBezTo>
                <a:cubicBezTo>
                  <a:pt x="933" y="1575"/>
                  <a:pt x="903" y="1605"/>
                  <a:pt x="867" y="1605"/>
                </a:cubicBezTo>
                <a:lnTo>
                  <a:pt x="600" y="1605"/>
                </a:lnTo>
                <a:cubicBezTo>
                  <a:pt x="563" y="1605"/>
                  <a:pt x="533" y="1575"/>
                  <a:pt x="533" y="1539"/>
                </a:cubicBezTo>
                <a:cubicBezTo>
                  <a:pt x="533" y="1502"/>
                  <a:pt x="563" y="1472"/>
                  <a:pt x="600" y="1472"/>
                </a:cubicBezTo>
                <a:lnTo>
                  <a:pt x="600" y="1472"/>
                </a:lnTo>
                <a:close/>
                <a:moveTo>
                  <a:pt x="1599" y="936"/>
                </a:moveTo>
                <a:cubicBezTo>
                  <a:pt x="1599" y="914"/>
                  <a:pt x="1600" y="891"/>
                  <a:pt x="1602" y="869"/>
                </a:cubicBezTo>
                <a:lnTo>
                  <a:pt x="1466" y="869"/>
                </a:lnTo>
                <a:cubicBezTo>
                  <a:pt x="1429" y="869"/>
                  <a:pt x="1400" y="839"/>
                  <a:pt x="1400" y="803"/>
                </a:cubicBezTo>
                <a:cubicBezTo>
                  <a:pt x="1400" y="766"/>
                  <a:pt x="1429" y="736"/>
                  <a:pt x="1466" y="736"/>
                </a:cubicBezTo>
                <a:lnTo>
                  <a:pt x="1627" y="736"/>
                </a:lnTo>
                <a:cubicBezTo>
                  <a:pt x="1704" y="464"/>
                  <a:pt x="1931" y="267"/>
                  <a:pt x="2199" y="267"/>
                </a:cubicBezTo>
                <a:cubicBezTo>
                  <a:pt x="2306" y="267"/>
                  <a:pt x="2410" y="299"/>
                  <a:pt x="2502" y="359"/>
                </a:cubicBezTo>
                <a:cubicBezTo>
                  <a:pt x="2533" y="379"/>
                  <a:pt x="2541" y="420"/>
                  <a:pt x="2521" y="451"/>
                </a:cubicBezTo>
                <a:cubicBezTo>
                  <a:pt x="2501" y="482"/>
                  <a:pt x="2460" y="491"/>
                  <a:pt x="2429" y="471"/>
                </a:cubicBezTo>
                <a:cubicBezTo>
                  <a:pt x="2359" y="425"/>
                  <a:pt x="2280" y="401"/>
                  <a:pt x="2199" y="401"/>
                </a:cubicBezTo>
                <a:cubicBezTo>
                  <a:pt x="2004" y="401"/>
                  <a:pt x="1836" y="540"/>
                  <a:pt x="1767" y="736"/>
                </a:cubicBezTo>
                <a:lnTo>
                  <a:pt x="1999" y="736"/>
                </a:lnTo>
                <a:cubicBezTo>
                  <a:pt x="2036" y="736"/>
                  <a:pt x="2066" y="766"/>
                  <a:pt x="2066" y="803"/>
                </a:cubicBezTo>
                <a:cubicBezTo>
                  <a:pt x="2066" y="839"/>
                  <a:pt x="2036" y="869"/>
                  <a:pt x="1999" y="869"/>
                </a:cubicBezTo>
                <a:lnTo>
                  <a:pt x="1737" y="869"/>
                </a:lnTo>
                <a:cubicBezTo>
                  <a:pt x="1734" y="891"/>
                  <a:pt x="1733" y="914"/>
                  <a:pt x="1733" y="936"/>
                </a:cubicBezTo>
                <a:cubicBezTo>
                  <a:pt x="1733" y="959"/>
                  <a:pt x="1734" y="981"/>
                  <a:pt x="1737" y="1003"/>
                </a:cubicBezTo>
                <a:lnTo>
                  <a:pt x="1999" y="1003"/>
                </a:lnTo>
                <a:cubicBezTo>
                  <a:pt x="2036" y="1003"/>
                  <a:pt x="2066" y="1033"/>
                  <a:pt x="2066" y="1070"/>
                </a:cubicBezTo>
                <a:cubicBezTo>
                  <a:pt x="2066" y="1107"/>
                  <a:pt x="2036" y="1137"/>
                  <a:pt x="1999" y="1137"/>
                </a:cubicBezTo>
                <a:lnTo>
                  <a:pt x="1767" y="1137"/>
                </a:lnTo>
                <a:cubicBezTo>
                  <a:pt x="1836" y="1333"/>
                  <a:pt x="2004" y="1472"/>
                  <a:pt x="2199" y="1472"/>
                </a:cubicBezTo>
                <a:cubicBezTo>
                  <a:pt x="2280" y="1472"/>
                  <a:pt x="2359" y="1448"/>
                  <a:pt x="2429" y="1402"/>
                </a:cubicBezTo>
                <a:cubicBezTo>
                  <a:pt x="2460" y="1382"/>
                  <a:pt x="2501" y="1391"/>
                  <a:pt x="2521" y="1421"/>
                </a:cubicBezTo>
                <a:cubicBezTo>
                  <a:pt x="2541" y="1452"/>
                  <a:pt x="2533" y="1494"/>
                  <a:pt x="2502" y="1514"/>
                </a:cubicBezTo>
                <a:cubicBezTo>
                  <a:pt x="2410" y="1574"/>
                  <a:pt x="2306" y="1605"/>
                  <a:pt x="2199" y="1605"/>
                </a:cubicBezTo>
                <a:cubicBezTo>
                  <a:pt x="1931" y="1605"/>
                  <a:pt x="1704" y="1408"/>
                  <a:pt x="1627" y="1137"/>
                </a:cubicBezTo>
                <a:lnTo>
                  <a:pt x="1466" y="1137"/>
                </a:lnTo>
                <a:cubicBezTo>
                  <a:pt x="1429" y="1137"/>
                  <a:pt x="1400" y="1107"/>
                  <a:pt x="1400" y="1070"/>
                </a:cubicBezTo>
                <a:cubicBezTo>
                  <a:pt x="1400" y="1033"/>
                  <a:pt x="1429" y="1003"/>
                  <a:pt x="1466" y="1003"/>
                </a:cubicBezTo>
                <a:lnTo>
                  <a:pt x="1602" y="1003"/>
                </a:lnTo>
                <a:cubicBezTo>
                  <a:pt x="1600" y="981"/>
                  <a:pt x="1599" y="959"/>
                  <a:pt x="1599" y="936"/>
                </a:cubicBezTo>
                <a:lnTo>
                  <a:pt x="1599" y="936"/>
                </a:lnTo>
                <a:close/>
                <a:moveTo>
                  <a:pt x="3931" y="0"/>
                </a:moveTo>
                <a:lnTo>
                  <a:pt x="334" y="0"/>
                </a:lnTo>
                <a:cubicBezTo>
                  <a:pt x="297" y="0"/>
                  <a:pt x="267" y="30"/>
                  <a:pt x="267" y="67"/>
                </a:cubicBezTo>
                <a:lnTo>
                  <a:pt x="267" y="267"/>
                </a:lnTo>
                <a:lnTo>
                  <a:pt x="67" y="267"/>
                </a:lnTo>
                <a:cubicBezTo>
                  <a:pt x="30" y="267"/>
                  <a:pt x="0" y="297"/>
                  <a:pt x="0" y="334"/>
                </a:cubicBezTo>
                <a:lnTo>
                  <a:pt x="0" y="2074"/>
                </a:lnTo>
                <a:cubicBezTo>
                  <a:pt x="0" y="2111"/>
                  <a:pt x="30" y="2141"/>
                  <a:pt x="67" y="2141"/>
                </a:cubicBezTo>
                <a:lnTo>
                  <a:pt x="3665" y="2141"/>
                </a:lnTo>
                <a:cubicBezTo>
                  <a:pt x="3701" y="2141"/>
                  <a:pt x="3731" y="2111"/>
                  <a:pt x="3731" y="2074"/>
                </a:cubicBezTo>
                <a:lnTo>
                  <a:pt x="3731" y="1873"/>
                </a:lnTo>
                <a:lnTo>
                  <a:pt x="3931" y="1873"/>
                </a:lnTo>
                <a:cubicBezTo>
                  <a:pt x="3968" y="1873"/>
                  <a:pt x="3998" y="1843"/>
                  <a:pt x="3998" y="1806"/>
                </a:cubicBezTo>
                <a:lnTo>
                  <a:pt x="3998" y="67"/>
                </a:lnTo>
                <a:cubicBezTo>
                  <a:pt x="3998" y="30"/>
                  <a:pt x="3968" y="0"/>
                  <a:pt x="3931" y="0"/>
                </a:cubicBezTo>
                <a:lnTo>
                  <a:pt x="3931" y="0"/>
                </a:lnTo>
                <a:close/>
              </a:path>
            </a:pathLst>
          </a:custGeom>
          <a:solidFill>
            <a:schemeClr val="accent5"/>
          </a:solidFill>
          <a:ln w="43755" cap="flat">
            <a:noFill/>
            <a:prstDash val="solid"/>
            <a:miter/>
          </a:ln>
        </p:spPr>
        <p:txBody>
          <a:bodyPr vert="horz" wrap="square" lIns="68580" tIns="34290" rIns="68580" bIns="34290" numCol="1" anchor="t" anchorCtr="0" compatLnSpc="1">
            <a:prstTxWarp prst="textNoShape">
              <a:avLst/>
            </a:prstTxWarp>
          </a:bodyPr>
          <a:lstStyle/>
          <a:p>
            <a:endParaRPr lang="en-US" sz="1350"/>
          </a:p>
        </p:txBody>
      </p:sp>
      <p:sp>
        <p:nvSpPr>
          <p:cNvPr id="204" name="Freeform: Shape 50">
            <a:extLst>
              <a:ext uri="{FF2B5EF4-FFF2-40B4-BE49-F238E27FC236}">
                <a16:creationId xmlns:a16="http://schemas.microsoft.com/office/drawing/2014/main" id="{6123CD5F-0E11-F22B-056C-537958B25213}"/>
              </a:ext>
            </a:extLst>
          </p:cNvPr>
          <p:cNvSpPr>
            <a:spLocks noChangeAspect="1"/>
          </p:cNvSpPr>
          <p:nvPr/>
        </p:nvSpPr>
        <p:spPr>
          <a:xfrm>
            <a:off x="5011496" y="3972003"/>
            <a:ext cx="183840" cy="184094"/>
          </a:xfrm>
          <a:custGeom>
            <a:avLst/>
            <a:gdLst>
              <a:gd name="connsiteX0" fmla="*/ 2319838 w 3582288"/>
              <a:gd name="connsiteY0" fmla="*/ 2608892 h 3587226"/>
              <a:gd name="connsiteX1" fmla="*/ 2339602 w 3582288"/>
              <a:gd name="connsiteY1" fmla="*/ 2648420 h 3587226"/>
              <a:gd name="connsiteX2" fmla="*/ 2302544 w 3582288"/>
              <a:gd name="connsiteY2" fmla="*/ 2702772 h 3587226"/>
              <a:gd name="connsiteX3" fmla="*/ 2270427 w 3582288"/>
              <a:gd name="connsiteY3" fmla="*/ 2759595 h 3587226"/>
              <a:gd name="connsiteX4" fmla="*/ 2250663 w 3582288"/>
              <a:gd name="connsiteY4" fmla="*/ 2823829 h 3587226"/>
              <a:gd name="connsiteX5" fmla="*/ 2193841 w 3582288"/>
              <a:gd name="connsiteY5" fmla="*/ 2890533 h 3587226"/>
              <a:gd name="connsiteX6" fmla="*/ 2139488 w 3582288"/>
              <a:gd name="connsiteY6" fmla="*/ 2888063 h 3587226"/>
              <a:gd name="connsiteX7" fmla="*/ 2146899 w 3582288"/>
              <a:gd name="connsiteY7" fmla="*/ 2828770 h 3587226"/>
              <a:gd name="connsiteX8" fmla="*/ 2161722 w 3582288"/>
              <a:gd name="connsiteY8" fmla="*/ 2786771 h 3587226"/>
              <a:gd name="connsiteX9" fmla="*/ 2176547 w 3582288"/>
              <a:gd name="connsiteY9" fmla="*/ 2739830 h 3587226"/>
              <a:gd name="connsiteX10" fmla="*/ 2191370 w 3582288"/>
              <a:gd name="connsiteY10" fmla="*/ 2680537 h 3587226"/>
              <a:gd name="connsiteX11" fmla="*/ 2225958 w 3582288"/>
              <a:gd name="connsiteY11" fmla="*/ 2683008 h 3587226"/>
              <a:gd name="connsiteX12" fmla="*/ 2270427 w 3582288"/>
              <a:gd name="connsiteY12" fmla="*/ 2633597 h 3587226"/>
              <a:gd name="connsiteX13" fmla="*/ 2319838 w 3582288"/>
              <a:gd name="connsiteY13" fmla="*/ 2608892 h 3587226"/>
              <a:gd name="connsiteX14" fmla="*/ 1712587 w 3582288"/>
              <a:gd name="connsiteY14" fmla="*/ 1246620 h 3587226"/>
              <a:gd name="connsiteX15" fmla="*/ 1729379 w 3582288"/>
              <a:gd name="connsiteY15" fmla="*/ 1247623 h 3587226"/>
              <a:gd name="connsiteX16" fmla="*/ 1756555 w 3582288"/>
              <a:gd name="connsiteY16" fmla="*/ 1306917 h 3587226"/>
              <a:gd name="connsiteX17" fmla="*/ 1699732 w 3582288"/>
              <a:gd name="connsiteY17" fmla="*/ 1272330 h 3587226"/>
              <a:gd name="connsiteX18" fmla="*/ 1712587 w 3582288"/>
              <a:gd name="connsiteY18" fmla="*/ 1246620 h 3587226"/>
              <a:gd name="connsiteX19" fmla="*/ 1362157 w 3582288"/>
              <a:gd name="connsiteY19" fmla="*/ 1064649 h 3587226"/>
              <a:gd name="connsiteX20" fmla="*/ 1376092 w 3582288"/>
              <a:gd name="connsiteY20" fmla="*/ 1072215 h 3587226"/>
              <a:gd name="connsiteX21" fmla="*/ 1376092 w 3582288"/>
              <a:gd name="connsiteY21" fmla="*/ 1151272 h 3587226"/>
              <a:gd name="connsiteX22" fmla="*/ 1306917 w 3582288"/>
              <a:gd name="connsiteY22" fmla="*/ 1161154 h 3587226"/>
              <a:gd name="connsiteX23" fmla="*/ 1306917 w 3582288"/>
              <a:gd name="connsiteY23" fmla="*/ 1099391 h 3587226"/>
              <a:gd name="connsiteX24" fmla="*/ 1362157 w 3582288"/>
              <a:gd name="connsiteY24" fmla="*/ 1064649 h 3587226"/>
              <a:gd name="connsiteX25" fmla="*/ 2515010 w 3582288"/>
              <a:gd name="connsiteY25" fmla="*/ 961041 h 3587226"/>
              <a:gd name="connsiteX26" fmla="*/ 2507598 w 3582288"/>
              <a:gd name="connsiteY26" fmla="*/ 998099 h 3587226"/>
              <a:gd name="connsiteX27" fmla="*/ 2561950 w 3582288"/>
              <a:gd name="connsiteY27" fmla="*/ 1010452 h 3587226"/>
              <a:gd name="connsiteX28" fmla="*/ 2561950 w 3582288"/>
              <a:gd name="connsiteY28" fmla="*/ 988217 h 3587226"/>
              <a:gd name="connsiteX29" fmla="*/ 2547126 w 3582288"/>
              <a:gd name="connsiteY29" fmla="*/ 961041 h 3587226"/>
              <a:gd name="connsiteX30" fmla="*/ 2515010 w 3582288"/>
              <a:gd name="connsiteY30" fmla="*/ 961041 h 3587226"/>
              <a:gd name="connsiteX31" fmla="*/ 2802287 w 3582288"/>
              <a:gd name="connsiteY31" fmla="*/ 935795 h 3587226"/>
              <a:gd name="connsiteX32" fmla="*/ 2779358 w 3582288"/>
              <a:gd name="connsiteY32" fmla="*/ 946217 h 3587226"/>
              <a:gd name="connsiteX33" fmla="*/ 2774416 w 3582288"/>
              <a:gd name="connsiteY33" fmla="*/ 973393 h 3587226"/>
              <a:gd name="connsiteX34" fmla="*/ 2816416 w 3582288"/>
              <a:gd name="connsiteY34" fmla="*/ 980805 h 3587226"/>
              <a:gd name="connsiteX35" fmla="*/ 2809004 w 3582288"/>
              <a:gd name="connsiteY35" fmla="*/ 938806 h 3587226"/>
              <a:gd name="connsiteX36" fmla="*/ 2802287 w 3582288"/>
              <a:gd name="connsiteY36" fmla="*/ 935795 h 3587226"/>
              <a:gd name="connsiteX37" fmla="*/ 2356895 w 3582288"/>
              <a:gd name="connsiteY37" fmla="*/ 919042 h 3587226"/>
              <a:gd name="connsiteX38" fmla="*/ 2324778 w 3582288"/>
              <a:gd name="connsiteY38" fmla="*/ 923983 h 3587226"/>
              <a:gd name="connsiteX39" fmla="*/ 2305014 w 3582288"/>
              <a:gd name="connsiteY39" fmla="*/ 938806 h 3587226"/>
              <a:gd name="connsiteX40" fmla="*/ 2265485 w 3582288"/>
              <a:gd name="connsiteY40" fmla="*/ 975864 h 3587226"/>
              <a:gd name="connsiteX41" fmla="*/ 2270426 w 3582288"/>
              <a:gd name="connsiteY41" fmla="*/ 1003040 h 3587226"/>
              <a:gd name="connsiteX42" fmla="*/ 2290190 w 3582288"/>
              <a:gd name="connsiteY42" fmla="*/ 1052451 h 3587226"/>
              <a:gd name="connsiteX43" fmla="*/ 2324778 w 3582288"/>
              <a:gd name="connsiteY43" fmla="*/ 1084568 h 3587226"/>
              <a:gd name="connsiteX44" fmla="*/ 2344543 w 3582288"/>
              <a:gd name="connsiteY44" fmla="*/ 1121626 h 3587226"/>
              <a:gd name="connsiteX45" fmla="*/ 2347013 w 3582288"/>
              <a:gd name="connsiteY45" fmla="*/ 1141390 h 3587226"/>
              <a:gd name="connsiteX46" fmla="*/ 2337131 w 3582288"/>
              <a:gd name="connsiteY46" fmla="*/ 1175978 h 3587226"/>
              <a:gd name="connsiteX47" fmla="*/ 2351954 w 3582288"/>
              <a:gd name="connsiteY47" fmla="*/ 1213036 h 3587226"/>
              <a:gd name="connsiteX48" fmla="*/ 2396424 w 3582288"/>
              <a:gd name="connsiteY48" fmla="*/ 1232800 h 3587226"/>
              <a:gd name="connsiteX49" fmla="*/ 2428541 w 3582288"/>
              <a:gd name="connsiteY49" fmla="*/ 1257506 h 3587226"/>
              <a:gd name="connsiteX50" fmla="*/ 2470540 w 3582288"/>
              <a:gd name="connsiteY50" fmla="*/ 1227859 h 3587226"/>
              <a:gd name="connsiteX51" fmla="*/ 2480422 w 3582288"/>
              <a:gd name="connsiteY51" fmla="*/ 1195742 h 3587226"/>
              <a:gd name="connsiteX52" fmla="*/ 2455717 w 3582288"/>
              <a:gd name="connsiteY52" fmla="*/ 1156213 h 3587226"/>
              <a:gd name="connsiteX53" fmla="*/ 2448305 w 3582288"/>
              <a:gd name="connsiteY53" fmla="*/ 1136449 h 3587226"/>
              <a:gd name="connsiteX54" fmla="*/ 2468070 w 3582288"/>
              <a:gd name="connsiteY54" fmla="*/ 1101862 h 3587226"/>
              <a:gd name="connsiteX55" fmla="*/ 2453246 w 3582288"/>
              <a:gd name="connsiteY55" fmla="*/ 1074686 h 3587226"/>
              <a:gd name="connsiteX56" fmla="*/ 2411247 w 3582288"/>
              <a:gd name="connsiteY56" fmla="*/ 1064803 h 3587226"/>
              <a:gd name="connsiteX57" fmla="*/ 2386542 w 3582288"/>
              <a:gd name="connsiteY57" fmla="*/ 1030216 h 3587226"/>
              <a:gd name="connsiteX58" fmla="*/ 2366777 w 3582288"/>
              <a:gd name="connsiteY58" fmla="*/ 1005510 h 3587226"/>
              <a:gd name="connsiteX59" fmla="*/ 2374189 w 3582288"/>
              <a:gd name="connsiteY59" fmla="*/ 980805 h 3587226"/>
              <a:gd name="connsiteX60" fmla="*/ 2398894 w 3582288"/>
              <a:gd name="connsiteY60" fmla="*/ 973393 h 3587226"/>
              <a:gd name="connsiteX61" fmla="*/ 2406306 w 3582288"/>
              <a:gd name="connsiteY61" fmla="*/ 943747 h 3587226"/>
              <a:gd name="connsiteX62" fmla="*/ 2356895 w 3582288"/>
              <a:gd name="connsiteY62" fmla="*/ 919042 h 3587226"/>
              <a:gd name="connsiteX63" fmla="*/ 2065372 w 3582288"/>
              <a:gd name="connsiteY63" fmla="*/ 914100 h 3587226"/>
              <a:gd name="connsiteX64" fmla="*/ 2030784 w 3582288"/>
              <a:gd name="connsiteY64" fmla="*/ 923983 h 3587226"/>
              <a:gd name="connsiteX65" fmla="*/ 2008549 w 3582288"/>
              <a:gd name="connsiteY65" fmla="*/ 943747 h 3587226"/>
              <a:gd name="connsiteX66" fmla="*/ 1996196 w 3582288"/>
              <a:gd name="connsiteY66" fmla="*/ 973393 h 3587226"/>
              <a:gd name="connsiteX67" fmla="*/ 1964079 w 3582288"/>
              <a:gd name="connsiteY67" fmla="*/ 993158 h 3587226"/>
              <a:gd name="connsiteX68" fmla="*/ 1929492 w 3582288"/>
              <a:gd name="connsiteY68" fmla="*/ 980805 h 3587226"/>
              <a:gd name="connsiteX69" fmla="*/ 1931962 w 3582288"/>
              <a:gd name="connsiteY69" fmla="*/ 948688 h 3587226"/>
              <a:gd name="connsiteX70" fmla="*/ 1877610 w 3582288"/>
              <a:gd name="connsiteY70" fmla="*/ 941276 h 3587226"/>
              <a:gd name="connsiteX71" fmla="*/ 1823259 w 3582288"/>
              <a:gd name="connsiteY71" fmla="*/ 983276 h 3587226"/>
              <a:gd name="connsiteX72" fmla="*/ 1798553 w 3582288"/>
              <a:gd name="connsiteY72" fmla="*/ 1049980 h 3587226"/>
              <a:gd name="connsiteX73" fmla="*/ 1798553 w 3582288"/>
              <a:gd name="connsiteY73" fmla="*/ 1069745 h 3587226"/>
              <a:gd name="connsiteX74" fmla="*/ 1818318 w 3582288"/>
              <a:gd name="connsiteY74" fmla="*/ 1079627 h 3587226"/>
              <a:gd name="connsiteX75" fmla="*/ 1892434 w 3582288"/>
              <a:gd name="connsiteY75" fmla="*/ 1109273 h 3587226"/>
              <a:gd name="connsiteX76" fmla="*/ 1917139 w 3582288"/>
              <a:gd name="connsiteY76" fmla="*/ 1106803 h 3587226"/>
              <a:gd name="connsiteX77" fmla="*/ 1941845 w 3582288"/>
              <a:gd name="connsiteY77" fmla="*/ 1089509 h 3587226"/>
              <a:gd name="connsiteX78" fmla="*/ 1991255 w 3582288"/>
              <a:gd name="connsiteY78" fmla="*/ 1084568 h 3587226"/>
              <a:gd name="connsiteX79" fmla="*/ 2015961 w 3582288"/>
              <a:gd name="connsiteY79" fmla="*/ 1087038 h 3587226"/>
              <a:gd name="connsiteX80" fmla="*/ 2035725 w 3582288"/>
              <a:gd name="connsiteY80" fmla="*/ 1109273 h 3587226"/>
              <a:gd name="connsiteX81" fmla="*/ 2070313 w 3582288"/>
              <a:gd name="connsiteY81" fmla="*/ 1119155 h 3587226"/>
              <a:gd name="connsiteX82" fmla="*/ 2139488 w 3582288"/>
              <a:gd name="connsiteY82" fmla="*/ 1114214 h 3587226"/>
              <a:gd name="connsiteX83" fmla="*/ 2169134 w 3582288"/>
              <a:gd name="connsiteY83" fmla="*/ 1099391 h 3587226"/>
              <a:gd name="connsiteX84" fmla="*/ 2156781 w 3582288"/>
              <a:gd name="connsiteY84" fmla="*/ 1059862 h 3587226"/>
              <a:gd name="connsiteX85" fmla="*/ 2119723 w 3582288"/>
              <a:gd name="connsiteY85" fmla="*/ 1035157 h 3587226"/>
              <a:gd name="connsiteX86" fmla="*/ 2080195 w 3582288"/>
              <a:gd name="connsiteY86" fmla="*/ 1005510 h 3587226"/>
              <a:gd name="connsiteX87" fmla="*/ 2065372 w 3582288"/>
              <a:gd name="connsiteY87" fmla="*/ 980805 h 3587226"/>
              <a:gd name="connsiteX88" fmla="*/ 2067842 w 3582288"/>
              <a:gd name="connsiteY88" fmla="*/ 965982 h 3587226"/>
              <a:gd name="connsiteX89" fmla="*/ 2092547 w 3582288"/>
              <a:gd name="connsiteY89" fmla="*/ 933865 h 3587226"/>
              <a:gd name="connsiteX90" fmla="*/ 2065372 w 3582288"/>
              <a:gd name="connsiteY90" fmla="*/ 914100 h 3587226"/>
              <a:gd name="connsiteX91" fmla="*/ 1114215 w 3582288"/>
              <a:gd name="connsiteY91" fmla="*/ 686810 h 3587226"/>
              <a:gd name="connsiteX92" fmla="*/ 1148803 w 3582288"/>
              <a:gd name="connsiteY92" fmla="*/ 711515 h 3587226"/>
              <a:gd name="connsiteX93" fmla="*/ 1101863 w 3582288"/>
              <a:gd name="connsiteY93" fmla="*/ 760926 h 3587226"/>
              <a:gd name="connsiteX94" fmla="*/ 1082098 w 3582288"/>
              <a:gd name="connsiteY94" fmla="*/ 775750 h 3587226"/>
              <a:gd name="connsiteX95" fmla="*/ 1054921 w 3582288"/>
              <a:gd name="connsiteY95" fmla="*/ 773279 h 3587226"/>
              <a:gd name="connsiteX96" fmla="*/ 1047510 w 3582288"/>
              <a:gd name="connsiteY96" fmla="*/ 728809 h 3587226"/>
              <a:gd name="connsiteX97" fmla="*/ 1072216 w 3582288"/>
              <a:gd name="connsiteY97" fmla="*/ 701633 h 3587226"/>
              <a:gd name="connsiteX98" fmla="*/ 1114215 w 3582288"/>
              <a:gd name="connsiteY98" fmla="*/ 686810 h 3587226"/>
              <a:gd name="connsiteX99" fmla="*/ 1192654 w 3582288"/>
              <a:gd name="connsiteY99" fmla="*/ 586561 h 3587226"/>
              <a:gd name="connsiteX100" fmla="*/ 1220448 w 3582288"/>
              <a:gd name="connsiteY100" fmla="*/ 607754 h 3587226"/>
              <a:gd name="connsiteX101" fmla="*/ 1227859 w 3582288"/>
              <a:gd name="connsiteY101" fmla="*/ 674459 h 3587226"/>
              <a:gd name="connsiteX102" fmla="*/ 1240212 w 3582288"/>
              <a:gd name="connsiteY102" fmla="*/ 723870 h 3587226"/>
              <a:gd name="connsiteX103" fmla="*/ 1257506 w 3582288"/>
              <a:gd name="connsiteY103" fmla="*/ 765869 h 3587226"/>
              <a:gd name="connsiteX104" fmla="*/ 1247624 w 3582288"/>
              <a:gd name="connsiteY104" fmla="*/ 802927 h 3587226"/>
              <a:gd name="connsiteX105" fmla="*/ 1222918 w 3582288"/>
              <a:gd name="connsiteY105" fmla="*/ 832574 h 3587226"/>
              <a:gd name="connsiteX106" fmla="*/ 1178449 w 3582288"/>
              <a:gd name="connsiteY106" fmla="*/ 827633 h 3587226"/>
              <a:gd name="connsiteX107" fmla="*/ 1124096 w 3582288"/>
              <a:gd name="connsiteY107" fmla="*/ 810339 h 3587226"/>
              <a:gd name="connsiteX108" fmla="*/ 1136448 w 3582288"/>
              <a:gd name="connsiteY108" fmla="*/ 763399 h 3587226"/>
              <a:gd name="connsiteX109" fmla="*/ 1161155 w 3582288"/>
              <a:gd name="connsiteY109" fmla="*/ 736223 h 3587226"/>
              <a:gd name="connsiteX110" fmla="*/ 1171037 w 3582288"/>
              <a:gd name="connsiteY110" fmla="*/ 713988 h 3587226"/>
              <a:gd name="connsiteX111" fmla="*/ 1158685 w 3582288"/>
              <a:gd name="connsiteY111" fmla="*/ 694224 h 3587226"/>
              <a:gd name="connsiteX112" fmla="*/ 1153743 w 3582288"/>
              <a:gd name="connsiteY112" fmla="*/ 644812 h 3587226"/>
              <a:gd name="connsiteX113" fmla="*/ 1180919 w 3582288"/>
              <a:gd name="connsiteY113" fmla="*/ 592930 h 3587226"/>
              <a:gd name="connsiteX114" fmla="*/ 1192654 w 3582288"/>
              <a:gd name="connsiteY114" fmla="*/ 586561 h 3587226"/>
              <a:gd name="connsiteX115" fmla="*/ 1175979 w 3582288"/>
              <a:gd name="connsiteY115" fmla="*/ 373052 h 3587226"/>
              <a:gd name="connsiteX116" fmla="*/ 1217978 w 3582288"/>
              <a:gd name="connsiteY116" fmla="*/ 397757 h 3587226"/>
              <a:gd name="connsiteX117" fmla="*/ 1205625 w 3582288"/>
              <a:gd name="connsiteY117" fmla="*/ 427404 h 3587226"/>
              <a:gd name="connsiteX118" fmla="*/ 1183390 w 3582288"/>
              <a:gd name="connsiteY118" fmla="*/ 444697 h 3587226"/>
              <a:gd name="connsiteX119" fmla="*/ 1158685 w 3582288"/>
              <a:gd name="connsiteY119" fmla="*/ 457050 h 3587226"/>
              <a:gd name="connsiteX120" fmla="*/ 1141391 w 3582288"/>
              <a:gd name="connsiteY120" fmla="*/ 489167 h 3587226"/>
              <a:gd name="connsiteX121" fmla="*/ 1096920 w 3582288"/>
              <a:gd name="connsiteY121" fmla="*/ 486697 h 3587226"/>
              <a:gd name="connsiteX122" fmla="*/ 1074685 w 3582288"/>
              <a:gd name="connsiteY122" fmla="*/ 439756 h 3587226"/>
              <a:gd name="connsiteX123" fmla="*/ 1096920 w 3582288"/>
              <a:gd name="connsiteY123" fmla="*/ 407639 h 3587226"/>
              <a:gd name="connsiteX124" fmla="*/ 1129038 w 3582288"/>
              <a:gd name="connsiteY124" fmla="*/ 390346 h 3587226"/>
              <a:gd name="connsiteX125" fmla="*/ 1175979 w 3582288"/>
              <a:gd name="connsiteY125" fmla="*/ 373052 h 3587226"/>
              <a:gd name="connsiteX126" fmla="*/ 1786200 w 3582288"/>
              <a:gd name="connsiteY126" fmla="*/ 150703 h 3587226"/>
              <a:gd name="connsiteX127" fmla="*/ 1492206 w 3582288"/>
              <a:gd name="connsiteY127" fmla="*/ 175409 h 3587226"/>
              <a:gd name="connsiteX128" fmla="*/ 1467501 w 3582288"/>
              <a:gd name="connsiteY128" fmla="*/ 197643 h 3587226"/>
              <a:gd name="connsiteX129" fmla="*/ 1420560 w 3582288"/>
              <a:gd name="connsiteY129" fmla="*/ 219878 h 3587226"/>
              <a:gd name="connsiteX130" fmla="*/ 1361268 w 3582288"/>
              <a:gd name="connsiteY130" fmla="*/ 242113 h 3587226"/>
              <a:gd name="connsiteX131" fmla="*/ 1284681 w 3582288"/>
              <a:gd name="connsiteY131" fmla="*/ 274230 h 3587226"/>
              <a:gd name="connsiteX132" fmla="*/ 1245152 w 3582288"/>
              <a:gd name="connsiteY132" fmla="*/ 301406 h 3587226"/>
              <a:gd name="connsiteX133" fmla="*/ 1185859 w 3582288"/>
              <a:gd name="connsiteY133" fmla="*/ 328582 h 3587226"/>
              <a:gd name="connsiteX134" fmla="*/ 1114214 w 3582288"/>
              <a:gd name="connsiteY134" fmla="*/ 353287 h 3587226"/>
              <a:gd name="connsiteX135" fmla="*/ 1054921 w 3582288"/>
              <a:gd name="connsiteY135" fmla="*/ 370581 h 3587226"/>
              <a:gd name="connsiteX136" fmla="*/ 978334 w 3582288"/>
              <a:gd name="connsiteY136" fmla="*/ 422463 h 3587226"/>
              <a:gd name="connsiteX137" fmla="*/ 928923 w 3582288"/>
              <a:gd name="connsiteY137" fmla="*/ 464462 h 3587226"/>
              <a:gd name="connsiteX138" fmla="*/ 859748 w 3582288"/>
              <a:gd name="connsiteY138" fmla="*/ 506461 h 3587226"/>
              <a:gd name="connsiteX139" fmla="*/ 805396 w 3582288"/>
              <a:gd name="connsiteY139" fmla="*/ 548460 h 3587226"/>
              <a:gd name="connsiteX140" fmla="*/ 765867 w 3582288"/>
              <a:gd name="connsiteY140" fmla="*/ 585518 h 3587226"/>
              <a:gd name="connsiteX141" fmla="*/ 741162 w 3582288"/>
              <a:gd name="connsiteY141" fmla="*/ 543519 h 3587226"/>
              <a:gd name="connsiteX142" fmla="*/ 780691 w 3582288"/>
              <a:gd name="connsiteY142" fmla="*/ 506461 h 3587226"/>
              <a:gd name="connsiteX143" fmla="*/ 812808 w 3582288"/>
              <a:gd name="connsiteY143" fmla="*/ 474344 h 3587226"/>
              <a:gd name="connsiteX144" fmla="*/ 849866 w 3582288"/>
              <a:gd name="connsiteY144" fmla="*/ 437286 h 3587226"/>
              <a:gd name="connsiteX145" fmla="*/ 135880 w 3582288"/>
              <a:gd name="connsiteY145" fmla="*/ 1801025 h 3587226"/>
              <a:gd name="connsiteX146" fmla="*/ 143291 w 3582288"/>
              <a:gd name="connsiteY146" fmla="*/ 1969022 h 3587226"/>
              <a:gd name="connsiteX147" fmla="*/ 163056 w 3582288"/>
              <a:gd name="connsiteY147" fmla="*/ 2011021 h 3587226"/>
              <a:gd name="connsiteX148" fmla="*/ 202584 w 3582288"/>
              <a:gd name="connsiteY148" fmla="*/ 2070314 h 3587226"/>
              <a:gd name="connsiteX149" fmla="*/ 222349 w 3582288"/>
              <a:gd name="connsiteY149" fmla="*/ 2117254 h 3587226"/>
              <a:gd name="connsiteX150" fmla="*/ 289053 w 3582288"/>
              <a:gd name="connsiteY150" fmla="*/ 2176547 h 3587226"/>
              <a:gd name="connsiteX151" fmla="*/ 296465 w 3582288"/>
              <a:gd name="connsiteY151" fmla="*/ 2265487 h 3587226"/>
              <a:gd name="connsiteX152" fmla="*/ 316229 w 3582288"/>
              <a:gd name="connsiteY152" fmla="*/ 2322309 h 3587226"/>
              <a:gd name="connsiteX153" fmla="*/ 392816 w 3582288"/>
              <a:gd name="connsiteY153" fmla="*/ 2342073 h 3587226"/>
              <a:gd name="connsiteX154" fmla="*/ 459521 w 3582288"/>
              <a:gd name="connsiteY154" fmla="*/ 2381602 h 3587226"/>
              <a:gd name="connsiteX155" fmla="*/ 508931 w 3582288"/>
              <a:gd name="connsiteY155" fmla="*/ 2421131 h 3587226"/>
              <a:gd name="connsiteX156" fmla="*/ 541049 w 3582288"/>
              <a:gd name="connsiteY156" fmla="*/ 2487835 h 3587226"/>
              <a:gd name="connsiteX157" fmla="*/ 531166 w 3582288"/>
              <a:gd name="connsiteY157" fmla="*/ 2539717 h 3587226"/>
              <a:gd name="connsiteX158" fmla="*/ 545990 w 3582288"/>
              <a:gd name="connsiteY158" fmla="*/ 2594069 h 3587226"/>
              <a:gd name="connsiteX159" fmla="*/ 570695 w 3582288"/>
              <a:gd name="connsiteY159" fmla="*/ 2665714 h 3587226"/>
              <a:gd name="connsiteX160" fmla="*/ 600341 w 3582288"/>
              <a:gd name="connsiteY160" fmla="*/ 2771948 h 3587226"/>
              <a:gd name="connsiteX161" fmla="*/ 637399 w 3582288"/>
              <a:gd name="connsiteY161" fmla="*/ 2853475 h 3587226"/>
              <a:gd name="connsiteX162" fmla="*/ 679399 w 3582288"/>
              <a:gd name="connsiteY162" fmla="*/ 2920180 h 3587226"/>
              <a:gd name="connsiteX163" fmla="*/ 736221 w 3582288"/>
              <a:gd name="connsiteY163" fmla="*/ 2981944 h 3587226"/>
              <a:gd name="connsiteX164" fmla="*/ 822690 w 3582288"/>
              <a:gd name="connsiteY164" fmla="*/ 3093118 h 3587226"/>
              <a:gd name="connsiteX165" fmla="*/ 827940 w 3582288"/>
              <a:gd name="connsiteY165" fmla="*/ 3124309 h 3587226"/>
              <a:gd name="connsiteX166" fmla="*/ 834308 w 3582288"/>
              <a:gd name="connsiteY166" fmla="*/ 3140644 h 3587226"/>
              <a:gd name="connsiteX167" fmla="*/ 824623 w 3582288"/>
              <a:gd name="connsiteY167" fmla="*/ 3133235 h 3587226"/>
              <a:gd name="connsiteX168" fmla="*/ 824778 w 3582288"/>
              <a:gd name="connsiteY168" fmla="*/ 3134098 h 3587226"/>
              <a:gd name="connsiteX169" fmla="*/ 835043 w 3582288"/>
              <a:gd name="connsiteY169" fmla="*/ 3142529 h 3587226"/>
              <a:gd name="connsiteX170" fmla="*/ 834308 w 3582288"/>
              <a:gd name="connsiteY170" fmla="*/ 3140644 h 3587226"/>
              <a:gd name="connsiteX171" fmla="*/ 881983 w 3582288"/>
              <a:gd name="connsiteY171" fmla="*/ 3177117 h 3587226"/>
              <a:gd name="connsiteX172" fmla="*/ 1791141 w 3582288"/>
              <a:gd name="connsiteY172" fmla="*/ 3448876 h 3587226"/>
              <a:gd name="connsiteX173" fmla="*/ 3438992 w 3582288"/>
              <a:gd name="connsiteY173" fmla="*/ 1810907 h 3587226"/>
              <a:gd name="connsiteX174" fmla="*/ 3433956 w 3582288"/>
              <a:gd name="connsiteY174" fmla="*/ 1712153 h 3587226"/>
              <a:gd name="connsiteX175" fmla="*/ 3434051 w 3582288"/>
              <a:gd name="connsiteY175" fmla="*/ 1712085 h 3587226"/>
              <a:gd name="connsiteX176" fmla="*/ 3433841 w 3582288"/>
              <a:gd name="connsiteY176" fmla="*/ 1709909 h 3587226"/>
              <a:gd name="connsiteX177" fmla="*/ 3430306 w 3582288"/>
              <a:gd name="connsiteY177" fmla="*/ 1640594 h 3587226"/>
              <a:gd name="connsiteX178" fmla="*/ 3421946 w 3582288"/>
              <a:gd name="connsiteY178" fmla="*/ 1586471 h 3587226"/>
              <a:gd name="connsiteX179" fmla="*/ 3420231 w 3582288"/>
              <a:gd name="connsiteY179" fmla="*/ 1568678 h 3587226"/>
              <a:gd name="connsiteX180" fmla="*/ 3414364 w 3582288"/>
              <a:gd name="connsiteY180" fmla="*/ 1537390 h 3587226"/>
              <a:gd name="connsiteX181" fmla="*/ 3404713 w 3582288"/>
              <a:gd name="connsiteY181" fmla="*/ 1474914 h 3587226"/>
              <a:gd name="connsiteX182" fmla="*/ 3397387 w 3582288"/>
              <a:gd name="connsiteY182" fmla="*/ 1446854 h 3587226"/>
              <a:gd name="connsiteX183" fmla="*/ 3393904 w 3582288"/>
              <a:gd name="connsiteY183" fmla="*/ 1428282 h 3587226"/>
              <a:gd name="connsiteX184" fmla="*/ 3375199 w 3582288"/>
              <a:gd name="connsiteY184" fmla="*/ 1361874 h 3587226"/>
              <a:gd name="connsiteX185" fmla="*/ 3362907 w 3582288"/>
              <a:gd name="connsiteY185" fmla="*/ 1314792 h 3587226"/>
              <a:gd name="connsiteX186" fmla="*/ 3358954 w 3582288"/>
              <a:gd name="connsiteY186" fmla="*/ 1304198 h 3587226"/>
              <a:gd name="connsiteX187" fmla="*/ 3355534 w 3582288"/>
              <a:gd name="connsiteY187" fmla="*/ 1292055 h 3587226"/>
              <a:gd name="connsiteX188" fmla="*/ 3305583 w 3582288"/>
              <a:gd name="connsiteY188" fmla="*/ 1161155 h 3587226"/>
              <a:gd name="connsiteX189" fmla="*/ 3358954 w 3582288"/>
              <a:gd name="connsiteY189" fmla="*/ 1304198 h 3587226"/>
              <a:gd name="connsiteX190" fmla="*/ 3375199 w 3582288"/>
              <a:gd name="connsiteY190" fmla="*/ 1361874 h 3587226"/>
              <a:gd name="connsiteX191" fmla="*/ 3397387 w 3582288"/>
              <a:gd name="connsiteY191" fmla="*/ 1446854 h 3587226"/>
              <a:gd name="connsiteX192" fmla="*/ 3414364 w 3582288"/>
              <a:gd name="connsiteY192" fmla="*/ 1537390 h 3587226"/>
              <a:gd name="connsiteX193" fmla="*/ 3421946 w 3582288"/>
              <a:gd name="connsiteY193" fmla="*/ 1586471 h 3587226"/>
              <a:gd name="connsiteX194" fmla="*/ 3433841 w 3582288"/>
              <a:gd name="connsiteY194" fmla="*/ 1709909 h 3587226"/>
              <a:gd name="connsiteX195" fmla="*/ 3433956 w 3582288"/>
              <a:gd name="connsiteY195" fmla="*/ 1712153 h 3587226"/>
              <a:gd name="connsiteX196" fmla="*/ 3416757 w 3582288"/>
              <a:gd name="connsiteY196" fmla="*/ 1724438 h 3587226"/>
              <a:gd name="connsiteX197" fmla="*/ 3357464 w 3582288"/>
              <a:gd name="connsiteY197" fmla="*/ 1759026 h 3587226"/>
              <a:gd name="connsiteX198" fmla="*/ 3342641 w 3582288"/>
              <a:gd name="connsiteY198" fmla="*/ 1813378 h 3587226"/>
              <a:gd name="connsiteX199" fmla="*/ 3374757 w 3582288"/>
              <a:gd name="connsiteY199" fmla="*/ 1877612 h 3587226"/>
              <a:gd name="connsiteX200" fmla="*/ 3382169 w 3582288"/>
              <a:gd name="connsiteY200" fmla="*/ 1949257 h 3587226"/>
              <a:gd name="connsiteX201" fmla="*/ 3362405 w 3582288"/>
              <a:gd name="connsiteY201" fmla="*/ 2048079 h 3587226"/>
              <a:gd name="connsiteX202" fmla="*/ 3322877 w 3582288"/>
              <a:gd name="connsiteY202" fmla="*/ 2040667 h 3587226"/>
              <a:gd name="connsiteX203" fmla="*/ 3327817 w 3582288"/>
              <a:gd name="connsiteY203" fmla="*/ 2082667 h 3587226"/>
              <a:gd name="connsiteX204" fmla="*/ 3330288 w 3582288"/>
              <a:gd name="connsiteY204" fmla="*/ 2149371 h 3587226"/>
              <a:gd name="connsiteX205" fmla="*/ 3330288 w 3582288"/>
              <a:gd name="connsiteY205" fmla="*/ 2203723 h 3587226"/>
              <a:gd name="connsiteX206" fmla="*/ 3303112 w 3582288"/>
              <a:gd name="connsiteY206" fmla="*/ 2235840 h 3587226"/>
              <a:gd name="connsiteX207" fmla="*/ 3308053 w 3582288"/>
              <a:gd name="connsiteY207" fmla="*/ 2307486 h 3587226"/>
              <a:gd name="connsiteX208" fmla="*/ 3283348 w 3582288"/>
              <a:gd name="connsiteY208" fmla="*/ 2349485 h 3587226"/>
              <a:gd name="connsiteX209" fmla="*/ 3280877 w 3582288"/>
              <a:gd name="connsiteY209" fmla="*/ 2376661 h 3587226"/>
              <a:gd name="connsiteX210" fmla="*/ 3266054 w 3582288"/>
              <a:gd name="connsiteY210" fmla="*/ 2470542 h 3587226"/>
              <a:gd name="connsiteX211" fmla="*/ 3224055 w 3582288"/>
              <a:gd name="connsiteY211" fmla="*/ 2505129 h 3587226"/>
              <a:gd name="connsiteX212" fmla="*/ 3224055 w 3582288"/>
              <a:gd name="connsiteY212" fmla="*/ 2440895 h 3587226"/>
              <a:gd name="connsiteX213" fmla="*/ 3231466 w 3582288"/>
              <a:gd name="connsiteY213" fmla="*/ 2374190 h 3587226"/>
              <a:gd name="connsiteX214" fmla="*/ 3233937 w 3582288"/>
              <a:gd name="connsiteY214" fmla="*/ 2307486 h 3587226"/>
              <a:gd name="connsiteX215" fmla="*/ 3231466 w 3582288"/>
              <a:gd name="connsiteY215" fmla="*/ 2248193 h 3587226"/>
              <a:gd name="connsiteX216" fmla="*/ 3219114 w 3582288"/>
              <a:gd name="connsiteY216" fmla="*/ 2201253 h 3587226"/>
              <a:gd name="connsiteX217" fmla="*/ 3236408 w 3582288"/>
              <a:gd name="connsiteY217" fmla="*/ 2134548 h 3587226"/>
              <a:gd name="connsiteX218" fmla="*/ 3251230 w 3582288"/>
              <a:gd name="connsiteY218" fmla="*/ 2166665 h 3587226"/>
              <a:gd name="connsiteX219" fmla="*/ 3275936 w 3582288"/>
              <a:gd name="connsiteY219" fmla="*/ 2164194 h 3587226"/>
              <a:gd name="connsiteX220" fmla="*/ 3283348 w 3582288"/>
              <a:gd name="connsiteY220" fmla="*/ 2114784 h 3587226"/>
              <a:gd name="connsiteX221" fmla="*/ 3285818 w 3582288"/>
              <a:gd name="connsiteY221" fmla="*/ 2060432 h 3587226"/>
              <a:gd name="connsiteX222" fmla="*/ 3293230 w 3582288"/>
              <a:gd name="connsiteY222" fmla="*/ 1951728 h 3587226"/>
              <a:gd name="connsiteX223" fmla="*/ 3295700 w 3582288"/>
              <a:gd name="connsiteY223" fmla="*/ 1944316 h 3587226"/>
              <a:gd name="connsiteX224" fmla="*/ 3298171 w 3582288"/>
              <a:gd name="connsiteY224" fmla="*/ 1941846 h 3587226"/>
              <a:gd name="connsiteX225" fmla="*/ 3248760 w 3582288"/>
              <a:gd name="connsiteY225" fmla="*/ 1927022 h 3587226"/>
              <a:gd name="connsiteX226" fmla="*/ 3246290 w 3582288"/>
              <a:gd name="connsiteY226" fmla="*/ 1838083 h 3587226"/>
              <a:gd name="connsiteX227" fmla="*/ 3226525 w 3582288"/>
              <a:gd name="connsiteY227" fmla="*/ 1776319 h 3587226"/>
              <a:gd name="connsiteX228" fmla="*/ 3221584 w 3582288"/>
              <a:gd name="connsiteY228" fmla="*/ 1719497 h 3587226"/>
              <a:gd name="connsiteX229" fmla="*/ 3164761 w 3582288"/>
              <a:gd name="connsiteY229" fmla="*/ 1709615 h 3587226"/>
              <a:gd name="connsiteX230" fmla="*/ 3122763 w 3582288"/>
              <a:gd name="connsiteY230" fmla="*/ 1768908 h 3587226"/>
              <a:gd name="connsiteX231" fmla="*/ 3090645 w 3582288"/>
              <a:gd name="connsiteY231" fmla="*/ 1813378 h 3587226"/>
              <a:gd name="connsiteX232" fmla="*/ 3019000 w 3582288"/>
              <a:gd name="connsiteY232" fmla="*/ 1892435 h 3587226"/>
              <a:gd name="connsiteX233" fmla="*/ 3026412 w 3582288"/>
              <a:gd name="connsiteY233" fmla="*/ 1936905 h 3587226"/>
              <a:gd name="connsiteX234" fmla="*/ 3009118 w 3582288"/>
              <a:gd name="connsiteY234" fmla="*/ 2065373 h 3587226"/>
              <a:gd name="connsiteX235" fmla="*/ 2954766 w 3582288"/>
              <a:gd name="connsiteY235" fmla="*/ 2124666 h 3587226"/>
              <a:gd name="connsiteX236" fmla="*/ 2930060 w 3582288"/>
              <a:gd name="connsiteY236" fmla="*/ 2023374 h 3587226"/>
              <a:gd name="connsiteX237" fmla="*/ 2930060 w 3582288"/>
              <a:gd name="connsiteY237" fmla="*/ 1919611 h 3587226"/>
              <a:gd name="connsiteX238" fmla="*/ 2902885 w 3582288"/>
              <a:gd name="connsiteY238" fmla="*/ 1835612 h 3587226"/>
              <a:gd name="connsiteX239" fmla="*/ 2900414 w 3582288"/>
              <a:gd name="connsiteY239" fmla="*/ 1724438 h 3587226"/>
              <a:gd name="connsiteX240" fmla="*/ 2846062 w 3582288"/>
              <a:gd name="connsiteY240" fmla="*/ 1709615 h 3587226"/>
              <a:gd name="connsiteX241" fmla="*/ 2791711 w 3582288"/>
              <a:gd name="connsiteY241" fmla="*/ 1655263 h 3587226"/>
              <a:gd name="connsiteX242" fmla="*/ 2757122 w 3582288"/>
              <a:gd name="connsiteY242" fmla="*/ 1620675 h 3587226"/>
              <a:gd name="connsiteX243" fmla="*/ 2685477 w 3582288"/>
              <a:gd name="connsiteY243" fmla="*/ 1600911 h 3587226"/>
              <a:gd name="connsiteX244" fmla="*/ 2561950 w 3582288"/>
              <a:gd name="connsiteY244" fmla="*/ 1534206 h 3587226"/>
              <a:gd name="connsiteX245" fmla="*/ 2510068 w 3582288"/>
              <a:gd name="connsiteY245" fmla="*/ 1566323 h 3587226"/>
              <a:gd name="connsiteX246" fmla="*/ 2490304 w 3582288"/>
              <a:gd name="connsiteY246" fmla="*/ 1571264 h 3587226"/>
              <a:gd name="connsiteX247" fmla="*/ 2455717 w 3582288"/>
              <a:gd name="connsiteY247" fmla="*/ 1556441 h 3587226"/>
              <a:gd name="connsiteX248" fmla="*/ 2440894 w 3582288"/>
              <a:gd name="connsiteY248" fmla="*/ 1509501 h 3587226"/>
              <a:gd name="connsiteX249" fmla="*/ 2416188 w 3582288"/>
              <a:gd name="connsiteY249" fmla="*/ 1469972 h 3587226"/>
              <a:gd name="connsiteX250" fmla="*/ 2384071 w 3582288"/>
              <a:gd name="connsiteY250" fmla="*/ 1450208 h 3587226"/>
              <a:gd name="connsiteX251" fmla="*/ 2347013 w 3582288"/>
              <a:gd name="connsiteY251" fmla="*/ 1462561 h 3587226"/>
              <a:gd name="connsiteX252" fmla="*/ 2359366 w 3582288"/>
              <a:gd name="connsiteY252" fmla="*/ 1492207 h 3587226"/>
              <a:gd name="connsiteX253" fmla="*/ 2384071 w 3582288"/>
              <a:gd name="connsiteY253" fmla="*/ 1541618 h 3587226"/>
              <a:gd name="connsiteX254" fmla="*/ 2418659 w 3582288"/>
              <a:gd name="connsiteY254" fmla="*/ 1613264 h 3587226"/>
              <a:gd name="connsiteX255" fmla="*/ 2438423 w 3582288"/>
              <a:gd name="connsiteY255" fmla="*/ 1642910 h 3587226"/>
              <a:gd name="connsiteX256" fmla="*/ 2505128 w 3582288"/>
              <a:gd name="connsiteY256" fmla="*/ 1635498 h 3587226"/>
              <a:gd name="connsiteX257" fmla="*/ 2537244 w 3582288"/>
              <a:gd name="connsiteY257" fmla="*/ 1600911 h 3587226"/>
              <a:gd name="connsiteX258" fmla="*/ 2569362 w 3582288"/>
              <a:gd name="connsiteY258" fmla="*/ 1650322 h 3587226"/>
              <a:gd name="connsiteX259" fmla="*/ 2613831 w 3582288"/>
              <a:gd name="connsiteY259" fmla="*/ 1675027 h 3587226"/>
              <a:gd name="connsiteX260" fmla="*/ 2606420 w 3582288"/>
              <a:gd name="connsiteY260" fmla="*/ 1734320 h 3587226"/>
              <a:gd name="connsiteX261" fmla="*/ 2569362 w 3582288"/>
              <a:gd name="connsiteY261" fmla="*/ 1783731 h 3587226"/>
              <a:gd name="connsiteX262" fmla="*/ 2510068 w 3582288"/>
              <a:gd name="connsiteY262" fmla="*/ 1855377 h 3587226"/>
              <a:gd name="connsiteX263" fmla="*/ 2421130 w 3582288"/>
              <a:gd name="connsiteY263" fmla="*/ 1904787 h 3587226"/>
              <a:gd name="connsiteX264" fmla="*/ 2305014 w 3582288"/>
              <a:gd name="connsiteY264" fmla="*/ 1946787 h 3587226"/>
              <a:gd name="connsiteX265" fmla="*/ 2263015 w 3582288"/>
              <a:gd name="connsiteY265" fmla="*/ 1966551 h 3587226"/>
              <a:gd name="connsiteX266" fmla="*/ 2238309 w 3582288"/>
              <a:gd name="connsiteY266" fmla="*/ 1954198 h 3587226"/>
              <a:gd name="connsiteX267" fmla="*/ 2221016 w 3582288"/>
              <a:gd name="connsiteY267" fmla="*/ 1892435 h 3587226"/>
              <a:gd name="connsiteX268" fmla="*/ 2223486 w 3582288"/>
              <a:gd name="connsiteY268" fmla="*/ 1855377 h 3587226"/>
              <a:gd name="connsiteX269" fmla="*/ 2188899 w 3582288"/>
              <a:gd name="connsiteY269" fmla="*/ 1796084 h 3587226"/>
              <a:gd name="connsiteX270" fmla="*/ 2154311 w 3582288"/>
              <a:gd name="connsiteY270" fmla="*/ 1746673 h 3587226"/>
              <a:gd name="connsiteX271" fmla="*/ 2122194 w 3582288"/>
              <a:gd name="connsiteY271" fmla="*/ 1702203 h 3587226"/>
              <a:gd name="connsiteX272" fmla="*/ 2107371 w 3582288"/>
              <a:gd name="connsiteY272" fmla="*/ 1665145 h 3587226"/>
              <a:gd name="connsiteX273" fmla="*/ 2090077 w 3582288"/>
              <a:gd name="connsiteY273" fmla="*/ 1608323 h 3587226"/>
              <a:gd name="connsiteX274" fmla="*/ 2057960 w 3582288"/>
              <a:gd name="connsiteY274" fmla="*/ 1553971 h 3587226"/>
              <a:gd name="connsiteX275" fmla="*/ 2020902 w 3582288"/>
              <a:gd name="connsiteY275" fmla="*/ 1511971 h 3587226"/>
              <a:gd name="connsiteX276" fmla="*/ 1996196 w 3582288"/>
              <a:gd name="connsiteY276" fmla="*/ 1502089 h 3587226"/>
              <a:gd name="connsiteX277" fmla="*/ 1978903 w 3582288"/>
              <a:gd name="connsiteY277" fmla="*/ 1544088 h 3587226"/>
              <a:gd name="connsiteX278" fmla="*/ 2011020 w 3582288"/>
              <a:gd name="connsiteY278" fmla="*/ 1620675 h 3587226"/>
              <a:gd name="connsiteX279" fmla="*/ 2030784 w 3582288"/>
              <a:gd name="connsiteY279" fmla="*/ 1660204 h 3587226"/>
              <a:gd name="connsiteX280" fmla="*/ 2048078 w 3582288"/>
              <a:gd name="connsiteY280" fmla="*/ 1697262 h 3587226"/>
              <a:gd name="connsiteX281" fmla="*/ 2062901 w 3582288"/>
              <a:gd name="connsiteY281" fmla="*/ 1724438 h 3587226"/>
              <a:gd name="connsiteX282" fmla="*/ 2075254 w 3582288"/>
              <a:gd name="connsiteY282" fmla="*/ 1768908 h 3587226"/>
              <a:gd name="connsiteX283" fmla="*/ 2099959 w 3582288"/>
              <a:gd name="connsiteY283" fmla="*/ 1808436 h 3587226"/>
              <a:gd name="connsiteX284" fmla="*/ 2127135 w 3582288"/>
              <a:gd name="connsiteY284" fmla="*/ 1845494 h 3587226"/>
              <a:gd name="connsiteX285" fmla="*/ 2151840 w 3582288"/>
              <a:gd name="connsiteY285" fmla="*/ 1887494 h 3587226"/>
              <a:gd name="connsiteX286" fmla="*/ 2179016 w 3582288"/>
              <a:gd name="connsiteY286" fmla="*/ 1919611 h 3587226"/>
              <a:gd name="connsiteX287" fmla="*/ 2208663 w 3582288"/>
              <a:gd name="connsiteY287" fmla="*/ 1944316 h 3587226"/>
              <a:gd name="connsiteX288" fmla="*/ 2233368 w 3582288"/>
              <a:gd name="connsiteY288" fmla="*/ 1969022 h 3587226"/>
              <a:gd name="connsiteX289" fmla="*/ 2235839 w 3582288"/>
              <a:gd name="connsiteY289" fmla="*/ 1978904 h 3587226"/>
              <a:gd name="connsiteX290" fmla="*/ 2238309 w 3582288"/>
              <a:gd name="connsiteY290" fmla="*/ 1996198 h 3587226"/>
              <a:gd name="connsiteX291" fmla="*/ 2337131 w 3582288"/>
              <a:gd name="connsiteY291" fmla="*/ 1993727 h 3587226"/>
              <a:gd name="connsiteX292" fmla="*/ 2423599 w 3582288"/>
              <a:gd name="connsiteY292" fmla="*/ 2006080 h 3587226"/>
              <a:gd name="connsiteX293" fmla="*/ 2396424 w 3582288"/>
              <a:gd name="connsiteY293" fmla="*/ 2077725 h 3587226"/>
              <a:gd name="connsiteX294" fmla="*/ 2393953 w 3582288"/>
              <a:gd name="connsiteY294" fmla="*/ 2164194 h 3587226"/>
              <a:gd name="connsiteX295" fmla="*/ 2238309 w 3582288"/>
              <a:gd name="connsiteY295" fmla="*/ 2282780 h 3587226"/>
              <a:gd name="connsiteX296" fmla="*/ 2129605 w 3582288"/>
              <a:gd name="connsiteY296" fmla="*/ 2398896 h 3587226"/>
              <a:gd name="connsiteX297" fmla="*/ 2085136 w 3582288"/>
              <a:gd name="connsiteY297" fmla="*/ 2626186 h 3587226"/>
              <a:gd name="connsiteX298" fmla="*/ 2090077 w 3582288"/>
              <a:gd name="connsiteY298" fmla="*/ 2710184 h 3587226"/>
              <a:gd name="connsiteX299" fmla="*/ 2003608 w 3582288"/>
              <a:gd name="connsiteY299" fmla="*/ 2725007 h 3587226"/>
              <a:gd name="connsiteX300" fmla="*/ 1971491 w 3582288"/>
              <a:gd name="connsiteY300" fmla="*/ 2779359 h 3587226"/>
              <a:gd name="connsiteX301" fmla="*/ 1949256 w 3582288"/>
              <a:gd name="connsiteY301" fmla="*/ 2873240 h 3587226"/>
              <a:gd name="connsiteX302" fmla="*/ 1931962 w 3582288"/>
              <a:gd name="connsiteY302" fmla="*/ 2935003 h 3587226"/>
              <a:gd name="connsiteX303" fmla="*/ 1818318 w 3582288"/>
              <a:gd name="connsiteY303" fmla="*/ 3078295 h 3587226"/>
              <a:gd name="connsiteX304" fmla="*/ 1736790 w 3582288"/>
              <a:gd name="connsiteY304" fmla="*/ 3073354 h 3587226"/>
              <a:gd name="connsiteX305" fmla="*/ 1660203 w 3582288"/>
              <a:gd name="connsiteY305" fmla="*/ 3088177 h 3587226"/>
              <a:gd name="connsiteX306" fmla="*/ 1578675 w 3582288"/>
              <a:gd name="connsiteY306" fmla="*/ 3031354 h 3587226"/>
              <a:gd name="connsiteX307" fmla="*/ 1558911 w 3582288"/>
              <a:gd name="connsiteY307" fmla="*/ 2989355 h 3587226"/>
              <a:gd name="connsiteX308" fmla="*/ 1536676 w 3582288"/>
              <a:gd name="connsiteY308" fmla="*/ 2927592 h 3587226"/>
              <a:gd name="connsiteX309" fmla="*/ 1534205 w 3582288"/>
              <a:gd name="connsiteY309" fmla="*/ 2878181 h 3587226"/>
              <a:gd name="connsiteX310" fmla="*/ 1502088 w 3582288"/>
              <a:gd name="connsiteY310" fmla="*/ 2821358 h 3587226"/>
              <a:gd name="connsiteX311" fmla="*/ 1435384 w 3582288"/>
              <a:gd name="connsiteY311" fmla="*/ 2737360 h 3587226"/>
              <a:gd name="connsiteX312" fmla="*/ 1452678 w 3582288"/>
              <a:gd name="connsiteY312" fmla="*/ 2687949 h 3587226"/>
              <a:gd name="connsiteX313" fmla="*/ 1437854 w 3582288"/>
              <a:gd name="connsiteY313" fmla="*/ 2621245 h 3587226"/>
              <a:gd name="connsiteX314" fmla="*/ 1442796 w 3582288"/>
              <a:gd name="connsiteY314" fmla="*/ 2559481 h 3587226"/>
              <a:gd name="connsiteX315" fmla="*/ 1415619 w 3582288"/>
              <a:gd name="connsiteY315" fmla="*/ 2505129 h 3587226"/>
              <a:gd name="connsiteX316" fmla="*/ 1390914 w 3582288"/>
              <a:gd name="connsiteY316" fmla="*/ 2438424 h 3587226"/>
              <a:gd name="connsiteX317" fmla="*/ 1336562 w 3582288"/>
              <a:gd name="connsiteY317" fmla="*/ 2398896 h 3587226"/>
              <a:gd name="connsiteX318" fmla="*/ 1329151 w 3582288"/>
              <a:gd name="connsiteY318" fmla="*/ 2339603 h 3587226"/>
              <a:gd name="connsiteX319" fmla="*/ 1331621 w 3582288"/>
              <a:gd name="connsiteY319" fmla="*/ 2290192 h 3587226"/>
              <a:gd name="connsiteX320" fmla="*/ 1331621 w 3582288"/>
              <a:gd name="connsiteY320" fmla="*/ 2203723 h 3587226"/>
              <a:gd name="connsiteX321" fmla="*/ 1264916 w 3582288"/>
              <a:gd name="connsiteY321" fmla="*/ 2230899 h 3587226"/>
              <a:gd name="connsiteX322" fmla="*/ 1230329 w 3582288"/>
              <a:gd name="connsiteY322" fmla="*/ 2164194 h 3587226"/>
              <a:gd name="connsiteX323" fmla="*/ 1158684 w 3582288"/>
              <a:gd name="connsiteY323" fmla="*/ 2156783 h 3587226"/>
              <a:gd name="connsiteX324" fmla="*/ 1082097 w 3582288"/>
              <a:gd name="connsiteY324" fmla="*/ 2188900 h 3587226"/>
              <a:gd name="connsiteX325" fmla="*/ 953629 w 3582288"/>
              <a:gd name="connsiteY325" fmla="*/ 2166665 h 3587226"/>
              <a:gd name="connsiteX326" fmla="*/ 869630 w 3582288"/>
              <a:gd name="connsiteY326" fmla="*/ 2188900 h 3587226"/>
              <a:gd name="connsiteX327" fmla="*/ 825161 w 3582288"/>
              <a:gd name="connsiteY327" fmla="*/ 2171606 h 3587226"/>
              <a:gd name="connsiteX328" fmla="*/ 753515 w 3582288"/>
              <a:gd name="connsiteY328" fmla="*/ 2090078 h 3587226"/>
              <a:gd name="connsiteX329" fmla="*/ 699163 w 3582288"/>
              <a:gd name="connsiteY329" fmla="*/ 1964081 h 3587226"/>
              <a:gd name="connsiteX330" fmla="*/ 691751 w 3582288"/>
              <a:gd name="connsiteY330" fmla="*/ 1907258 h 3587226"/>
              <a:gd name="connsiteX331" fmla="*/ 676928 w 3582288"/>
              <a:gd name="connsiteY331" fmla="*/ 1759026 h 3587226"/>
              <a:gd name="connsiteX332" fmla="*/ 681869 w 3582288"/>
              <a:gd name="connsiteY332" fmla="*/ 1704674 h 3587226"/>
              <a:gd name="connsiteX333" fmla="*/ 753515 w 3582288"/>
              <a:gd name="connsiteY333" fmla="*/ 1553971 h 3587226"/>
              <a:gd name="connsiteX334" fmla="*/ 812808 w 3582288"/>
              <a:gd name="connsiteY334" fmla="*/ 1509501 h 3587226"/>
              <a:gd name="connsiteX335" fmla="*/ 832572 w 3582288"/>
              <a:gd name="connsiteY335" fmla="*/ 1415620 h 3587226"/>
              <a:gd name="connsiteX336" fmla="*/ 891865 w 3582288"/>
              <a:gd name="connsiteY336" fmla="*/ 1410679 h 3587226"/>
              <a:gd name="connsiteX337" fmla="*/ 980804 w 3582288"/>
              <a:gd name="connsiteY337" fmla="*/ 1334092 h 3587226"/>
              <a:gd name="connsiteX338" fmla="*/ 988216 w 3582288"/>
              <a:gd name="connsiteY338" fmla="*/ 1326681 h 3587226"/>
              <a:gd name="connsiteX339" fmla="*/ 1007980 w 3582288"/>
              <a:gd name="connsiteY339" fmla="*/ 1324210 h 3587226"/>
              <a:gd name="connsiteX340" fmla="*/ 1067273 w 3582288"/>
              <a:gd name="connsiteY340" fmla="*/ 1304446 h 3587226"/>
              <a:gd name="connsiteX341" fmla="*/ 1146331 w 3582288"/>
              <a:gd name="connsiteY341" fmla="*/ 1250094 h 3587226"/>
              <a:gd name="connsiteX342" fmla="*/ 1188330 w 3582288"/>
              <a:gd name="connsiteY342" fmla="*/ 1242682 h 3587226"/>
              <a:gd name="connsiteX343" fmla="*/ 1264916 w 3582288"/>
              <a:gd name="connsiteY343" fmla="*/ 1250094 h 3587226"/>
              <a:gd name="connsiteX344" fmla="*/ 1326680 w 3582288"/>
              <a:gd name="connsiteY344" fmla="*/ 1235271 h 3587226"/>
              <a:gd name="connsiteX345" fmla="*/ 1366209 w 3582288"/>
              <a:gd name="connsiteY345" fmla="*/ 1245153 h 3587226"/>
              <a:gd name="connsiteX346" fmla="*/ 1368679 w 3582288"/>
              <a:gd name="connsiteY346" fmla="*/ 1287152 h 3587226"/>
              <a:gd name="connsiteX347" fmla="*/ 1348915 w 3582288"/>
              <a:gd name="connsiteY347" fmla="*/ 1319269 h 3587226"/>
              <a:gd name="connsiteX348" fmla="*/ 1363738 w 3582288"/>
              <a:gd name="connsiteY348" fmla="*/ 1361268 h 3587226"/>
              <a:gd name="connsiteX349" fmla="*/ 1450207 w 3582288"/>
              <a:gd name="connsiteY349" fmla="*/ 1381033 h 3587226"/>
              <a:gd name="connsiteX350" fmla="*/ 1479854 w 3582288"/>
              <a:gd name="connsiteY350" fmla="*/ 1400797 h 3587226"/>
              <a:gd name="connsiteX351" fmla="*/ 1509500 w 3582288"/>
              <a:gd name="connsiteY351" fmla="*/ 1430444 h 3587226"/>
              <a:gd name="connsiteX352" fmla="*/ 1576205 w 3582288"/>
              <a:gd name="connsiteY352" fmla="*/ 1455149 h 3587226"/>
              <a:gd name="connsiteX353" fmla="*/ 1605851 w 3582288"/>
              <a:gd name="connsiteY353" fmla="*/ 1413150 h 3587226"/>
              <a:gd name="connsiteX354" fmla="*/ 1620674 w 3582288"/>
              <a:gd name="connsiteY354" fmla="*/ 1381033 h 3587226"/>
              <a:gd name="connsiteX355" fmla="*/ 1652791 w 3582288"/>
              <a:gd name="connsiteY355" fmla="*/ 1361268 h 3587226"/>
              <a:gd name="connsiteX356" fmla="*/ 1677497 w 3582288"/>
              <a:gd name="connsiteY356" fmla="*/ 1358798 h 3587226"/>
              <a:gd name="connsiteX357" fmla="*/ 1719496 w 3582288"/>
              <a:gd name="connsiteY357" fmla="*/ 1390915 h 3587226"/>
              <a:gd name="connsiteX358" fmla="*/ 1771377 w 3582288"/>
              <a:gd name="connsiteY358" fmla="*/ 1405738 h 3587226"/>
              <a:gd name="connsiteX359" fmla="*/ 1835611 w 3582288"/>
              <a:gd name="connsiteY359" fmla="*/ 1425503 h 3587226"/>
              <a:gd name="connsiteX360" fmla="*/ 1892434 w 3582288"/>
              <a:gd name="connsiteY360" fmla="*/ 1427973 h 3587226"/>
              <a:gd name="connsiteX361" fmla="*/ 1931962 w 3582288"/>
              <a:gd name="connsiteY361" fmla="*/ 1405738 h 3587226"/>
              <a:gd name="connsiteX362" fmla="*/ 1978903 w 3582288"/>
              <a:gd name="connsiteY362" fmla="*/ 1425503 h 3587226"/>
              <a:gd name="connsiteX363" fmla="*/ 2003608 w 3582288"/>
              <a:gd name="connsiteY363" fmla="*/ 1395856 h 3587226"/>
              <a:gd name="connsiteX364" fmla="*/ 2003608 w 3582288"/>
              <a:gd name="connsiteY364" fmla="*/ 1363739 h 3587226"/>
              <a:gd name="connsiteX365" fmla="*/ 2028313 w 3582288"/>
              <a:gd name="connsiteY365" fmla="*/ 1294564 h 3587226"/>
              <a:gd name="connsiteX366" fmla="*/ 2013490 w 3582288"/>
              <a:gd name="connsiteY366" fmla="*/ 1264917 h 3587226"/>
              <a:gd name="connsiteX367" fmla="*/ 1976432 w 3582288"/>
              <a:gd name="connsiteY367" fmla="*/ 1269858 h 3587226"/>
              <a:gd name="connsiteX368" fmla="*/ 1919609 w 3582288"/>
              <a:gd name="connsiteY368" fmla="*/ 1269858 h 3587226"/>
              <a:gd name="connsiteX369" fmla="*/ 1897375 w 3582288"/>
              <a:gd name="connsiteY369" fmla="*/ 1245153 h 3587226"/>
              <a:gd name="connsiteX370" fmla="*/ 1840552 w 3582288"/>
              <a:gd name="connsiteY370" fmla="*/ 1264917 h 3587226"/>
              <a:gd name="connsiteX371" fmla="*/ 1798553 w 3582288"/>
              <a:gd name="connsiteY371" fmla="*/ 1250094 h 3587226"/>
              <a:gd name="connsiteX372" fmla="*/ 1786200 w 3582288"/>
              <a:gd name="connsiteY372" fmla="*/ 1208095 h 3587226"/>
              <a:gd name="connsiteX373" fmla="*/ 1786200 w 3582288"/>
              <a:gd name="connsiteY373" fmla="*/ 1153743 h 3587226"/>
              <a:gd name="connsiteX374" fmla="*/ 1749142 w 3582288"/>
              <a:gd name="connsiteY374" fmla="*/ 1119155 h 3587226"/>
              <a:gd name="connsiteX375" fmla="*/ 1707143 w 3582288"/>
              <a:gd name="connsiteY375" fmla="*/ 1168566 h 3587226"/>
              <a:gd name="connsiteX376" fmla="*/ 1704673 w 3582288"/>
              <a:gd name="connsiteY376" fmla="*/ 1213036 h 3587226"/>
              <a:gd name="connsiteX377" fmla="*/ 1655262 w 3582288"/>
              <a:gd name="connsiteY377" fmla="*/ 1237741 h 3587226"/>
              <a:gd name="connsiteX378" fmla="*/ 1595969 w 3582288"/>
              <a:gd name="connsiteY378" fmla="*/ 1198213 h 3587226"/>
              <a:gd name="connsiteX379" fmla="*/ 1595969 w 3582288"/>
              <a:gd name="connsiteY379" fmla="*/ 1148802 h 3587226"/>
              <a:gd name="connsiteX380" fmla="*/ 1593498 w 3582288"/>
              <a:gd name="connsiteY380" fmla="*/ 1114214 h 3587226"/>
              <a:gd name="connsiteX381" fmla="*/ 1571264 w 3582288"/>
              <a:gd name="connsiteY381" fmla="*/ 1069745 h 3587226"/>
              <a:gd name="connsiteX382" fmla="*/ 1516912 w 3582288"/>
              <a:gd name="connsiteY382" fmla="*/ 1015393 h 3587226"/>
              <a:gd name="connsiteX383" fmla="*/ 1467501 w 3582288"/>
              <a:gd name="connsiteY383" fmla="*/ 990687 h 3587226"/>
              <a:gd name="connsiteX384" fmla="*/ 1442796 w 3582288"/>
              <a:gd name="connsiteY384" fmla="*/ 995628 h 3587226"/>
              <a:gd name="connsiteX385" fmla="*/ 1474912 w 3582288"/>
              <a:gd name="connsiteY385" fmla="*/ 1052451 h 3587226"/>
              <a:gd name="connsiteX386" fmla="*/ 1524323 w 3582288"/>
              <a:gd name="connsiteY386" fmla="*/ 1106803 h 3587226"/>
              <a:gd name="connsiteX387" fmla="*/ 1534205 w 3582288"/>
              <a:gd name="connsiteY387" fmla="*/ 1133979 h 3587226"/>
              <a:gd name="connsiteX388" fmla="*/ 1526794 w 3582288"/>
              <a:gd name="connsiteY388" fmla="*/ 1163625 h 3587226"/>
              <a:gd name="connsiteX389" fmla="*/ 1484795 w 3582288"/>
              <a:gd name="connsiteY389" fmla="*/ 1247624 h 3587226"/>
              <a:gd name="connsiteX390" fmla="*/ 1440325 w 3582288"/>
              <a:gd name="connsiteY390" fmla="*/ 1259976 h 3587226"/>
              <a:gd name="connsiteX391" fmla="*/ 1403267 w 3582288"/>
              <a:gd name="connsiteY391" fmla="*/ 1222918 h 3587226"/>
              <a:gd name="connsiteX392" fmla="*/ 1420560 w 3582288"/>
              <a:gd name="connsiteY392" fmla="*/ 1200683 h 3587226"/>
              <a:gd name="connsiteX393" fmla="*/ 1455148 w 3582288"/>
              <a:gd name="connsiteY393" fmla="*/ 1198213 h 3587226"/>
              <a:gd name="connsiteX394" fmla="*/ 1474912 w 3582288"/>
              <a:gd name="connsiteY394" fmla="*/ 1173507 h 3587226"/>
              <a:gd name="connsiteX395" fmla="*/ 1474912 w 3582288"/>
              <a:gd name="connsiteY395" fmla="*/ 1153743 h 3587226"/>
              <a:gd name="connsiteX396" fmla="*/ 1425502 w 3582288"/>
              <a:gd name="connsiteY396" fmla="*/ 1116685 h 3587226"/>
              <a:gd name="connsiteX397" fmla="*/ 1403267 w 3582288"/>
              <a:gd name="connsiteY397" fmla="*/ 1077156 h 3587226"/>
              <a:gd name="connsiteX398" fmla="*/ 1316798 w 3582288"/>
              <a:gd name="connsiteY398" fmla="*/ 1062333 h 3587226"/>
              <a:gd name="connsiteX399" fmla="*/ 1274799 w 3582288"/>
              <a:gd name="connsiteY399" fmla="*/ 1069745 h 3587226"/>
              <a:gd name="connsiteX400" fmla="*/ 1225388 w 3582288"/>
              <a:gd name="connsiteY400" fmla="*/ 1049980 h 3587226"/>
              <a:gd name="connsiteX401" fmla="*/ 1175977 w 3582288"/>
              <a:gd name="connsiteY401" fmla="*/ 1099391 h 3587226"/>
              <a:gd name="connsiteX402" fmla="*/ 1133978 w 3582288"/>
              <a:gd name="connsiteY402" fmla="*/ 1146331 h 3587226"/>
              <a:gd name="connsiteX403" fmla="*/ 1109273 w 3582288"/>
              <a:gd name="connsiteY403" fmla="*/ 1175978 h 3587226"/>
              <a:gd name="connsiteX404" fmla="*/ 1099390 w 3582288"/>
              <a:gd name="connsiteY404" fmla="*/ 1208095 h 3587226"/>
              <a:gd name="connsiteX405" fmla="*/ 1057391 w 3582288"/>
              <a:gd name="connsiteY405" fmla="*/ 1242682 h 3587226"/>
              <a:gd name="connsiteX406" fmla="*/ 1005510 w 3582288"/>
              <a:gd name="connsiteY406" fmla="*/ 1262447 h 3587226"/>
              <a:gd name="connsiteX407" fmla="*/ 889394 w 3582288"/>
              <a:gd name="connsiteY407" fmla="*/ 1255035 h 3587226"/>
              <a:gd name="connsiteX408" fmla="*/ 921512 w 3582288"/>
              <a:gd name="connsiteY408" fmla="*/ 1200683 h 3587226"/>
              <a:gd name="connsiteX409" fmla="*/ 906688 w 3582288"/>
              <a:gd name="connsiteY409" fmla="*/ 1158684 h 3587226"/>
              <a:gd name="connsiteX410" fmla="*/ 904218 w 3582288"/>
              <a:gd name="connsiteY410" fmla="*/ 1082097 h 3587226"/>
              <a:gd name="connsiteX411" fmla="*/ 993157 w 3582288"/>
              <a:gd name="connsiteY411" fmla="*/ 1042569 h 3587226"/>
              <a:gd name="connsiteX412" fmla="*/ 1099390 w 3582288"/>
              <a:gd name="connsiteY412" fmla="*/ 1042569 h 3587226"/>
              <a:gd name="connsiteX413" fmla="*/ 1106802 w 3582288"/>
              <a:gd name="connsiteY413" fmla="*/ 993158 h 3587226"/>
              <a:gd name="connsiteX414" fmla="*/ 1082097 w 3582288"/>
              <a:gd name="connsiteY414" fmla="*/ 943747 h 3587226"/>
              <a:gd name="connsiteX415" fmla="*/ 1074685 w 3582288"/>
              <a:gd name="connsiteY415" fmla="*/ 889395 h 3587226"/>
              <a:gd name="connsiteX416" fmla="*/ 1136448 w 3582288"/>
              <a:gd name="connsiteY416" fmla="*/ 869631 h 3587226"/>
              <a:gd name="connsiteX417" fmla="*/ 1257505 w 3582288"/>
              <a:gd name="connsiteY417" fmla="*/ 877042 h 3587226"/>
              <a:gd name="connsiteX418" fmla="*/ 1294563 w 3582288"/>
              <a:gd name="connsiteY418" fmla="*/ 793044 h 3587226"/>
              <a:gd name="connsiteX419" fmla="*/ 1351385 w 3582288"/>
              <a:gd name="connsiteY419" fmla="*/ 755986 h 3587226"/>
              <a:gd name="connsiteX420" fmla="*/ 1418090 w 3582288"/>
              <a:gd name="connsiteY420" fmla="*/ 706575 h 3587226"/>
              <a:gd name="connsiteX421" fmla="*/ 1504559 w 3582288"/>
              <a:gd name="connsiteY421" fmla="*/ 741163 h 3587226"/>
              <a:gd name="connsiteX422" fmla="*/ 1526794 w 3582288"/>
              <a:gd name="connsiteY422" fmla="*/ 686811 h 3587226"/>
              <a:gd name="connsiteX423" fmla="*/ 1494677 w 3582288"/>
              <a:gd name="connsiteY423" fmla="*/ 671987 h 3587226"/>
              <a:gd name="connsiteX424" fmla="*/ 1385973 w 3582288"/>
              <a:gd name="connsiteY424" fmla="*/ 573166 h 3587226"/>
              <a:gd name="connsiteX425" fmla="*/ 1378561 w 3582288"/>
              <a:gd name="connsiteY425" fmla="*/ 531166 h 3587226"/>
              <a:gd name="connsiteX426" fmla="*/ 1405737 w 3582288"/>
              <a:gd name="connsiteY426" fmla="*/ 486697 h 3587226"/>
              <a:gd name="connsiteX427" fmla="*/ 1484795 w 3582288"/>
              <a:gd name="connsiteY427" fmla="*/ 459521 h 3587226"/>
              <a:gd name="connsiteX428" fmla="*/ 1511970 w 3582288"/>
              <a:gd name="connsiteY428" fmla="*/ 422463 h 3587226"/>
              <a:gd name="connsiteX429" fmla="*/ 1610792 w 3582288"/>
              <a:gd name="connsiteY429" fmla="*/ 345876 h 3587226"/>
              <a:gd name="connsiteX430" fmla="*/ 1714555 w 3582288"/>
              <a:gd name="connsiteY430" fmla="*/ 274230 h 3587226"/>
              <a:gd name="connsiteX431" fmla="*/ 1773848 w 3582288"/>
              <a:gd name="connsiteY431" fmla="*/ 291524 h 3587226"/>
              <a:gd name="connsiteX432" fmla="*/ 1855376 w 3582288"/>
              <a:gd name="connsiteY432" fmla="*/ 345876 h 3587226"/>
              <a:gd name="connsiteX433" fmla="*/ 1964079 w 3582288"/>
              <a:gd name="connsiteY433" fmla="*/ 377993 h 3587226"/>
              <a:gd name="connsiteX434" fmla="*/ 1897375 w 3582288"/>
              <a:gd name="connsiteY434" fmla="*/ 432345 h 3587226"/>
              <a:gd name="connsiteX435" fmla="*/ 1981373 w 3582288"/>
              <a:gd name="connsiteY435" fmla="*/ 427404 h 3587226"/>
              <a:gd name="connsiteX436" fmla="*/ 2057960 w 3582288"/>
              <a:gd name="connsiteY436" fmla="*/ 368111 h 3587226"/>
              <a:gd name="connsiteX437" fmla="*/ 2134547 w 3582288"/>
              <a:gd name="connsiteY437" fmla="*/ 373052 h 3587226"/>
              <a:gd name="connsiteX438" fmla="*/ 2166664 w 3582288"/>
              <a:gd name="connsiteY438" fmla="*/ 313759 h 3587226"/>
              <a:gd name="connsiteX439" fmla="*/ 2243250 w 3582288"/>
              <a:gd name="connsiteY439" fmla="*/ 318700 h 3587226"/>
              <a:gd name="connsiteX440" fmla="*/ 2240780 w 3582288"/>
              <a:gd name="connsiteY440" fmla="*/ 247054 h 3587226"/>
              <a:gd name="connsiteX441" fmla="*/ 2221016 w 3582288"/>
              <a:gd name="connsiteY441" fmla="*/ 209996 h 3587226"/>
              <a:gd name="connsiteX442" fmla="*/ 1786200 w 3582288"/>
              <a:gd name="connsiteY442" fmla="*/ 150703 h 3587226"/>
              <a:gd name="connsiteX443" fmla="*/ 1791141 w 3582288"/>
              <a:gd name="connsiteY443" fmla="*/ 0 h 3587226"/>
              <a:gd name="connsiteX444" fmla="*/ 3582283 w 3582288"/>
              <a:gd name="connsiteY444" fmla="*/ 1793613 h 3587226"/>
              <a:gd name="connsiteX445" fmla="*/ 1791141 w 3582288"/>
              <a:gd name="connsiteY445" fmla="*/ 3587226 h 3587226"/>
              <a:gd name="connsiteX446" fmla="*/ 0 w 3582288"/>
              <a:gd name="connsiteY446" fmla="*/ 1793613 h 3587226"/>
              <a:gd name="connsiteX447" fmla="*/ 1791141 w 3582288"/>
              <a:gd name="connsiteY447" fmla="*/ 0 h 3587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Lst>
            <a:rect l="l" t="t" r="r" b="b"/>
            <a:pathLst>
              <a:path w="3582288" h="3587226">
                <a:moveTo>
                  <a:pt x="2319838" y="2608892"/>
                </a:moveTo>
                <a:cubicBezTo>
                  <a:pt x="2332191" y="2613833"/>
                  <a:pt x="2337132" y="2613833"/>
                  <a:pt x="2339602" y="2648420"/>
                </a:cubicBezTo>
                <a:cubicBezTo>
                  <a:pt x="2342073" y="2683008"/>
                  <a:pt x="2327250" y="2668185"/>
                  <a:pt x="2302544" y="2702772"/>
                </a:cubicBezTo>
                <a:cubicBezTo>
                  <a:pt x="2280309" y="2739830"/>
                  <a:pt x="2285250" y="2732419"/>
                  <a:pt x="2270427" y="2759595"/>
                </a:cubicBezTo>
                <a:cubicBezTo>
                  <a:pt x="2258075" y="2786771"/>
                  <a:pt x="2250663" y="2799123"/>
                  <a:pt x="2250663" y="2823829"/>
                </a:cubicBezTo>
                <a:cubicBezTo>
                  <a:pt x="2250663" y="2848534"/>
                  <a:pt x="2213605" y="2870769"/>
                  <a:pt x="2193841" y="2890533"/>
                </a:cubicBezTo>
                <a:cubicBezTo>
                  <a:pt x="2174076" y="2907827"/>
                  <a:pt x="2151840" y="2902886"/>
                  <a:pt x="2139488" y="2888063"/>
                </a:cubicBezTo>
                <a:cubicBezTo>
                  <a:pt x="2129605" y="2875710"/>
                  <a:pt x="2137017" y="2848534"/>
                  <a:pt x="2146899" y="2828770"/>
                </a:cubicBezTo>
                <a:cubicBezTo>
                  <a:pt x="2159252" y="2809005"/>
                  <a:pt x="2159252" y="2794182"/>
                  <a:pt x="2161722" y="2786771"/>
                </a:cubicBezTo>
                <a:cubicBezTo>
                  <a:pt x="2164193" y="2779359"/>
                  <a:pt x="2174076" y="2747242"/>
                  <a:pt x="2176547" y="2739830"/>
                </a:cubicBezTo>
                <a:cubicBezTo>
                  <a:pt x="2176547" y="2734889"/>
                  <a:pt x="2174076" y="2710184"/>
                  <a:pt x="2191370" y="2680537"/>
                </a:cubicBezTo>
                <a:cubicBezTo>
                  <a:pt x="2206193" y="2653361"/>
                  <a:pt x="2211134" y="2683008"/>
                  <a:pt x="2225958" y="2683008"/>
                </a:cubicBezTo>
                <a:cubicBezTo>
                  <a:pt x="2243251" y="2683008"/>
                  <a:pt x="2253133" y="2658302"/>
                  <a:pt x="2270427" y="2633597"/>
                </a:cubicBezTo>
                <a:cubicBezTo>
                  <a:pt x="2287721" y="2608892"/>
                  <a:pt x="2305015" y="2606421"/>
                  <a:pt x="2319838" y="2608892"/>
                </a:cubicBezTo>
                <a:close/>
                <a:moveTo>
                  <a:pt x="1712587" y="1246620"/>
                </a:moveTo>
                <a:cubicBezTo>
                  <a:pt x="1717952" y="1246079"/>
                  <a:pt x="1723820" y="1246388"/>
                  <a:pt x="1729379" y="1247623"/>
                </a:cubicBezTo>
                <a:cubicBezTo>
                  <a:pt x="1751614" y="1252564"/>
                  <a:pt x="1754084" y="1292094"/>
                  <a:pt x="1756555" y="1306917"/>
                </a:cubicBezTo>
                <a:cubicBezTo>
                  <a:pt x="1759025" y="1319270"/>
                  <a:pt x="1714556" y="1292094"/>
                  <a:pt x="1699732" y="1272330"/>
                </a:cubicBezTo>
                <a:cubicBezTo>
                  <a:pt x="1684908" y="1257506"/>
                  <a:pt x="1696489" y="1248241"/>
                  <a:pt x="1712587" y="1246620"/>
                </a:cubicBezTo>
                <a:close/>
                <a:moveTo>
                  <a:pt x="1362157" y="1064649"/>
                </a:moveTo>
                <a:cubicBezTo>
                  <a:pt x="1368526" y="1064495"/>
                  <a:pt x="1373622" y="1066656"/>
                  <a:pt x="1376092" y="1072215"/>
                </a:cubicBezTo>
                <a:cubicBezTo>
                  <a:pt x="1385974" y="1094450"/>
                  <a:pt x="1373622" y="1151272"/>
                  <a:pt x="1376092" y="1151272"/>
                </a:cubicBezTo>
                <a:cubicBezTo>
                  <a:pt x="1376092" y="1151272"/>
                  <a:pt x="1314328" y="1163625"/>
                  <a:pt x="1306917" y="1161154"/>
                </a:cubicBezTo>
                <a:cubicBezTo>
                  <a:pt x="1299504" y="1158684"/>
                  <a:pt x="1297034" y="1114214"/>
                  <a:pt x="1306917" y="1099391"/>
                </a:cubicBezTo>
                <a:cubicBezTo>
                  <a:pt x="1312475" y="1086421"/>
                  <a:pt x="1343049" y="1065112"/>
                  <a:pt x="1362157" y="1064649"/>
                </a:cubicBezTo>
                <a:close/>
                <a:moveTo>
                  <a:pt x="2515010" y="961041"/>
                </a:moveTo>
                <a:cubicBezTo>
                  <a:pt x="2510068" y="961041"/>
                  <a:pt x="2497716" y="985746"/>
                  <a:pt x="2507598" y="998099"/>
                </a:cubicBezTo>
                <a:cubicBezTo>
                  <a:pt x="2519951" y="1010452"/>
                  <a:pt x="2561950" y="1020334"/>
                  <a:pt x="2561950" y="1010452"/>
                </a:cubicBezTo>
                <a:cubicBezTo>
                  <a:pt x="2561950" y="1000569"/>
                  <a:pt x="2571832" y="1000569"/>
                  <a:pt x="2561950" y="988217"/>
                </a:cubicBezTo>
                <a:cubicBezTo>
                  <a:pt x="2552068" y="975864"/>
                  <a:pt x="2552068" y="961041"/>
                  <a:pt x="2547126" y="961041"/>
                </a:cubicBezTo>
                <a:cubicBezTo>
                  <a:pt x="2539715" y="961041"/>
                  <a:pt x="2519951" y="961041"/>
                  <a:pt x="2515010" y="961041"/>
                </a:cubicBezTo>
                <a:close/>
                <a:moveTo>
                  <a:pt x="2802287" y="935795"/>
                </a:moveTo>
                <a:cubicBezTo>
                  <a:pt x="2791865" y="935100"/>
                  <a:pt x="2773799" y="940659"/>
                  <a:pt x="2779358" y="946217"/>
                </a:cubicBezTo>
                <a:cubicBezTo>
                  <a:pt x="2784298" y="951159"/>
                  <a:pt x="2764534" y="958570"/>
                  <a:pt x="2774416" y="973393"/>
                </a:cubicBezTo>
                <a:cubicBezTo>
                  <a:pt x="2784298" y="988217"/>
                  <a:pt x="2813945" y="990687"/>
                  <a:pt x="2816416" y="980805"/>
                </a:cubicBezTo>
                <a:cubicBezTo>
                  <a:pt x="2818886" y="970923"/>
                  <a:pt x="2811475" y="946217"/>
                  <a:pt x="2809004" y="938806"/>
                </a:cubicBezTo>
                <a:cubicBezTo>
                  <a:pt x="2808387" y="936953"/>
                  <a:pt x="2805761" y="936027"/>
                  <a:pt x="2802287" y="935795"/>
                </a:cubicBezTo>
                <a:close/>
                <a:moveTo>
                  <a:pt x="2356895" y="919042"/>
                </a:moveTo>
                <a:cubicBezTo>
                  <a:pt x="2349484" y="919042"/>
                  <a:pt x="2332190" y="919042"/>
                  <a:pt x="2324778" y="923983"/>
                </a:cubicBezTo>
                <a:cubicBezTo>
                  <a:pt x="2317367" y="928924"/>
                  <a:pt x="2314896" y="931394"/>
                  <a:pt x="2305014" y="938806"/>
                </a:cubicBezTo>
                <a:cubicBezTo>
                  <a:pt x="2295132" y="948688"/>
                  <a:pt x="2272897" y="968452"/>
                  <a:pt x="2265485" y="975864"/>
                </a:cubicBezTo>
                <a:cubicBezTo>
                  <a:pt x="2260544" y="980805"/>
                  <a:pt x="2260544" y="985746"/>
                  <a:pt x="2270426" y="1003040"/>
                </a:cubicBezTo>
                <a:cubicBezTo>
                  <a:pt x="2275367" y="1022804"/>
                  <a:pt x="2282779" y="1042569"/>
                  <a:pt x="2290190" y="1052451"/>
                </a:cubicBezTo>
                <a:cubicBezTo>
                  <a:pt x="2300073" y="1064803"/>
                  <a:pt x="2322308" y="1072215"/>
                  <a:pt x="2324778" y="1084568"/>
                </a:cubicBezTo>
                <a:cubicBezTo>
                  <a:pt x="2327249" y="1096921"/>
                  <a:pt x="2344543" y="1121626"/>
                  <a:pt x="2344543" y="1121626"/>
                </a:cubicBezTo>
                <a:cubicBezTo>
                  <a:pt x="2344543" y="1121626"/>
                  <a:pt x="2356895" y="1126567"/>
                  <a:pt x="2347013" y="1141390"/>
                </a:cubicBezTo>
                <a:cubicBezTo>
                  <a:pt x="2337131" y="1156213"/>
                  <a:pt x="2337131" y="1158684"/>
                  <a:pt x="2337131" y="1175978"/>
                </a:cubicBezTo>
                <a:cubicBezTo>
                  <a:pt x="2337131" y="1190801"/>
                  <a:pt x="2339601" y="1200683"/>
                  <a:pt x="2351954" y="1213036"/>
                </a:cubicBezTo>
                <a:cubicBezTo>
                  <a:pt x="2364307" y="1225389"/>
                  <a:pt x="2389012" y="1217977"/>
                  <a:pt x="2396424" y="1232800"/>
                </a:cubicBezTo>
                <a:cubicBezTo>
                  <a:pt x="2403835" y="1247624"/>
                  <a:pt x="2406306" y="1264917"/>
                  <a:pt x="2428541" y="1257506"/>
                </a:cubicBezTo>
                <a:cubicBezTo>
                  <a:pt x="2450776" y="1247624"/>
                  <a:pt x="2468070" y="1237741"/>
                  <a:pt x="2470540" y="1227859"/>
                </a:cubicBezTo>
                <a:cubicBezTo>
                  <a:pt x="2475481" y="1220448"/>
                  <a:pt x="2495246" y="1210565"/>
                  <a:pt x="2480422" y="1195742"/>
                </a:cubicBezTo>
                <a:cubicBezTo>
                  <a:pt x="2468070" y="1183389"/>
                  <a:pt x="2465599" y="1166096"/>
                  <a:pt x="2455717" y="1156213"/>
                </a:cubicBezTo>
                <a:cubicBezTo>
                  <a:pt x="2445835" y="1143861"/>
                  <a:pt x="2438423" y="1156213"/>
                  <a:pt x="2448305" y="1136449"/>
                </a:cubicBezTo>
                <a:cubicBezTo>
                  <a:pt x="2460658" y="1116685"/>
                  <a:pt x="2470540" y="1114214"/>
                  <a:pt x="2468070" y="1101862"/>
                </a:cubicBezTo>
                <a:cubicBezTo>
                  <a:pt x="2465599" y="1089509"/>
                  <a:pt x="2477952" y="1077156"/>
                  <a:pt x="2453246" y="1074686"/>
                </a:cubicBezTo>
                <a:cubicBezTo>
                  <a:pt x="2428541" y="1072215"/>
                  <a:pt x="2426070" y="1072215"/>
                  <a:pt x="2411247" y="1064803"/>
                </a:cubicBezTo>
                <a:cubicBezTo>
                  <a:pt x="2393953" y="1054921"/>
                  <a:pt x="2386542" y="1030216"/>
                  <a:pt x="2386542" y="1030216"/>
                </a:cubicBezTo>
                <a:cubicBezTo>
                  <a:pt x="2386542" y="1030216"/>
                  <a:pt x="2369248" y="1015393"/>
                  <a:pt x="2366777" y="1005510"/>
                </a:cubicBezTo>
                <a:cubicBezTo>
                  <a:pt x="2361836" y="995628"/>
                  <a:pt x="2369248" y="983276"/>
                  <a:pt x="2374189" y="980805"/>
                </a:cubicBezTo>
                <a:cubicBezTo>
                  <a:pt x="2379130" y="980805"/>
                  <a:pt x="2393953" y="973393"/>
                  <a:pt x="2398894" y="973393"/>
                </a:cubicBezTo>
                <a:cubicBezTo>
                  <a:pt x="2403835" y="970923"/>
                  <a:pt x="2421130" y="953629"/>
                  <a:pt x="2406306" y="943747"/>
                </a:cubicBezTo>
                <a:cubicBezTo>
                  <a:pt x="2389012" y="933865"/>
                  <a:pt x="2361836" y="916571"/>
                  <a:pt x="2356895" y="919042"/>
                </a:cubicBezTo>
                <a:close/>
                <a:moveTo>
                  <a:pt x="2065372" y="914100"/>
                </a:moveTo>
                <a:cubicBezTo>
                  <a:pt x="2045607" y="914100"/>
                  <a:pt x="2045607" y="916571"/>
                  <a:pt x="2030784" y="923983"/>
                </a:cubicBezTo>
                <a:cubicBezTo>
                  <a:pt x="2015961" y="931394"/>
                  <a:pt x="2015961" y="933865"/>
                  <a:pt x="2008549" y="943747"/>
                </a:cubicBezTo>
                <a:cubicBezTo>
                  <a:pt x="2003608" y="953629"/>
                  <a:pt x="2013490" y="958570"/>
                  <a:pt x="1996196" y="973393"/>
                </a:cubicBezTo>
                <a:cubicBezTo>
                  <a:pt x="1981373" y="985746"/>
                  <a:pt x="1986314" y="995628"/>
                  <a:pt x="1964079" y="993158"/>
                </a:cubicBezTo>
                <a:cubicBezTo>
                  <a:pt x="1939374" y="990687"/>
                  <a:pt x="1934433" y="998099"/>
                  <a:pt x="1929492" y="980805"/>
                </a:cubicBezTo>
                <a:cubicBezTo>
                  <a:pt x="1929492" y="965982"/>
                  <a:pt x="1961609" y="958570"/>
                  <a:pt x="1931962" y="948688"/>
                </a:cubicBezTo>
                <a:cubicBezTo>
                  <a:pt x="1902316" y="938806"/>
                  <a:pt x="1885022" y="933865"/>
                  <a:pt x="1877610" y="941276"/>
                </a:cubicBezTo>
                <a:cubicBezTo>
                  <a:pt x="1872669" y="951159"/>
                  <a:pt x="1830670" y="975864"/>
                  <a:pt x="1823259" y="983276"/>
                </a:cubicBezTo>
                <a:cubicBezTo>
                  <a:pt x="1815847" y="990687"/>
                  <a:pt x="1798553" y="1042569"/>
                  <a:pt x="1798553" y="1049980"/>
                </a:cubicBezTo>
                <a:cubicBezTo>
                  <a:pt x="1796082" y="1059862"/>
                  <a:pt x="1783730" y="1064803"/>
                  <a:pt x="1798553" y="1069745"/>
                </a:cubicBezTo>
                <a:cubicBezTo>
                  <a:pt x="1810906" y="1077156"/>
                  <a:pt x="1798553" y="1062333"/>
                  <a:pt x="1818318" y="1079627"/>
                </a:cubicBezTo>
                <a:cubicBezTo>
                  <a:pt x="1838082" y="1096921"/>
                  <a:pt x="1887493" y="1109273"/>
                  <a:pt x="1892434" y="1109273"/>
                </a:cubicBezTo>
                <a:cubicBezTo>
                  <a:pt x="1897375" y="1109273"/>
                  <a:pt x="1909727" y="1109273"/>
                  <a:pt x="1917139" y="1106803"/>
                </a:cubicBezTo>
                <a:cubicBezTo>
                  <a:pt x="1924551" y="1104332"/>
                  <a:pt x="1929492" y="1091979"/>
                  <a:pt x="1941845" y="1089509"/>
                </a:cubicBezTo>
                <a:cubicBezTo>
                  <a:pt x="1954197" y="1087038"/>
                  <a:pt x="1978903" y="1084568"/>
                  <a:pt x="1991255" y="1084568"/>
                </a:cubicBezTo>
                <a:cubicBezTo>
                  <a:pt x="2003608" y="1084568"/>
                  <a:pt x="2013490" y="1084568"/>
                  <a:pt x="2015961" y="1087038"/>
                </a:cubicBezTo>
                <a:cubicBezTo>
                  <a:pt x="2020902" y="1087038"/>
                  <a:pt x="2025843" y="1104332"/>
                  <a:pt x="2035725" y="1109273"/>
                </a:cubicBezTo>
                <a:cubicBezTo>
                  <a:pt x="2045607" y="1111744"/>
                  <a:pt x="2045607" y="1119155"/>
                  <a:pt x="2070313" y="1119155"/>
                </a:cubicBezTo>
                <a:cubicBezTo>
                  <a:pt x="2097489" y="1119155"/>
                  <a:pt x="2129605" y="1119155"/>
                  <a:pt x="2139488" y="1114214"/>
                </a:cubicBezTo>
                <a:cubicBezTo>
                  <a:pt x="2149370" y="1109273"/>
                  <a:pt x="2169134" y="1099391"/>
                  <a:pt x="2169134" y="1099391"/>
                </a:cubicBezTo>
                <a:cubicBezTo>
                  <a:pt x="2169134" y="1099391"/>
                  <a:pt x="2166664" y="1067274"/>
                  <a:pt x="2156781" y="1059862"/>
                </a:cubicBezTo>
                <a:cubicBezTo>
                  <a:pt x="2146899" y="1054921"/>
                  <a:pt x="2129605" y="1037628"/>
                  <a:pt x="2119723" y="1035157"/>
                </a:cubicBezTo>
                <a:cubicBezTo>
                  <a:pt x="2109841" y="1030216"/>
                  <a:pt x="2082665" y="1010452"/>
                  <a:pt x="2080195" y="1005510"/>
                </a:cubicBezTo>
                <a:cubicBezTo>
                  <a:pt x="2077724" y="1000569"/>
                  <a:pt x="2067842" y="983276"/>
                  <a:pt x="2065372" y="980805"/>
                </a:cubicBezTo>
                <a:cubicBezTo>
                  <a:pt x="2060431" y="978334"/>
                  <a:pt x="2057960" y="980805"/>
                  <a:pt x="2067842" y="965982"/>
                </a:cubicBezTo>
                <a:cubicBezTo>
                  <a:pt x="2077724" y="948688"/>
                  <a:pt x="2092547" y="933865"/>
                  <a:pt x="2092547" y="933865"/>
                </a:cubicBezTo>
                <a:cubicBezTo>
                  <a:pt x="2092547" y="933865"/>
                  <a:pt x="2082665" y="914100"/>
                  <a:pt x="2065372" y="914100"/>
                </a:cubicBezTo>
                <a:close/>
                <a:moveTo>
                  <a:pt x="1114215" y="686810"/>
                </a:moveTo>
                <a:cubicBezTo>
                  <a:pt x="1126568" y="686810"/>
                  <a:pt x="1138921" y="699163"/>
                  <a:pt x="1148803" y="711515"/>
                </a:cubicBezTo>
                <a:cubicBezTo>
                  <a:pt x="1161155" y="726339"/>
                  <a:pt x="1096922" y="748574"/>
                  <a:pt x="1101863" y="760926"/>
                </a:cubicBezTo>
                <a:cubicBezTo>
                  <a:pt x="1104333" y="773279"/>
                  <a:pt x="1091980" y="773279"/>
                  <a:pt x="1082098" y="775750"/>
                </a:cubicBezTo>
                <a:cubicBezTo>
                  <a:pt x="1072216" y="778220"/>
                  <a:pt x="1064804" y="770809"/>
                  <a:pt x="1054921" y="773279"/>
                </a:cubicBezTo>
                <a:cubicBezTo>
                  <a:pt x="1045039" y="775750"/>
                  <a:pt x="1037627" y="741162"/>
                  <a:pt x="1047510" y="728809"/>
                </a:cubicBezTo>
                <a:cubicBezTo>
                  <a:pt x="1057393" y="718927"/>
                  <a:pt x="1057393" y="711515"/>
                  <a:pt x="1072216" y="701633"/>
                </a:cubicBezTo>
                <a:cubicBezTo>
                  <a:pt x="1087039" y="691751"/>
                  <a:pt x="1099392" y="686810"/>
                  <a:pt x="1114215" y="686810"/>
                </a:cubicBezTo>
                <a:close/>
                <a:moveTo>
                  <a:pt x="1192654" y="586561"/>
                </a:moveTo>
                <a:cubicBezTo>
                  <a:pt x="1201919" y="585983"/>
                  <a:pt x="1205625" y="600343"/>
                  <a:pt x="1220448" y="607754"/>
                </a:cubicBezTo>
                <a:cubicBezTo>
                  <a:pt x="1242683" y="620106"/>
                  <a:pt x="1222918" y="647282"/>
                  <a:pt x="1227859" y="674459"/>
                </a:cubicBezTo>
                <a:cubicBezTo>
                  <a:pt x="1232801" y="704106"/>
                  <a:pt x="1232801" y="704106"/>
                  <a:pt x="1240212" y="723870"/>
                </a:cubicBezTo>
                <a:cubicBezTo>
                  <a:pt x="1245153" y="741164"/>
                  <a:pt x="1250094" y="751046"/>
                  <a:pt x="1257506" y="765869"/>
                </a:cubicBezTo>
                <a:cubicBezTo>
                  <a:pt x="1262447" y="778222"/>
                  <a:pt x="1245153" y="788104"/>
                  <a:pt x="1247624" y="802927"/>
                </a:cubicBezTo>
                <a:cubicBezTo>
                  <a:pt x="1250094" y="817751"/>
                  <a:pt x="1232801" y="830103"/>
                  <a:pt x="1222918" y="832574"/>
                </a:cubicBezTo>
                <a:cubicBezTo>
                  <a:pt x="1213036" y="835044"/>
                  <a:pt x="1193272" y="825162"/>
                  <a:pt x="1178449" y="827633"/>
                </a:cubicBezTo>
                <a:cubicBezTo>
                  <a:pt x="1161155" y="830103"/>
                  <a:pt x="1131507" y="812810"/>
                  <a:pt x="1124096" y="810339"/>
                </a:cubicBezTo>
                <a:cubicBezTo>
                  <a:pt x="1116684" y="807869"/>
                  <a:pt x="1126566" y="773281"/>
                  <a:pt x="1136448" y="763399"/>
                </a:cubicBezTo>
                <a:cubicBezTo>
                  <a:pt x="1146331" y="753517"/>
                  <a:pt x="1146331" y="748576"/>
                  <a:pt x="1161155" y="736223"/>
                </a:cubicBezTo>
                <a:cubicBezTo>
                  <a:pt x="1178449" y="723870"/>
                  <a:pt x="1173508" y="716459"/>
                  <a:pt x="1171037" y="713988"/>
                </a:cubicBezTo>
                <a:cubicBezTo>
                  <a:pt x="1171037" y="711517"/>
                  <a:pt x="1161155" y="696694"/>
                  <a:pt x="1158685" y="694224"/>
                </a:cubicBezTo>
                <a:cubicBezTo>
                  <a:pt x="1156214" y="689283"/>
                  <a:pt x="1151273" y="664576"/>
                  <a:pt x="1153743" y="644812"/>
                </a:cubicBezTo>
                <a:cubicBezTo>
                  <a:pt x="1158685" y="625047"/>
                  <a:pt x="1158685" y="612695"/>
                  <a:pt x="1180919" y="592930"/>
                </a:cubicBezTo>
                <a:cubicBezTo>
                  <a:pt x="1185860" y="588607"/>
                  <a:pt x="1189566" y="586754"/>
                  <a:pt x="1192654" y="586561"/>
                </a:cubicBezTo>
                <a:close/>
                <a:moveTo>
                  <a:pt x="1175979" y="373052"/>
                </a:moveTo>
                <a:cubicBezTo>
                  <a:pt x="1188331" y="373052"/>
                  <a:pt x="1217978" y="397757"/>
                  <a:pt x="1217978" y="397757"/>
                </a:cubicBezTo>
                <a:cubicBezTo>
                  <a:pt x="1217978" y="397757"/>
                  <a:pt x="1213037" y="417522"/>
                  <a:pt x="1205625" y="427404"/>
                </a:cubicBezTo>
                <a:cubicBezTo>
                  <a:pt x="1195743" y="439756"/>
                  <a:pt x="1185861" y="442227"/>
                  <a:pt x="1183390" y="444697"/>
                </a:cubicBezTo>
                <a:cubicBezTo>
                  <a:pt x="1178449" y="447168"/>
                  <a:pt x="1163626" y="454580"/>
                  <a:pt x="1158685" y="457050"/>
                </a:cubicBezTo>
                <a:cubicBezTo>
                  <a:pt x="1153744" y="459521"/>
                  <a:pt x="1143862" y="471873"/>
                  <a:pt x="1141391" y="489167"/>
                </a:cubicBezTo>
                <a:cubicBezTo>
                  <a:pt x="1138921" y="506461"/>
                  <a:pt x="1114215" y="491638"/>
                  <a:pt x="1096920" y="486697"/>
                </a:cubicBezTo>
                <a:cubicBezTo>
                  <a:pt x="1082097" y="484226"/>
                  <a:pt x="1072215" y="449639"/>
                  <a:pt x="1074685" y="439756"/>
                </a:cubicBezTo>
                <a:cubicBezTo>
                  <a:pt x="1079626" y="434815"/>
                  <a:pt x="1094450" y="412580"/>
                  <a:pt x="1096920" y="407639"/>
                </a:cubicBezTo>
                <a:cubicBezTo>
                  <a:pt x="1099392" y="400228"/>
                  <a:pt x="1121627" y="390346"/>
                  <a:pt x="1129038" y="390346"/>
                </a:cubicBezTo>
                <a:cubicBezTo>
                  <a:pt x="1136450" y="390346"/>
                  <a:pt x="1163626" y="370581"/>
                  <a:pt x="1175979" y="373052"/>
                </a:cubicBezTo>
                <a:close/>
                <a:moveTo>
                  <a:pt x="1786200" y="150703"/>
                </a:moveTo>
                <a:cubicBezTo>
                  <a:pt x="1687379" y="150703"/>
                  <a:pt x="1588557" y="158115"/>
                  <a:pt x="1492206" y="175409"/>
                </a:cubicBezTo>
                <a:cubicBezTo>
                  <a:pt x="1502088" y="185291"/>
                  <a:pt x="1469971" y="190232"/>
                  <a:pt x="1467501" y="197643"/>
                </a:cubicBezTo>
                <a:cubicBezTo>
                  <a:pt x="1462560" y="207526"/>
                  <a:pt x="1430443" y="212467"/>
                  <a:pt x="1420560" y="219878"/>
                </a:cubicBezTo>
                <a:cubicBezTo>
                  <a:pt x="1410678" y="227290"/>
                  <a:pt x="1361268" y="242113"/>
                  <a:pt x="1361268" y="242113"/>
                </a:cubicBezTo>
                <a:cubicBezTo>
                  <a:pt x="1336562" y="254466"/>
                  <a:pt x="1309386" y="264348"/>
                  <a:pt x="1284681" y="274230"/>
                </a:cubicBezTo>
                <a:cubicBezTo>
                  <a:pt x="1272328" y="281642"/>
                  <a:pt x="1252564" y="296465"/>
                  <a:pt x="1245152" y="301406"/>
                </a:cubicBezTo>
                <a:cubicBezTo>
                  <a:pt x="1240211" y="303877"/>
                  <a:pt x="1200683" y="316229"/>
                  <a:pt x="1185859" y="328582"/>
                </a:cubicBezTo>
                <a:cubicBezTo>
                  <a:pt x="1168566" y="340935"/>
                  <a:pt x="1124096" y="350817"/>
                  <a:pt x="1114214" y="353287"/>
                </a:cubicBezTo>
                <a:cubicBezTo>
                  <a:pt x="1104331" y="355758"/>
                  <a:pt x="1077156" y="360699"/>
                  <a:pt x="1054921" y="370581"/>
                </a:cubicBezTo>
                <a:cubicBezTo>
                  <a:pt x="1032686" y="382934"/>
                  <a:pt x="993157" y="415051"/>
                  <a:pt x="978334" y="422463"/>
                </a:cubicBezTo>
                <a:cubicBezTo>
                  <a:pt x="965981" y="429874"/>
                  <a:pt x="938805" y="449639"/>
                  <a:pt x="928923" y="464462"/>
                </a:cubicBezTo>
                <a:cubicBezTo>
                  <a:pt x="919041" y="481756"/>
                  <a:pt x="867160" y="496579"/>
                  <a:pt x="859748" y="506461"/>
                </a:cubicBezTo>
                <a:cubicBezTo>
                  <a:pt x="854807" y="516343"/>
                  <a:pt x="815278" y="533637"/>
                  <a:pt x="805396" y="548460"/>
                </a:cubicBezTo>
                <a:cubicBezTo>
                  <a:pt x="795514" y="565754"/>
                  <a:pt x="778220" y="570695"/>
                  <a:pt x="765867" y="585518"/>
                </a:cubicBezTo>
                <a:cubicBezTo>
                  <a:pt x="753515" y="600342"/>
                  <a:pt x="701634" y="602812"/>
                  <a:pt x="741162" y="543519"/>
                </a:cubicBezTo>
                <a:cubicBezTo>
                  <a:pt x="741162" y="543519"/>
                  <a:pt x="768338" y="513873"/>
                  <a:pt x="780691" y="506461"/>
                </a:cubicBezTo>
                <a:cubicBezTo>
                  <a:pt x="793044" y="499049"/>
                  <a:pt x="812808" y="474344"/>
                  <a:pt x="812808" y="474344"/>
                </a:cubicBezTo>
                <a:cubicBezTo>
                  <a:pt x="825161" y="461991"/>
                  <a:pt x="837513" y="449639"/>
                  <a:pt x="849866" y="437286"/>
                </a:cubicBezTo>
                <a:cubicBezTo>
                  <a:pt x="417522" y="736221"/>
                  <a:pt x="135880" y="1235271"/>
                  <a:pt x="135880" y="1801025"/>
                </a:cubicBezTo>
                <a:cubicBezTo>
                  <a:pt x="135880" y="1857847"/>
                  <a:pt x="138350" y="1914670"/>
                  <a:pt x="143291" y="1969022"/>
                </a:cubicBezTo>
                <a:cubicBezTo>
                  <a:pt x="150703" y="1986315"/>
                  <a:pt x="160585" y="2003609"/>
                  <a:pt x="163056" y="2011021"/>
                </a:cubicBezTo>
                <a:cubicBezTo>
                  <a:pt x="170468" y="2028315"/>
                  <a:pt x="197643" y="2045608"/>
                  <a:pt x="202584" y="2070314"/>
                </a:cubicBezTo>
                <a:cubicBezTo>
                  <a:pt x="207526" y="2092549"/>
                  <a:pt x="207526" y="2085137"/>
                  <a:pt x="222349" y="2117254"/>
                </a:cubicBezTo>
                <a:cubicBezTo>
                  <a:pt x="239642" y="2149371"/>
                  <a:pt x="281642" y="2146901"/>
                  <a:pt x="289053" y="2176547"/>
                </a:cubicBezTo>
                <a:cubicBezTo>
                  <a:pt x="296465" y="2206194"/>
                  <a:pt x="301406" y="2240781"/>
                  <a:pt x="296465" y="2265487"/>
                </a:cubicBezTo>
                <a:cubicBezTo>
                  <a:pt x="291524" y="2290192"/>
                  <a:pt x="306347" y="2322309"/>
                  <a:pt x="316229" y="2322309"/>
                </a:cubicBezTo>
                <a:cubicBezTo>
                  <a:pt x="326111" y="2322309"/>
                  <a:pt x="385404" y="2329721"/>
                  <a:pt x="392816" y="2342073"/>
                </a:cubicBezTo>
                <a:cubicBezTo>
                  <a:pt x="400227" y="2354426"/>
                  <a:pt x="459521" y="2366779"/>
                  <a:pt x="459521" y="2381602"/>
                </a:cubicBezTo>
                <a:cubicBezTo>
                  <a:pt x="459521" y="2396425"/>
                  <a:pt x="513872" y="2408778"/>
                  <a:pt x="508931" y="2421131"/>
                </a:cubicBezTo>
                <a:cubicBezTo>
                  <a:pt x="503990" y="2433483"/>
                  <a:pt x="550931" y="2473012"/>
                  <a:pt x="541049" y="2487835"/>
                </a:cubicBezTo>
                <a:cubicBezTo>
                  <a:pt x="528696" y="2502659"/>
                  <a:pt x="550931" y="2515011"/>
                  <a:pt x="531166" y="2539717"/>
                </a:cubicBezTo>
                <a:cubicBezTo>
                  <a:pt x="513872" y="2561952"/>
                  <a:pt x="543519" y="2566893"/>
                  <a:pt x="545990" y="2594069"/>
                </a:cubicBezTo>
                <a:cubicBezTo>
                  <a:pt x="550931" y="2621245"/>
                  <a:pt x="563283" y="2599010"/>
                  <a:pt x="570695" y="2665714"/>
                </a:cubicBezTo>
                <a:cubicBezTo>
                  <a:pt x="578107" y="2732419"/>
                  <a:pt x="597871" y="2727478"/>
                  <a:pt x="600341" y="2771948"/>
                </a:cubicBezTo>
                <a:cubicBezTo>
                  <a:pt x="605282" y="2816417"/>
                  <a:pt x="639870" y="2833711"/>
                  <a:pt x="637399" y="2853475"/>
                </a:cubicBezTo>
                <a:cubicBezTo>
                  <a:pt x="637399" y="2873240"/>
                  <a:pt x="659634" y="2885593"/>
                  <a:pt x="679399" y="2920180"/>
                </a:cubicBezTo>
                <a:cubicBezTo>
                  <a:pt x="699163" y="2957238"/>
                  <a:pt x="706575" y="2927592"/>
                  <a:pt x="736221" y="2981944"/>
                </a:cubicBezTo>
                <a:cubicBezTo>
                  <a:pt x="763397" y="3036296"/>
                  <a:pt x="822690" y="3065942"/>
                  <a:pt x="822690" y="3093118"/>
                </a:cubicBezTo>
                <a:cubicBezTo>
                  <a:pt x="822690" y="3106706"/>
                  <a:pt x="825161" y="3116589"/>
                  <a:pt x="827940" y="3124309"/>
                </a:cubicBezTo>
                <a:lnTo>
                  <a:pt x="834308" y="3140644"/>
                </a:lnTo>
                <a:lnTo>
                  <a:pt x="824623" y="3133235"/>
                </a:lnTo>
                <a:lnTo>
                  <a:pt x="824778" y="3134098"/>
                </a:lnTo>
                <a:lnTo>
                  <a:pt x="835043" y="3142529"/>
                </a:lnTo>
                <a:lnTo>
                  <a:pt x="834308" y="3140644"/>
                </a:lnTo>
                <a:lnTo>
                  <a:pt x="881983" y="3177117"/>
                </a:lnTo>
                <a:cubicBezTo>
                  <a:pt x="1142625" y="3348819"/>
                  <a:pt x="1455148" y="3448876"/>
                  <a:pt x="1791141" y="3448876"/>
                </a:cubicBezTo>
                <a:cubicBezTo>
                  <a:pt x="2705242" y="3448876"/>
                  <a:pt x="3446404" y="2707713"/>
                  <a:pt x="3438992" y="1810907"/>
                </a:cubicBezTo>
                <a:lnTo>
                  <a:pt x="3433956" y="1712153"/>
                </a:lnTo>
                <a:lnTo>
                  <a:pt x="3434051" y="1712085"/>
                </a:lnTo>
                <a:lnTo>
                  <a:pt x="3433841" y="1709909"/>
                </a:lnTo>
                <a:lnTo>
                  <a:pt x="3430306" y="1640594"/>
                </a:lnTo>
                <a:lnTo>
                  <a:pt x="3421946" y="1586471"/>
                </a:lnTo>
                <a:lnTo>
                  <a:pt x="3420231" y="1568678"/>
                </a:lnTo>
                <a:lnTo>
                  <a:pt x="3414364" y="1537390"/>
                </a:lnTo>
                <a:lnTo>
                  <a:pt x="3404713" y="1474914"/>
                </a:lnTo>
                <a:lnTo>
                  <a:pt x="3397387" y="1446854"/>
                </a:lnTo>
                <a:lnTo>
                  <a:pt x="3393904" y="1428282"/>
                </a:lnTo>
                <a:lnTo>
                  <a:pt x="3375199" y="1361874"/>
                </a:lnTo>
                <a:lnTo>
                  <a:pt x="3362907" y="1314792"/>
                </a:lnTo>
                <a:lnTo>
                  <a:pt x="3358954" y="1304198"/>
                </a:lnTo>
                <a:lnTo>
                  <a:pt x="3355534" y="1292055"/>
                </a:lnTo>
                <a:cubicBezTo>
                  <a:pt x="3340788" y="1247470"/>
                  <a:pt x="3324112" y="1203772"/>
                  <a:pt x="3305583" y="1161155"/>
                </a:cubicBezTo>
                <a:lnTo>
                  <a:pt x="3358954" y="1304198"/>
                </a:lnTo>
                <a:lnTo>
                  <a:pt x="3375199" y="1361874"/>
                </a:lnTo>
                <a:lnTo>
                  <a:pt x="3397387" y="1446854"/>
                </a:lnTo>
                <a:lnTo>
                  <a:pt x="3414364" y="1537390"/>
                </a:lnTo>
                <a:lnTo>
                  <a:pt x="3421946" y="1586471"/>
                </a:lnTo>
                <a:lnTo>
                  <a:pt x="3433841" y="1709909"/>
                </a:lnTo>
                <a:lnTo>
                  <a:pt x="3433956" y="1712153"/>
                </a:lnTo>
                <a:lnTo>
                  <a:pt x="3416757" y="1724438"/>
                </a:lnTo>
                <a:cubicBezTo>
                  <a:pt x="3396993" y="1734320"/>
                  <a:pt x="3372287" y="1744202"/>
                  <a:pt x="3357464" y="1759026"/>
                </a:cubicBezTo>
                <a:cubicBezTo>
                  <a:pt x="3345111" y="1776319"/>
                  <a:pt x="3340170" y="1793613"/>
                  <a:pt x="3342641" y="1813378"/>
                </a:cubicBezTo>
                <a:cubicBezTo>
                  <a:pt x="3345111" y="1835612"/>
                  <a:pt x="3367346" y="1855377"/>
                  <a:pt x="3374757" y="1877612"/>
                </a:cubicBezTo>
                <a:cubicBezTo>
                  <a:pt x="3379699" y="1899846"/>
                  <a:pt x="3384640" y="1919611"/>
                  <a:pt x="3382169" y="1949257"/>
                </a:cubicBezTo>
                <a:cubicBezTo>
                  <a:pt x="3379699" y="1978904"/>
                  <a:pt x="3377228" y="2028315"/>
                  <a:pt x="3362405" y="2048079"/>
                </a:cubicBezTo>
                <a:cubicBezTo>
                  <a:pt x="3350052" y="2067843"/>
                  <a:pt x="3332759" y="2033256"/>
                  <a:pt x="3322877" y="2040667"/>
                </a:cubicBezTo>
                <a:cubicBezTo>
                  <a:pt x="3312994" y="2050549"/>
                  <a:pt x="3322877" y="2050549"/>
                  <a:pt x="3327817" y="2082667"/>
                </a:cubicBezTo>
                <a:cubicBezTo>
                  <a:pt x="3332759" y="2114784"/>
                  <a:pt x="3325347" y="2127136"/>
                  <a:pt x="3330288" y="2149371"/>
                </a:cubicBezTo>
                <a:cubicBezTo>
                  <a:pt x="3332759" y="2171606"/>
                  <a:pt x="3327817" y="2188900"/>
                  <a:pt x="3330288" y="2203723"/>
                </a:cubicBezTo>
                <a:cubicBezTo>
                  <a:pt x="3332759" y="2218546"/>
                  <a:pt x="3310524" y="2225958"/>
                  <a:pt x="3303112" y="2235840"/>
                </a:cubicBezTo>
                <a:cubicBezTo>
                  <a:pt x="3295700" y="2248193"/>
                  <a:pt x="3298171" y="2265487"/>
                  <a:pt x="3308053" y="2307486"/>
                </a:cubicBezTo>
                <a:cubicBezTo>
                  <a:pt x="3315465" y="2347014"/>
                  <a:pt x="3293230" y="2334662"/>
                  <a:pt x="3283348" y="2349485"/>
                </a:cubicBezTo>
                <a:cubicBezTo>
                  <a:pt x="3275936" y="2361838"/>
                  <a:pt x="3278406" y="2361838"/>
                  <a:pt x="3280877" y="2376661"/>
                </a:cubicBezTo>
                <a:cubicBezTo>
                  <a:pt x="3283348" y="2393955"/>
                  <a:pt x="3273466" y="2418660"/>
                  <a:pt x="3266054" y="2470542"/>
                </a:cubicBezTo>
                <a:cubicBezTo>
                  <a:pt x="3256172" y="2519952"/>
                  <a:pt x="3224055" y="2505129"/>
                  <a:pt x="3224055" y="2505129"/>
                </a:cubicBezTo>
                <a:cubicBezTo>
                  <a:pt x="3224055" y="2505129"/>
                  <a:pt x="3209232" y="2477953"/>
                  <a:pt x="3224055" y="2440895"/>
                </a:cubicBezTo>
                <a:cubicBezTo>
                  <a:pt x="3238878" y="2403837"/>
                  <a:pt x="3224055" y="2413719"/>
                  <a:pt x="3231466" y="2374190"/>
                </a:cubicBezTo>
                <a:cubicBezTo>
                  <a:pt x="3236408" y="2332191"/>
                  <a:pt x="3226525" y="2329721"/>
                  <a:pt x="3233937" y="2307486"/>
                </a:cubicBezTo>
                <a:cubicBezTo>
                  <a:pt x="3241348" y="2285251"/>
                  <a:pt x="3231466" y="2272898"/>
                  <a:pt x="3231466" y="2248193"/>
                </a:cubicBezTo>
                <a:cubicBezTo>
                  <a:pt x="3231466" y="2221017"/>
                  <a:pt x="3226525" y="2233370"/>
                  <a:pt x="3219114" y="2201253"/>
                </a:cubicBezTo>
                <a:cubicBezTo>
                  <a:pt x="3211702" y="2166665"/>
                  <a:pt x="3231466" y="2141959"/>
                  <a:pt x="3236408" y="2134548"/>
                </a:cubicBezTo>
                <a:cubicBezTo>
                  <a:pt x="3241348" y="2127136"/>
                  <a:pt x="3248760" y="2156783"/>
                  <a:pt x="3251230" y="2166665"/>
                </a:cubicBezTo>
                <a:cubicBezTo>
                  <a:pt x="3251230" y="2179018"/>
                  <a:pt x="3261113" y="2186429"/>
                  <a:pt x="3275936" y="2164194"/>
                </a:cubicBezTo>
                <a:cubicBezTo>
                  <a:pt x="3288288" y="2139489"/>
                  <a:pt x="3278406" y="2134548"/>
                  <a:pt x="3283348" y="2114784"/>
                </a:cubicBezTo>
                <a:cubicBezTo>
                  <a:pt x="3288288" y="2097490"/>
                  <a:pt x="3283348" y="2080196"/>
                  <a:pt x="3285818" y="2060432"/>
                </a:cubicBezTo>
                <a:cubicBezTo>
                  <a:pt x="3285818" y="2040667"/>
                  <a:pt x="3288288" y="1973963"/>
                  <a:pt x="3293230" y="1951728"/>
                </a:cubicBezTo>
                <a:cubicBezTo>
                  <a:pt x="3298171" y="1941846"/>
                  <a:pt x="3298171" y="1941846"/>
                  <a:pt x="3295700" y="1944316"/>
                </a:cubicBezTo>
                <a:cubicBezTo>
                  <a:pt x="3295700" y="1944316"/>
                  <a:pt x="3295700" y="1944316"/>
                  <a:pt x="3298171" y="1941846"/>
                </a:cubicBezTo>
                <a:cubicBezTo>
                  <a:pt x="3303112" y="1924552"/>
                  <a:pt x="3270995" y="1931963"/>
                  <a:pt x="3248760" y="1927022"/>
                </a:cubicBezTo>
                <a:cubicBezTo>
                  <a:pt x="3226525" y="1924552"/>
                  <a:pt x="3246290" y="1867729"/>
                  <a:pt x="3246290" y="1838083"/>
                </a:cubicBezTo>
                <a:cubicBezTo>
                  <a:pt x="3246290" y="1808436"/>
                  <a:pt x="3226525" y="1798554"/>
                  <a:pt x="3226525" y="1776319"/>
                </a:cubicBezTo>
                <a:cubicBezTo>
                  <a:pt x="3226525" y="1754085"/>
                  <a:pt x="3231466" y="1719497"/>
                  <a:pt x="3221584" y="1719497"/>
                </a:cubicBezTo>
                <a:cubicBezTo>
                  <a:pt x="3214172" y="1721967"/>
                  <a:pt x="3182056" y="1699733"/>
                  <a:pt x="3164761" y="1709615"/>
                </a:cubicBezTo>
                <a:cubicBezTo>
                  <a:pt x="3144997" y="1721967"/>
                  <a:pt x="3135115" y="1751614"/>
                  <a:pt x="3122763" y="1768908"/>
                </a:cubicBezTo>
                <a:cubicBezTo>
                  <a:pt x="3110410" y="1786202"/>
                  <a:pt x="3095587" y="1805966"/>
                  <a:pt x="3090645" y="1813378"/>
                </a:cubicBezTo>
                <a:cubicBezTo>
                  <a:pt x="3085705" y="1820789"/>
                  <a:pt x="3026412" y="1870200"/>
                  <a:pt x="3019000" y="1892435"/>
                </a:cubicBezTo>
                <a:cubicBezTo>
                  <a:pt x="3009118" y="1914670"/>
                  <a:pt x="3028882" y="1917140"/>
                  <a:pt x="3026412" y="1936905"/>
                </a:cubicBezTo>
                <a:cubicBezTo>
                  <a:pt x="3023941" y="1959140"/>
                  <a:pt x="3023941" y="2030785"/>
                  <a:pt x="3009118" y="2065373"/>
                </a:cubicBezTo>
                <a:cubicBezTo>
                  <a:pt x="2996765" y="2102431"/>
                  <a:pt x="2986883" y="2141959"/>
                  <a:pt x="2954766" y="2124666"/>
                </a:cubicBezTo>
                <a:cubicBezTo>
                  <a:pt x="2922649" y="2107372"/>
                  <a:pt x="2932531" y="2060432"/>
                  <a:pt x="2930060" y="2023374"/>
                </a:cubicBezTo>
                <a:cubicBezTo>
                  <a:pt x="2927590" y="1986315"/>
                  <a:pt x="2935002" y="1951728"/>
                  <a:pt x="2930060" y="1919611"/>
                </a:cubicBezTo>
                <a:cubicBezTo>
                  <a:pt x="2925120" y="1889964"/>
                  <a:pt x="2907825" y="1867729"/>
                  <a:pt x="2902885" y="1835612"/>
                </a:cubicBezTo>
                <a:cubicBezTo>
                  <a:pt x="2897943" y="1803495"/>
                  <a:pt x="2912767" y="1749143"/>
                  <a:pt x="2900414" y="1724438"/>
                </a:cubicBezTo>
                <a:cubicBezTo>
                  <a:pt x="2888061" y="1697262"/>
                  <a:pt x="2865827" y="1721967"/>
                  <a:pt x="2846062" y="1709615"/>
                </a:cubicBezTo>
                <a:cubicBezTo>
                  <a:pt x="2828769" y="1697262"/>
                  <a:pt x="2806533" y="1675027"/>
                  <a:pt x="2791711" y="1655263"/>
                </a:cubicBezTo>
                <a:cubicBezTo>
                  <a:pt x="2776887" y="1635498"/>
                  <a:pt x="2779358" y="1630557"/>
                  <a:pt x="2757122" y="1620675"/>
                </a:cubicBezTo>
                <a:cubicBezTo>
                  <a:pt x="2737358" y="1608323"/>
                  <a:pt x="2710182" y="1610793"/>
                  <a:pt x="2685477" y="1600911"/>
                </a:cubicBezTo>
                <a:cubicBezTo>
                  <a:pt x="2537244" y="1544088"/>
                  <a:pt x="2633595" y="1630557"/>
                  <a:pt x="2561950" y="1534206"/>
                </a:cubicBezTo>
                <a:cubicBezTo>
                  <a:pt x="2557009" y="1526795"/>
                  <a:pt x="2529833" y="1553971"/>
                  <a:pt x="2510068" y="1566323"/>
                </a:cubicBezTo>
                <a:cubicBezTo>
                  <a:pt x="2492775" y="1578676"/>
                  <a:pt x="2495246" y="1573735"/>
                  <a:pt x="2490304" y="1571264"/>
                </a:cubicBezTo>
                <a:cubicBezTo>
                  <a:pt x="2482893" y="1568794"/>
                  <a:pt x="2463128" y="1558912"/>
                  <a:pt x="2455717" y="1556441"/>
                </a:cubicBezTo>
                <a:cubicBezTo>
                  <a:pt x="2448305" y="1553971"/>
                  <a:pt x="2438423" y="1524324"/>
                  <a:pt x="2440894" y="1509501"/>
                </a:cubicBezTo>
                <a:cubicBezTo>
                  <a:pt x="2448305" y="1492207"/>
                  <a:pt x="2418659" y="1487266"/>
                  <a:pt x="2416188" y="1469972"/>
                </a:cubicBezTo>
                <a:cubicBezTo>
                  <a:pt x="2408777" y="1452678"/>
                  <a:pt x="2384071" y="1450208"/>
                  <a:pt x="2384071" y="1450208"/>
                </a:cubicBezTo>
                <a:cubicBezTo>
                  <a:pt x="2384071" y="1450208"/>
                  <a:pt x="2356895" y="1452678"/>
                  <a:pt x="2347013" y="1462561"/>
                </a:cubicBezTo>
                <a:cubicBezTo>
                  <a:pt x="2337131" y="1472443"/>
                  <a:pt x="2347013" y="1472443"/>
                  <a:pt x="2359366" y="1492207"/>
                </a:cubicBezTo>
                <a:cubicBezTo>
                  <a:pt x="2374189" y="1511971"/>
                  <a:pt x="2366777" y="1516913"/>
                  <a:pt x="2384071" y="1541618"/>
                </a:cubicBezTo>
                <a:cubicBezTo>
                  <a:pt x="2398894" y="1563853"/>
                  <a:pt x="2416188" y="1595970"/>
                  <a:pt x="2418659" y="1613264"/>
                </a:cubicBezTo>
                <a:cubicBezTo>
                  <a:pt x="2421130" y="1633028"/>
                  <a:pt x="2426070" y="1628087"/>
                  <a:pt x="2438423" y="1642910"/>
                </a:cubicBezTo>
                <a:cubicBezTo>
                  <a:pt x="2450776" y="1660204"/>
                  <a:pt x="2497716" y="1642910"/>
                  <a:pt x="2505128" y="1635498"/>
                </a:cubicBezTo>
                <a:cubicBezTo>
                  <a:pt x="2515010" y="1625616"/>
                  <a:pt x="2519951" y="1598440"/>
                  <a:pt x="2537244" y="1600911"/>
                </a:cubicBezTo>
                <a:cubicBezTo>
                  <a:pt x="2554539" y="1603382"/>
                  <a:pt x="2554539" y="1635498"/>
                  <a:pt x="2569362" y="1650322"/>
                </a:cubicBezTo>
                <a:cubicBezTo>
                  <a:pt x="2581715" y="1660204"/>
                  <a:pt x="2606420" y="1657733"/>
                  <a:pt x="2613831" y="1675027"/>
                </a:cubicBezTo>
                <a:cubicBezTo>
                  <a:pt x="2621243" y="1692321"/>
                  <a:pt x="2613831" y="1717026"/>
                  <a:pt x="2606420" y="1734320"/>
                </a:cubicBezTo>
                <a:cubicBezTo>
                  <a:pt x="2599008" y="1754085"/>
                  <a:pt x="2584185" y="1763967"/>
                  <a:pt x="2569362" y="1783731"/>
                </a:cubicBezTo>
                <a:cubicBezTo>
                  <a:pt x="2552068" y="1803495"/>
                  <a:pt x="2534774" y="1835612"/>
                  <a:pt x="2510068" y="1855377"/>
                </a:cubicBezTo>
                <a:cubicBezTo>
                  <a:pt x="2485363" y="1877612"/>
                  <a:pt x="2460658" y="1887494"/>
                  <a:pt x="2421130" y="1904787"/>
                </a:cubicBezTo>
                <a:cubicBezTo>
                  <a:pt x="2379130" y="1922081"/>
                  <a:pt x="2334660" y="1934434"/>
                  <a:pt x="2305014" y="1946787"/>
                </a:cubicBezTo>
                <a:cubicBezTo>
                  <a:pt x="2277838" y="1961610"/>
                  <a:pt x="2272897" y="1966551"/>
                  <a:pt x="2263015" y="1966551"/>
                </a:cubicBezTo>
                <a:cubicBezTo>
                  <a:pt x="2255603" y="1964081"/>
                  <a:pt x="2243250" y="1969022"/>
                  <a:pt x="2238309" y="1954198"/>
                </a:cubicBezTo>
                <a:cubicBezTo>
                  <a:pt x="2233368" y="1939375"/>
                  <a:pt x="2223486" y="1902317"/>
                  <a:pt x="2221016" y="1892435"/>
                </a:cubicBezTo>
                <a:cubicBezTo>
                  <a:pt x="2221016" y="1880082"/>
                  <a:pt x="2230898" y="1870200"/>
                  <a:pt x="2223486" y="1855377"/>
                </a:cubicBezTo>
                <a:cubicBezTo>
                  <a:pt x="2216074" y="1840553"/>
                  <a:pt x="2206192" y="1805966"/>
                  <a:pt x="2188899" y="1796084"/>
                </a:cubicBezTo>
                <a:cubicBezTo>
                  <a:pt x="2174075" y="1786202"/>
                  <a:pt x="2164193" y="1766437"/>
                  <a:pt x="2154311" y="1746673"/>
                </a:cubicBezTo>
                <a:cubicBezTo>
                  <a:pt x="2144429" y="1726909"/>
                  <a:pt x="2122194" y="1702203"/>
                  <a:pt x="2122194" y="1702203"/>
                </a:cubicBezTo>
                <a:cubicBezTo>
                  <a:pt x="2122194" y="1702203"/>
                  <a:pt x="2117253" y="1697262"/>
                  <a:pt x="2107371" y="1665145"/>
                </a:cubicBezTo>
                <a:cubicBezTo>
                  <a:pt x="2097489" y="1635498"/>
                  <a:pt x="2104900" y="1625616"/>
                  <a:pt x="2090077" y="1608323"/>
                </a:cubicBezTo>
                <a:cubicBezTo>
                  <a:pt x="2072783" y="1591029"/>
                  <a:pt x="2072783" y="1563853"/>
                  <a:pt x="2057960" y="1553971"/>
                </a:cubicBezTo>
                <a:cubicBezTo>
                  <a:pt x="2043136" y="1544088"/>
                  <a:pt x="2030784" y="1519383"/>
                  <a:pt x="2020902" y="1511971"/>
                </a:cubicBezTo>
                <a:cubicBezTo>
                  <a:pt x="2011020" y="1504560"/>
                  <a:pt x="2013490" y="1487266"/>
                  <a:pt x="1996196" y="1502089"/>
                </a:cubicBezTo>
                <a:cubicBezTo>
                  <a:pt x="1976432" y="1519383"/>
                  <a:pt x="1973962" y="1519383"/>
                  <a:pt x="1978903" y="1544088"/>
                </a:cubicBezTo>
                <a:cubicBezTo>
                  <a:pt x="1986314" y="1571264"/>
                  <a:pt x="2006078" y="1605852"/>
                  <a:pt x="2011020" y="1620675"/>
                </a:cubicBezTo>
                <a:cubicBezTo>
                  <a:pt x="2018431" y="1637969"/>
                  <a:pt x="2033254" y="1650322"/>
                  <a:pt x="2030784" y="1660204"/>
                </a:cubicBezTo>
                <a:cubicBezTo>
                  <a:pt x="2028313" y="1670086"/>
                  <a:pt x="2038195" y="1689850"/>
                  <a:pt x="2048078" y="1697262"/>
                </a:cubicBezTo>
                <a:cubicBezTo>
                  <a:pt x="2057960" y="1707144"/>
                  <a:pt x="2065372" y="1697262"/>
                  <a:pt x="2062901" y="1724438"/>
                </a:cubicBezTo>
                <a:cubicBezTo>
                  <a:pt x="2060431" y="1749143"/>
                  <a:pt x="2082665" y="1746673"/>
                  <a:pt x="2075254" y="1768908"/>
                </a:cubicBezTo>
                <a:cubicBezTo>
                  <a:pt x="2067842" y="1791143"/>
                  <a:pt x="2095018" y="1793613"/>
                  <a:pt x="2099959" y="1808436"/>
                </a:cubicBezTo>
                <a:cubicBezTo>
                  <a:pt x="2102430" y="1820789"/>
                  <a:pt x="2124664" y="1823260"/>
                  <a:pt x="2127135" y="1845494"/>
                </a:cubicBezTo>
                <a:cubicBezTo>
                  <a:pt x="2127135" y="1870200"/>
                  <a:pt x="2141958" y="1862788"/>
                  <a:pt x="2151840" y="1887494"/>
                </a:cubicBezTo>
                <a:cubicBezTo>
                  <a:pt x="2159252" y="1912199"/>
                  <a:pt x="2164193" y="1904787"/>
                  <a:pt x="2179016" y="1919611"/>
                </a:cubicBezTo>
                <a:cubicBezTo>
                  <a:pt x="2193840" y="1934434"/>
                  <a:pt x="2193840" y="1929493"/>
                  <a:pt x="2208663" y="1944316"/>
                </a:cubicBezTo>
                <a:cubicBezTo>
                  <a:pt x="2223486" y="1959140"/>
                  <a:pt x="2230898" y="1966551"/>
                  <a:pt x="2233368" y="1969022"/>
                </a:cubicBezTo>
                <a:cubicBezTo>
                  <a:pt x="2238309" y="1971492"/>
                  <a:pt x="2233368" y="1971492"/>
                  <a:pt x="2235839" y="1978904"/>
                </a:cubicBezTo>
                <a:cubicBezTo>
                  <a:pt x="2235839" y="1988786"/>
                  <a:pt x="2218545" y="1993727"/>
                  <a:pt x="2238309" y="1996198"/>
                </a:cubicBezTo>
                <a:cubicBezTo>
                  <a:pt x="2260544" y="2001139"/>
                  <a:pt x="2305014" y="1996198"/>
                  <a:pt x="2337131" y="1993727"/>
                </a:cubicBezTo>
                <a:cubicBezTo>
                  <a:pt x="2371718" y="1991256"/>
                  <a:pt x="2411247" y="1971492"/>
                  <a:pt x="2423599" y="2006080"/>
                </a:cubicBezTo>
                <a:cubicBezTo>
                  <a:pt x="2435952" y="2038197"/>
                  <a:pt x="2403835" y="2045608"/>
                  <a:pt x="2396424" y="2077725"/>
                </a:cubicBezTo>
                <a:cubicBezTo>
                  <a:pt x="2386542" y="2109843"/>
                  <a:pt x="2413717" y="2122195"/>
                  <a:pt x="2393953" y="2164194"/>
                </a:cubicBezTo>
                <a:cubicBezTo>
                  <a:pt x="2371718" y="2206194"/>
                  <a:pt x="2265485" y="2260546"/>
                  <a:pt x="2238309" y="2282780"/>
                </a:cubicBezTo>
                <a:cubicBezTo>
                  <a:pt x="2211133" y="2305015"/>
                  <a:pt x="2129605" y="2312427"/>
                  <a:pt x="2129605" y="2398896"/>
                </a:cubicBezTo>
                <a:cubicBezTo>
                  <a:pt x="2132076" y="2502659"/>
                  <a:pt x="2060431" y="2435954"/>
                  <a:pt x="2085136" y="2626186"/>
                </a:cubicBezTo>
                <a:cubicBezTo>
                  <a:pt x="2090077" y="2660773"/>
                  <a:pt x="2124664" y="2675597"/>
                  <a:pt x="2090077" y="2710184"/>
                </a:cubicBezTo>
                <a:cubicBezTo>
                  <a:pt x="2053019" y="2744772"/>
                  <a:pt x="2025843" y="2710184"/>
                  <a:pt x="2003608" y="2725007"/>
                </a:cubicBezTo>
                <a:cubicBezTo>
                  <a:pt x="1981373" y="2742301"/>
                  <a:pt x="1978903" y="2754654"/>
                  <a:pt x="1971491" y="2779359"/>
                </a:cubicBezTo>
                <a:cubicBezTo>
                  <a:pt x="1964079" y="2804065"/>
                  <a:pt x="1956668" y="2848534"/>
                  <a:pt x="1949256" y="2873240"/>
                </a:cubicBezTo>
                <a:cubicBezTo>
                  <a:pt x="1941845" y="2897945"/>
                  <a:pt x="1951727" y="2900416"/>
                  <a:pt x="1931962" y="2935003"/>
                </a:cubicBezTo>
                <a:cubicBezTo>
                  <a:pt x="1909727" y="2969591"/>
                  <a:pt x="1855376" y="3028884"/>
                  <a:pt x="1818318" y="3078295"/>
                </a:cubicBezTo>
                <a:cubicBezTo>
                  <a:pt x="1791141" y="3075824"/>
                  <a:pt x="1763966" y="3075824"/>
                  <a:pt x="1736790" y="3073354"/>
                </a:cubicBezTo>
                <a:cubicBezTo>
                  <a:pt x="1712084" y="3080765"/>
                  <a:pt x="1684908" y="3085706"/>
                  <a:pt x="1660203" y="3088177"/>
                </a:cubicBezTo>
                <a:cubicBezTo>
                  <a:pt x="1633027" y="3068413"/>
                  <a:pt x="1595969" y="3046178"/>
                  <a:pt x="1578675" y="3031354"/>
                </a:cubicBezTo>
                <a:cubicBezTo>
                  <a:pt x="1561381" y="3014061"/>
                  <a:pt x="1561381" y="2996767"/>
                  <a:pt x="1558911" y="2989355"/>
                </a:cubicBezTo>
                <a:cubicBezTo>
                  <a:pt x="1556440" y="2981944"/>
                  <a:pt x="1534205" y="2952297"/>
                  <a:pt x="1536676" y="2927592"/>
                </a:cubicBezTo>
                <a:cubicBezTo>
                  <a:pt x="1541617" y="2900416"/>
                  <a:pt x="1539146" y="2888063"/>
                  <a:pt x="1534205" y="2878181"/>
                </a:cubicBezTo>
                <a:cubicBezTo>
                  <a:pt x="1526794" y="2870769"/>
                  <a:pt x="1507029" y="2828770"/>
                  <a:pt x="1502088" y="2821358"/>
                </a:cubicBezTo>
                <a:cubicBezTo>
                  <a:pt x="1497147" y="2811476"/>
                  <a:pt x="1437854" y="2762066"/>
                  <a:pt x="1435384" y="2737360"/>
                </a:cubicBezTo>
                <a:cubicBezTo>
                  <a:pt x="1430443" y="2710184"/>
                  <a:pt x="1430443" y="2705243"/>
                  <a:pt x="1452678" y="2687949"/>
                </a:cubicBezTo>
                <a:cubicBezTo>
                  <a:pt x="1474912" y="2670655"/>
                  <a:pt x="1437854" y="2643479"/>
                  <a:pt x="1437854" y="2621245"/>
                </a:cubicBezTo>
                <a:cubicBezTo>
                  <a:pt x="1437854" y="2599010"/>
                  <a:pt x="1442796" y="2559481"/>
                  <a:pt x="1442796" y="2559481"/>
                </a:cubicBezTo>
                <a:cubicBezTo>
                  <a:pt x="1442796" y="2559481"/>
                  <a:pt x="1420560" y="2529835"/>
                  <a:pt x="1415619" y="2505129"/>
                </a:cubicBezTo>
                <a:cubicBezTo>
                  <a:pt x="1413149" y="2477953"/>
                  <a:pt x="1398326" y="2470542"/>
                  <a:pt x="1390914" y="2438424"/>
                </a:cubicBezTo>
                <a:cubicBezTo>
                  <a:pt x="1381032" y="2406308"/>
                  <a:pt x="1358797" y="2421131"/>
                  <a:pt x="1336562" y="2398896"/>
                </a:cubicBezTo>
                <a:cubicBezTo>
                  <a:pt x="1314327" y="2376661"/>
                  <a:pt x="1326680" y="2347014"/>
                  <a:pt x="1329151" y="2339603"/>
                </a:cubicBezTo>
                <a:cubicBezTo>
                  <a:pt x="1329151" y="2329721"/>
                  <a:pt x="1331621" y="2297604"/>
                  <a:pt x="1331621" y="2290192"/>
                </a:cubicBezTo>
                <a:cubicBezTo>
                  <a:pt x="1334092" y="2280310"/>
                  <a:pt x="1339033" y="2225958"/>
                  <a:pt x="1331621" y="2203723"/>
                </a:cubicBezTo>
                <a:cubicBezTo>
                  <a:pt x="1324210" y="2181488"/>
                  <a:pt x="1306916" y="2230899"/>
                  <a:pt x="1264916" y="2230899"/>
                </a:cubicBezTo>
                <a:cubicBezTo>
                  <a:pt x="1225388" y="2230899"/>
                  <a:pt x="1232800" y="2201253"/>
                  <a:pt x="1230329" y="2164194"/>
                </a:cubicBezTo>
                <a:cubicBezTo>
                  <a:pt x="1225388" y="2129607"/>
                  <a:pt x="1158684" y="2156783"/>
                  <a:pt x="1158684" y="2156783"/>
                </a:cubicBezTo>
                <a:cubicBezTo>
                  <a:pt x="1158684" y="2156783"/>
                  <a:pt x="1121625" y="2171606"/>
                  <a:pt x="1082097" y="2188900"/>
                </a:cubicBezTo>
                <a:cubicBezTo>
                  <a:pt x="1042568" y="2206194"/>
                  <a:pt x="1064803" y="2193841"/>
                  <a:pt x="953629" y="2166665"/>
                </a:cubicBezTo>
                <a:cubicBezTo>
                  <a:pt x="842454" y="2139489"/>
                  <a:pt x="919041" y="2171606"/>
                  <a:pt x="869630" y="2188900"/>
                </a:cubicBezTo>
                <a:cubicBezTo>
                  <a:pt x="820219" y="2206194"/>
                  <a:pt x="825161" y="2171606"/>
                  <a:pt x="825161" y="2171606"/>
                </a:cubicBezTo>
                <a:cubicBezTo>
                  <a:pt x="825161" y="2171606"/>
                  <a:pt x="773279" y="2127136"/>
                  <a:pt x="753515" y="2090078"/>
                </a:cubicBezTo>
                <a:cubicBezTo>
                  <a:pt x="736221" y="2053020"/>
                  <a:pt x="704104" y="2023374"/>
                  <a:pt x="699163" y="1964081"/>
                </a:cubicBezTo>
                <a:cubicBezTo>
                  <a:pt x="696692" y="1907258"/>
                  <a:pt x="691751" y="1907258"/>
                  <a:pt x="691751" y="1907258"/>
                </a:cubicBezTo>
                <a:cubicBezTo>
                  <a:pt x="691751" y="1907258"/>
                  <a:pt x="709045" y="1818319"/>
                  <a:pt x="676928" y="1759026"/>
                </a:cubicBezTo>
                <a:cubicBezTo>
                  <a:pt x="644811" y="1702203"/>
                  <a:pt x="681869" y="1704674"/>
                  <a:pt x="681869" y="1704674"/>
                </a:cubicBezTo>
                <a:cubicBezTo>
                  <a:pt x="681869" y="1704674"/>
                  <a:pt x="753515" y="1591029"/>
                  <a:pt x="753515" y="1553971"/>
                </a:cubicBezTo>
                <a:cubicBezTo>
                  <a:pt x="753515" y="1516913"/>
                  <a:pt x="812808" y="1509501"/>
                  <a:pt x="812808" y="1509501"/>
                </a:cubicBezTo>
                <a:cubicBezTo>
                  <a:pt x="812808" y="1509501"/>
                  <a:pt x="810337" y="1452678"/>
                  <a:pt x="832572" y="1415620"/>
                </a:cubicBezTo>
                <a:cubicBezTo>
                  <a:pt x="854807" y="1376092"/>
                  <a:pt x="881983" y="1413150"/>
                  <a:pt x="891865" y="1410679"/>
                </a:cubicBezTo>
                <a:cubicBezTo>
                  <a:pt x="899277" y="1410679"/>
                  <a:pt x="965981" y="1339034"/>
                  <a:pt x="980804" y="1334092"/>
                </a:cubicBezTo>
                <a:cubicBezTo>
                  <a:pt x="995628" y="1329151"/>
                  <a:pt x="983275" y="1329151"/>
                  <a:pt x="988216" y="1326681"/>
                </a:cubicBezTo>
                <a:cubicBezTo>
                  <a:pt x="993157" y="1324210"/>
                  <a:pt x="995628" y="1329151"/>
                  <a:pt x="1007980" y="1324210"/>
                </a:cubicBezTo>
                <a:cubicBezTo>
                  <a:pt x="1017862" y="1316799"/>
                  <a:pt x="1047509" y="1319269"/>
                  <a:pt x="1067273" y="1304446"/>
                </a:cubicBezTo>
                <a:cubicBezTo>
                  <a:pt x="1087038" y="1289623"/>
                  <a:pt x="1129037" y="1257506"/>
                  <a:pt x="1146331" y="1250094"/>
                </a:cubicBezTo>
                <a:cubicBezTo>
                  <a:pt x="1163625" y="1242682"/>
                  <a:pt x="1166095" y="1240212"/>
                  <a:pt x="1188330" y="1242682"/>
                </a:cubicBezTo>
                <a:cubicBezTo>
                  <a:pt x="1210565" y="1245153"/>
                  <a:pt x="1235270" y="1257506"/>
                  <a:pt x="1264916" y="1250094"/>
                </a:cubicBezTo>
                <a:cubicBezTo>
                  <a:pt x="1294563" y="1242682"/>
                  <a:pt x="1311857" y="1232800"/>
                  <a:pt x="1326680" y="1235271"/>
                </a:cubicBezTo>
                <a:cubicBezTo>
                  <a:pt x="1339033" y="1237741"/>
                  <a:pt x="1366209" y="1225389"/>
                  <a:pt x="1366209" y="1245153"/>
                </a:cubicBezTo>
                <a:cubicBezTo>
                  <a:pt x="1366209" y="1264917"/>
                  <a:pt x="1385973" y="1262447"/>
                  <a:pt x="1368679" y="1287152"/>
                </a:cubicBezTo>
                <a:cubicBezTo>
                  <a:pt x="1348915" y="1314328"/>
                  <a:pt x="1348915" y="1297034"/>
                  <a:pt x="1348915" y="1319269"/>
                </a:cubicBezTo>
                <a:cubicBezTo>
                  <a:pt x="1348915" y="1343975"/>
                  <a:pt x="1339033" y="1346445"/>
                  <a:pt x="1363738" y="1361268"/>
                </a:cubicBezTo>
                <a:cubicBezTo>
                  <a:pt x="1390914" y="1376092"/>
                  <a:pt x="1450207" y="1381033"/>
                  <a:pt x="1450207" y="1381033"/>
                </a:cubicBezTo>
                <a:cubicBezTo>
                  <a:pt x="1450207" y="1381033"/>
                  <a:pt x="1479854" y="1388444"/>
                  <a:pt x="1479854" y="1400797"/>
                </a:cubicBezTo>
                <a:cubicBezTo>
                  <a:pt x="1479854" y="1413150"/>
                  <a:pt x="1497147" y="1425503"/>
                  <a:pt x="1509500" y="1430444"/>
                </a:cubicBezTo>
                <a:cubicBezTo>
                  <a:pt x="1521853" y="1435385"/>
                  <a:pt x="1563852" y="1450208"/>
                  <a:pt x="1576205" y="1455149"/>
                </a:cubicBezTo>
                <a:cubicBezTo>
                  <a:pt x="1586087" y="1460090"/>
                  <a:pt x="1608322" y="1423032"/>
                  <a:pt x="1605851" y="1413150"/>
                </a:cubicBezTo>
                <a:cubicBezTo>
                  <a:pt x="1603381" y="1400797"/>
                  <a:pt x="1613263" y="1390915"/>
                  <a:pt x="1620674" y="1381033"/>
                </a:cubicBezTo>
                <a:cubicBezTo>
                  <a:pt x="1630556" y="1371151"/>
                  <a:pt x="1628086" y="1363739"/>
                  <a:pt x="1652791" y="1361268"/>
                </a:cubicBezTo>
                <a:cubicBezTo>
                  <a:pt x="1677497" y="1358798"/>
                  <a:pt x="1652791" y="1339034"/>
                  <a:pt x="1677497" y="1358798"/>
                </a:cubicBezTo>
                <a:cubicBezTo>
                  <a:pt x="1699732" y="1378562"/>
                  <a:pt x="1719496" y="1390915"/>
                  <a:pt x="1719496" y="1390915"/>
                </a:cubicBezTo>
                <a:cubicBezTo>
                  <a:pt x="1719496" y="1390915"/>
                  <a:pt x="1761495" y="1398327"/>
                  <a:pt x="1771377" y="1405738"/>
                </a:cubicBezTo>
                <a:cubicBezTo>
                  <a:pt x="1781259" y="1410679"/>
                  <a:pt x="1828200" y="1423032"/>
                  <a:pt x="1835611" y="1425503"/>
                </a:cubicBezTo>
                <a:cubicBezTo>
                  <a:pt x="1845493" y="1425503"/>
                  <a:pt x="1870199" y="1437855"/>
                  <a:pt x="1892434" y="1427973"/>
                </a:cubicBezTo>
                <a:cubicBezTo>
                  <a:pt x="1912198" y="1415620"/>
                  <a:pt x="1912198" y="1385974"/>
                  <a:pt x="1931962" y="1405738"/>
                </a:cubicBezTo>
                <a:cubicBezTo>
                  <a:pt x="1954197" y="1425503"/>
                  <a:pt x="1978903" y="1425503"/>
                  <a:pt x="1978903" y="1425503"/>
                </a:cubicBezTo>
                <a:cubicBezTo>
                  <a:pt x="1978903" y="1425503"/>
                  <a:pt x="2006078" y="1405738"/>
                  <a:pt x="2003608" y="1395856"/>
                </a:cubicBezTo>
                <a:cubicBezTo>
                  <a:pt x="2001137" y="1385974"/>
                  <a:pt x="2003608" y="1373621"/>
                  <a:pt x="2003608" y="1363739"/>
                </a:cubicBezTo>
                <a:cubicBezTo>
                  <a:pt x="2003608" y="1353857"/>
                  <a:pt x="2035725" y="1319269"/>
                  <a:pt x="2028313" y="1294564"/>
                </a:cubicBezTo>
                <a:cubicBezTo>
                  <a:pt x="2023372" y="1267388"/>
                  <a:pt x="2030784" y="1267388"/>
                  <a:pt x="2013490" y="1264917"/>
                </a:cubicBezTo>
                <a:cubicBezTo>
                  <a:pt x="1993726" y="1262447"/>
                  <a:pt x="2008549" y="1252565"/>
                  <a:pt x="1976432" y="1269858"/>
                </a:cubicBezTo>
                <a:cubicBezTo>
                  <a:pt x="1946786" y="1289623"/>
                  <a:pt x="1929492" y="1289623"/>
                  <a:pt x="1919609" y="1269858"/>
                </a:cubicBezTo>
                <a:cubicBezTo>
                  <a:pt x="1909727" y="1252565"/>
                  <a:pt x="1927021" y="1237741"/>
                  <a:pt x="1897375" y="1245153"/>
                </a:cubicBezTo>
                <a:cubicBezTo>
                  <a:pt x="1867728" y="1250094"/>
                  <a:pt x="1857846" y="1262447"/>
                  <a:pt x="1840552" y="1264917"/>
                </a:cubicBezTo>
                <a:cubicBezTo>
                  <a:pt x="1820788" y="1267388"/>
                  <a:pt x="1810906" y="1267388"/>
                  <a:pt x="1798553" y="1250094"/>
                </a:cubicBezTo>
                <a:cubicBezTo>
                  <a:pt x="1786200" y="1232800"/>
                  <a:pt x="1788671" y="1227859"/>
                  <a:pt x="1786200" y="1208095"/>
                </a:cubicBezTo>
                <a:cubicBezTo>
                  <a:pt x="1781259" y="1190801"/>
                  <a:pt x="1801024" y="1171037"/>
                  <a:pt x="1786200" y="1153743"/>
                </a:cubicBezTo>
                <a:cubicBezTo>
                  <a:pt x="1768907" y="1138920"/>
                  <a:pt x="1768907" y="1116685"/>
                  <a:pt x="1749142" y="1119155"/>
                </a:cubicBezTo>
                <a:cubicBezTo>
                  <a:pt x="1650321" y="1129038"/>
                  <a:pt x="1707143" y="1138920"/>
                  <a:pt x="1707143" y="1168566"/>
                </a:cubicBezTo>
                <a:cubicBezTo>
                  <a:pt x="1707143" y="1193272"/>
                  <a:pt x="1729378" y="1200683"/>
                  <a:pt x="1704673" y="1213036"/>
                </a:cubicBezTo>
                <a:cubicBezTo>
                  <a:pt x="1679967" y="1225389"/>
                  <a:pt x="1679967" y="1242682"/>
                  <a:pt x="1655262" y="1237741"/>
                </a:cubicBezTo>
                <a:cubicBezTo>
                  <a:pt x="1628086" y="1235271"/>
                  <a:pt x="1603381" y="1222918"/>
                  <a:pt x="1595969" y="1198213"/>
                </a:cubicBezTo>
                <a:cubicBezTo>
                  <a:pt x="1588557" y="1168566"/>
                  <a:pt x="1603381" y="1161155"/>
                  <a:pt x="1595969" y="1148802"/>
                </a:cubicBezTo>
                <a:cubicBezTo>
                  <a:pt x="1588557" y="1136449"/>
                  <a:pt x="1603381" y="1126567"/>
                  <a:pt x="1593498" y="1114214"/>
                </a:cubicBezTo>
                <a:cubicBezTo>
                  <a:pt x="1583616" y="1101862"/>
                  <a:pt x="1588557" y="1084568"/>
                  <a:pt x="1571264" y="1069745"/>
                </a:cubicBezTo>
                <a:cubicBezTo>
                  <a:pt x="1551499" y="1052451"/>
                  <a:pt x="1531735" y="1025275"/>
                  <a:pt x="1516912" y="1015393"/>
                </a:cubicBezTo>
                <a:cubicBezTo>
                  <a:pt x="1499618" y="1005510"/>
                  <a:pt x="1467501" y="990687"/>
                  <a:pt x="1467501" y="990687"/>
                </a:cubicBezTo>
                <a:cubicBezTo>
                  <a:pt x="1467501" y="990687"/>
                  <a:pt x="1440325" y="970923"/>
                  <a:pt x="1442796" y="995628"/>
                </a:cubicBezTo>
                <a:cubicBezTo>
                  <a:pt x="1445266" y="1020334"/>
                  <a:pt x="1457619" y="1030216"/>
                  <a:pt x="1474912" y="1052451"/>
                </a:cubicBezTo>
                <a:cubicBezTo>
                  <a:pt x="1492206" y="1074686"/>
                  <a:pt x="1521853" y="1096921"/>
                  <a:pt x="1524323" y="1106803"/>
                </a:cubicBezTo>
                <a:cubicBezTo>
                  <a:pt x="1526794" y="1116685"/>
                  <a:pt x="1536676" y="1116685"/>
                  <a:pt x="1534205" y="1133979"/>
                </a:cubicBezTo>
                <a:cubicBezTo>
                  <a:pt x="1529264" y="1148802"/>
                  <a:pt x="1546558" y="1156213"/>
                  <a:pt x="1526794" y="1163625"/>
                </a:cubicBezTo>
                <a:cubicBezTo>
                  <a:pt x="1455148" y="1193272"/>
                  <a:pt x="1529264" y="1220448"/>
                  <a:pt x="1484795" y="1247624"/>
                </a:cubicBezTo>
                <a:cubicBezTo>
                  <a:pt x="1467501" y="1257506"/>
                  <a:pt x="1465030" y="1274799"/>
                  <a:pt x="1440325" y="1259976"/>
                </a:cubicBezTo>
                <a:cubicBezTo>
                  <a:pt x="1410678" y="1245153"/>
                  <a:pt x="1400796" y="1237741"/>
                  <a:pt x="1403267" y="1222918"/>
                </a:cubicBezTo>
                <a:cubicBezTo>
                  <a:pt x="1408208" y="1208095"/>
                  <a:pt x="1408208" y="1203154"/>
                  <a:pt x="1420560" y="1200683"/>
                </a:cubicBezTo>
                <a:cubicBezTo>
                  <a:pt x="1432913" y="1198213"/>
                  <a:pt x="1445266" y="1193272"/>
                  <a:pt x="1455148" y="1198213"/>
                </a:cubicBezTo>
                <a:cubicBezTo>
                  <a:pt x="1467501" y="1203154"/>
                  <a:pt x="1477383" y="1185860"/>
                  <a:pt x="1474912" y="1173507"/>
                </a:cubicBezTo>
                <a:cubicBezTo>
                  <a:pt x="1472442" y="1161155"/>
                  <a:pt x="1489736" y="1168566"/>
                  <a:pt x="1474912" y="1153743"/>
                </a:cubicBezTo>
                <a:cubicBezTo>
                  <a:pt x="1457619" y="1141390"/>
                  <a:pt x="1440325" y="1126567"/>
                  <a:pt x="1425502" y="1116685"/>
                </a:cubicBezTo>
                <a:cubicBezTo>
                  <a:pt x="1413149" y="1106803"/>
                  <a:pt x="1415619" y="1091979"/>
                  <a:pt x="1403267" y="1077156"/>
                </a:cubicBezTo>
                <a:cubicBezTo>
                  <a:pt x="1366209" y="1040098"/>
                  <a:pt x="1388443" y="1020334"/>
                  <a:pt x="1316798" y="1062333"/>
                </a:cubicBezTo>
                <a:cubicBezTo>
                  <a:pt x="1306916" y="1067274"/>
                  <a:pt x="1294563" y="1069745"/>
                  <a:pt x="1274799" y="1069745"/>
                </a:cubicBezTo>
                <a:cubicBezTo>
                  <a:pt x="1257505" y="1069745"/>
                  <a:pt x="1257505" y="1030216"/>
                  <a:pt x="1225388" y="1049980"/>
                </a:cubicBezTo>
                <a:cubicBezTo>
                  <a:pt x="1208094" y="1059862"/>
                  <a:pt x="1183389" y="1089509"/>
                  <a:pt x="1175977" y="1099391"/>
                </a:cubicBezTo>
                <a:cubicBezTo>
                  <a:pt x="1171036" y="1109273"/>
                  <a:pt x="1143860" y="1133979"/>
                  <a:pt x="1133978" y="1146331"/>
                </a:cubicBezTo>
                <a:cubicBezTo>
                  <a:pt x="1124096" y="1158684"/>
                  <a:pt x="1114214" y="1161155"/>
                  <a:pt x="1109273" y="1175978"/>
                </a:cubicBezTo>
                <a:cubicBezTo>
                  <a:pt x="1101861" y="1188330"/>
                  <a:pt x="1119155" y="1183389"/>
                  <a:pt x="1099390" y="1208095"/>
                </a:cubicBezTo>
                <a:cubicBezTo>
                  <a:pt x="1079626" y="1232800"/>
                  <a:pt x="1082097" y="1232800"/>
                  <a:pt x="1057391" y="1242682"/>
                </a:cubicBezTo>
                <a:cubicBezTo>
                  <a:pt x="1030215" y="1252565"/>
                  <a:pt x="1040098" y="1267388"/>
                  <a:pt x="1005510" y="1262447"/>
                </a:cubicBezTo>
                <a:cubicBezTo>
                  <a:pt x="941276" y="1252565"/>
                  <a:pt x="1005510" y="1292093"/>
                  <a:pt x="889394" y="1255035"/>
                </a:cubicBezTo>
                <a:cubicBezTo>
                  <a:pt x="867160" y="1245153"/>
                  <a:pt x="923982" y="1205624"/>
                  <a:pt x="921512" y="1200683"/>
                </a:cubicBezTo>
                <a:cubicBezTo>
                  <a:pt x="919041" y="1193272"/>
                  <a:pt x="909159" y="1178448"/>
                  <a:pt x="906688" y="1158684"/>
                </a:cubicBezTo>
                <a:cubicBezTo>
                  <a:pt x="904218" y="1138920"/>
                  <a:pt x="904218" y="1094450"/>
                  <a:pt x="904218" y="1082097"/>
                </a:cubicBezTo>
                <a:cubicBezTo>
                  <a:pt x="901747" y="1069745"/>
                  <a:pt x="933864" y="1049980"/>
                  <a:pt x="993157" y="1042569"/>
                </a:cubicBezTo>
                <a:cubicBezTo>
                  <a:pt x="1049980" y="1035157"/>
                  <a:pt x="1074685" y="1042569"/>
                  <a:pt x="1099390" y="1042569"/>
                </a:cubicBezTo>
                <a:cubicBezTo>
                  <a:pt x="1126566" y="1042569"/>
                  <a:pt x="1106802" y="1025275"/>
                  <a:pt x="1106802" y="993158"/>
                </a:cubicBezTo>
                <a:cubicBezTo>
                  <a:pt x="1106802" y="961041"/>
                  <a:pt x="1106802" y="993158"/>
                  <a:pt x="1082097" y="943747"/>
                </a:cubicBezTo>
                <a:cubicBezTo>
                  <a:pt x="1054921" y="891865"/>
                  <a:pt x="1064803" y="911630"/>
                  <a:pt x="1074685" y="889395"/>
                </a:cubicBezTo>
                <a:cubicBezTo>
                  <a:pt x="1082097" y="867160"/>
                  <a:pt x="1114214" y="874572"/>
                  <a:pt x="1136448" y="869631"/>
                </a:cubicBezTo>
                <a:cubicBezTo>
                  <a:pt x="1158684" y="867160"/>
                  <a:pt x="1230329" y="889395"/>
                  <a:pt x="1257505" y="877042"/>
                </a:cubicBezTo>
                <a:cubicBezTo>
                  <a:pt x="1282210" y="864690"/>
                  <a:pt x="1269858" y="830102"/>
                  <a:pt x="1294563" y="793044"/>
                </a:cubicBezTo>
                <a:cubicBezTo>
                  <a:pt x="1321739" y="758456"/>
                  <a:pt x="1311857" y="780691"/>
                  <a:pt x="1351385" y="755986"/>
                </a:cubicBezTo>
                <a:cubicBezTo>
                  <a:pt x="1393385" y="731280"/>
                  <a:pt x="1388443" y="709045"/>
                  <a:pt x="1418090" y="706575"/>
                </a:cubicBezTo>
                <a:cubicBezTo>
                  <a:pt x="1447737" y="704104"/>
                  <a:pt x="1489736" y="736221"/>
                  <a:pt x="1504559" y="741163"/>
                </a:cubicBezTo>
                <a:cubicBezTo>
                  <a:pt x="1519382" y="746104"/>
                  <a:pt x="1526794" y="709045"/>
                  <a:pt x="1526794" y="686811"/>
                </a:cubicBezTo>
                <a:cubicBezTo>
                  <a:pt x="1524323" y="664576"/>
                  <a:pt x="1514441" y="671987"/>
                  <a:pt x="1494677" y="671987"/>
                </a:cubicBezTo>
                <a:cubicBezTo>
                  <a:pt x="1423031" y="671987"/>
                  <a:pt x="1511970" y="563284"/>
                  <a:pt x="1385973" y="573166"/>
                </a:cubicBezTo>
                <a:cubicBezTo>
                  <a:pt x="1336562" y="580577"/>
                  <a:pt x="1383502" y="570695"/>
                  <a:pt x="1378561" y="531166"/>
                </a:cubicBezTo>
                <a:cubicBezTo>
                  <a:pt x="1373620" y="489167"/>
                  <a:pt x="1405737" y="486697"/>
                  <a:pt x="1405737" y="486697"/>
                </a:cubicBezTo>
                <a:cubicBezTo>
                  <a:pt x="1405737" y="486697"/>
                  <a:pt x="1452678" y="466932"/>
                  <a:pt x="1484795" y="459521"/>
                </a:cubicBezTo>
                <a:cubicBezTo>
                  <a:pt x="1516912" y="449639"/>
                  <a:pt x="1497147" y="437286"/>
                  <a:pt x="1511970" y="422463"/>
                </a:cubicBezTo>
                <a:cubicBezTo>
                  <a:pt x="1529264" y="410110"/>
                  <a:pt x="1595969" y="360699"/>
                  <a:pt x="1610792" y="345876"/>
                </a:cubicBezTo>
                <a:cubicBezTo>
                  <a:pt x="1628086" y="333523"/>
                  <a:pt x="1689850" y="291524"/>
                  <a:pt x="1714555" y="274230"/>
                </a:cubicBezTo>
                <a:cubicBezTo>
                  <a:pt x="1741731" y="256936"/>
                  <a:pt x="1761495" y="284112"/>
                  <a:pt x="1773848" y="291524"/>
                </a:cubicBezTo>
                <a:cubicBezTo>
                  <a:pt x="1788671" y="301406"/>
                  <a:pt x="1823259" y="331053"/>
                  <a:pt x="1855376" y="345876"/>
                </a:cubicBezTo>
                <a:cubicBezTo>
                  <a:pt x="1887493" y="363170"/>
                  <a:pt x="1949256" y="348346"/>
                  <a:pt x="1964079" y="377993"/>
                </a:cubicBezTo>
                <a:cubicBezTo>
                  <a:pt x="1978903" y="407639"/>
                  <a:pt x="1887493" y="405169"/>
                  <a:pt x="1897375" y="432345"/>
                </a:cubicBezTo>
                <a:cubicBezTo>
                  <a:pt x="1904786" y="459521"/>
                  <a:pt x="1959138" y="442227"/>
                  <a:pt x="1981373" y="427404"/>
                </a:cubicBezTo>
                <a:cubicBezTo>
                  <a:pt x="2003608" y="412581"/>
                  <a:pt x="2057960" y="368111"/>
                  <a:pt x="2057960" y="368111"/>
                </a:cubicBezTo>
                <a:cubicBezTo>
                  <a:pt x="2057960" y="368111"/>
                  <a:pt x="2080195" y="345876"/>
                  <a:pt x="2134547" y="373052"/>
                </a:cubicBezTo>
                <a:cubicBezTo>
                  <a:pt x="2188899" y="397757"/>
                  <a:pt x="2149370" y="345876"/>
                  <a:pt x="2166664" y="313759"/>
                </a:cubicBezTo>
                <a:cubicBezTo>
                  <a:pt x="2186428" y="281642"/>
                  <a:pt x="2221016" y="321170"/>
                  <a:pt x="2243250" y="318700"/>
                </a:cubicBezTo>
                <a:cubicBezTo>
                  <a:pt x="2267956" y="313759"/>
                  <a:pt x="2243250" y="269289"/>
                  <a:pt x="2240780" y="247054"/>
                </a:cubicBezTo>
                <a:cubicBezTo>
                  <a:pt x="2235839" y="229760"/>
                  <a:pt x="2228427" y="222349"/>
                  <a:pt x="2221016" y="209996"/>
                </a:cubicBezTo>
                <a:cubicBezTo>
                  <a:pt x="2082665" y="170467"/>
                  <a:pt x="1936904" y="150703"/>
                  <a:pt x="1786200" y="150703"/>
                </a:cubicBezTo>
                <a:close/>
                <a:moveTo>
                  <a:pt x="1791141" y="0"/>
                </a:moveTo>
                <a:cubicBezTo>
                  <a:pt x="2781828" y="0"/>
                  <a:pt x="3584753" y="802926"/>
                  <a:pt x="3582283" y="1793613"/>
                </a:cubicBezTo>
                <a:cubicBezTo>
                  <a:pt x="3582283" y="2784300"/>
                  <a:pt x="2779358" y="3587226"/>
                  <a:pt x="1791141" y="3587226"/>
                </a:cubicBezTo>
                <a:cubicBezTo>
                  <a:pt x="802926" y="3587226"/>
                  <a:pt x="0" y="2784300"/>
                  <a:pt x="0" y="1793613"/>
                </a:cubicBezTo>
                <a:cubicBezTo>
                  <a:pt x="0" y="802926"/>
                  <a:pt x="802926" y="0"/>
                  <a:pt x="1791141" y="0"/>
                </a:cubicBezTo>
                <a:close/>
              </a:path>
            </a:pathLst>
          </a:custGeom>
          <a:solidFill>
            <a:schemeClr val="accent5"/>
          </a:solidFill>
          <a:ln w="0">
            <a:noFill/>
            <a:prstDash val="solid"/>
            <a:round/>
            <a:headEnd/>
            <a:tailEnd/>
          </a:ln>
        </p:spPr>
        <p:txBody>
          <a:bodyPr rtlCol="0" anchor="ctr"/>
          <a:lstStyle/>
          <a:p>
            <a:pPr algn="ctr"/>
            <a:endParaRPr lang="en-US" sz="1350"/>
          </a:p>
        </p:txBody>
      </p:sp>
      <p:sp>
        <p:nvSpPr>
          <p:cNvPr id="205" name="Freeform: Shape 31">
            <a:extLst>
              <a:ext uri="{FF2B5EF4-FFF2-40B4-BE49-F238E27FC236}">
                <a16:creationId xmlns:a16="http://schemas.microsoft.com/office/drawing/2014/main" id="{1C0603E9-6408-289B-6B61-0529DD714C69}"/>
              </a:ext>
            </a:extLst>
          </p:cNvPr>
          <p:cNvSpPr>
            <a:spLocks noChangeAspect="1"/>
          </p:cNvSpPr>
          <p:nvPr/>
        </p:nvSpPr>
        <p:spPr>
          <a:xfrm>
            <a:off x="5002428" y="3367894"/>
            <a:ext cx="201977" cy="186844"/>
          </a:xfrm>
          <a:custGeom>
            <a:avLst/>
            <a:gdLst>
              <a:gd name="connsiteX0" fmla="*/ 860579 w 3672758"/>
              <a:gd name="connsiteY0" fmla="*/ 3277850 h 3397568"/>
              <a:gd name="connsiteX1" fmla="*/ 863448 w 3672758"/>
              <a:gd name="connsiteY1" fmla="*/ 3277850 h 3397568"/>
              <a:gd name="connsiteX2" fmla="*/ 921776 w 3672758"/>
              <a:gd name="connsiteY2" fmla="*/ 3340387 h 3397568"/>
              <a:gd name="connsiteX3" fmla="*/ 860579 w 3672758"/>
              <a:gd name="connsiteY3" fmla="*/ 3397376 h 3397568"/>
              <a:gd name="connsiteX4" fmla="*/ 857710 w 3672758"/>
              <a:gd name="connsiteY4" fmla="*/ 3397376 h 3397568"/>
              <a:gd name="connsiteX5" fmla="*/ 852164 w 3672758"/>
              <a:gd name="connsiteY5" fmla="*/ 3397376 h 3397568"/>
              <a:gd name="connsiteX6" fmla="*/ 796513 w 3672758"/>
              <a:gd name="connsiteY6" fmla="*/ 3334841 h 3397568"/>
              <a:gd name="connsiteX7" fmla="*/ 860579 w 3672758"/>
              <a:gd name="connsiteY7" fmla="*/ 3277850 h 3397568"/>
              <a:gd name="connsiteX8" fmla="*/ 2836850 w 3672758"/>
              <a:gd name="connsiteY8" fmla="*/ 3275173 h 3397568"/>
              <a:gd name="connsiteX9" fmla="*/ 2842587 w 3672758"/>
              <a:gd name="connsiteY9" fmla="*/ 3275173 h 3397568"/>
              <a:gd name="connsiteX10" fmla="*/ 2905123 w 3672758"/>
              <a:gd name="connsiteY10" fmla="*/ 3335032 h 3397568"/>
              <a:gd name="connsiteX11" fmla="*/ 2842587 w 3672758"/>
              <a:gd name="connsiteY11" fmla="*/ 3397568 h 3397568"/>
              <a:gd name="connsiteX12" fmla="*/ 2836850 w 3672758"/>
              <a:gd name="connsiteY12" fmla="*/ 3397568 h 3397568"/>
              <a:gd name="connsiteX13" fmla="*/ 2774314 w 3672758"/>
              <a:gd name="connsiteY13" fmla="*/ 3335032 h 3397568"/>
              <a:gd name="connsiteX14" fmla="*/ 2836850 w 3672758"/>
              <a:gd name="connsiteY14" fmla="*/ 3275173 h 3397568"/>
              <a:gd name="connsiteX15" fmla="*/ 2554963 w 3672758"/>
              <a:gd name="connsiteY15" fmla="*/ 3275173 h 3397568"/>
              <a:gd name="connsiteX16" fmla="*/ 2557640 w 3672758"/>
              <a:gd name="connsiteY16" fmla="*/ 3275173 h 3397568"/>
              <a:gd name="connsiteX17" fmla="*/ 2617307 w 3672758"/>
              <a:gd name="connsiteY17" fmla="*/ 3335032 h 3397568"/>
              <a:gd name="connsiteX18" fmla="*/ 2557640 w 3672758"/>
              <a:gd name="connsiteY18" fmla="*/ 3397568 h 3397568"/>
              <a:gd name="connsiteX19" fmla="*/ 2495295 w 3672758"/>
              <a:gd name="connsiteY19" fmla="*/ 3335032 h 3397568"/>
              <a:gd name="connsiteX20" fmla="*/ 2554963 w 3672758"/>
              <a:gd name="connsiteY20" fmla="*/ 3275173 h 3397568"/>
              <a:gd name="connsiteX21" fmla="*/ 2273075 w 3672758"/>
              <a:gd name="connsiteY21" fmla="*/ 3275173 h 3397568"/>
              <a:gd name="connsiteX22" fmla="*/ 2275753 w 3672758"/>
              <a:gd name="connsiteY22" fmla="*/ 3275173 h 3397568"/>
              <a:gd name="connsiteX23" fmla="*/ 2338097 w 3672758"/>
              <a:gd name="connsiteY23" fmla="*/ 3335032 h 3397568"/>
              <a:gd name="connsiteX24" fmla="*/ 2275753 w 3672758"/>
              <a:gd name="connsiteY24" fmla="*/ 3397568 h 3397568"/>
              <a:gd name="connsiteX25" fmla="*/ 2216085 w 3672758"/>
              <a:gd name="connsiteY25" fmla="*/ 3335032 h 3397568"/>
              <a:gd name="connsiteX26" fmla="*/ 2273075 w 3672758"/>
              <a:gd name="connsiteY26" fmla="*/ 3275173 h 3397568"/>
              <a:gd name="connsiteX27" fmla="*/ 1986407 w 3672758"/>
              <a:gd name="connsiteY27" fmla="*/ 3275173 h 3397568"/>
              <a:gd name="connsiteX28" fmla="*/ 1991762 w 3672758"/>
              <a:gd name="connsiteY28" fmla="*/ 3275173 h 3397568"/>
              <a:gd name="connsiteX29" fmla="*/ 2050090 w 3672758"/>
              <a:gd name="connsiteY29" fmla="*/ 3335032 h 3397568"/>
              <a:gd name="connsiteX30" fmla="*/ 1991762 w 3672758"/>
              <a:gd name="connsiteY30" fmla="*/ 3397568 h 3397568"/>
              <a:gd name="connsiteX31" fmla="*/ 1986407 w 3672758"/>
              <a:gd name="connsiteY31" fmla="*/ 3397568 h 3397568"/>
              <a:gd name="connsiteX32" fmla="*/ 1928078 w 3672758"/>
              <a:gd name="connsiteY32" fmla="*/ 3335032 h 3397568"/>
              <a:gd name="connsiteX33" fmla="*/ 1986407 w 3672758"/>
              <a:gd name="connsiteY33" fmla="*/ 3275173 h 3397568"/>
              <a:gd name="connsiteX34" fmla="*/ 1708727 w 3672758"/>
              <a:gd name="connsiteY34" fmla="*/ 3275173 h 3397568"/>
              <a:gd name="connsiteX35" fmla="*/ 1711404 w 3672758"/>
              <a:gd name="connsiteY35" fmla="*/ 3275173 h 3397568"/>
              <a:gd name="connsiteX36" fmla="*/ 1771071 w 3672758"/>
              <a:gd name="connsiteY36" fmla="*/ 3335032 h 3397568"/>
              <a:gd name="connsiteX37" fmla="*/ 1711404 w 3672758"/>
              <a:gd name="connsiteY37" fmla="*/ 3397568 h 3397568"/>
              <a:gd name="connsiteX38" fmla="*/ 1649059 w 3672758"/>
              <a:gd name="connsiteY38" fmla="*/ 3335032 h 3397568"/>
              <a:gd name="connsiteX39" fmla="*/ 1708727 w 3672758"/>
              <a:gd name="connsiteY39" fmla="*/ 3275173 h 3397568"/>
              <a:gd name="connsiteX40" fmla="*/ 1423588 w 3672758"/>
              <a:gd name="connsiteY40" fmla="*/ 3275173 h 3397568"/>
              <a:gd name="connsiteX41" fmla="*/ 1426457 w 3672758"/>
              <a:gd name="connsiteY41" fmla="*/ 3275173 h 3397568"/>
              <a:gd name="connsiteX42" fmla="*/ 1491861 w 3672758"/>
              <a:gd name="connsiteY42" fmla="*/ 3335032 h 3397568"/>
              <a:gd name="connsiteX43" fmla="*/ 1426457 w 3672758"/>
              <a:gd name="connsiteY43" fmla="*/ 3397568 h 3397568"/>
              <a:gd name="connsiteX44" fmla="*/ 1423588 w 3672758"/>
              <a:gd name="connsiteY44" fmla="*/ 3397568 h 3397568"/>
              <a:gd name="connsiteX45" fmla="*/ 1361052 w 3672758"/>
              <a:gd name="connsiteY45" fmla="*/ 3335032 h 3397568"/>
              <a:gd name="connsiteX46" fmla="*/ 1423588 w 3672758"/>
              <a:gd name="connsiteY46" fmla="*/ 3275173 h 3397568"/>
              <a:gd name="connsiteX47" fmla="*/ 1138833 w 3672758"/>
              <a:gd name="connsiteY47" fmla="*/ 3275173 h 3397568"/>
              <a:gd name="connsiteX48" fmla="*/ 1144188 w 3672758"/>
              <a:gd name="connsiteY48" fmla="*/ 3275173 h 3397568"/>
              <a:gd name="connsiteX49" fmla="*/ 1203855 w 3672758"/>
              <a:gd name="connsiteY49" fmla="*/ 3335032 h 3397568"/>
              <a:gd name="connsiteX50" fmla="*/ 1144188 w 3672758"/>
              <a:gd name="connsiteY50" fmla="*/ 3397568 h 3397568"/>
              <a:gd name="connsiteX51" fmla="*/ 1081843 w 3672758"/>
              <a:gd name="connsiteY51" fmla="*/ 3335032 h 3397568"/>
              <a:gd name="connsiteX52" fmla="*/ 1138833 w 3672758"/>
              <a:gd name="connsiteY52" fmla="*/ 3275173 h 3397568"/>
              <a:gd name="connsiteX53" fmla="*/ 612135 w 3672758"/>
              <a:gd name="connsiteY53" fmla="*/ 3151393 h 3397568"/>
              <a:gd name="connsiteX54" fmla="*/ 655379 w 3672758"/>
              <a:gd name="connsiteY54" fmla="*/ 3171522 h 3397568"/>
              <a:gd name="connsiteX55" fmla="*/ 658057 w 3672758"/>
              <a:gd name="connsiteY55" fmla="*/ 3174199 h 3397568"/>
              <a:gd name="connsiteX56" fmla="*/ 649642 w 3672758"/>
              <a:gd name="connsiteY56" fmla="*/ 3261596 h 3397568"/>
              <a:gd name="connsiteX57" fmla="*/ 610629 w 3672758"/>
              <a:gd name="connsiteY57" fmla="*/ 3275174 h 3397568"/>
              <a:gd name="connsiteX58" fmla="*/ 563201 w 3672758"/>
              <a:gd name="connsiteY58" fmla="*/ 3253373 h 3397568"/>
              <a:gd name="connsiteX59" fmla="*/ 568747 w 3672758"/>
              <a:gd name="connsiteY59" fmla="*/ 3165975 h 3397568"/>
              <a:gd name="connsiteX60" fmla="*/ 612135 w 3672758"/>
              <a:gd name="connsiteY60" fmla="*/ 3151393 h 3397568"/>
              <a:gd name="connsiteX61" fmla="*/ 518834 w 3672758"/>
              <a:gd name="connsiteY61" fmla="*/ 2893459 h 3397568"/>
              <a:gd name="connsiteX62" fmla="*/ 575824 w 3672758"/>
              <a:gd name="connsiteY62" fmla="*/ 2953318 h 3397568"/>
              <a:gd name="connsiteX63" fmla="*/ 575824 w 3672758"/>
              <a:gd name="connsiteY63" fmla="*/ 2955995 h 3397568"/>
              <a:gd name="connsiteX64" fmla="*/ 516157 w 3672758"/>
              <a:gd name="connsiteY64" fmla="*/ 3013176 h 3397568"/>
              <a:gd name="connsiteX65" fmla="*/ 513480 w 3672758"/>
              <a:gd name="connsiteY65" fmla="*/ 3013176 h 3397568"/>
              <a:gd name="connsiteX66" fmla="*/ 453812 w 3672758"/>
              <a:gd name="connsiteY66" fmla="*/ 2953318 h 3397568"/>
              <a:gd name="connsiteX67" fmla="*/ 456489 w 3672758"/>
              <a:gd name="connsiteY67" fmla="*/ 2948154 h 3397568"/>
              <a:gd name="connsiteX68" fmla="*/ 518834 w 3672758"/>
              <a:gd name="connsiteY68" fmla="*/ 2893459 h 3397568"/>
              <a:gd name="connsiteX69" fmla="*/ 642112 w 3672758"/>
              <a:gd name="connsiteY69" fmla="*/ 2643628 h 3397568"/>
              <a:gd name="connsiteX70" fmla="*/ 684257 w 3672758"/>
              <a:gd name="connsiteY70" fmla="*/ 2663206 h 3397568"/>
              <a:gd name="connsiteX71" fmla="*/ 681388 w 3672758"/>
              <a:gd name="connsiteY71" fmla="*/ 2751560 h 3397568"/>
              <a:gd name="connsiteX72" fmla="*/ 675842 w 3672758"/>
              <a:gd name="connsiteY72" fmla="*/ 2754429 h 3397568"/>
              <a:gd name="connsiteX73" fmla="*/ 636829 w 3672758"/>
              <a:gd name="connsiteY73" fmla="*/ 2768580 h 3397568"/>
              <a:gd name="connsiteX74" fmla="*/ 589401 w 3672758"/>
              <a:gd name="connsiteY74" fmla="*/ 2748691 h 3397568"/>
              <a:gd name="connsiteX75" fmla="*/ 597816 w 3672758"/>
              <a:gd name="connsiteY75" fmla="*/ 2660338 h 3397568"/>
              <a:gd name="connsiteX76" fmla="*/ 642112 w 3672758"/>
              <a:gd name="connsiteY76" fmla="*/ 2643628 h 3397568"/>
              <a:gd name="connsiteX77" fmla="*/ 1739899 w 3672758"/>
              <a:gd name="connsiteY77" fmla="*/ 2555538 h 3397568"/>
              <a:gd name="connsiteX78" fmla="*/ 1742577 w 3672758"/>
              <a:gd name="connsiteY78" fmla="*/ 2555538 h 3397568"/>
              <a:gd name="connsiteX79" fmla="*/ 1809319 w 3672758"/>
              <a:gd name="connsiteY79" fmla="*/ 2606027 h 3397568"/>
              <a:gd name="connsiteX80" fmla="*/ 1761318 w 3672758"/>
              <a:gd name="connsiteY80" fmla="*/ 2672387 h 3397568"/>
              <a:gd name="connsiteX81" fmla="*/ 1755963 w 3672758"/>
              <a:gd name="connsiteY81" fmla="*/ 2672387 h 3397568"/>
              <a:gd name="connsiteX82" fmla="*/ 1747931 w 3672758"/>
              <a:gd name="connsiteY82" fmla="*/ 2672387 h 3397568"/>
              <a:gd name="connsiteX83" fmla="*/ 1689220 w 3672758"/>
              <a:gd name="connsiteY83" fmla="*/ 2621900 h 3397568"/>
              <a:gd name="connsiteX84" fmla="*/ 1739899 w 3672758"/>
              <a:gd name="connsiteY84" fmla="*/ 2555538 h 3397568"/>
              <a:gd name="connsiteX85" fmla="*/ 1464323 w 3672758"/>
              <a:gd name="connsiteY85" fmla="*/ 2550183 h 3397568"/>
              <a:gd name="connsiteX86" fmla="*/ 1526667 w 3672758"/>
              <a:gd name="connsiteY86" fmla="*/ 2611381 h 3397568"/>
              <a:gd name="connsiteX87" fmla="*/ 1469677 w 3672758"/>
              <a:gd name="connsiteY87" fmla="*/ 2672577 h 3397568"/>
              <a:gd name="connsiteX88" fmla="*/ 1464323 w 3672758"/>
              <a:gd name="connsiteY88" fmla="*/ 2672577 h 3397568"/>
              <a:gd name="connsiteX89" fmla="*/ 1404655 w 3672758"/>
              <a:gd name="connsiteY89" fmla="*/ 2611381 h 3397568"/>
              <a:gd name="connsiteX90" fmla="*/ 1464323 w 3672758"/>
              <a:gd name="connsiteY90" fmla="*/ 2550183 h 3397568"/>
              <a:gd name="connsiteX91" fmla="*/ 1177846 w 3672758"/>
              <a:gd name="connsiteY91" fmla="*/ 2550183 h 3397568"/>
              <a:gd name="connsiteX92" fmla="*/ 1239043 w 3672758"/>
              <a:gd name="connsiteY92" fmla="*/ 2611381 h 3397568"/>
              <a:gd name="connsiteX93" fmla="*/ 1180715 w 3672758"/>
              <a:gd name="connsiteY93" fmla="*/ 2672577 h 3397568"/>
              <a:gd name="connsiteX94" fmla="*/ 1177846 w 3672758"/>
              <a:gd name="connsiteY94" fmla="*/ 2672577 h 3397568"/>
              <a:gd name="connsiteX95" fmla="*/ 1116840 w 3672758"/>
              <a:gd name="connsiteY95" fmla="*/ 2611381 h 3397568"/>
              <a:gd name="connsiteX96" fmla="*/ 1177846 w 3672758"/>
              <a:gd name="connsiteY96" fmla="*/ 2550183 h 3397568"/>
              <a:gd name="connsiteX97" fmla="*/ 897298 w 3672758"/>
              <a:gd name="connsiteY97" fmla="*/ 2550183 h 3397568"/>
              <a:gd name="connsiteX98" fmla="*/ 959642 w 3672758"/>
              <a:gd name="connsiteY98" fmla="*/ 2611381 h 3397568"/>
              <a:gd name="connsiteX99" fmla="*/ 899975 w 3672758"/>
              <a:gd name="connsiteY99" fmla="*/ 2672577 h 3397568"/>
              <a:gd name="connsiteX100" fmla="*/ 897298 w 3672758"/>
              <a:gd name="connsiteY100" fmla="*/ 2672577 h 3397568"/>
              <a:gd name="connsiteX101" fmla="*/ 837630 w 3672758"/>
              <a:gd name="connsiteY101" fmla="*/ 2611381 h 3397568"/>
              <a:gd name="connsiteX102" fmla="*/ 897298 w 3672758"/>
              <a:gd name="connsiteY102" fmla="*/ 2550183 h 3397568"/>
              <a:gd name="connsiteX103" fmla="*/ 1907999 w 3672758"/>
              <a:gd name="connsiteY103" fmla="*/ 2352059 h 3397568"/>
              <a:gd name="connsiteX104" fmla="*/ 1969005 w 3672758"/>
              <a:gd name="connsiteY104" fmla="*/ 2405224 h 3397568"/>
              <a:gd name="connsiteX105" fmla="*/ 1969005 w 3672758"/>
              <a:gd name="connsiteY105" fmla="*/ 2407902 h 3397568"/>
              <a:gd name="connsiteX106" fmla="*/ 1913163 w 3672758"/>
              <a:gd name="connsiteY106" fmla="*/ 2471776 h 3397568"/>
              <a:gd name="connsiteX107" fmla="*/ 1910485 w 3672758"/>
              <a:gd name="connsiteY107" fmla="*/ 2471776 h 3397568"/>
              <a:gd name="connsiteX108" fmla="*/ 1852156 w 3672758"/>
              <a:gd name="connsiteY108" fmla="*/ 2415934 h 3397568"/>
              <a:gd name="connsiteX109" fmla="*/ 1907999 w 3672758"/>
              <a:gd name="connsiteY109" fmla="*/ 2352059 h 3397568"/>
              <a:gd name="connsiteX110" fmla="*/ 1721541 w 3672758"/>
              <a:gd name="connsiteY110" fmla="*/ 2174779 h 3397568"/>
              <a:gd name="connsiteX111" fmla="*/ 1727087 w 3672758"/>
              <a:gd name="connsiteY111" fmla="*/ 2177265 h 3397568"/>
              <a:gd name="connsiteX112" fmla="*/ 1785606 w 3672758"/>
              <a:gd name="connsiteY112" fmla="*/ 2232726 h 3397568"/>
              <a:gd name="connsiteX113" fmla="*/ 1724409 w 3672758"/>
              <a:gd name="connsiteY113" fmla="*/ 2288185 h 3397568"/>
              <a:gd name="connsiteX114" fmla="*/ 1718863 w 3672758"/>
              <a:gd name="connsiteY114" fmla="*/ 2288185 h 3397568"/>
              <a:gd name="connsiteX115" fmla="*/ 1660343 w 3672758"/>
              <a:gd name="connsiteY115" fmla="*/ 2230240 h 3397568"/>
              <a:gd name="connsiteX116" fmla="*/ 1721541 w 3672758"/>
              <a:gd name="connsiteY116" fmla="*/ 2174779 h 3397568"/>
              <a:gd name="connsiteX117" fmla="*/ 1435445 w 3672758"/>
              <a:gd name="connsiteY117" fmla="*/ 2174779 h 3397568"/>
              <a:gd name="connsiteX118" fmla="*/ 1440800 w 3672758"/>
              <a:gd name="connsiteY118" fmla="*/ 2174779 h 3397568"/>
              <a:gd name="connsiteX119" fmla="*/ 1500467 w 3672758"/>
              <a:gd name="connsiteY119" fmla="*/ 2232726 h 3397568"/>
              <a:gd name="connsiteX120" fmla="*/ 1440800 w 3672758"/>
              <a:gd name="connsiteY120" fmla="*/ 2288185 h 3397568"/>
              <a:gd name="connsiteX121" fmla="*/ 1378455 w 3672758"/>
              <a:gd name="connsiteY121" fmla="*/ 2232726 h 3397568"/>
              <a:gd name="connsiteX122" fmla="*/ 1435445 w 3672758"/>
              <a:gd name="connsiteY122" fmla="*/ 2174779 h 3397568"/>
              <a:gd name="connsiteX123" fmla="*/ 1157574 w 3672758"/>
              <a:gd name="connsiteY123" fmla="*/ 2174779 h 3397568"/>
              <a:gd name="connsiteX124" fmla="*/ 1162929 w 3672758"/>
              <a:gd name="connsiteY124" fmla="*/ 2174779 h 3397568"/>
              <a:gd name="connsiteX125" fmla="*/ 1221257 w 3672758"/>
              <a:gd name="connsiteY125" fmla="*/ 2232726 h 3397568"/>
              <a:gd name="connsiteX126" fmla="*/ 1162929 w 3672758"/>
              <a:gd name="connsiteY126" fmla="*/ 2288185 h 3397568"/>
              <a:gd name="connsiteX127" fmla="*/ 1157574 w 3672758"/>
              <a:gd name="connsiteY127" fmla="*/ 2288185 h 3397568"/>
              <a:gd name="connsiteX128" fmla="*/ 1099245 w 3672758"/>
              <a:gd name="connsiteY128" fmla="*/ 2232726 h 3397568"/>
              <a:gd name="connsiteX129" fmla="*/ 1157574 w 3672758"/>
              <a:gd name="connsiteY129" fmla="*/ 2174779 h 3397568"/>
              <a:gd name="connsiteX130" fmla="*/ 871098 w 3672758"/>
              <a:gd name="connsiteY130" fmla="*/ 2174779 h 3397568"/>
              <a:gd name="connsiteX131" fmla="*/ 873775 w 3672758"/>
              <a:gd name="connsiteY131" fmla="*/ 2174779 h 3397568"/>
              <a:gd name="connsiteX132" fmla="*/ 933442 w 3672758"/>
              <a:gd name="connsiteY132" fmla="*/ 2232726 h 3397568"/>
              <a:gd name="connsiteX133" fmla="*/ 873775 w 3672758"/>
              <a:gd name="connsiteY133" fmla="*/ 2288185 h 3397568"/>
              <a:gd name="connsiteX134" fmla="*/ 811430 w 3672758"/>
              <a:gd name="connsiteY134" fmla="*/ 2232726 h 3397568"/>
              <a:gd name="connsiteX135" fmla="*/ 871098 w 3672758"/>
              <a:gd name="connsiteY135" fmla="*/ 2174779 h 3397568"/>
              <a:gd name="connsiteX136" fmla="*/ 589210 w 3672758"/>
              <a:gd name="connsiteY136" fmla="*/ 2174779 h 3397568"/>
              <a:gd name="connsiteX137" fmla="*/ 594565 w 3672758"/>
              <a:gd name="connsiteY137" fmla="*/ 2174779 h 3397568"/>
              <a:gd name="connsiteX138" fmla="*/ 654232 w 3672758"/>
              <a:gd name="connsiteY138" fmla="*/ 2232726 h 3397568"/>
              <a:gd name="connsiteX139" fmla="*/ 594565 w 3672758"/>
              <a:gd name="connsiteY139" fmla="*/ 2288185 h 3397568"/>
              <a:gd name="connsiteX140" fmla="*/ 532220 w 3672758"/>
              <a:gd name="connsiteY140" fmla="*/ 2232726 h 3397568"/>
              <a:gd name="connsiteX141" fmla="*/ 589210 w 3672758"/>
              <a:gd name="connsiteY141" fmla="*/ 2174779 h 3397568"/>
              <a:gd name="connsiteX142" fmla="*/ 359149 w 3672758"/>
              <a:gd name="connsiteY142" fmla="*/ 2061183 h 3397568"/>
              <a:gd name="connsiteX143" fmla="*/ 362018 w 3672758"/>
              <a:gd name="connsiteY143" fmla="*/ 2061183 h 3397568"/>
              <a:gd name="connsiteX144" fmla="*/ 427422 w 3672758"/>
              <a:gd name="connsiteY144" fmla="*/ 2123719 h 3397568"/>
              <a:gd name="connsiteX145" fmla="*/ 362018 w 3672758"/>
              <a:gd name="connsiteY145" fmla="*/ 2183578 h 3397568"/>
              <a:gd name="connsiteX146" fmla="*/ 359149 w 3672758"/>
              <a:gd name="connsiteY146" fmla="*/ 2183578 h 3397568"/>
              <a:gd name="connsiteX147" fmla="*/ 296613 w 3672758"/>
              <a:gd name="connsiteY147" fmla="*/ 2123719 h 3397568"/>
              <a:gd name="connsiteX148" fmla="*/ 359149 w 3672758"/>
              <a:gd name="connsiteY148" fmla="*/ 2061183 h 3397568"/>
              <a:gd name="connsiteX149" fmla="*/ 810092 w 3672758"/>
              <a:gd name="connsiteY149" fmla="*/ 1903984 h 3397568"/>
              <a:gd name="connsiteX150" fmla="*/ 872436 w 3672758"/>
              <a:gd name="connsiteY150" fmla="*/ 1960783 h 3397568"/>
              <a:gd name="connsiteX151" fmla="*/ 812769 w 3672758"/>
              <a:gd name="connsiteY151" fmla="*/ 2017581 h 3397568"/>
              <a:gd name="connsiteX152" fmla="*/ 810092 w 3672758"/>
              <a:gd name="connsiteY152" fmla="*/ 2017581 h 3397568"/>
              <a:gd name="connsiteX153" fmla="*/ 750424 w 3672758"/>
              <a:gd name="connsiteY153" fmla="*/ 1960783 h 3397568"/>
              <a:gd name="connsiteX154" fmla="*/ 810092 w 3672758"/>
              <a:gd name="connsiteY154" fmla="*/ 1903984 h 3397568"/>
              <a:gd name="connsiteX155" fmla="*/ 529543 w 3672758"/>
              <a:gd name="connsiteY155" fmla="*/ 1903984 h 3397568"/>
              <a:gd name="connsiteX156" fmla="*/ 534898 w 3672758"/>
              <a:gd name="connsiteY156" fmla="*/ 1903984 h 3397568"/>
              <a:gd name="connsiteX157" fmla="*/ 593226 w 3672758"/>
              <a:gd name="connsiteY157" fmla="*/ 1960783 h 3397568"/>
              <a:gd name="connsiteX158" fmla="*/ 534898 w 3672758"/>
              <a:gd name="connsiteY158" fmla="*/ 2017581 h 3397568"/>
              <a:gd name="connsiteX159" fmla="*/ 529543 w 3672758"/>
              <a:gd name="connsiteY159" fmla="*/ 2017581 h 3397568"/>
              <a:gd name="connsiteX160" fmla="*/ 471214 w 3672758"/>
              <a:gd name="connsiteY160" fmla="*/ 1960783 h 3397568"/>
              <a:gd name="connsiteX161" fmla="*/ 529543 w 3672758"/>
              <a:gd name="connsiteY161" fmla="*/ 1903984 h 3397568"/>
              <a:gd name="connsiteX162" fmla="*/ 1093700 w 3672758"/>
              <a:gd name="connsiteY162" fmla="*/ 1895378 h 3397568"/>
              <a:gd name="connsiteX163" fmla="*/ 1157766 w 3672758"/>
              <a:gd name="connsiteY163" fmla="*/ 1952368 h 3397568"/>
              <a:gd name="connsiteX164" fmla="*/ 1099246 w 3672758"/>
              <a:gd name="connsiteY164" fmla="*/ 2017581 h 3397568"/>
              <a:gd name="connsiteX165" fmla="*/ 1096378 w 3672758"/>
              <a:gd name="connsiteY165" fmla="*/ 2017581 h 3397568"/>
              <a:gd name="connsiteX166" fmla="*/ 1093700 w 3672758"/>
              <a:gd name="connsiteY166" fmla="*/ 2017581 h 3397568"/>
              <a:gd name="connsiteX167" fmla="*/ 1032503 w 3672758"/>
              <a:gd name="connsiteY167" fmla="*/ 1960592 h 3397568"/>
              <a:gd name="connsiteX168" fmla="*/ 1088154 w 3672758"/>
              <a:gd name="connsiteY168" fmla="*/ 1898055 h 3397568"/>
              <a:gd name="connsiteX169" fmla="*/ 1093700 w 3672758"/>
              <a:gd name="connsiteY169" fmla="*/ 1895378 h 3397568"/>
              <a:gd name="connsiteX170" fmla="*/ 1356655 w 3672758"/>
              <a:gd name="connsiteY170" fmla="*/ 1796650 h 3397568"/>
              <a:gd name="connsiteX171" fmla="*/ 1398537 w 3672758"/>
              <a:gd name="connsiteY171" fmla="*/ 1815439 h 3397568"/>
              <a:gd name="connsiteX172" fmla="*/ 1398537 w 3672758"/>
              <a:gd name="connsiteY172" fmla="*/ 1901881 h 3397568"/>
              <a:gd name="connsiteX173" fmla="*/ 1395859 w 3672758"/>
              <a:gd name="connsiteY173" fmla="*/ 1904749 h 3397568"/>
              <a:gd name="connsiteX174" fmla="*/ 1356655 w 3672758"/>
              <a:gd name="connsiteY174" fmla="*/ 1921387 h 3397568"/>
              <a:gd name="connsiteX175" fmla="*/ 1314773 w 3672758"/>
              <a:gd name="connsiteY175" fmla="*/ 1901881 h 3397568"/>
              <a:gd name="connsiteX176" fmla="*/ 1314773 w 3672758"/>
              <a:gd name="connsiteY176" fmla="*/ 1815439 h 3397568"/>
              <a:gd name="connsiteX177" fmla="*/ 1356655 w 3672758"/>
              <a:gd name="connsiteY177" fmla="*/ 1796650 h 3397568"/>
              <a:gd name="connsiteX178" fmla="*/ 1423397 w 3672758"/>
              <a:gd name="connsiteY178" fmla="*/ 1537186 h 3397568"/>
              <a:gd name="connsiteX179" fmla="*/ 1483064 w 3672758"/>
              <a:gd name="connsiteY179" fmla="*/ 1594177 h 3397568"/>
              <a:gd name="connsiteX180" fmla="*/ 1483064 w 3672758"/>
              <a:gd name="connsiteY180" fmla="*/ 1596854 h 3397568"/>
              <a:gd name="connsiteX181" fmla="*/ 1423397 w 3672758"/>
              <a:gd name="connsiteY181" fmla="*/ 1659389 h 3397568"/>
              <a:gd name="connsiteX182" fmla="*/ 1361052 w 3672758"/>
              <a:gd name="connsiteY182" fmla="*/ 1597045 h 3397568"/>
              <a:gd name="connsiteX183" fmla="*/ 1423397 w 3672758"/>
              <a:gd name="connsiteY183" fmla="*/ 1537186 h 3397568"/>
              <a:gd name="connsiteX184" fmla="*/ 1423397 w 3672758"/>
              <a:gd name="connsiteY184" fmla="*/ 1248987 h 3397568"/>
              <a:gd name="connsiteX185" fmla="*/ 1483064 w 3672758"/>
              <a:gd name="connsiteY185" fmla="*/ 1308846 h 3397568"/>
              <a:gd name="connsiteX186" fmla="*/ 1483064 w 3672758"/>
              <a:gd name="connsiteY186" fmla="*/ 1311523 h 3397568"/>
              <a:gd name="connsiteX187" fmla="*/ 1423397 w 3672758"/>
              <a:gd name="connsiteY187" fmla="*/ 1371382 h 3397568"/>
              <a:gd name="connsiteX188" fmla="*/ 1361052 w 3672758"/>
              <a:gd name="connsiteY188" fmla="*/ 1311523 h 3397568"/>
              <a:gd name="connsiteX189" fmla="*/ 1423397 w 3672758"/>
              <a:gd name="connsiteY189" fmla="*/ 1248987 h 3397568"/>
              <a:gd name="connsiteX190" fmla="*/ 2839719 w 3672758"/>
              <a:gd name="connsiteY190" fmla="*/ 1231393 h 3397568"/>
              <a:gd name="connsiteX191" fmla="*/ 3210532 w 3672758"/>
              <a:gd name="connsiteY191" fmla="*/ 1606988 h 3397568"/>
              <a:gd name="connsiteX192" fmla="*/ 2839719 w 3672758"/>
              <a:gd name="connsiteY192" fmla="*/ 1982583 h 3397568"/>
              <a:gd name="connsiteX193" fmla="*/ 2468904 w 3672758"/>
              <a:gd name="connsiteY193" fmla="*/ 1606988 h 3397568"/>
              <a:gd name="connsiteX194" fmla="*/ 2839719 w 3672758"/>
              <a:gd name="connsiteY194" fmla="*/ 1231393 h 3397568"/>
              <a:gd name="connsiteX195" fmla="*/ 2839910 w 3672758"/>
              <a:gd name="connsiteY195" fmla="*/ 1075151 h 3397568"/>
              <a:gd name="connsiteX196" fmla="*/ 2308645 w 3672758"/>
              <a:gd name="connsiteY196" fmla="*/ 1606798 h 3397568"/>
              <a:gd name="connsiteX197" fmla="*/ 2839910 w 3672758"/>
              <a:gd name="connsiteY197" fmla="*/ 2141122 h 3397568"/>
              <a:gd name="connsiteX198" fmla="*/ 3371173 w 3672758"/>
              <a:gd name="connsiteY198" fmla="*/ 1606798 h 3397568"/>
              <a:gd name="connsiteX199" fmla="*/ 2839910 w 3672758"/>
              <a:gd name="connsiteY199" fmla="*/ 1075151 h 3397568"/>
              <a:gd name="connsiteX200" fmla="*/ 2839527 w 3672758"/>
              <a:gd name="connsiteY200" fmla="*/ 768593 h 3397568"/>
              <a:gd name="connsiteX201" fmla="*/ 3672758 w 3672758"/>
              <a:gd name="connsiteY201" fmla="*/ 1606798 h 3397568"/>
              <a:gd name="connsiteX202" fmla="*/ 2904357 w 3672758"/>
              <a:gd name="connsiteY202" fmla="*/ 3120462 h 3397568"/>
              <a:gd name="connsiteX203" fmla="*/ 2839718 w 3672758"/>
              <a:gd name="connsiteY203" fmla="*/ 3152972 h 3397568"/>
              <a:gd name="connsiteX204" fmla="*/ 2774697 w 3672758"/>
              <a:gd name="connsiteY204" fmla="*/ 3120462 h 3397568"/>
              <a:gd name="connsiteX205" fmla="*/ 2006295 w 3672758"/>
              <a:gd name="connsiteY205" fmla="*/ 1606798 h 3397568"/>
              <a:gd name="connsiteX206" fmla="*/ 2839527 w 3672758"/>
              <a:gd name="connsiteY206" fmla="*/ 768593 h 3397568"/>
              <a:gd name="connsiteX207" fmla="*/ 493016 w 3672758"/>
              <a:gd name="connsiteY207" fmla="*/ 681196 h 3397568"/>
              <a:gd name="connsiteX208" fmla="*/ 671825 w 3672758"/>
              <a:gd name="connsiteY208" fmla="*/ 860197 h 3397568"/>
              <a:gd name="connsiteX209" fmla="*/ 493016 w 3672758"/>
              <a:gd name="connsiteY209" fmla="*/ 1039198 h 3397568"/>
              <a:gd name="connsiteX210" fmla="*/ 314207 w 3672758"/>
              <a:gd name="connsiteY210" fmla="*/ 860197 h 3397568"/>
              <a:gd name="connsiteX211" fmla="*/ 493016 w 3672758"/>
              <a:gd name="connsiteY211" fmla="*/ 681196 h 3397568"/>
              <a:gd name="connsiteX212" fmla="*/ 493016 w 3672758"/>
              <a:gd name="connsiteY212" fmla="*/ 561289 h 3397568"/>
              <a:gd name="connsiteX213" fmla="*/ 195064 w 3672758"/>
              <a:gd name="connsiteY213" fmla="*/ 858476 h 3397568"/>
              <a:gd name="connsiteX214" fmla="*/ 493016 w 3672758"/>
              <a:gd name="connsiteY214" fmla="*/ 1155663 h 3397568"/>
              <a:gd name="connsiteX215" fmla="*/ 790967 w 3672758"/>
              <a:gd name="connsiteY215" fmla="*/ 858476 h 3397568"/>
              <a:gd name="connsiteX216" fmla="*/ 493016 w 3672758"/>
              <a:gd name="connsiteY216" fmla="*/ 561289 h 3397568"/>
              <a:gd name="connsiteX217" fmla="*/ 493016 w 3672758"/>
              <a:gd name="connsiteY217" fmla="*/ 366798 h 3397568"/>
              <a:gd name="connsiteX218" fmla="*/ 986032 w 3672758"/>
              <a:gd name="connsiteY218" fmla="*/ 858476 h 3397568"/>
              <a:gd name="connsiteX219" fmla="*/ 541782 w 3672758"/>
              <a:gd name="connsiteY219" fmla="*/ 1731104 h 3397568"/>
              <a:gd name="connsiteX220" fmla="*/ 493016 w 3672758"/>
              <a:gd name="connsiteY220" fmla="*/ 1755391 h 3397568"/>
              <a:gd name="connsiteX221" fmla="*/ 444250 w 3672758"/>
              <a:gd name="connsiteY221" fmla="*/ 1731104 h 3397568"/>
              <a:gd name="connsiteX222" fmla="*/ 0 w 3672758"/>
              <a:gd name="connsiteY222" fmla="*/ 858476 h 3397568"/>
              <a:gd name="connsiteX223" fmla="*/ 493016 w 3672758"/>
              <a:gd name="connsiteY223" fmla="*/ 366798 h 3397568"/>
              <a:gd name="connsiteX224" fmla="*/ 1426458 w 3672758"/>
              <a:gd name="connsiteY224" fmla="*/ 314398 h 3397568"/>
              <a:gd name="connsiteX225" fmla="*/ 1509264 w 3672758"/>
              <a:gd name="connsiteY225" fmla="*/ 397396 h 3397568"/>
              <a:gd name="connsiteX226" fmla="*/ 1426458 w 3672758"/>
              <a:gd name="connsiteY226" fmla="*/ 480395 h 3397568"/>
              <a:gd name="connsiteX227" fmla="*/ 1343650 w 3672758"/>
              <a:gd name="connsiteY227" fmla="*/ 397396 h 3397568"/>
              <a:gd name="connsiteX228" fmla="*/ 1426458 w 3672758"/>
              <a:gd name="connsiteY228" fmla="*/ 314398 h 3397568"/>
              <a:gd name="connsiteX229" fmla="*/ 1423396 w 3672758"/>
              <a:gd name="connsiteY229" fmla="*/ 196786 h 3397568"/>
              <a:gd name="connsiteX230" fmla="*/ 1220682 w 3672758"/>
              <a:gd name="connsiteY230" fmla="*/ 398735 h 3397568"/>
              <a:gd name="connsiteX231" fmla="*/ 1423396 w 3672758"/>
              <a:gd name="connsiteY231" fmla="*/ 600684 h 3397568"/>
              <a:gd name="connsiteX232" fmla="*/ 1626110 w 3672758"/>
              <a:gd name="connsiteY232" fmla="*/ 398735 h 3397568"/>
              <a:gd name="connsiteX233" fmla="*/ 1423396 w 3672758"/>
              <a:gd name="connsiteY233" fmla="*/ 196786 h 3397568"/>
              <a:gd name="connsiteX234" fmla="*/ 1423396 w 3672758"/>
              <a:gd name="connsiteY234" fmla="*/ 0 h 3397568"/>
              <a:gd name="connsiteX235" fmla="*/ 1823278 w 3672758"/>
              <a:gd name="connsiteY235" fmla="*/ 398735 h 3397568"/>
              <a:gd name="connsiteX236" fmla="*/ 1471971 w 3672758"/>
              <a:gd name="connsiteY236" fmla="*/ 1093701 h 3397568"/>
              <a:gd name="connsiteX237" fmla="*/ 1423396 w 3672758"/>
              <a:gd name="connsiteY237" fmla="*/ 1117988 h 3397568"/>
              <a:gd name="connsiteX238" fmla="*/ 1374822 w 3672758"/>
              <a:gd name="connsiteY238" fmla="*/ 1093701 h 3397568"/>
              <a:gd name="connsiteX239" fmla="*/ 1020837 w 3672758"/>
              <a:gd name="connsiteY239" fmla="*/ 398735 h 3397568"/>
              <a:gd name="connsiteX240" fmla="*/ 1423396 w 3672758"/>
              <a:gd name="connsiteY240" fmla="*/ 0 h 339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3672758" h="3397568">
                <a:moveTo>
                  <a:pt x="860579" y="3277850"/>
                </a:moveTo>
                <a:cubicBezTo>
                  <a:pt x="860579" y="3277850"/>
                  <a:pt x="860579" y="3277850"/>
                  <a:pt x="863448" y="3277850"/>
                </a:cubicBezTo>
                <a:cubicBezTo>
                  <a:pt x="896915" y="3280528"/>
                  <a:pt x="924836" y="3307685"/>
                  <a:pt x="921776" y="3340387"/>
                </a:cubicBezTo>
                <a:cubicBezTo>
                  <a:pt x="921776" y="3372898"/>
                  <a:pt x="894046" y="3397376"/>
                  <a:pt x="860579" y="3397376"/>
                </a:cubicBezTo>
                <a:cubicBezTo>
                  <a:pt x="860579" y="3397376"/>
                  <a:pt x="860579" y="3397376"/>
                  <a:pt x="857710" y="3397376"/>
                </a:cubicBezTo>
                <a:cubicBezTo>
                  <a:pt x="857710" y="3397376"/>
                  <a:pt x="855033" y="3397376"/>
                  <a:pt x="852164" y="3397376"/>
                </a:cubicBezTo>
                <a:cubicBezTo>
                  <a:pt x="818697" y="3397376"/>
                  <a:pt x="793644" y="3367352"/>
                  <a:pt x="796513" y="3334841"/>
                </a:cubicBezTo>
                <a:cubicBezTo>
                  <a:pt x="796513" y="3302330"/>
                  <a:pt x="824434" y="3275173"/>
                  <a:pt x="860579" y="3277850"/>
                </a:cubicBezTo>
                <a:close/>
                <a:moveTo>
                  <a:pt x="2836850" y="3275173"/>
                </a:moveTo>
                <a:cubicBezTo>
                  <a:pt x="2836850" y="3275173"/>
                  <a:pt x="2836850" y="3275173"/>
                  <a:pt x="2842587" y="3275173"/>
                </a:cubicBezTo>
                <a:cubicBezTo>
                  <a:pt x="2876819" y="3275173"/>
                  <a:pt x="2905123" y="3302330"/>
                  <a:pt x="2905123" y="3335032"/>
                </a:cubicBezTo>
                <a:cubicBezTo>
                  <a:pt x="2905123" y="3370412"/>
                  <a:pt x="2876819" y="3397568"/>
                  <a:pt x="2842587" y="3397568"/>
                </a:cubicBezTo>
                <a:cubicBezTo>
                  <a:pt x="2842587" y="3397568"/>
                  <a:pt x="2842587" y="3397568"/>
                  <a:pt x="2836850" y="3397568"/>
                </a:cubicBezTo>
                <a:cubicBezTo>
                  <a:pt x="2802809" y="3397568"/>
                  <a:pt x="2774314" y="3370412"/>
                  <a:pt x="2774314" y="3335032"/>
                </a:cubicBezTo>
                <a:cubicBezTo>
                  <a:pt x="2774314" y="3302330"/>
                  <a:pt x="2802618" y="3275173"/>
                  <a:pt x="2836850" y="3275173"/>
                </a:cubicBezTo>
                <a:close/>
                <a:moveTo>
                  <a:pt x="2554963" y="3275173"/>
                </a:moveTo>
                <a:cubicBezTo>
                  <a:pt x="2554963" y="3275173"/>
                  <a:pt x="2554963" y="3275173"/>
                  <a:pt x="2557640" y="3275173"/>
                </a:cubicBezTo>
                <a:cubicBezTo>
                  <a:pt x="2590151" y="3275173"/>
                  <a:pt x="2617307" y="3302330"/>
                  <a:pt x="2617307" y="3335032"/>
                </a:cubicBezTo>
                <a:cubicBezTo>
                  <a:pt x="2617307" y="3370412"/>
                  <a:pt x="2590151" y="3397568"/>
                  <a:pt x="2557640" y="3397568"/>
                </a:cubicBezTo>
                <a:cubicBezTo>
                  <a:pt x="2525129" y="3397568"/>
                  <a:pt x="2495295" y="3370412"/>
                  <a:pt x="2495295" y="3335032"/>
                </a:cubicBezTo>
                <a:cubicBezTo>
                  <a:pt x="2495295" y="3302330"/>
                  <a:pt x="2519583" y="3275173"/>
                  <a:pt x="2554963" y="3275173"/>
                </a:cubicBezTo>
                <a:close/>
                <a:moveTo>
                  <a:pt x="2273075" y="3275173"/>
                </a:moveTo>
                <a:cubicBezTo>
                  <a:pt x="2273075" y="3275173"/>
                  <a:pt x="2273075" y="3275173"/>
                  <a:pt x="2275753" y="3275173"/>
                </a:cubicBezTo>
                <a:cubicBezTo>
                  <a:pt x="2310941" y="3275173"/>
                  <a:pt x="2338097" y="3302330"/>
                  <a:pt x="2338097" y="3335032"/>
                </a:cubicBezTo>
                <a:cubicBezTo>
                  <a:pt x="2338097" y="3370412"/>
                  <a:pt x="2311132" y="3397568"/>
                  <a:pt x="2275753" y="3397568"/>
                </a:cubicBezTo>
                <a:cubicBezTo>
                  <a:pt x="2243242" y="3397568"/>
                  <a:pt x="2216085" y="3370412"/>
                  <a:pt x="2216085" y="3335032"/>
                </a:cubicBezTo>
                <a:cubicBezTo>
                  <a:pt x="2216085" y="3302330"/>
                  <a:pt x="2240565" y="3275173"/>
                  <a:pt x="2273075" y="3275173"/>
                </a:cubicBezTo>
                <a:close/>
                <a:moveTo>
                  <a:pt x="1986407" y="3275173"/>
                </a:moveTo>
                <a:cubicBezTo>
                  <a:pt x="1986407" y="3275173"/>
                  <a:pt x="1986407" y="3275173"/>
                  <a:pt x="1991762" y="3275173"/>
                </a:cubicBezTo>
                <a:cubicBezTo>
                  <a:pt x="2023699" y="3275173"/>
                  <a:pt x="2050281" y="3302330"/>
                  <a:pt x="2050090" y="3335032"/>
                </a:cubicBezTo>
                <a:cubicBezTo>
                  <a:pt x="2050090" y="3370412"/>
                  <a:pt x="2023699" y="3397568"/>
                  <a:pt x="1991762" y="3397568"/>
                </a:cubicBezTo>
                <a:cubicBezTo>
                  <a:pt x="1991762" y="3397568"/>
                  <a:pt x="1991762" y="3397568"/>
                  <a:pt x="1986407" y="3397568"/>
                </a:cubicBezTo>
                <a:cubicBezTo>
                  <a:pt x="1954661" y="3397568"/>
                  <a:pt x="1928078" y="3370412"/>
                  <a:pt x="1928078" y="3335032"/>
                </a:cubicBezTo>
                <a:cubicBezTo>
                  <a:pt x="1928078" y="3302330"/>
                  <a:pt x="1954470" y="3275173"/>
                  <a:pt x="1986407" y="3275173"/>
                </a:cubicBezTo>
                <a:close/>
                <a:moveTo>
                  <a:pt x="1708727" y="3275173"/>
                </a:moveTo>
                <a:cubicBezTo>
                  <a:pt x="1708727" y="3275173"/>
                  <a:pt x="1708727" y="3275173"/>
                  <a:pt x="1711404" y="3275173"/>
                </a:cubicBezTo>
                <a:cubicBezTo>
                  <a:pt x="1743915" y="3275173"/>
                  <a:pt x="1771071" y="3302330"/>
                  <a:pt x="1771071" y="3335032"/>
                </a:cubicBezTo>
                <a:cubicBezTo>
                  <a:pt x="1771071" y="3370412"/>
                  <a:pt x="1743915" y="3397568"/>
                  <a:pt x="1711404" y="3397568"/>
                </a:cubicBezTo>
                <a:cubicBezTo>
                  <a:pt x="1678893" y="3397568"/>
                  <a:pt x="1649059" y="3370412"/>
                  <a:pt x="1649059" y="3335032"/>
                </a:cubicBezTo>
                <a:cubicBezTo>
                  <a:pt x="1649059" y="3302330"/>
                  <a:pt x="1673347" y="3275173"/>
                  <a:pt x="1708727" y="3275173"/>
                </a:cubicBezTo>
                <a:close/>
                <a:moveTo>
                  <a:pt x="1423588" y="3275173"/>
                </a:moveTo>
                <a:cubicBezTo>
                  <a:pt x="1423588" y="3275173"/>
                  <a:pt x="1423588" y="3275173"/>
                  <a:pt x="1426457" y="3275173"/>
                </a:cubicBezTo>
                <a:cubicBezTo>
                  <a:pt x="1463366" y="3275173"/>
                  <a:pt x="1491861" y="3302330"/>
                  <a:pt x="1491861" y="3335032"/>
                </a:cubicBezTo>
                <a:cubicBezTo>
                  <a:pt x="1491861" y="3370412"/>
                  <a:pt x="1463366" y="3397568"/>
                  <a:pt x="1426457" y="3397568"/>
                </a:cubicBezTo>
                <a:cubicBezTo>
                  <a:pt x="1426457" y="3397568"/>
                  <a:pt x="1426457" y="3397568"/>
                  <a:pt x="1423588" y="3397568"/>
                </a:cubicBezTo>
                <a:cubicBezTo>
                  <a:pt x="1389548" y="3397568"/>
                  <a:pt x="1361052" y="3370412"/>
                  <a:pt x="1361052" y="3335032"/>
                </a:cubicBezTo>
                <a:cubicBezTo>
                  <a:pt x="1361052" y="3302330"/>
                  <a:pt x="1389357" y="3275173"/>
                  <a:pt x="1423588" y="3275173"/>
                </a:cubicBezTo>
                <a:close/>
                <a:moveTo>
                  <a:pt x="1138833" y="3275173"/>
                </a:moveTo>
                <a:cubicBezTo>
                  <a:pt x="1138833" y="3275173"/>
                  <a:pt x="1138833" y="3275173"/>
                  <a:pt x="1144188" y="3275173"/>
                </a:cubicBezTo>
                <a:cubicBezTo>
                  <a:pt x="1176890" y="3275173"/>
                  <a:pt x="1204046" y="3302330"/>
                  <a:pt x="1203855" y="3335032"/>
                </a:cubicBezTo>
                <a:cubicBezTo>
                  <a:pt x="1203855" y="3370412"/>
                  <a:pt x="1176699" y="3397568"/>
                  <a:pt x="1144188" y="3397568"/>
                </a:cubicBezTo>
                <a:cubicBezTo>
                  <a:pt x="1111677" y="3397568"/>
                  <a:pt x="1081843" y="3370412"/>
                  <a:pt x="1081843" y="3335032"/>
                </a:cubicBezTo>
                <a:cubicBezTo>
                  <a:pt x="1081843" y="3302330"/>
                  <a:pt x="1106323" y="3275173"/>
                  <a:pt x="1138833" y="3275173"/>
                </a:cubicBezTo>
                <a:close/>
                <a:moveTo>
                  <a:pt x="612135" y="3151393"/>
                </a:moveTo>
                <a:cubicBezTo>
                  <a:pt x="627506" y="3152445"/>
                  <a:pt x="642853" y="3159282"/>
                  <a:pt x="655379" y="3171522"/>
                </a:cubicBezTo>
                <a:lnTo>
                  <a:pt x="658057" y="3174199"/>
                </a:lnTo>
                <a:cubicBezTo>
                  <a:pt x="680432" y="3201547"/>
                  <a:pt x="677563" y="3239795"/>
                  <a:pt x="649642" y="3261596"/>
                </a:cubicBezTo>
                <a:cubicBezTo>
                  <a:pt x="638550" y="3269628"/>
                  <a:pt x="624590" y="3275174"/>
                  <a:pt x="610629" y="3275174"/>
                </a:cubicBezTo>
                <a:cubicBezTo>
                  <a:pt x="593992" y="3275174"/>
                  <a:pt x="574293" y="3266951"/>
                  <a:pt x="563201" y="3253373"/>
                </a:cubicBezTo>
                <a:cubicBezTo>
                  <a:pt x="540826" y="3228703"/>
                  <a:pt x="543695" y="3187778"/>
                  <a:pt x="568747" y="3165975"/>
                </a:cubicBezTo>
                <a:cubicBezTo>
                  <a:pt x="581370" y="3155075"/>
                  <a:pt x="596764" y="3150341"/>
                  <a:pt x="612135" y="3151393"/>
                </a:cubicBezTo>
                <a:close/>
                <a:moveTo>
                  <a:pt x="518834" y="2893459"/>
                </a:moveTo>
                <a:cubicBezTo>
                  <a:pt x="551345" y="2896136"/>
                  <a:pt x="575824" y="2922146"/>
                  <a:pt x="575824" y="2953318"/>
                </a:cubicBezTo>
                <a:cubicBezTo>
                  <a:pt x="575824" y="2953318"/>
                  <a:pt x="575824" y="2953318"/>
                  <a:pt x="575824" y="2955995"/>
                </a:cubicBezTo>
                <a:cubicBezTo>
                  <a:pt x="573147" y="2987167"/>
                  <a:pt x="548668" y="3013176"/>
                  <a:pt x="516157" y="3013176"/>
                </a:cubicBezTo>
                <a:cubicBezTo>
                  <a:pt x="513480" y="3013176"/>
                  <a:pt x="513480" y="3013176"/>
                  <a:pt x="513480" y="3013176"/>
                </a:cubicBezTo>
                <a:cubicBezTo>
                  <a:pt x="480968" y="3010499"/>
                  <a:pt x="453812" y="2984490"/>
                  <a:pt x="453812" y="2953318"/>
                </a:cubicBezTo>
                <a:lnTo>
                  <a:pt x="456489" y="2948154"/>
                </a:lnTo>
                <a:cubicBezTo>
                  <a:pt x="456489" y="2916791"/>
                  <a:pt x="486323" y="2890781"/>
                  <a:pt x="518834" y="2893459"/>
                </a:cubicBezTo>
                <a:close/>
                <a:moveTo>
                  <a:pt x="642112" y="2643628"/>
                </a:moveTo>
                <a:cubicBezTo>
                  <a:pt x="657818" y="2643987"/>
                  <a:pt x="673165" y="2650393"/>
                  <a:pt x="684257" y="2663206"/>
                </a:cubicBezTo>
                <a:cubicBezTo>
                  <a:pt x="706441" y="2688833"/>
                  <a:pt x="706441" y="2728802"/>
                  <a:pt x="681388" y="2751560"/>
                </a:cubicBezTo>
                <a:cubicBezTo>
                  <a:pt x="681388" y="2751560"/>
                  <a:pt x="678711" y="2754429"/>
                  <a:pt x="675842" y="2754429"/>
                </a:cubicBezTo>
                <a:cubicBezTo>
                  <a:pt x="664750" y="2765712"/>
                  <a:pt x="650790" y="2768580"/>
                  <a:pt x="636829" y="2768580"/>
                </a:cubicBezTo>
                <a:cubicBezTo>
                  <a:pt x="620192" y="2768580"/>
                  <a:pt x="600493" y="2762843"/>
                  <a:pt x="589401" y="2748691"/>
                </a:cubicBezTo>
                <a:cubicBezTo>
                  <a:pt x="567026" y="2720197"/>
                  <a:pt x="569895" y="2680227"/>
                  <a:pt x="597816" y="2660338"/>
                </a:cubicBezTo>
                <a:cubicBezTo>
                  <a:pt x="610343" y="2648959"/>
                  <a:pt x="626407" y="2643270"/>
                  <a:pt x="642112" y="2643628"/>
                </a:cubicBezTo>
                <a:close/>
                <a:moveTo>
                  <a:pt x="1739899" y="2555538"/>
                </a:moveTo>
                <a:lnTo>
                  <a:pt x="1742577" y="2555538"/>
                </a:lnTo>
                <a:cubicBezTo>
                  <a:pt x="1774514" y="2550184"/>
                  <a:pt x="1803965" y="2574281"/>
                  <a:pt x="1809319" y="2606027"/>
                </a:cubicBezTo>
                <a:cubicBezTo>
                  <a:pt x="1814674" y="2637772"/>
                  <a:pt x="1793446" y="2667032"/>
                  <a:pt x="1761318" y="2672387"/>
                </a:cubicBezTo>
                <a:cubicBezTo>
                  <a:pt x="1761318" y="2672387"/>
                  <a:pt x="1761318" y="2672387"/>
                  <a:pt x="1755963" y="2672387"/>
                </a:cubicBezTo>
                <a:cubicBezTo>
                  <a:pt x="1753286" y="2672387"/>
                  <a:pt x="1750609" y="2672387"/>
                  <a:pt x="1747931" y="2672387"/>
                </a:cubicBezTo>
                <a:cubicBezTo>
                  <a:pt x="1718672" y="2672387"/>
                  <a:pt x="1694575" y="2651159"/>
                  <a:pt x="1689220" y="2621900"/>
                </a:cubicBezTo>
                <a:cubicBezTo>
                  <a:pt x="1683865" y="2590154"/>
                  <a:pt x="1707770" y="2560893"/>
                  <a:pt x="1739899" y="2555538"/>
                </a:cubicBezTo>
                <a:close/>
                <a:moveTo>
                  <a:pt x="1464323" y="2550183"/>
                </a:moveTo>
                <a:cubicBezTo>
                  <a:pt x="1496833" y="2550183"/>
                  <a:pt x="1526858" y="2575236"/>
                  <a:pt x="1526667" y="2611381"/>
                </a:cubicBezTo>
                <a:cubicBezTo>
                  <a:pt x="1526667" y="2644848"/>
                  <a:pt x="1502188" y="2672577"/>
                  <a:pt x="1469677" y="2672577"/>
                </a:cubicBezTo>
                <a:cubicBezTo>
                  <a:pt x="1469677" y="2672577"/>
                  <a:pt x="1469677" y="2672577"/>
                  <a:pt x="1464323" y="2672577"/>
                </a:cubicBezTo>
                <a:cubicBezTo>
                  <a:pt x="1431812" y="2672577"/>
                  <a:pt x="1404655" y="2644656"/>
                  <a:pt x="1404655" y="2611381"/>
                </a:cubicBezTo>
                <a:cubicBezTo>
                  <a:pt x="1404655" y="2575236"/>
                  <a:pt x="1431812" y="2550183"/>
                  <a:pt x="1464323" y="2550183"/>
                </a:cubicBezTo>
                <a:close/>
                <a:moveTo>
                  <a:pt x="1177846" y="2550183"/>
                </a:moveTo>
                <a:cubicBezTo>
                  <a:pt x="1211122" y="2550183"/>
                  <a:pt x="1238852" y="2575236"/>
                  <a:pt x="1239043" y="2611381"/>
                </a:cubicBezTo>
                <a:cubicBezTo>
                  <a:pt x="1239043" y="2644848"/>
                  <a:pt x="1213991" y="2672577"/>
                  <a:pt x="1180715" y="2672577"/>
                </a:cubicBezTo>
                <a:cubicBezTo>
                  <a:pt x="1180715" y="2672577"/>
                  <a:pt x="1180715" y="2672577"/>
                  <a:pt x="1177846" y="2672577"/>
                </a:cubicBezTo>
                <a:cubicBezTo>
                  <a:pt x="1141893" y="2672577"/>
                  <a:pt x="1116840" y="2644656"/>
                  <a:pt x="1116840" y="2611381"/>
                </a:cubicBezTo>
                <a:cubicBezTo>
                  <a:pt x="1116840" y="2575236"/>
                  <a:pt x="1141702" y="2550183"/>
                  <a:pt x="1177846" y="2550183"/>
                </a:cubicBezTo>
                <a:close/>
                <a:moveTo>
                  <a:pt x="897298" y="2550183"/>
                </a:moveTo>
                <a:cubicBezTo>
                  <a:pt x="929808" y="2550183"/>
                  <a:pt x="959642" y="2575236"/>
                  <a:pt x="959642" y="2611381"/>
                </a:cubicBezTo>
                <a:cubicBezTo>
                  <a:pt x="959642" y="2644848"/>
                  <a:pt x="935354" y="2672577"/>
                  <a:pt x="899975" y="2672577"/>
                </a:cubicBezTo>
                <a:cubicBezTo>
                  <a:pt x="899975" y="2672577"/>
                  <a:pt x="899975" y="2672577"/>
                  <a:pt x="897298" y="2672577"/>
                </a:cubicBezTo>
                <a:cubicBezTo>
                  <a:pt x="864786" y="2672577"/>
                  <a:pt x="837630" y="2644656"/>
                  <a:pt x="837630" y="2611381"/>
                </a:cubicBezTo>
                <a:cubicBezTo>
                  <a:pt x="837630" y="2575236"/>
                  <a:pt x="864786" y="2550183"/>
                  <a:pt x="897298" y="2550183"/>
                </a:cubicBezTo>
                <a:close/>
                <a:moveTo>
                  <a:pt x="1907999" y="2352059"/>
                </a:moveTo>
                <a:cubicBezTo>
                  <a:pt x="1939745" y="2349381"/>
                  <a:pt x="1966327" y="2373286"/>
                  <a:pt x="1969005" y="2405224"/>
                </a:cubicBezTo>
                <a:cubicBezTo>
                  <a:pt x="1969005" y="2405224"/>
                  <a:pt x="1969005" y="2405224"/>
                  <a:pt x="1969005" y="2407902"/>
                </a:cubicBezTo>
                <a:cubicBezTo>
                  <a:pt x="1971682" y="2442516"/>
                  <a:pt x="1945100" y="2469099"/>
                  <a:pt x="1913163" y="2471776"/>
                </a:cubicBezTo>
                <a:lnTo>
                  <a:pt x="1910485" y="2471776"/>
                </a:lnTo>
                <a:cubicBezTo>
                  <a:pt x="1878740" y="2471776"/>
                  <a:pt x="1854834" y="2447871"/>
                  <a:pt x="1852156" y="2415934"/>
                </a:cubicBezTo>
                <a:cubicBezTo>
                  <a:pt x="1849670" y="2383996"/>
                  <a:pt x="1873576" y="2354736"/>
                  <a:pt x="1907999" y="2352059"/>
                </a:cubicBezTo>
                <a:close/>
                <a:moveTo>
                  <a:pt x="1721541" y="2174779"/>
                </a:moveTo>
                <a:cubicBezTo>
                  <a:pt x="1721541" y="2174779"/>
                  <a:pt x="1721541" y="2174779"/>
                  <a:pt x="1727087" y="2177265"/>
                </a:cubicBezTo>
                <a:cubicBezTo>
                  <a:pt x="1760553" y="2177265"/>
                  <a:pt x="1788474" y="2202509"/>
                  <a:pt x="1785606" y="2232726"/>
                </a:cubicBezTo>
                <a:cubicBezTo>
                  <a:pt x="1785606" y="2262942"/>
                  <a:pt x="1757876" y="2288185"/>
                  <a:pt x="1724409" y="2288185"/>
                </a:cubicBezTo>
                <a:cubicBezTo>
                  <a:pt x="1724409" y="2288185"/>
                  <a:pt x="1724409" y="2288185"/>
                  <a:pt x="1718863" y="2288185"/>
                </a:cubicBezTo>
                <a:cubicBezTo>
                  <a:pt x="1685396" y="2285699"/>
                  <a:pt x="1657666" y="2260455"/>
                  <a:pt x="1660343" y="2230240"/>
                </a:cubicBezTo>
                <a:cubicBezTo>
                  <a:pt x="1660343" y="2200023"/>
                  <a:pt x="1690942" y="2174779"/>
                  <a:pt x="1721541" y="2174779"/>
                </a:cubicBezTo>
                <a:close/>
                <a:moveTo>
                  <a:pt x="1435445" y="2174779"/>
                </a:moveTo>
                <a:lnTo>
                  <a:pt x="1440800" y="2174779"/>
                </a:lnTo>
                <a:cubicBezTo>
                  <a:pt x="1473502" y="2174779"/>
                  <a:pt x="1500658" y="2200023"/>
                  <a:pt x="1500467" y="2232726"/>
                </a:cubicBezTo>
                <a:cubicBezTo>
                  <a:pt x="1500467" y="2262942"/>
                  <a:pt x="1473311" y="2288185"/>
                  <a:pt x="1440800" y="2288185"/>
                </a:cubicBezTo>
                <a:cubicBezTo>
                  <a:pt x="1405612" y="2288185"/>
                  <a:pt x="1378455" y="2262942"/>
                  <a:pt x="1378455" y="2232726"/>
                </a:cubicBezTo>
                <a:cubicBezTo>
                  <a:pt x="1378455" y="2200023"/>
                  <a:pt x="1402935" y="2174779"/>
                  <a:pt x="1435445" y="2174779"/>
                </a:cubicBezTo>
                <a:close/>
                <a:moveTo>
                  <a:pt x="1157574" y="2174779"/>
                </a:moveTo>
                <a:cubicBezTo>
                  <a:pt x="1157574" y="2174779"/>
                  <a:pt x="1157574" y="2174779"/>
                  <a:pt x="1162929" y="2174779"/>
                </a:cubicBezTo>
                <a:cubicBezTo>
                  <a:pt x="1194675" y="2174779"/>
                  <a:pt x="1221257" y="2199831"/>
                  <a:pt x="1221257" y="2232726"/>
                </a:cubicBezTo>
                <a:cubicBezTo>
                  <a:pt x="1221257" y="2262942"/>
                  <a:pt x="1194866" y="2288185"/>
                  <a:pt x="1162929" y="2288185"/>
                </a:cubicBezTo>
                <a:cubicBezTo>
                  <a:pt x="1162929" y="2288185"/>
                  <a:pt x="1162929" y="2288185"/>
                  <a:pt x="1157574" y="2288185"/>
                </a:cubicBezTo>
                <a:cubicBezTo>
                  <a:pt x="1125828" y="2288185"/>
                  <a:pt x="1099245" y="2262942"/>
                  <a:pt x="1099245" y="2232726"/>
                </a:cubicBezTo>
                <a:cubicBezTo>
                  <a:pt x="1099245" y="2200023"/>
                  <a:pt x="1125828" y="2174779"/>
                  <a:pt x="1157574" y="2174779"/>
                </a:cubicBezTo>
                <a:close/>
                <a:moveTo>
                  <a:pt x="871098" y="2174779"/>
                </a:moveTo>
                <a:cubicBezTo>
                  <a:pt x="871098" y="2174779"/>
                  <a:pt x="871098" y="2174779"/>
                  <a:pt x="873775" y="2174779"/>
                </a:cubicBezTo>
                <a:cubicBezTo>
                  <a:pt x="908963" y="2174779"/>
                  <a:pt x="933442" y="2199831"/>
                  <a:pt x="933442" y="2232726"/>
                </a:cubicBezTo>
                <a:cubicBezTo>
                  <a:pt x="933442" y="2262942"/>
                  <a:pt x="909154" y="2288185"/>
                  <a:pt x="873775" y="2288185"/>
                </a:cubicBezTo>
                <a:cubicBezTo>
                  <a:pt x="841263" y="2288185"/>
                  <a:pt x="811430" y="2262942"/>
                  <a:pt x="811430" y="2232726"/>
                </a:cubicBezTo>
                <a:cubicBezTo>
                  <a:pt x="811430" y="2200023"/>
                  <a:pt x="838586" y="2174779"/>
                  <a:pt x="871098" y="2174779"/>
                </a:cubicBezTo>
                <a:close/>
                <a:moveTo>
                  <a:pt x="589210" y="2174779"/>
                </a:moveTo>
                <a:cubicBezTo>
                  <a:pt x="589210" y="2174779"/>
                  <a:pt x="589210" y="2174779"/>
                  <a:pt x="594565" y="2174779"/>
                </a:cubicBezTo>
                <a:cubicBezTo>
                  <a:pt x="627076" y="2174779"/>
                  <a:pt x="654232" y="2199831"/>
                  <a:pt x="654232" y="2232726"/>
                </a:cubicBezTo>
                <a:cubicBezTo>
                  <a:pt x="654232" y="2262942"/>
                  <a:pt x="627076" y="2288185"/>
                  <a:pt x="594565" y="2288185"/>
                </a:cubicBezTo>
                <a:cubicBezTo>
                  <a:pt x="559376" y="2288185"/>
                  <a:pt x="532220" y="2262942"/>
                  <a:pt x="532220" y="2232726"/>
                </a:cubicBezTo>
                <a:cubicBezTo>
                  <a:pt x="532220" y="2200023"/>
                  <a:pt x="556699" y="2174779"/>
                  <a:pt x="589210" y="2174779"/>
                </a:cubicBezTo>
                <a:close/>
                <a:moveTo>
                  <a:pt x="359149" y="2061183"/>
                </a:moveTo>
                <a:cubicBezTo>
                  <a:pt x="359149" y="2061183"/>
                  <a:pt x="359149" y="2061183"/>
                  <a:pt x="362018" y="2061183"/>
                </a:cubicBezTo>
                <a:cubicBezTo>
                  <a:pt x="399118" y="2061183"/>
                  <a:pt x="427422" y="2088339"/>
                  <a:pt x="427422" y="2123719"/>
                </a:cubicBezTo>
                <a:cubicBezTo>
                  <a:pt x="427422" y="2156421"/>
                  <a:pt x="398927" y="2183578"/>
                  <a:pt x="362018" y="2183578"/>
                </a:cubicBezTo>
                <a:cubicBezTo>
                  <a:pt x="362018" y="2183578"/>
                  <a:pt x="362018" y="2183578"/>
                  <a:pt x="359149" y="2183578"/>
                </a:cubicBezTo>
                <a:cubicBezTo>
                  <a:pt x="325108" y="2183578"/>
                  <a:pt x="296613" y="2156230"/>
                  <a:pt x="296613" y="2123719"/>
                </a:cubicBezTo>
                <a:cubicBezTo>
                  <a:pt x="296613" y="2088339"/>
                  <a:pt x="324916" y="2061183"/>
                  <a:pt x="359149" y="2061183"/>
                </a:cubicBezTo>
                <a:close/>
                <a:moveTo>
                  <a:pt x="810092" y="1903984"/>
                </a:moveTo>
                <a:cubicBezTo>
                  <a:pt x="842602" y="1903984"/>
                  <a:pt x="872436" y="1929801"/>
                  <a:pt x="872436" y="1960783"/>
                </a:cubicBezTo>
                <a:cubicBezTo>
                  <a:pt x="872436" y="1991764"/>
                  <a:pt x="848148" y="2017581"/>
                  <a:pt x="812769" y="2017581"/>
                </a:cubicBezTo>
                <a:lnTo>
                  <a:pt x="810092" y="2017581"/>
                </a:lnTo>
                <a:cubicBezTo>
                  <a:pt x="777580" y="2017581"/>
                  <a:pt x="750424" y="1991764"/>
                  <a:pt x="750424" y="1960783"/>
                </a:cubicBezTo>
                <a:cubicBezTo>
                  <a:pt x="750424" y="1929801"/>
                  <a:pt x="777580" y="1903984"/>
                  <a:pt x="810092" y="1903984"/>
                </a:cubicBezTo>
                <a:close/>
                <a:moveTo>
                  <a:pt x="529543" y="1903984"/>
                </a:moveTo>
                <a:cubicBezTo>
                  <a:pt x="529543" y="1903984"/>
                  <a:pt x="529543" y="1903984"/>
                  <a:pt x="534898" y="1903984"/>
                </a:cubicBezTo>
                <a:cubicBezTo>
                  <a:pt x="566644" y="1903984"/>
                  <a:pt x="593226" y="1929801"/>
                  <a:pt x="593226" y="1960783"/>
                </a:cubicBezTo>
                <a:cubicBezTo>
                  <a:pt x="593226" y="1991764"/>
                  <a:pt x="566835" y="2017581"/>
                  <a:pt x="534898" y="2017581"/>
                </a:cubicBezTo>
                <a:cubicBezTo>
                  <a:pt x="534898" y="2017581"/>
                  <a:pt x="534898" y="2017581"/>
                  <a:pt x="529543" y="2017581"/>
                </a:cubicBezTo>
                <a:cubicBezTo>
                  <a:pt x="497796" y="2017581"/>
                  <a:pt x="471214" y="1991764"/>
                  <a:pt x="471214" y="1960783"/>
                </a:cubicBezTo>
                <a:cubicBezTo>
                  <a:pt x="471214" y="1929801"/>
                  <a:pt x="497605" y="1903984"/>
                  <a:pt x="529543" y="1903984"/>
                </a:cubicBezTo>
                <a:close/>
                <a:moveTo>
                  <a:pt x="1093700" y="1895378"/>
                </a:moveTo>
                <a:cubicBezTo>
                  <a:pt x="1127167" y="1895378"/>
                  <a:pt x="1154897" y="1919857"/>
                  <a:pt x="1157766" y="1952368"/>
                </a:cubicBezTo>
                <a:cubicBezTo>
                  <a:pt x="1160443" y="1985071"/>
                  <a:pt x="1132713" y="2014904"/>
                  <a:pt x="1099246" y="2017581"/>
                </a:cubicBezTo>
                <a:cubicBezTo>
                  <a:pt x="1099246" y="2017581"/>
                  <a:pt x="1099246" y="2017581"/>
                  <a:pt x="1096378" y="2017581"/>
                </a:cubicBezTo>
                <a:cubicBezTo>
                  <a:pt x="1093509" y="2017581"/>
                  <a:pt x="1093509" y="2017581"/>
                  <a:pt x="1093700" y="2017581"/>
                </a:cubicBezTo>
                <a:cubicBezTo>
                  <a:pt x="1060424" y="2017581"/>
                  <a:pt x="1032503" y="1993103"/>
                  <a:pt x="1032503" y="1960592"/>
                </a:cubicBezTo>
                <a:cubicBezTo>
                  <a:pt x="1029634" y="1927889"/>
                  <a:pt x="1054687" y="1898055"/>
                  <a:pt x="1088154" y="1898055"/>
                </a:cubicBezTo>
                <a:cubicBezTo>
                  <a:pt x="1088154" y="1898055"/>
                  <a:pt x="1088154" y="1898055"/>
                  <a:pt x="1093700" y="1895378"/>
                </a:cubicBezTo>
                <a:close/>
                <a:moveTo>
                  <a:pt x="1356655" y="1796650"/>
                </a:moveTo>
                <a:cubicBezTo>
                  <a:pt x="1371715" y="1796650"/>
                  <a:pt x="1386776" y="1802913"/>
                  <a:pt x="1398537" y="1815439"/>
                </a:cubicBezTo>
                <a:cubicBezTo>
                  <a:pt x="1419382" y="1837814"/>
                  <a:pt x="1422059" y="1876828"/>
                  <a:pt x="1398537" y="1901881"/>
                </a:cubicBezTo>
                <a:lnTo>
                  <a:pt x="1395859" y="1904749"/>
                </a:lnTo>
                <a:cubicBezTo>
                  <a:pt x="1385532" y="1915841"/>
                  <a:pt x="1369660" y="1921387"/>
                  <a:pt x="1356655" y="1921387"/>
                </a:cubicBezTo>
                <a:cubicBezTo>
                  <a:pt x="1340974" y="1921387"/>
                  <a:pt x="1325292" y="1915841"/>
                  <a:pt x="1314773" y="1901881"/>
                </a:cubicBezTo>
                <a:cubicBezTo>
                  <a:pt x="1291250" y="1876828"/>
                  <a:pt x="1291250" y="1837814"/>
                  <a:pt x="1314773" y="1815439"/>
                </a:cubicBezTo>
                <a:cubicBezTo>
                  <a:pt x="1326535" y="1802913"/>
                  <a:pt x="1341595" y="1796650"/>
                  <a:pt x="1356655" y="1796650"/>
                </a:cubicBezTo>
                <a:close/>
                <a:moveTo>
                  <a:pt x="1423397" y="1537186"/>
                </a:moveTo>
                <a:cubicBezTo>
                  <a:pt x="1455908" y="1537186"/>
                  <a:pt x="1483064" y="1561474"/>
                  <a:pt x="1483064" y="1594177"/>
                </a:cubicBezTo>
                <a:cubicBezTo>
                  <a:pt x="1483064" y="1594177"/>
                  <a:pt x="1483064" y="1594177"/>
                  <a:pt x="1483064" y="1596854"/>
                </a:cubicBezTo>
                <a:cubicBezTo>
                  <a:pt x="1483064" y="1632233"/>
                  <a:pt x="1455908" y="1659389"/>
                  <a:pt x="1423397" y="1659389"/>
                </a:cubicBezTo>
                <a:cubicBezTo>
                  <a:pt x="1388209" y="1659389"/>
                  <a:pt x="1361052" y="1632233"/>
                  <a:pt x="1361052" y="1597045"/>
                </a:cubicBezTo>
                <a:cubicBezTo>
                  <a:pt x="1361052" y="1564342"/>
                  <a:pt x="1388018" y="1537186"/>
                  <a:pt x="1423397" y="1537186"/>
                </a:cubicBezTo>
                <a:close/>
                <a:moveTo>
                  <a:pt x="1423397" y="1248987"/>
                </a:moveTo>
                <a:cubicBezTo>
                  <a:pt x="1455908" y="1248987"/>
                  <a:pt x="1483064" y="1273466"/>
                  <a:pt x="1483064" y="1308846"/>
                </a:cubicBezTo>
                <a:cubicBezTo>
                  <a:pt x="1483064" y="1308846"/>
                  <a:pt x="1483064" y="1308846"/>
                  <a:pt x="1483064" y="1311523"/>
                </a:cubicBezTo>
                <a:cubicBezTo>
                  <a:pt x="1483064" y="1344225"/>
                  <a:pt x="1455908" y="1371382"/>
                  <a:pt x="1423397" y="1371382"/>
                </a:cubicBezTo>
                <a:cubicBezTo>
                  <a:pt x="1388209" y="1371382"/>
                  <a:pt x="1361052" y="1344225"/>
                  <a:pt x="1361052" y="1311523"/>
                </a:cubicBezTo>
                <a:cubicBezTo>
                  <a:pt x="1361052" y="1278821"/>
                  <a:pt x="1388018" y="1248987"/>
                  <a:pt x="1423397" y="1248987"/>
                </a:cubicBezTo>
                <a:close/>
                <a:moveTo>
                  <a:pt x="2839719" y="1231393"/>
                </a:moveTo>
                <a:cubicBezTo>
                  <a:pt x="3044513" y="1231393"/>
                  <a:pt x="3210532" y="1399553"/>
                  <a:pt x="3210532" y="1606988"/>
                </a:cubicBezTo>
                <a:cubicBezTo>
                  <a:pt x="3210532" y="1814423"/>
                  <a:pt x="3044513" y="1982583"/>
                  <a:pt x="2839719" y="1982583"/>
                </a:cubicBezTo>
                <a:cubicBezTo>
                  <a:pt x="2634923" y="1982583"/>
                  <a:pt x="2468904" y="1814423"/>
                  <a:pt x="2468904" y="1606988"/>
                </a:cubicBezTo>
                <a:cubicBezTo>
                  <a:pt x="2468904" y="1399553"/>
                  <a:pt x="2634923" y="1231393"/>
                  <a:pt x="2839719" y="1231393"/>
                </a:cubicBezTo>
                <a:close/>
                <a:moveTo>
                  <a:pt x="2839910" y="1075151"/>
                </a:moveTo>
                <a:cubicBezTo>
                  <a:pt x="2548652" y="1075151"/>
                  <a:pt x="2308645" y="1313818"/>
                  <a:pt x="2308645" y="1606798"/>
                </a:cubicBezTo>
                <a:cubicBezTo>
                  <a:pt x="2308645" y="1902455"/>
                  <a:pt x="2548652" y="2141122"/>
                  <a:pt x="2839910" y="2141122"/>
                </a:cubicBezTo>
                <a:cubicBezTo>
                  <a:pt x="3131167" y="2141122"/>
                  <a:pt x="3371173" y="1902455"/>
                  <a:pt x="3371173" y="1606798"/>
                </a:cubicBezTo>
                <a:cubicBezTo>
                  <a:pt x="3371173" y="1313818"/>
                  <a:pt x="3131167" y="1075151"/>
                  <a:pt x="2839910" y="1075151"/>
                </a:cubicBezTo>
                <a:close/>
                <a:moveTo>
                  <a:pt x="2839527" y="768593"/>
                </a:moveTo>
                <a:cubicBezTo>
                  <a:pt x="3297928" y="768593"/>
                  <a:pt x="3672758" y="1145718"/>
                  <a:pt x="3672758" y="1606798"/>
                </a:cubicBezTo>
                <a:cubicBezTo>
                  <a:pt x="3672758" y="2046267"/>
                  <a:pt x="2936677" y="3077050"/>
                  <a:pt x="2904357" y="3120462"/>
                </a:cubicBezTo>
                <a:cubicBezTo>
                  <a:pt x="2888293" y="3142072"/>
                  <a:pt x="2866683" y="3152972"/>
                  <a:pt x="2839718" y="3152972"/>
                </a:cubicBezTo>
                <a:cubicBezTo>
                  <a:pt x="2815431" y="3152972"/>
                  <a:pt x="2791335" y="3142072"/>
                  <a:pt x="2774697" y="3120462"/>
                </a:cubicBezTo>
                <a:cubicBezTo>
                  <a:pt x="2742377" y="3077050"/>
                  <a:pt x="2006295" y="2046267"/>
                  <a:pt x="2006295" y="1606798"/>
                </a:cubicBezTo>
                <a:cubicBezTo>
                  <a:pt x="2006295" y="1145718"/>
                  <a:pt x="2381125" y="768593"/>
                  <a:pt x="2839527" y="768593"/>
                </a:cubicBezTo>
                <a:close/>
                <a:moveTo>
                  <a:pt x="493016" y="681196"/>
                </a:moveTo>
                <a:cubicBezTo>
                  <a:pt x="591770" y="681196"/>
                  <a:pt x="671825" y="761337"/>
                  <a:pt x="671825" y="860197"/>
                </a:cubicBezTo>
                <a:cubicBezTo>
                  <a:pt x="671825" y="959057"/>
                  <a:pt x="591770" y="1039198"/>
                  <a:pt x="493016" y="1039198"/>
                </a:cubicBezTo>
                <a:cubicBezTo>
                  <a:pt x="394263" y="1039198"/>
                  <a:pt x="314207" y="959057"/>
                  <a:pt x="314207" y="860197"/>
                </a:cubicBezTo>
                <a:cubicBezTo>
                  <a:pt x="314207" y="761337"/>
                  <a:pt x="394263" y="681196"/>
                  <a:pt x="493016" y="681196"/>
                </a:cubicBezTo>
                <a:close/>
                <a:moveTo>
                  <a:pt x="493016" y="561289"/>
                </a:moveTo>
                <a:cubicBezTo>
                  <a:pt x="330462" y="561289"/>
                  <a:pt x="195064" y="693627"/>
                  <a:pt x="195064" y="858476"/>
                </a:cubicBezTo>
                <a:cubicBezTo>
                  <a:pt x="195064" y="1023325"/>
                  <a:pt x="330462" y="1155663"/>
                  <a:pt x="493016" y="1155663"/>
                </a:cubicBezTo>
                <a:cubicBezTo>
                  <a:pt x="658056" y="1155663"/>
                  <a:pt x="790776" y="1023325"/>
                  <a:pt x="790967" y="858476"/>
                </a:cubicBezTo>
                <a:cubicBezTo>
                  <a:pt x="790967" y="693627"/>
                  <a:pt x="658247" y="561289"/>
                  <a:pt x="493016" y="561289"/>
                </a:cubicBezTo>
                <a:close/>
                <a:moveTo>
                  <a:pt x="493016" y="366798"/>
                </a:moveTo>
                <a:cubicBezTo>
                  <a:pt x="766488" y="366798"/>
                  <a:pt x="985840" y="585576"/>
                  <a:pt x="986032" y="858476"/>
                </a:cubicBezTo>
                <a:cubicBezTo>
                  <a:pt x="986032" y="1109766"/>
                  <a:pt x="587871" y="1668951"/>
                  <a:pt x="541782" y="1731104"/>
                </a:cubicBezTo>
                <a:cubicBezTo>
                  <a:pt x="530881" y="1747359"/>
                  <a:pt x="511949" y="1755391"/>
                  <a:pt x="493016" y="1755391"/>
                </a:cubicBezTo>
                <a:cubicBezTo>
                  <a:pt x="474083" y="1755391"/>
                  <a:pt x="455150" y="1747359"/>
                  <a:pt x="444250" y="1731104"/>
                </a:cubicBezTo>
                <a:cubicBezTo>
                  <a:pt x="398161" y="1668951"/>
                  <a:pt x="0" y="1109766"/>
                  <a:pt x="0" y="858476"/>
                </a:cubicBezTo>
                <a:cubicBezTo>
                  <a:pt x="0" y="585576"/>
                  <a:pt x="222029" y="366798"/>
                  <a:pt x="493016" y="366798"/>
                </a:cubicBezTo>
                <a:close/>
                <a:moveTo>
                  <a:pt x="1426458" y="314398"/>
                </a:moveTo>
                <a:cubicBezTo>
                  <a:pt x="1472191" y="314398"/>
                  <a:pt x="1509264" y="351558"/>
                  <a:pt x="1509264" y="397396"/>
                </a:cubicBezTo>
                <a:cubicBezTo>
                  <a:pt x="1509264" y="443236"/>
                  <a:pt x="1472191" y="480395"/>
                  <a:pt x="1426458" y="480395"/>
                </a:cubicBezTo>
                <a:cubicBezTo>
                  <a:pt x="1380725" y="480395"/>
                  <a:pt x="1343650" y="443236"/>
                  <a:pt x="1343650" y="397396"/>
                </a:cubicBezTo>
                <a:cubicBezTo>
                  <a:pt x="1343650" y="351558"/>
                  <a:pt x="1380725" y="314398"/>
                  <a:pt x="1426458" y="314398"/>
                </a:cubicBezTo>
                <a:close/>
                <a:moveTo>
                  <a:pt x="1423396" y="196786"/>
                </a:moveTo>
                <a:cubicBezTo>
                  <a:pt x="1309800" y="196786"/>
                  <a:pt x="1220682" y="288198"/>
                  <a:pt x="1220682" y="398735"/>
                </a:cubicBezTo>
                <a:cubicBezTo>
                  <a:pt x="1220682" y="511758"/>
                  <a:pt x="1309800" y="600684"/>
                  <a:pt x="1423396" y="600684"/>
                </a:cubicBezTo>
                <a:cubicBezTo>
                  <a:pt x="1534315" y="600684"/>
                  <a:pt x="1626110" y="511758"/>
                  <a:pt x="1626110" y="398735"/>
                </a:cubicBezTo>
                <a:cubicBezTo>
                  <a:pt x="1626110" y="288390"/>
                  <a:pt x="1534124" y="196786"/>
                  <a:pt x="1423396" y="196786"/>
                </a:cubicBezTo>
                <a:close/>
                <a:moveTo>
                  <a:pt x="1423396" y="0"/>
                </a:moveTo>
                <a:cubicBezTo>
                  <a:pt x="1645043" y="0"/>
                  <a:pt x="1823470" y="177853"/>
                  <a:pt x="1823278" y="398735"/>
                </a:cubicBezTo>
                <a:cubicBezTo>
                  <a:pt x="1823278" y="600684"/>
                  <a:pt x="1507159" y="1042448"/>
                  <a:pt x="1471971" y="1093701"/>
                </a:cubicBezTo>
                <a:cubicBezTo>
                  <a:pt x="1458584" y="1109956"/>
                  <a:pt x="1442329" y="1117988"/>
                  <a:pt x="1423396" y="1117988"/>
                </a:cubicBezTo>
                <a:cubicBezTo>
                  <a:pt x="1401786" y="1117988"/>
                  <a:pt x="1385722" y="1109956"/>
                  <a:pt x="1374822" y="1093701"/>
                </a:cubicBezTo>
                <a:cubicBezTo>
                  <a:pt x="1336956" y="1042640"/>
                  <a:pt x="1020837" y="600684"/>
                  <a:pt x="1020837" y="398735"/>
                </a:cubicBezTo>
                <a:cubicBezTo>
                  <a:pt x="1020837" y="177853"/>
                  <a:pt x="1201750" y="0"/>
                  <a:pt x="1423396" y="0"/>
                </a:cubicBezTo>
                <a:close/>
              </a:path>
            </a:pathLst>
          </a:custGeom>
          <a:solidFill>
            <a:schemeClr val="accent5"/>
          </a:solidFill>
          <a:ln w="9525" cap="flat">
            <a:noFill/>
            <a:prstDash val="solid"/>
            <a:miter/>
          </a:ln>
        </p:spPr>
        <p:txBody>
          <a:bodyPr rtlCol="0" anchor="ctr"/>
          <a:lstStyle/>
          <a:p>
            <a:endParaRPr lang="en-US" sz="1350"/>
          </a:p>
        </p:txBody>
      </p:sp>
      <p:grpSp>
        <p:nvGrpSpPr>
          <p:cNvPr id="206" name="Group 28">
            <a:extLst>
              <a:ext uri="{FF2B5EF4-FFF2-40B4-BE49-F238E27FC236}">
                <a16:creationId xmlns:a16="http://schemas.microsoft.com/office/drawing/2014/main" id="{6263D90A-7449-C1C3-D3B3-72BE7FA0F2ED}"/>
              </a:ext>
            </a:extLst>
          </p:cNvPr>
          <p:cNvGrpSpPr>
            <a:grpSpLocks noChangeAspect="1"/>
          </p:cNvGrpSpPr>
          <p:nvPr/>
        </p:nvGrpSpPr>
        <p:grpSpPr bwMode="auto">
          <a:xfrm>
            <a:off x="4993934" y="4303316"/>
            <a:ext cx="218964" cy="216531"/>
            <a:chOff x="1181" y="1357"/>
            <a:chExt cx="360" cy="356"/>
          </a:xfrm>
          <a:solidFill>
            <a:schemeClr val="accent5"/>
          </a:solidFill>
        </p:grpSpPr>
        <p:sp>
          <p:nvSpPr>
            <p:cNvPr id="207" name="Freeform 30">
              <a:extLst>
                <a:ext uri="{FF2B5EF4-FFF2-40B4-BE49-F238E27FC236}">
                  <a16:creationId xmlns:a16="http://schemas.microsoft.com/office/drawing/2014/main" id="{764B6130-921F-FE12-6ADB-1764E50E7A3B}"/>
                </a:ext>
              </a:extLst>
            </p:cNvPr>
            <p:cNvSpPr>
              <a:spLocks noEditPoints="1"/>
            </p:cNvSpPr>
            <p:nvPr/>
          </p:nvSpPr>
          <p:spPr bwMode="auto">
            <a:xfrm>
              <a:off x="1181" y="1357"/>
              <a:ext cx="212" cy="213"/>
            </a:xfrm>
            <a:custGeom>
              <a:avLst/>
              <a:gdLst>
                <a:gd name="T0" fmla="*/ 929 w 2120"/>
                <a:gd name="T1" fmla="*/ 704 h 2134"/>
                <a:gd name="T2" fmla="*/ 782 w 2120"/>
                <a:gd name="T3" fmla="*/ 806 h 2134"/>
                <a:gd name="T4" fmla="*/ 698 w 2120"/>
                <a:gd name="T5" fmla="*/ 965 h 2134"/>
                <a:gd name="T6" fmla="*/ 698 w 2120"/>
                <a:gd name="T7" fmla="*/ 1153 h 2134"/>
                <a:gd name="T8" fmla="*/ 782 w 2120"/>
                <a:gd name="T9" fmla="*/ 1312 h 2134"/>
                <a:gd name="T10" fmla="*/ 929 w 2120"/>
                <a:gd name="T11" fmla="*/ 1415 h 2134"/>
                <a:gd name="T12" fmla="*/ 1112 w 2120"/>
                <a:gd name="T13" fmla="*/ 1438 h 2134"/>
                <a:gd name="T14" fmla="*/ 1281 w 2120"/>
                <a:gd name="T15" fmla="*/ 1372 h 2134"/>
                <a:gd name="T16" fmla="*/ 1399 w 2120"/>
                <a:gd name="T17" fmla="*/ 1238 h 2134"/>
                <a:gd name="T18" fmla="*/ 1444 w 2120"/>
                <a:gd name="T19" fmla="*/ 1059 h 2134"/>
                <a:gd name="T20" fmla="*/ 1399 w 2120"/>
                <a:gd name="T21" fmla="*/ 880 h 2134"/>
                <a:gd name="T22" fmla="*/ 1281 w 2120"/>
                <a:gd name="T23" fmla="*/ 746 h 2134"/>
                <a:gd name="T24" fmla="*/ 1112 w 2120"/>
                <a:gd name="T25" fmla="*/ 681 h 2134"/>
                <a:gd name="T26" fmla="*/ 1203 w 2120"/>
                <a:gd name="T27" fmla="*/ 4 h 2134"/>
                <a:gd name="T28" fmla="*/ 1270 w 2120"/>
                <a:gd name="T29" fmla="*/ 64 h 2134"/>
                <a:gd name="T30" fmla="*/ 1399 w 2120"/>
                <a:gd name="T31" fmla="*/ 257 h 2134"/>
                <a:gd name="T32" fmla="*/ 1621 w 2120"/>
                <a:gd name="T33" fmla="*/ 216 h 2134"/>
                <a:gd name="T34" fmla="*/ 1698 w 2120"/>
                <a:gd name="T35" fmla="*/ 212 h 2134"/>
                <a:gd name="T36" fmla="*/ 1908 w 2120"/>
                <a:gd name="T37" fmla="*/ 417 h 2134"/>
                <a:gd name="T38" fmla="*/ 1914 w 2120"/>
                <a:gd name="T39" fmla="*/ 506 h 2134"/>
                <a:gd name="T40" fmla="*/ 1878 w 2120"/>
                <a:gd name="T41" fmla="*/ 765 h 2134"/>
                <a:gd name="T42" fmla="*/ 2079 w 2120"/>
                <a:gd name="T43" fmla="*/ 866 h 2134"/>
                <a:gd name="T44" fmla="*/ 2120 w 2120"/>
                <a:gd name="T45" fmla="*/ 947 h 2134"/>
                <a:gd name="T46" fmla="*/ 2096 w 2120"/>
                <a:gd name="T47" fmla="*/ 1242 h 2134"/>
                <a:gd name="T48" fmla="*/ 1897 w 2120"/>
                <a:gd name="T49" fmla="*/ 1290 h 2134"/>
                <a:gd name="T50" fmla="*/ 1902 w 2120"/>
                <a:gd name="T51" fmla="*/ 1608 h 2134"/>
                <a:gd name="T52" fmla="*/ 1921 w 2120"/>
                <a:gd name="T53" fmla="*/ 1683 h 2134"/>
                <a:gd name="T54" fmla="*/ 1733 w 2120"/>
                <a:gd name="T55" fmla="*/ 1901 h 2134"/>
                <a:gd name="T56" fmla="*/ 1646 w 2120"/>
                <a:gd name="T57" fmla="*/ 1927 h 2134"/>
                <a:gd name="T58" fmla="*/ 1423 w 2120"/>
                <a:gd name="T59" fmla="*/ 1850 h 2134"/>
                <a:gd name="T60" fmla="*/ 1261 w 2120"/>
                <a:gd name="T61" fmla="*/ 2071 h 2134"/>
                <a:gd name="T62" fmla="*/ 1193 w 2120"/>
                <a:gd name="T63" fmla="*/ 2131 h 2134"/>
                <a:gd name="T64" fmla="*/ 895 w 2120"/>
                <a:gd name="T65" fmla="*/ 2123 h 2134"/>
                <a:gd name="T66" fmla="*/ 845 w 2120"/>
                <a:gd name="T67" fmla="*/ 2048 h 2134"/>
                <a:gd name="T68" fmla="*/ 635 w 2120"/>
                <a:gd name="T69" fmla="*/ 1813 h 2134"/>
                <a:gd name="T70" fmla="*/ 461 w 2120"/>
                <a:gd name="T71" fmla="*/ 1928 h 2134"/>
                <a:gd name="T72" fmla="*/ 388 w 2120"/>
                <a:gd name="T73" fmla="*/ 1900 h 2134"/>
                <a:gd name="T74" fmla="*/ 197 w 2120"/>
                <a:gd name="T75" fmla="*/ 1674 h 2134"/>
                <a:gd name="T76" fmla="*/ 312 w 2120"/>
                <a:gd name="T77" fmla="*/ 1488 h 2134"/>
                <a:gd name="T78" fmla="*/ 86 w 2120"/>
                <a:gd name="T79" fmla="*/ 1285 h 2134"/>
                <a:gd name="T80" fmla="*/ 11 w 2120"/>
                <a:gd name="T81" fmla="*/ 1233 h 2134"/>
                <a:gd name="T82" fmla="*/ 3 w 2120"/>
                <a:gd name="T83" fmla="*/ 933 h 2134"/>
                <a:gd name="T84" fmla="*/ 63 w 2120"/>
                <a:gd name="T85" fmla="*/ 865 h 2134"/>
                <a:gd name="T86" fmla="*/ 274 w 2120"/>
                <a:gd name="T87" fmla="*/ 705 h 2134"/>
                <a:gd name="T88" fmla="*/ 201 w 2120"/>
                <a:gd name="T89" fmla="*/ 491 h 2134"/>
                <a:gd name="T90" fmla="*/ 213 w 2120"/>
                <a:gd name="T91" fmla="*/ 414 h 2134"/>
                <a:gd name="T92" fmla="*/ 429 w 2120"/>
                <a:gd name="T93" fmla="*/ 210 h 2134"/>
                <a:gd name="T94" fmla="*/ 516 w 2120"/>
                <a:gd name="T95" fmla="*/ 228 h 2134"/>
                <a:gd name="T96" fmla="*/ 782 w 2120"/>
                <a:gd name="T97" fmla="*/ 236 h 2134"/>
                <a:gd name="T98" fmla="*/ 870 w 2120"/>
                <a:gd name="T99" fmla="*/ 43 h 2134"/>
                <a:gd name="T100" fmla="*/ 950 w 2120"/>
                <a:gd name="T101"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20" h="2134">
                  <a:moveTo>
                    <a:pt x="1065" y="678"/>
                  </a:moveTo>
                  <a:lnTo>
                    <a:pt x="1018" y="681"/>
                  </a:lnTo>
                  <a:lnTo>
                    <a:pt x="972" y="690"/>
                  </a:lnTo>
                  <a:lnTo>
                    <a:pt x="929" y="704"/>
                  </a:lnTo>
                  <a:lnTo>
                    <a:pt x="887" y="722"/>
                  </a:lnTo>
                  <a:lnTo>
                    <a:pt x="848" y="746"/>
                  </a:lnTo>
                  <a:lnTo>
                    <a:pt x="814" y="774"/>
                  </a:lnTo>
                  <a:lnTo>
                    <a:pt x="782" y="806"/>
                  </a:lnTo>
                  <a:lnTo>
                    <a:pt x="754" y="841"/>
                  </a:lnTo>
                  <a:lnTo>
                    <a:pt x="730" y="880"/>
                  </a:lnTo>
                  <a:lnTo>
                    <a:pt x="712" y="921"/>
                  </a:lnTo>
                  <a:lnTo>
                    <a:pt x="698" y="965"/>
                  </a:lnTo>
                  <a:lnTo>
                    <a:pt x="689" y="1012"/>
                  </a:lnTo>
                  <a:lnTo>
                    <a:pt x="686" y="1059"/>
                  </a:lnTo>
                  <a:lnTo>
                    <a:pt x="689" y="1107"/>
                  </a:lnTo>
                  <a:lnTo>
                    <a:pt x="698" y="1153"/>
                  </a:lnTo>
                  <a:lnTo>
                    <a:pt x="712" y="1196"/>
                  </a:lnTo>
                  <a:lnTo>
                    <a:pt x="730" y="1238"/>
                  </a:lnTo>
                  <a:lnTo>
                    <a:pt x="754" y="1277"/>
                  </a:lnTo>
                  <a:lnTo>
                    <a:pt x="782" y="1312"/>
                  </a:lnTo>
                  <a:lnTo>
                    <a:pt x="814" y="1344"/>
                  </a:lnTo>
                  <a:lnTo>
                    <a:pt x="848" y="1372"/>
                  </a:lnTo>
                  <a:lnTo>
                    <a:pt x="887" y="1395"/>
                  </a:lnTo>
                  <a:lnTo>
                    <a:pt x="929" y="1415"/>
                  </a:lnTo>
                  <a:lnTo>
                    <a:pt x="972" y="1429"/>
                  </a:lnTo>
                  <a:lnTo>
                    <a:pt x="1018" y="1438"/>
                  </a:lnTo>
                  <a:lnTo>
                    <a:pt x="1065" y="1440"/>
                  </a:lnTo>
                  <a:lnTo>
                    <a:pt x="1112" y="1438"/>
                  </a:lnTo>
                  <a:lnTo>
                    <a:pt x="1158" y="1429"/>
                  </a:lnTo>
                  <a:lnTo>
                    <a:pt x="1202" y="1415"/>
                  </a:lnTo>
                  <a:lnTo>
                    <a:pt x="1243" y="1395"/>
                  </a:lnTo>
                  <a:lnTo>
                    <a:pt x="1281" y="1372"/>
                  </a:lnTo>
                  <a:lnTo>
                    <a:pt x="1316" y="1344"/>
                  </a:lnTo>
                  <a:lnTo>
                    <a:pt x="1347" y="1312"/>
                  </a:lnTo>
                  <a:lnTo>
                    <a:pt x="1376" y="1277"/>
                  </a:lnTo>
                  <a:lnTo>
                    <a:pt x="1399" y="1238"/>
                  </a:lnTo>
                  <a:lnTo>
                    <a:pt x="1418" y="1196"/>
                  </a:lnTo>
                  <a:lnTo>
                    <a:pt x="1432" y="1153"/>
                  </a:lnTo>
                  <a:lnTo>
                    <a:pt x="1441" y="1107"/>
                  </a:lnTo>
                  <a:lnTo>
                    <a:pt x="1444" y="1059"/>
                  </a:lnTo>
                  <a:lnTo>
                    <a:pt x="1441" y="1012"/>
                  </a:lnTo>
                  <a:lnTo>
                    <a:pt x="1432" y="965"/>
                  </a:lnTo>
                  <a:lnTo>
                    <a:pt x="1418" y="921"/>
                  </a:lnTo>
                  <a:lnTo>
                    <a:pt x="1399" y="880"/>
                  </a:lnTo>
                  <a:lnTo>
                    <a:pt x="1376" y="841"/>
                  </a:lnTo>
                  <a:lnTo>
                    <a:pt x="1347" y="806"/>
                  </a:lnTo>
                  <a:lnTo>
                    <a:pt x="1316" y="774"/>
                  </a:lnTo>
                  <a:lnTo>
                    <a:pt x="1281" y="746"/>
                  </a:lnTo>
                  <a:lnTo>
                    <a:pt x="1243" y="722"/>
                  </a:lnTo>
                  <a:lnTo>
                    <a:pt x="1202" y="704"/>
                  </a:lnTo>
                  <a:lnTo>
                    <a:pt x="1158" y="690"/>
                  </a:lnTo>
                  <a:lnTo>
                    <a:pt x="1112" y="681"/>
                  </a:lnTo>
                  <a:lnTo>
                    <a:pt x="1065" y="678"/>
                  </a:lnTo>
                  <a:close/>
                  <a:moveTo>
                    <a:pt x="950" y="0"/>
                  </a:moveTo>
                  <a:lnTo>
                    <a:pt x="1179" y="0"/>
                  </a:lnTo>
                  <a:lnTo>
                    <a:pt x="1203" y="4"/>
                  </a:lnTo>
                  <a:lnTo>
                    <a:pt x="1225" y="12"/>
                  </a:lnTo>
                  <a:lnTo>
                    <a:pt x="1243" y="26"/>
                  </a:lnTo>
                  <a:lnTo>
                    <a:pt x="1258" y="43"/>
                  </a:lnTo>
                  <a:lnTo>
                    <a:pt x="1270" y="64"/>
                  </a:lnTo>
                  <a:lnTo>
                    <a:pt x="1276" y="87"/>
                  </a:lnTo>
                  <a:lnTo>
                    <a:pt x="1291" y="220"/>
                  </a:lnTo>
                  <a:lnTo>
                    <a:pt x="1346" y="236"/>
                  </a:lnTo>
                  <a:lnTo>
                    <a:pt x="1399" y="257"/>
                  </a:lnTo>
                  <a:lnTo>
                    <a:pt x="1452" y="281"/>
                  </a:lnTo>
                  <a:lnTo>
                    <a:pt x="1501" y="308"/>
                  </a:lnTo>
                  <a:lnTo>
                    <a:pt x="1603" y="228"/>
                  </a:lnTo>
                  <a:lnTo>
                    <a:pt x="1621" y="216"/>
                  </a:lnTo>
                  <a:lnTo>
                    <a:pt x="1639" y="209"/>
                  </a:lnTo>
                  <a:lnTo>
                    <a:pt x="1660" y="206"/>
                  </a:lnTo>
                  <a:lnTo>
                    <a:pt x="1679" y="207"/>
                  </a:lnTo>
                  <a:lnTo>
                    <a:pt x="1698" y="212"/>
                  </a:lnTo>
                  <a:lnTo>
                    <a:pt x="1716" y="221"/>
                  </a:lnTo>
                  <a:lnTo>
                    <a:pt x="1733" y="234"/>
                  </a:lnTo>
                  <a:lnTo>
                    <a:pt x="1894" y="397"/>
                  </a:lnTo>
                  <a:lnTo>
                    <a:pt x="1908" y="417"/>
                  </a:lnTo>
                  <a:lnTo>
                    <a:pt x="1918" y="438"/>
                  </a:lnTo>
                  <a:lnTo>
                    <a:pt x="1922" y="460"/>
                  </a:lnTo>
                  <a:lnTo>
                    <a:pt x="1920" y="484"/>
                  </a:lnTo>
                  <a:lnTo>
                    <a:pt x="1914" y="506"/>
                  </a:lnTo>
                  <a:lnTo>
                    <a:pt x="1901" y="527"/>
                  </a:lnTo>
                  <a:lnTo>
                    <a:pt x="1818" y="633"/>
                  </a:lnTo>
                  <a:lnTo>
                    <a:pt x="1851" y="697"/>
                  </a:lnTo>
                  <a:lnTo>
                    <a:pt x="1878" y="765"/>
                  </a:lnTo>
                  <a:lnTo>
                    <a:pt x="1900" y="834"/>
                  </a:lnTo>
                  <a:lnTo>
                    <a:pt x="2034" y="850"/>
                  </a:lnTo>
                  <a:lnTo>
                    <a:pt x="2058" y="856"/>
                  </a:lnTo>
                  <a:lnTo>
                    <a:pt x="2079" y="866"/>
                  </a:lnTo>
                  <a:lnTo>
                    <a:pt x="2096" y="882"/>
                  </a:lnTo>
                  <a:lnTo>
                    <a:pt x="2109" y="901"/>
                  </a:lnTo>
                  <a:lnTo>
                    <a:pt x="2118" y="923"/>
                  </a:lnTo>
                  <a:lnTo>
                    <a:pt x="2120" y="947"/>
                  </a:lnTo>
                  <a:lnTo>
                    <a:pt x="2120" y="1178"/>
                  </a:lnTo>
                  <a:lnTo>
                    <a:pt x="2118" y="1202"/>
                  </a:lnTo>
                  <a:lnTo>
                    <a:pt x="2109" y="1224"/>
                  </a:lnTo>
                  <a:lnTo>
                    <a:pt x="2096" y="1242"/>
                  </a:lnTo>
                  <a:lnTo>
                    <a:pt x="2079" y="1257"/>
                  </a:lnTo>
                  <a:lnTo>
                    <a:pt x="2058" y="1268"/>
                  </a:lnTo>
                  <a:lnTo>
                    <a:pt x="2034" y="1275"/>
                  </a:lnTo>
                  <a:lnTo>
                    <a:pt x="1897" y="1290"/>
                  </a:lnTo>
                  <a:lnTo>
                    <a:pt x="1876" y="1361"/>
                  </a:lnTo>
                  <a:lnTo>
                    <a:pt x="1846" y="1429"/>
                  </a:lnTo>
                  <a:lnTo>
                    <a:pt x="1813" y="1494"/>
                  </a:lnTo>
                  <a:lnTo>
                    <a:pt x="1902" y="1608"/>
                  </a:lnTo>
                  <a:lnTo>
                    <a:pt x="1913" y="1625"/>
                  </a:lnTo>
                  <a:lnTo>
                    <a:pt x="1919" y="1644"/>
                  </a:lnTo>
                  <a:lnTo>
                    <a:pt x="1922" y="1664"/>
                  </a:lnTo>
                  <a:lnTo>
                    <a:pt x="1921" y="1683"/>
                  </a:lnTo>
                  <a:lnTo>
                    <a:pt x="1916" y="1703"/>
                  </a:lnTo>
                  <a:lnTo>
                    <a:pt x="1907" y="1722"/>
                  </a:lnTo>
                  <a:lnTo>
                    <a:pt x="1894" y="1737"/>
                  </a:lnTo>
                  <a:lnTo>
                    <a:pt x="1733" y="1901"/>
                  </a:lnTo>
                  <a:lnTo>
                    <a:pt x="1713" y="1915"/>
                  </a:lnTo>
                  <a:lnTo>
                    <a:pt x="1692" y="1925"/>
                  </a:lnTo>
                  <a:lnTo>
                    <a:pt x="1670" y="1929"/>
                  </a:lnTo>
                  <a:lnTo>
                    <a:pt x="1646" y="1927"/>
                  </a:lnTo>
                  <a:lnTo>
                    <a:pt x="1624" y="1920"/>
                  </a:lnTo>
                  <a:lnTo>
                    <a:pt x="1603" y="1907"/>
                  </a:lnTo>
                  <a:lnTo>
                    <a:pt x="1489" y="1817"/>
                  </a:lnTo>
                  <a:lnTo>
                    <a:pt x="1423" y="1850"/>
                  </a:lnTo>
                  <a:lnTo>
                    <a:pt x="1354" y="1879"/>
                  </a:lnTo>
                  <a:lnTo>
                    <a:pt x="1283" y="1901"/>
                  </a:lnTo>
                  <a:lnTo>
                    <a:pt x="1266" y="2048"/>
                  </a:lnTo>
                  <a:lnTo>
                    <a:pt x="1261" y="2071"/>
                  </a:lnTo>
                  <a:lnTo>
                    <a:pt x="1250" y="2093"/>
                  </a:lnTo>
                  <a:lnTo>
                    <a:pt x="1235" y="2109"/>
                  </a:lnTo>
                  <a:lnTo>
                    <a:pt x="1215" y="2123"/>
                  </a:lnTo>
                  <a:lnTo>
                    <a:pt x="1193" y="2131"/>
                  </a:lnTo>
                  <a:lnTo>
                    <a:pt x="1171" y="2134"/>
                  </a:lnTo>
                  <a:lnTo>
                    <a:pt x="941" y="2134"/>
                  </a:lnTo>
                  <a:lnTo>
                    <a:pt x="917" y="2131"/>
                  </a:lnTo>
                  <a:lnTo>
                    <a:pt x="895" y="2123"/>
                  </a:lnTo>
                  <a:lnTo>
                    <a:pt x="877" y="2109"/>
                  </a:lnTo>
                  <a:lnTo>
                    <a:pt x="861" y="2093"/>
                  </a:lnTo>
                  <a:lnTo>
                    <a:pt x="851" y="2071"/>
                  </a:lnTo>
                  <a:lnTo>
                    <a:pt x="845" y="2048"/>
                  </a:lnTo>
                  <a:lnTo>
                    <a:pt x="827" y="1895"/>
                  </a:lnTo>
                  <a:lnTo>
                    <a:pt x="760" y="1873"/>
                  </a:lnTo>
                  <a:lnTo>
                    <a:pt x="696" y="1846"/>
                  </a:lnTo>
                  <a:lnTo>
                    <a:pt x="635" y="1813"/>
                  </a:lnTo>
                  <a:lnTo>
                    <a:pt x="516" y="1907"/>
                  </a:lnTo>
                  <a:lnTo>
                    <a:pt x="499" y="1918"/>
                  </a:lnTo>
                  <a:lnTo>
                    <a:pt x="481" y="1926"/>
                  </a:lnTo>
                  <a:lnTo>
                    <a:pt x="461" y="1928"/>
                  </a:lnTo>
                  <a:lnTo>
                    <a:pt x="442" y="1927"/>
                  </a:lnTo>
                  <a:lnTo>
                    <a:pt x="422" y="1923"/>
                  </a:lnTo>
                  <a:lnTo>
                    <a:pt x="404" y="1913"/>
                  </a:lnTo>
                  <a:lnTo>
                    <a:pt x="388" y="1900"/>
                  </a:lnTo>
                  <a:lnTo>
                    <a:pt x="226" y="1737"/>
                  </a:lnTo>
                  <a:lnTo>
                    <a:pt x="212" y="1718"/>
                  </a:lnTo>
                  <a:lnTo>
                    <a:pt x="202" y="1696"/>
                  </a:lnTo>
                  <a:lnTo>
                    <a:pt x="197" y="1674"/>
                  </a:lnTo>
                  <a:lnTo>
                    <a:pt x="200" y="1651"/>
                  </a:lnTo>
                  <a:lnTo>
                    <a:pt x="206" y="1628"/>
                  </a:lnTo>
                  <a:lnTo>
                    <a:pt x="219" y="1607"/>
                  </a:lnTo>
                  <a:lnTo>
                    <a:pt x="312" y="1488"/>
                  </a:lnTo>
                  <a:lnTo>
                    <a:pt x="282" y="1428"/>
                  </a:lnTo>
                  <a:lnTo>
                    <a:pt x="256" y="1366"/>
                  </a:lnTo>
                  <a:lnTo>
                    <a:pt x="234" y="1301"/>
                  </a:lnTo>
                  <a:lnTo>
                    <a:pt x="86" y="1285"/>
                  </a:lnTo>
                  <a:lnTo>
                    <a:pt x="63" y="1278"/>
                  </a:lnTo>
                  <a:lnTo>
                    <a:pt x="42" y="1267"/>
                  </a:lnTo>
                  <a:lnTo>
                    <a:pt x="25" y="1252"/>
                  </a:lnTo>
                  <a:lnTo>
                    <a:pt x="11" y="1233"/>
                  </a:lnTo>
                  <a:lnTo>
                    <a:pt x="3" y="1212"/>
                  </a:lnTo>
                  <a:lnTo>
                    <a:pt x="0" y="1188"/>
                  </a:lnTo>
                  <a:lnTo>
                    <a:pt x="0" y="957"/>
                  </a:lnTo>
                  <a:lnTo>
                    <a:pt x="3" y="933"/>
                  </a:lnTo>
                  <a:lnTo>
                    <a:pt x="11" y="911"/>
                  </a:lnTo>
                  <a:lnTo>
                    <a:pt x="25" y="892"/>
                  </a:lnTo>
                  <a:lnTo>
                    <a:pt x="42" y="876"/>
                  </a:lnTo>
                  <a:lnTo>
                    <a:pt x="63" y="865"/>
                  </a:lnTo>
                  <a:lnTo>
                    <a:pt x="86" y="860"/>
                  </a:lnTo>
                  <a:lnTo>
                    <a:pt x="227" y="844"/>
                  </a:lnTo>
                  <a:lnTo>
                    <a:pt x="247" y="774"/>
                  </a:lnTo>
                  <a:lnTo>
                    <a:pt x="274" y="705"/>
                  </a:lnTo>
                  <a:lnTo>
                    <a:pt x="307" y="639"/>
                  </a:lnTo>
                  <a:lnTo>
                    <a:pt x="219" y="528"/>
                  </a:lnTo>
                  <a:lnTo>
                    <a:pt x="207" y="509"/>
                  </a:lnTo>
                  <a:lnTo>
                    <a:pt x="201" y="491"/>
                  </a:lnTo>
                  <a:lnTo>
                    <a:pt x="197" y="471"/>
                  </a:lnTo>
                  <a:lnTo>
                    <a:pt x="199" y="451"/>
                  </a:lnTo>
                  <a:lnTo>
                    <a:pt x="204" y="432"/>
                  </a:lnTo>
                  <a:lnTo>
                    <a:pt x="213" y="414"/>
                  </a:lnTo>
                  <a:lnTo>
                    <a:pt x="226" y="398"/>
                  </a:lnTo>
                  <a:lnTo>
                    <a:pt x="388" y="234"/>
                  </a:lnTo>
                  <a:lnTo>
                    <a:pt x="407" y="220"/>
                  </a:lnTo>
                  <a:lnTo>
                    <a:pt x="429" y="210"/>
                  </a:lnTo>
                  <a:lnTo>
                    <a:pt x="451" y="207"/>
                  </a:lnTo>
                  <a:lnTo>
                    <a:pt x="474" y="208"/>
                  </a:lnTo>
                  <a:lnTo>
                    <a:pt x="497" y="215"/>
                  </a:lnTo>
                  <a:lnTo>
                    <a:pt x="516" y="228"/>
                  </a:lnTo>
                  <a:lnTo>
                    <a:pt x="623" y="312"/>
                  </a:lnTo>
                  <a:lnTo>
                    <a:pt x="674" y="283"/>
                  </a:lnTo>
                  <a:lnTo>
                    <a:pt x="727" y="258"/>
                  </a:lnTo>
                  <a:lnTo>
                    <a:pt x="782" y="236"/>
                  </a:lnTo>
                  <a:lnTo>
                    <a:pt x="839" y="220"/>
                  </a:lnTo>
                  <a:lnTo>
                    <a:pt x="854" y="87"/>
                  </a:lnTo>
                  <a:lnTo>
                    <a:pt x="859" y="64"/>
                  </a:lnTo>
                  <a:lnTo>
                    <a:pt x="870" y="43"/>
                  </a:lnTo>
                  <a:lnTo>
                    <a:pt x="885" y="26"/>
                  </a:lnTo>
                  <a:lnTo>
                    <a:pt x="905" y="12"/>
                  </a:lnTo>
                  <a:lnTo>
                    <a:pt x="926" y="4"/>
                  </a:lnTo>
                  <a:lnTo>
                    <a:pt x="95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endParaRPr>
            </a:p>
          </p:txBody>
        </p:sp>
        <p:sp>
          <p:nvSpPr>
            <p:cNvPr id="208" name="Freeform 31">
              <a:extLst>
                <a:ext uri="{FF2B5EF4-FFF2-40B4-BE49-F238E27FC236}">
                  <a16:creationId xmlns:a16="http://schemas.microsoft.com/office/drawing/2014/main" id="{BB6FA0F2-DB14-BAFF-2B47-E8D6906313FC}"/>
                </a:ext>
              </a:extLst>
            </p:cNvPr>
            <p:cNvSpPr>
              <a:spLocks noEditPoints="1"/>
            </p:cNvSpPr>
            <p:nvPr/>
          </p:nvSpPr>
          <p:spPr bwMode="auto">
            <a:xfrm>
              <a:off x="1366" y="1466"/>
              <a:ext cx="175" cy="176"/>
            </a:xfrm>
            <a:custGeom>
              <a:avLst/>
              <a:gdLst>
                <a:gd name="T0" fmla="*/ 769 w 1743"/>
                <a:gd name="T1" fmla="*/ 578 h 1757"/>
                <a:gd name="T2" fmla="*/ 638 w 1743"/>
                <a:gd name="T3" fmla="*/ 670 h 1757"/>
                <a:gd name="T4" fmla="*/ 570 w 1743"/>
                <a:gd name="T5" fmla="*/ 814 h 1757"/>
                <a:gd name="T6" fmla="*/ 584 w 1743"/>
                <a:gd name="T7" fmla="*/ 979 h 1757"/>
                <a:gd name="T8" fmla="*/ 675 w 1743"/>
                <a:gd name="T9" fmla="*/ 1109 h 1757"/>
                <a:gd name="T10" fmla="*/ 818 w 1743"/>
                <a:gd name="T11" fmla="*/ 1178 h 1757"/>
                <a:gd name="T12" fmla="*/ 982 w 1743"/>
                <a:gd name="T13" fmla="*/ 1164 h 1757"/>
                <a:gd name="T14" fmla="*/ 1112 w 1743"/>
                <a:gd name="T15" fmla="*/ 1072 h 1757"/>
                <a:gd name="T16" fmla="*/ 1180 w 1743"/>
                <a:gd name="T17" fmla="*/ 929 h 1757"/>
                <a:gd name="T18" fmla="*/ 1167 w 1743"/>
                <a:gd name="T19" fmla="*/ 763 h 1757"/>
                <a:gd name="T20" fmla="*/ 1076 w 1743"/>
                <a:gd name="T21" fmla="*/ 633 h 1757"/>
                <a:gd name="T22" fmla="*/ 932 w 1743"/>
                <a:gd name="T23" fmla="*/ 564 h 1757"/>
                <a:gd name="T24" fmla="*/ 928 w 1743"/>
                <a:gd name="T25" fmla="*/ 7 h 1757"/>
                <a:gd name="T26" fmla="*/ 983 w 1743"/>
                <a:gd name="T27" fmla="*/ 77 h 1757"/>
                <a:gd name="T28" fmla="*/ 1181 w 1743"/>
                <a:gd name="T29" fmla="*/ 228 h 1757"/>
                <a:gd name="T30" fmla="*/ 1311 w 1743"/>
                <a:gd name="T31" fmla="*/ 139 h 1757"/>
                <a:gd name="T32" fmla="*/ 1495 w 1743"/>
                <a:gd name="T33" fmla="*/ 264 h 1757"/>
                <a:gd name="T34" fmla="*/ 1529 w 1743"/>
                <a:gd name="T35" fmla="*/ 335 h 1757"/>
                <a:gd name="T36" fmla="*/ 1461 w 1743"/>
                <a:gd name="T37" fmla="*/ 471 h 1757"/>
                <a:gd name="T38" fmla="*/ 1638 w 1743"/>
                <a:gd name="T39" fmla="*/ 634 h 1757"/>
                <a:gd name="T40" fmla="*/ 1715 w 1743"/>
                <a:gd name="T41" fmla="*/ 678 h 1757"/>
                <a:gd name="T42" fmla="*/ 1742 w 1743"/>
                <a:gd name="T43" fmla="*/ 905 h 1757"/>
                <a:gd name="T44" fmla="*/ 1689 w 1743"/>
                <a:gd name="T45" fmla="*/ 976 h 1757"/>
                <a:gd name="T46" fmla="*/ 1539 w 1743"/>
                <a:gd name="T47" fmla="*/ 1120 h 1757"/>
                <a:gd name="T48" fmla="*/ 1608 w 1743"/>
                <a:gd name="T49" fmla="*/ 1292 h 1757"/>
                <a:gd name="T50" fmla="*/ 1589 w 1743"/>
                <a:gd name="T51" fmla="*/ 1379 h 1757"/>
                <a:gd name="T52" fmla="*/ 1437 w 1743"/>
                <a:gd name="T53" fmla="*/ 1532 h 1757"/>
                <a:gd name="T54" fmla="*/ 1360 w 1743"/>
                <a:gd name="T55" fmla="*/ 1519 h 1757"/>
                <a:gd name="T56" fmla="*/ 1111 w 1743"/>
                <a:gd name="T57" fmla="*/ 1544 h 1757"/>
                <a:gd name="T58" fmla="*/ 1081 w 1743"/>
                <a:gd name="T59" fmla="*/ 1713 h 1757"/>
                <a:gd name="T60" fmla="*/ 862 w 1743"/>
                <a:gd name="T61" fmla="*/ 1757 h 1757"/>
                <a:gd name="T62" fmla="*/ 779 w 1743"/>
                <a:gd name="T63" fmla="*/ 1722 h 1757"/>
                <a:gd name="T64" fmla="*/ 683 w 1743"/>
                <a:gd name="T65" fmla="*/ 1557 h 1757"/>
                <a:gd name="T66" fmla="*/ 478 w 1743"/>
                <a:gd name="T67" fmla="*/ 1606 h 1757"/>
                <a:gd name="T68" fmla="*/ 389 w 1743"/>
                <a:gd name="T69" fmla="*/ 1608 h 1757"/>
                <a:gd name="T70" fmla="*/ 224 w 1743"/>
                <a:gd name="T71" fmla="*/ 1461 h 1757"/>
                <a:gd name="T72" fmla="*/ 221 w 1743"/>
                <a:gd name="T73" fmla="*/ 1383 h 1757"/>
                <a:gd name="T74" fmla="*/ 236 w 1743"/>
                <a:gd name="T75" fmla="*/ 1178 h 1757"/>
                <a:gd name="T76" fmla="*/ 61 w 1743"/>
                <a:gd name="T77" fmla="*/ 1110 h 1757"/>
                <a:gd name="T78" fmla="*/ 13 w 1743"/>
                <a:gd name="T79" fmla="*/ 1035 h 1757"/>
                <a:gd name="T80" fmla="*/ 19 w 1743"/>
                <a:gd name="T81" fmla="*/ 810 h 1757"/>
                <a:gd name="T82" fmla="*/ 177 w 1743"/>
                <a:gd name="T83" fmla="*/ 753 h 1757"/>
                <a:gd name="T84" fmla="*/ 159 w 1743"/>
                <a:gd name="T85" fmla="*/ 506 h 1757"/>
                <a:gd name="T86" fmla="*/ 134 w 1743"/>
                <a:gd name="T87" fmla="*/ 420 h 1757"/>
                <a:gd name="T88" fmla="*/ 272 w 1743"/>
                <a:gd name="T89" fmla="*/ 242 h 1757"/>
                <a:gd name="T90" fmla="*/ 345 w 1743"/>
                <a:gd name="T91" fmla="*/ 222 h 1757"/>
                <a:gd name="T92" fmla="*/ 517 w 1743"/>
                <a:gd name="T93" fmla="*/ 256 h 1757"/>
                <a:gd name="T94" fmla="*/ 639 w 1743"/>
                <a:gd name="T95" fmla="*/ 83 h 1757"/>
                <a:gd name="T96" fmla="*/ 701 w 1743"/>
                <a:gd name="T97" fmla="*/ 18 h 1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43" h="1757">
                  <a:moveTo>
                    <a:pt x="891" y="560"/>
                  </a:moveTo>
                  <a:lnTo>
                    <a:pt x="849" y="560"/>
                  </a:lnTo>
                  <a:lnTo>
                    <a:pt x="808" y="566"/>
                  </a:lnTo>
                  <a:lnTo>
                    <a:pt x="769" y="578"/>
                  </a:lnTo>
                  <a:lnTo>
                    <a:pt x="731" y="595"/>
                  </a:lnTo>
                  <a:lnTo>
                    <a:pt x="697" y="616"/>
                  </a:lnTo>
                  <a:lnTo>
                    <a:pt x="665" y="641"/>
                  </a:lnTo>
                  <a:lnTo>
                    <a:pt x="638" y="670"/>
                  </a:lnTo>
                  <a:lnTo>
                    <a:pt x="615" y="702"/>
                  </a:lnTo>
                  <a:lnTo>
                    <a:pt x="595" y="737"/>
                  </a:lnTo>
                  <a:lnTo>
                    <a:pt x="581" y="775"/>
                  </a:lnTo>
                  <a:lnTo>
                    <a:pt x="570" y="814"/>
                  </a:lnTo>
                  <a:lnTo>
                    <a:pt x="566" y="855"/>
                  </a:lnTo>
                  <a:lnTo>
                    <a:pt x="567" y="897"/>
                  </a:lnTo>
                  <a:lnTo>
                    <a:pt x="572" y="940"/>
                  </a:lnTo>
                  <a:lnTo>
                    <a:pt x="584" y="979"/>
                  </a:lnTo>
                  <a:lnTo>
                    <a:pt x="600" y="1016"/>
                  </a:lnTo>
                  <a:lnTo>
                    <a:pt x="622" y="1051"/>
                  </a:lnTo>
                  <a:lnTo>
                    <a:pt x="647" y="1082"/>
                  </a:lnTo>
                  <a:lnTo>
                    <a:pt x="675" y="1109"/>
                  </a:lnTo>
                  <a:lnTo>
                    <a:pt x="707" y="1133"/>
                  </a:lnTo>
                  <a:lnTo>
                    <a:pt x="741" y="1153"/>
                  </a:lnTo>
                  <a:lnTo>
                    <a:pt x="779" y="1168"/>
                  </a:lnTo>
                  <a:lnTo>
                    <a:pt x="818" y="1178"/>
                  </a:lnTo>
                  <a:lnTo>
                    <a:pt x="860" y="1183"/>
                  </a:lnTo>
                  <a:lnTo>
                    <a:pt x="901" y="1182"/>
                  </a:lnTo>
                  <a:lnTo>
                    <a:pt x="943" y="1176"/>
                  </a:lnTo>
                  <a:lnTo>
                    <a:pt x="982" y="1164"/>
                  </a:lnTo>
                  <a:lnTo>
                    <a:pt x="1019" y="1147"/>
                  </a:lnTo>
                  <a:lnTo>
                    <a:pt x="1054" y="1127"/>
                  </a:lnTo>
                  <a:lnTo>
                    <a:pt x="1084" y="1102"/>
                  </a:lnTo>
                  <a:lnTo>
                    <a:pt x="1112" y="1072"/>
                  </a:lnTo>
                  <a:lnTo>
                    <a:pt x="1135" y="1040"/>
                  </a:lnTo>
                  <a:lnTo>
                    <a:pt x="1155" y="1005"/>
                  </a:lnTo>
                  <a:lnTo>
                    <a:pt x="1170" y="968"/>
                  </a:lnTo>
                  <a:lnTo>
                    <a:pt x="1180" y="929"/>
                  </a:lnTo>
                  <a:lnTo>
                    <a:pt x="1185" y="887"/>
                  </a:lnTo>
                  <a:lnTo>
                    <a:pt x="1184" y="845"/>
                  </a:lnTo>
                  <a:lnTo>
                    <a:pt x="1178" y="803"/>
                  </a:lnTo>
                  <a:lnTo>
                    <a:pt x="1167" y="763"/>
                  </a:lnTo>
                  <a:lnTo>
                    <a:pt x="1149" y="726"/>
                  </a:lnTo>
                  <a:lnTo>
                    <a:pt x="1129" y="692"/>
                  </a:lnTo>
                  <a:lnTo>
                    <a:pt x="1104" y="660"/>
                  </a:lnTo>
                  <a:lnTo>
                    <a:pt x="1076" y="633"/>
                  </a:lnTo>
                  <a:lnTo>
                    <a:pt x="1043" y="609"/>
                  </a:lnTo>
                  <a:lnTo>
                    <a:pt x="1008" y="589"/>
                  </a:lnTo>
                  <a:lnTo>
                    <a:pt x="971" y="574"/>
                  </a:lnTo>
                  <a:lnTo>
                    <a:pt x="932" y="564"/>
                  </a:lnTo>
                  <a:lnTo>
                    <a:pt x="891" y="560"/>
                  </a:lnTo>
                  <a:close/>
                  <a:moveTo>
                    <a:pt x="881" y="0"/>
                  </a:moveTo>
                  <a:lnTo>
                    <a:pt x="905" y="1"/>
                  </a:lnTo>
                  <a:lnTo>
                    <a:pt x="928" y="7"/>
                  </a:lnTo>
                  <a:lnTo>
                    <a:pt x="948" y="19"/>
                  </a:lnTo>
                  <a:lnTo>
                    <a:pt x="964" y="36"/>
                  </a:lnTo>
                  <a:lnTo>
                    <a:pt x="977" y="55"/>
                  </a:lnTo>
                  <a:lnTo>
                    <a:pt x="983" y="77"/>
                  </a:lnTo>
                  <a:lnTo>
                    <a:pt x="1003" y="170"/>
                  </a:lnTo>
                  <a:lnTo>
                    <a:pt x="1064" y="184"/>
                  </a:lnTo>
                  <a:lnTo>
                    <a:pt x="1123" y="204"/>
                  </a:lnTo>
                  <a:lnTo>
                    <a:pt x="1181" y="228"/>
                  </a:lnTo>
                  <a:lnTo>
                    <a:pt x="1247" y="166"/>
                  </a:lnTo>
                  <a:lnTo>
                    <a:pt x="1266" y="151"/>
                  </a:lnTo>
                  <a:lnTo>
                    <a:pt x="1288" y="143"/>
                  </a:lnTo>
                  <a:lnTo>
                    <a:pt x="1311" y="139"/>
                  </a:lnTo>
                  <a:lnTo>
                    <a:pt x="1333" y="141"/>
                  </a:lnTo>
                  <a:lnTo>
                    <a:pt x="1355" y="148"/>
                  </a:lnTo>
                  <a:lnTo>
                    <a:pt x="1375" y="161"/>
                  </a:lnTo>
                  <a:lnTo>
                    <a:pt x="1495" y="264"/>
                  </a:lnTo>
                  <a:lnTo>
                    <a:pt x="1510" y="279"/>
                  </a:lnTo>
                  <a:lnTo>
                    <a:pt x="1520" y="297"/>
                  </a:lnTo>
                  <a:lnTo>
                    <a:pt x="1527" y="315"/>
                  </a:lnTo>
                  <a:lnTo>
                    <a:pt x="1529" y="335"/>
                  </a:lnTo>
                  <a:lnTo>
                    <a:pt x="1528" y="355"/>
                  </a:lnTo>
                  <a:lnTo>
                    <a:pt x="1523" y="373"/>
                  </a:lnTo>
                  <a:lnTo>
                    <a:pt x="1513" y="392"/>
                  </a:lnTo>
                  <a:lnTo>
                    <a:pt x="1461" y="471"/>
                  </a:lnTo>
                  <a:lnTo>
                    <a:pt x="1492" y="522"/>
                  </a:lnTo>
                  <a:lnTo>
                    <a:pt x="1518" y="575"/>
                  </a:lnTo>
                  <a:lnTo>
                    <a:pt x="1541" y="631"/>
                  </a:lnTo>
                  <a:lnTo>
                    <a:pt x="1638" y="634"/>
                  </a:lnTo>
                  <a:lnTo>
                    <a:pt x="1660" y="637"/>
                  </a:lnTo>
                  <a:lnTo>
                    <a:pt x="1682" y="646"/>
                  </a:lnTo>
                  <a:lnTo>
                    <a:pt x="1700" y="660"/>
                  </a:lnTo>
                  <a:lnTo>
                    <a:pt x="1715" y="678"/>
                  </a:lnTo>
                  <a:lnTo>
                    <a:pt x="1724" y="699"/>
                  </a:lnTo>
                  <a:lnTo>
                    <a:pt x="1730" y="723"/>
                  </a:lnTo>
                  <a:lnTo>
                    <a:pt x="1743" y="881"/>
                  </a:lnTo>
                  <a:lnTo>
                    <a:pt x="1742" y="905"/>
                  </a:lnTo>
                  <a:lnTo>
                    <a:pt x="1735" y="927"/>
                  </a:lnTo>
                  <a:lnTo>
                    <a:pt x="1724" y="946"/>
                  </a:lnTo>
                  <a:lnTo>
                    <a:pt x="1708" y="964"/>
                  </a:lnTo>
                  <a:lnTo>
                    <a:pt x="1689" y="976"/>
                  </a:lnTo>
                  <a:lnTo>
                    <a:pt x="1666" y="984"/>
                  </a:lnTo>
                  <a:lnTo>
                    <a:pt x="1570" y="1003"/>
                  </a:lnTo>
                  <a:lnTo>
                    <a:pt x="1557" y="1062"/>
                  </a:lnTo>
                  <a:lnTo>
                    <a:pt x="1539" y="1120"/>
                  </a:lnTo>
                  <a:lnTo>
                    <a:pt x="1515" y="1176"/>
                  </a:lnTo>
                  <a:lnTo>
                    <a:pt x="1585" y="1251"/>
                  </a:lnTo>
                  <a:lnTo>
                    <a:pt x="1600" y="1270"/>
                  </a:lnTo>
                  <a:lnTo>
                    <a:pt x="1608" y="1292"/>
                  </a:lnTo>
                  <a:lnTo>
                    <a:pt x="1611" y="1314"/>
                  </a:lnTo>
                  <a:lnTo>
                    <a:pt x="1609" y="1336"/>
                  </a:lnTo>
                  <a:lnTo>
                    <a:pt x="1602" y="1359"/>
                  </a:lnTo>
                  <a:lnTo>
                    <a:pt x="1589" y="1379"/>
                  </a:lnTo>
                  <a:lnTo>
                    <a:pt x="1487" y="1500"/>
                  </a:lnTo>
                  <a:lnTo>
                    <a:pt x="1472" y="1514"/>
                  </a:lnTo>
                  <a:lnTo>
                    <a:pt x="1455" y="1525"/>
                  </a:lnTo>
                  <a:lnTo>
                    <a:pt x="1437" y="1532"/>
                  </a:lnTo>
                  <a:lnTo>
                    <a:pt x="1417" y="1535"/>
                  </a:lnTo>
                  <a:lnTo>
                    <a:pt x="1398" y="1534"/>
                  </a:lnTo>
                  <a:lnTo>
                    <a:pt x="1378" y="1529"/>
                  </a:lnTo>
                  <a:lnTo>
                    <a:pt x="1360" y="1519"/>
                  </a:lnTo>
                  <a:lnTo>
                    <a:pt x="1273" y="1461"/>
                  </a:lnTo>
                  <a:lnTo>
                    <a:pt x="1222" y="1492"/>
                  </a:lnTo>
                  <a:lnTo>
                    <a:pt x="1168" y="1521"/>
                  </a:lnTo>
                  <a:lnTo>
                    <a:pt x="1111" y="1544"/>
                  </a:lnTo>
                  <a:lnTo>
                    <a:pt x="1107" y="1650"/>
                  </a:lnTo>
                  <a:lnTo>
                    <a:pt x="1104" y="1674"/>
                  </a:lnTo>
                  <a:lnTo>
                    <a:pt x="1095" y="1695"/>
                  </a:lnTo>
                  <a:lnTo>
                    <a:pt x="1081" y="1713"/>
                  </a:lnTo>
                  <a:lnTo>
                    <a:pt x="1064" y="1728"/>
                  </a:lnTo>
                  <a:lnTo>
                    <a:pt x="1043" y="1738"/>
                  </a:lnTo>
                  <a:lnTo>
                    <a:pt x="1019" y="1744"/>
                  </a:lnTo>
                  <a:lnTo>
                    <a:pt x="862" y="1757"/>
                  </a:lnTo>
                  <a:lnTo>
                    <a:pt x="838" y="1756"/>
                  </a:lnTo>
                  <a:lnTo>
                    <a:pt x="816" y="1749"/>
                  </a:lnTo>
                  <a:lnTo>
                    <a:pt x="797" y="1737"/>
                  </a:lnTo>
                  <a:lnTo>
                    <a:pt x="779" y="1722"/>
                  </a:lnTo>
                  <a:lnTo>
                    <a:pt x="767" y="1702"/>
                  </a:lnTo>
                  <a:lnTo>
                    <a:pt x="760" y="1679"/>
                  </a:lnTo>
                  <a:lnTo>
                    <a:pt x="738" y="1570"/>
                  </a:lnTo>
                  <a:lnTo>
                    <a:pt x="683" y="1557"/>
                  </a:lnTo>
                  <a:lnTo>
                    <a:pt x="629" y="1539"/>
                  </a:lnTo>
                  <a:lnTo>
                    <a:pt x="575" y="1518"/>
                  </a:lnTo>
                  <a:lnTo>
                    <a:pt x="496" y="1592"/>
                  </a:lnTo>
                  <a:lnTo>
                    <a:pt x="478" y="1606"/>
                  </a:lnTo>
                  <a:lnTo>
                    <a:pt x="456" y="1615"/>
                  </a:lnTo>
                  <a:lnTo>
                    <a:pt x="433" y="1618"/>
                  </a:lnTo>
                  <a:lnTo>
                    <a:pt x="411" y="1616"/>
                  </a:lnTo>
                  <a:lnTo>
                    <a:pt x="389" y="1608"/>
                  </a:lnTo>
                  <a:lnTo>
                    <a:pt x="369" y="1595"/>
                  </a:lnTo>
                  <a:lnTo>
                    <a:pt x="248" y="1492"/>
                  </a:lnTo>
                  <a:lnTo>
                    <a:pt x="234" y="1477"/>
                  </a:lnTo>
                  <a:lnTo>
                    <a:pt x="224" y="1461"/>
                  </a:lnTo>
                  <a:lnTo>
                    <a:pt x="217" y="1442"/>
                  </a:lnTo>
                  <a:lnTo>
                    <a:pt x="214" y="1423"/>
                  </a:lnTo>
                  <a:lnTo>
                    <a:pt x="215" y="1403"/>
                  </a:lnTo>
                  <a:lnTo>
                    <a:pt x="221" y="1383"/>
                  </a:lnTo>
                  <a:lnTo>
                    <a:pt x="230" y="1366"/>
                  </a:lnTo>
                  <a:lnTo>
                    <a:pt x="290" y="1274"/>
                  </a:lnTo>
                  <a:lnTo>
                    <a:pt x="261" y="1227"/>
                  </a:lnTo>
                  <a:lnTo>
                    <a:pt x="236" y="1178"/>
                  </a:lnTo>
                  <a:lnTo>
                    <a:pt x="214" y="1127"/>
                  </a:lnTo>
                  <a:lnTo>
                    <a:pt x="106" y="1123"/>
                  </a:lnTo>
                  <a:lnTo>
                    <a:pt x="83" y="1120"/>
                  </a:lnTo>
                  <a:lnTo>
                    <a:pt x="61" y="1110"/>
                  </a:lnTo>
                  <a:lnTo>
                    <a:pt x="43" y="1097"/>
                  </a:lnTo>
                  <a:lnTo>
                    <a:pt x="29" y="1080"/>
                  </a:lnTo>
                  <a:lnTo>
                    <a:pt x="19" y="1059"/>
                  </a:lnTo>
                  <a:lnTo>
                    <a:pt x="13" y="1035"/>
                  </a:lnTo>
                  <a:lnTo>
                    <a:pt x="0" y="877"/>
                  </a:lnTo>
                  <a:lnTo>
                    <a:pt x="2" y="853"/>
                  </a:lnTo>
                  <a:lnTo>
                    <a:pt x="8" y="830"/>
                  </a:lnTo>
                  <a:lnTo>
                    <a:pt x="19" y="810"/>
                  </a:lnTo>
                  <a:lnTo>
                    <a:pt x="35" y="794"/>
                  </a:lnTo>
                  <a:lnTo>
                    <a:pt x="55" y="782"/>
                  </a:lnTo>
                  <a:lnTo>
                    <a:pt x="78" y="774"/>
                  </a:lnTo>
                  <a:lnTo>
                    <a:pt x="177" y="753"/>
                  </a:lnTo>
                  <a:lnTo>
                    <a:pt x="189" y="694"/>
                  </a:lnTo>
                  <a:lnTo>
                    <a:pt x="207" y="637"/>
                  </a:lnTo>
                  <a:lnTo>
                    <a:pt x="228" y="582"/>
                  </a:lnTo>
                  <a:lnTo>
                    <a:pt x="159" y="506"/>
                  </a:lnTo>
                  <a:lnTo>
                    <a:pt x="145" y="488"/>
                  </a:lnTo>
                  <a:lnTo>
                    <a:pt x="136" y="466"/>
                  </a:lnTo>
                  <a:lnTo>
                    <a:pt x="133" y="443"/>
                  </a:lnTo>
                  <a:lnTo>
                    <a:pt x="134" y="420"/>
                  </a:lnTo>
                  <a:lnTo>
                    <a:pt x="142" y="398"/>
                  </a:lnTo>
                  <a:lnTo>
                    <a:pt x="155" y="379"/>
                  </a:lnTo>
                  <a:lnTo>
                    <a:pt x="257" y="256"/>
                  </a:lnTo>
                  <a:lnTo>
                    <a:pt x="272" y="242"/>
                  </a:lnTo>
                  <a:lnTo>
                    <a:pt x="289" y="231"/>
                  </a:lnTo>
                  <a:lnTo>
                    <a:pt x="307" y="225"/>
                  </a:lnTo>
                  <a:lnTo>
                    <a:pt x="326" y="221"/>
                  </a:lnTo>
                  <a:lnTo>
                    <a:pt x="345" y="222"/>
                  </a:lnTo>
                  <a:lnTo>
                    <a:pt x="365" y="228"/>
                  </a:lnTo>
                  <a:lnTo>
                    <a:pt x="383" y="238"/>
                  </a:lnTo>
                  <a:lnTo>
                    <a:pt x="463" y="291"/>
                  </a:lnTo>
                  <a:lnTo>
                    <a:pt x="517" y="256"/>
                  </a:lnTo>
                  <a:lnTo>
                    <a:pt x="573" y="226"/>
                  </a:lnTo>
                  <a:lnTo>
                    <a:pt x="633" y="201"/>
                  </a:lnTo>
                  <a:lnTo>
                    <a:pt x="636" y="107"/>
                  </a:lnTo>
                  <a:lnTo>
                    <a:pt x="639" y="83"/>
                  </a:lnTo>
                  <a:lnTo>
                    <a:pt x="649" y="62"/>
                  </a:lnTo>
                  <a:lnTo>
                    <a:pt x="662" y="43"/>
                  </a:lnTo>
                  <a:lnTo>
                    <a:pt x="680" y="29"/>
                  </a:lnTo>
                  <a:lnTo>
                    <a:pt x="701" y="18"/>
                  </a:lnTo>
                  <a:lnTo>
                    <a:pt x="724" y="14"/>
                  </a:lnTo>
                  <a:lnTo>
                    <a:pt x="88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endParaRPr>
            </a:p>
          </p:txBody>
        </p:sp>
        <p:sp>
          <p:nvSpPr>
            <p:cNvPr id="209" name="Freeform 32">
              <a:extLst>
                <a:ext uri="{FF2B5EF4-FFF2-40B4-BE49-F238E27FC236}">
                  <a16:creationId xmlns:a16="http://schemas.microsoft.com/office/drawing/2014/main" id="{1FB1D149-D25A-4FE0-DE54-158D3EA1E286}"/>
                </a:ext>
              </a:extLst>
            </p:cNvPr>
            <p:cNvSpPr>
              <a:spLocks noEditPoints="1"/>
            </p:cNvSpPr>
            <p:nvPr/>
          </p:nvSpPr>
          <p:spPr bwMode="auto">
            <a:xfrm>
              <a:off x="1251" y="1571"/>
              <a:ext cx="141" cy="142"/>
            </a:xfrm>
            <a:custGeom>
              <a:avLst/>
              <a:gdLst>
                <a:gd name="T0" fmla="*/ 633 w 1414"/>
                <a:gd name="T1" fmla="*/ 464 h 1424"/>
                <a:gd name="T2" fmla="*/ 533 w 1414"/>
                <a:gd name="T3" fmla="*/ 524 h 1424"/>
                <a:gd name="T4" fmla="*/ 472 w 1414"/>
                <a:gd name="T5" fmla="*/ 624 h 1424"/>
                <a:gd name="T6" fmla="*/ 461 w 1414"/>
                <a:gd name="T7" fmla="*/ 745 h 1424"/>
                <a:gd name="T8" fmla="*/ 505 w 1414"/>
                <a:gd name="T9" fmla="*/ 854 h 1424"/>
                <a:gd name="T10" fmla="*/ 592 w 1414"/>
                <a:gd name="T11" fmla="*/ 930 h 1424"/>
                <a:gd name="T12" fmla="*/ 707 w 1414"/>
                <a:gd name="T13" fmla="*/ 960 h 1424"/>
                <a:gd name="T14" fmla="*/ 823 w 1414"/>
                <a:gd name="T15" fmla="*/ 934 h 1424"/>
                <a:gd name="T16" fmla="*/ 912 w 1414"/>
                <a:gd name="T17" fmla="*/ 858 h 1424"/>
                <a:gd name="T18" fmla="*/ 959 w 1414"/>
                <a:gd name="T19" fmla="*/ 750 h 1424"/>
                <a:gd name="T20" fmla="*/ 951 w 1414"/>
                <a:gd name="T21" fmla="*/ 629 h 1424"/>
                <a:gd name="T22" fmla="*/ 890 w 1414"/>
                <a:gd name="T23" fmla="*/ 528 h 1424"/>
                <a:gd name="T24" fmla="*/ 793 w 1414"/>
                <a:gd name="T25" fmla="*/ 466 h 1424"/>
                <a:gd name="T26" fmla="*/ 670 w 1414"/>
                <a:gd name="T27" fmla="*/ 0 h 1424"/>
                <a:gd name="T28" fmla="*/ 812 w 1414"/>
                <a:gd name="T29" fmla="*/ 13 h 1424"/>
                <a:gd name="T30" fmla="*/ 857 w 1414"/>
                <a:gd name="T31" fmla="*/ 64 h 1424"/>
                <a:gd name="T32" fmla="*/ 916 w 1414"/>
                <a:gd name="T33" fmla="*/ 164 h 1424"/>
                <a:gd name="T34" fmla="*/ 1054 w 1414"/>
                <a:gd name="T35" fmla="*/ 174 h 1424"/>
                <a:gd name="T36" fmla="*/ 1119 w 1414"/>
                <a:gd name="T37" fmla="*/ 153 h 1424"/>
                <a:gd name="T38" fmla="*/ 1181 w 1414"/>
                <a:gd name="T39" fmla="*/ 182 h 1424"/>
                <a:gd name="T40" fmla="*/ 1273 w 1414"/>
                <a:gd name="T41" fmla="*/ 293 h 1424"/>
                <a:gd name="T42" fmla="*/ 1268 w 1414"/>
                <a:gd name="T43" fmla="*/ 360 h 1424"/>
                <a:gd name="T44" fmla="*/ 1238 w 1414"/>
                <a:gd name="T45" fmla="*/ 472 h 1424"/>
                <a:gd name="T46" fmla="*/ 1331 w 1414"/>
                <a:gd name="T47" fmla="*/ 571 h 1424"/>
                <a:gd name="T48" fmla="*/ 1392 w 1414"/>
                <a:gd name="T49" fmla="*/ 604 h 1424"/>
                <a:gd name="T50" fmla="*/ 1414 w 1414"/>
                <a:gd name="T51" fmla="*/ 668 h 1424"/>
                <a:gd name="T52" fmla="*/ 1402 w 1414"/>
                <a:gd name="T53" fmla="*/ 811 h 1424"/>
                <a:gd name="T54" fmla="*/ 1350 w 1414"/>
                <a:gd name="T55" fmla="*/ 856 h 1424"/>
                <a:gd name="T56" fmla="*/ 1248 w 1414"/>
                <a:gd name="T57" fmla="*/ 914 h 1424"/>
                <a:gd name="T58" fmla="*/ 1246 w 1414"/>
                <a:gd name="T59" fmla="*/ 1057 h 1424"/>
                <a:gd name="T60" fmla="*/ 1267 w 1414"/>
                <a:gd name="T61" fmla="*/ 1123 h 1424"/>
                <a:gd name="T62" fmla="*/ 1238 w 1414"/>
                <a:gd name="T63" fmla="*/ 1185 h 1424"/>
                <a:gd name="T64" fmla="*/ 1128 w 1414"/>
                <a:gd name="T65" fmla="*/ 1277 h 1424"/>
                <a:gd name="T66" fmla="*/ 1061 w 1414"/>
                <a:gd name="T67" fmla="*/ 1272 h 1424"/>
                <a:gd name="T68" fmla="*/ 942 w 1414"/>
                <a:gd name="T69" fmla="*/ 1237 h 1424"/>
                <a:gd name="T70" fmla="*/ 840 w 1414"/>
                <a:gd name="T71" fmla="*/ 1340 h 1424"/>
                <a:gd name="T72" fmla="*/ 808 w 1414"/>
                <a:gd name="T73" fmla="*/ 1400 h 1424"/>
                <a:gd name="T74" fmla="*/ 744 w 1414"/>
                <a:gd name="T75" fmla="*/ 1424 h 1424"/>
                <a:gd name="T76" fmla="*/ 602 w 1414"/>
                <a:gd name="T77" fmla="*/ 1411 h 1424"/>
                <a:gd name="T78" fmla="*/ 558 w 1414"/>
                <a:gd name="T79" fmla="*/ 1360 h 1424"/>
                <a:gd name="T80" fmla="*/ 501 w 1414"/>
                <a:gd name="T81" fmla="*/ 1247 h 1424"/>
                <a:gd name="T82" fmla="*/ 360 w 1414"/>
                <a:gd name="T83" fmla="*/ 1250 h 1424"/>
                <a:gd name="T84" fmla="*/ 295 w 1414"/>
                <a:gd name="T85" fmla="*/ 1270 h 1424"/>
                <a:gd name="T86" fmla="*/ 233 w 1414"/>
                <a:gd name="T87" fmla="*/ 1242 h 1424"/>
                <a:gd name="T88" fmla="*/ 142 w 1414"/>
                <a:gd name="T89" fmla="*/ 1131 h 1424"/>
                <a:gd name="T90" fmla="*/ 146 w 1414"/>
                <a:gd name="T91" fmla="*/ 1064 h 1424"/>
                <a:gd name="T92" fmla="*/ 185 w 1414"/>
                <a:gd name="T93" fmla="*/ 946 h 1424"/>
                <a:gd name="T94" fmla="*/ 83 w 1414"/>
                <a:gd name="T95" fmla="*/ 852 h 1424"/>
                <a:gd name="T96" fmla="*/ 23 w 1414"/>
                <a:gd name="T97" fmla="*/ 820 h 1424"/>
                <a:gd name="T98" fmla="*/ 0 w 1414"/>
                <a:gd name="T99" fmla="*/ 756 h 1424"/>
                <a:gd name="T100" fmla="*/ 13 w 1414"/>
                <a:gd name="T101" fmla="*/ 613 h 1424"/>
                <a:gd name="T102" fmla="*/ 64 w 1414"/>
                <a:gd name="T103" fmla="*/ 568 h 1424"/>
                <a:gd name="T104" fmla="*/ 168 w 1414"/>
                <a:gd name="T105" fmla="*/ 509 h 1424"/>
                <a:gd name="T106" fmla="*/ 168 w 1414"/>
                <a:gd name="T107" fmla="*/ 367 h 1424"/>
                <a:gd name="T108" fmla="*/ 147 w 1414"/>
                <a:gd name="T109" fmla="*/ 301 h 1424"/>
                <a:gd name="T110" fmla="*/ 177 w 1414"/>
                <a:gd name="T111" fmla="*/ 239 h 1424"/>
                <a:gd name="T112" fmla="*/ 286 w 1414"/>
                <a:gd name="T113" fmla="*/ 146 h 1424"/>
                <a:gd name="T114" fmla="*/ 353 w 1414"/>
                <a:gd name="T115" fmla="*/ 152 h 1424"/>
                <a:gd name="T116" fmla="*/ 468 w 1414"/>
                <a:gd name="T117" fmla="*/ 179 h 1424"/>
                <a:gd name="T118" fmla="*/ 574 w 1414"/>
                <a:gd name="T119" fmla="*/ 84 h 1424"/>
                <a:gd name="T120" fmla="*/ 606 w 1414"/>
                <a:gd name="T121" fmla="*/ 23 h 1424"/>
                <a:gd name="T122" fmla="*/ 670 w 1414"/>
                <a:gd name="T123" fmla="*/ 0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14" h="1424">
                  <a:moveTo>
                    <a:pt x="714" y="452"/>
                  </a:moveTo>
                  <a:lnTo>
                    <a:pt x="672" y="455"/>
                  </a:lnTo>
                  <a:lnTo>
                    <a:pt x="633" y="464"/>
                  </a:lnTo>
                  <a:lnTo>
                    <a:pt x="597" y="479"/>
                  </a:lnTo>
                  <a:lnTo>
                    <a:pt x="564" y="499"/>
                  </a:lnTo>
                  <a:lnTo>
                    <a:pt x="533" y="524"/>
                  </a:lnTo>
                  <a:lnTo>
                    <a:pt x="509" y="554"/>
                  </a:lnTo>
                  <a:lnTo>
                    <a:pt x="487" y="586"/>
                  </a:lnTo>
                  <a:lnTo>
                    <a:pt x="472" y="624"/>
                  </a:lnTo>
                  <a:lnTo>
                    <a:pt x="462" y="662"/>
                  </a:lnTo>
                  <a:lnTo>
                    <a:pt x="458" y="703"/>
                  </a:lnTo>
                  <a:lnTo>
                    <a:pt x="461" y="745"/>
                  </a:lnTo>
                  <a:lnTo>
                    <a:pt x="469" y="784"/>
                  </a:lnTo>
                  <a:lnTo>
                    <a:pt x="485" y="820"/>
                  </a:lnTo>
                  <a:lnTo>
                    <a:pt x="505" y="854"/>
                  </a:lnTo>
                  <a:lnTo>
                    <a:pt x="529" y="883"/>
                  </a:lnTo>
                  <a:lnTo>
                    <a:pt x="558" y="910"/>
                  </a:lnTo>
                  <a:lnTo>
                    <a:pt x="592" y="930"/>
                  </a:lnTo>
                  <a:lnTo>
                    <a:pt x="628" y="947"/>
                  </a:lnTo>
                  <a:lnTo>
                    <a:pt x="666" y="957"/>
                  </a:lnTo>
                  <a:lnTo>
                    <a:pt x="707" y="960"/>
                  </a:lnTo>
                  <a:lnTo>
                    <a:pt x="748" y="958"/>
                  </a:lnTo>
                  <a:lnTo>
                    <a:pt x="787" y="948"/>
                  </a:lnTo>
                  <a:lnTo>
                    <a:pt x="823" y="934"/>
                  </a:lnTo>
                  <a:lnTo>
                    <a:pt x="857" y="913"/>
                  </a:lnTo>
                  <a:lnTo>
                    <a:pt x="887" y="888"/>
                  </a:lnTo>
                  <a:lnTo>
                    <a:pt x="912" y="858"/>
                  </a:lnTo>
                  <a:lnTo>
                    <a:pt x="933" y="826"/>
                  </a:lnTo>
                  <a:lnTo>
                    <a:pt x="949" y="790"/>
                  </a:lnTo>
                  <a:lnTo>
                    <a:pt x="959" y="750"/>
                  </a:lnTo>
                  <a:lnTo>
                    <a:pt x="963" y="710"/>
                  </a:lnTo>
                  <a:lnTo>
                    <a:pt x="960" y="668"/>
                  </a:lnTo>
                  <a:lnTo>
                    <a:pt x="951" y="629"/>
                  </a:lnTo>
                  <a:lnTo>
                    <a:pt x="936" y="592"/>
                  </a:lnTo>
                  <a:lnTo>
                    <a:pt x="915" y="559"/>
                  </a:lnTo>
                  <a:lnTo>
                    <a:pt x="890" y="528"/>
                  </a:lnTo>
                  <a:lnTo>
                    <a:pt x="862" y="503"/>
                  </a:lnTo>
                  <a:lnTo>
                    <a:pt x="829" y="482"/>
                  </a:lnTo>
                  <a:lnTo>
                    <a:pt x="793" y="466"/>
                  </a:lnTo>
                  <a:lnTo>
                    <a:pt x="754" y="455"/>
                  </a:lnTo>
                  <a:lnTo>
                    <a:pt x="714" y="452"/>
                  </a:lnTo>
                  <a:close/>
                  <a:moveTo>
                    <a:pt x="670" y="0"/>
                  </a:moveTo>
                  <a:lnTo>
                    <a:pt x="768" y="1"/>
                  </a:lnTo>
                  <a:lnTo>
                    <a:pt x="791" y="4"/>
                  </a:lnTo>
                  <a:lnTo>
                    <a:pt x="812" y="13"/>
                  </a:lnTo>
                  <a:lnTo>
                    <a:pt x="831" y="26"/>
                  </a:lnTo>
                  <a:lnTo>
                    <a:pt x="846" y="44"/>
                  </a:lnTo>
                  <a:lnTo>
                    <a:pt x="857" y="64"/>
                  </a:lnTo>
                  <a:lnTo>
                    <a:pt x="862" y="87"/>
                  </a:lnTo>
                  <a:lnTo>
                    <a:pt x="868" y="148"/>
                  </a:lnTo>
                  <a:lnTo>
                    <a:pt x="916" y="164"/>
                  </a:lnTo>
                  <a:lnTo>
                    <a:pt x="963" y="184"/>
                  </a:lnTo>
                  <a:lnTo>
                    <a:pt x="1008" y="209"/>
                  </a:lnTo>
                  <a:lnTo>
                    <a:pt x="1054" y="174"/>
                  </a:lnTo>
                  <a:lnTo>
                    <a:pt x="1075" y="160"/>
                  </a:lnTo>
                  <a:lnTo>
                    <a:pt x="1097" y="154"/>
                  </a:lnTo>
                  <a:lnTo>
                    <a:pt x="1119" y="153"/>
                  </a:lnTo>
                  <a:lnTo>
                    <a:pt x="1142" y="157"/>
                  </a:lnTo>
                  <a:lnTo>
                    <a:pt x="1163" y="167"/>
                  </a:lnTo>
                  <a:lnTo>
                    <a:pt x="1181" y="182"/>
                  </a:lnTo>
                  <a:lnTo>
                    <a:pt x="1249" y="252"/>
                  </a:lnTo>
                  <a:lnTo>
                    <a:pt x="1264" y="271"/>
                  </a:lnTo>
                  <a:lnTo>
                    <a:pt x="1273" y="293"/>
                  </a:lnTo>
                  <a:lnTo>
                    <a:pt x="1277" y="314"/>
                  </a:lnTo>
                  <a:lnTo>
                    <a:pt x="1274" y="337"/>
                  </a:lnTo>
                  <a:lnTo>
                    <a:pt x="1268" y="360"/>
                  </a:lnTo>
                  <a:lnTo>
                    <a:pt x="1255" y="380"/>
                  </a:lnTo>
                  <a:lnTo>
                    <a:pt x="1217" y="428"/>
                  </a:lnTo>
                  <a:lnTo>
                    <a:pt x="1238" y="472"/>
                  </a:lnTo>
                  <a:lnTo>
                    <a:pt x="1255" y="516"/>
                  </a:lnTo>
                  <a:lnTo>
                    <a:pt x="1269" y="563"/>
                  </a:lnTo>
                  <a:lnTo>
                    <a:pt x="1331" y="571"/>
                  </a:lnTo>
                  <a:lnTo>
                    <a:pt x="1355" y="578"/>
                  </a:lnTo>
                  <a:lnTo>
                    <a:pt x="1374" y="589"/>
                  </a:lnTo>
                  <a:lnTo>
                    <a:pt x="1392" y="604"/>
                  </a:lnTo>
                  <a:lnTo>
                    <a:pt x="1405" y="622"/>
                  </a:lnTo>
                  <a:lnTo>
                    <a:pt x="1412" y="644"/>
                  </a:lnTo>
                  <a:lnTo>
                    <a:pt x="1414" y="668"/>
                  </a:lnTo>
                  <a:lnTo>
                    <a:pt x="1413" y="767"/>
                  </a:lnTo>
                  <a:lnTo>
                    <a:pt x="1410" y="790"/>
                  </a:lnTo>
                  <a:lnTo>
                    <a:pt x="1402" y="811"/>
                  </a:lnTo>
                  <a:lnTo>
                    <a:pt x="1388" y="830"/>
                  </a:lnTo>
                  <a:lnTo>
                    <a:pt x="1371" y="845"/>
                  </a:lnTo>
                  <a:lnTo>
                    <a:pt x="1350" y="856"/>
                  </a:lnTo>
                  <a:lnTo>
                    <a:pt x="1328" y="862"/>
                  </a:lnTo>
                  <a:lnTo>
                    <a:pt x="1264" y="868"/>
                  </a:lnTo>
                  <a:lnTo>
                    <a:pt x="1248" y="914"/>
                  </a:lnTo>
                  <a:lnTo>
                    <a:pt x="1229" y="960"/>
                  </a:lnTo>
                  <a:lnTo>
                    <a:pt x="1206" y="1002"/>
                  </a:lnTo>
                  <a:lnTo>
                    <a:pt x="1246" y="1057"/>
                  </a:lnTo>
                  <a:lnTo>
                    <a:pt x="1259" y="1077"/>
                  </a:lnTo>
                  <a:lnTo>
                    <a:pt x="1266" y="1100"/>
                  </a:lnTo>
                  <a:lnTo>
                    <a:pt x="1267" y="1123"/>
                  </a:lnTo>
                  <a:lnTo>
                    <a:pt x="1262" y="1144"/>
                  </a:lnTo>
                  <a:lnTo>
                    <a:pt x="1253" y="1166"/>
                  </a:lnTo>
                  <a:lnTo>
                    <a:pt x="1238" y="1185"/>
                  </a:lnTo>
                  <a:lnTo>
                    <a:pt x="1168" y="1254"/>
                  </a:lnTo>
                  <a:lnTo>
                    <a:pt x="1150" y="1268"/>
                  </a:lnTo>
                  <a:lnTo>
                    <a:pt x="1128" y="1277"/>
                  </a:lnTo>
                  <a:lnTo>
                    <a:pt x="1106" y="1281"/>
                  </a:lnTo>
                  <a:lnTo>
                    <a:pt x="1083" y="1279"/>
                  </a:lnTo>
                  <a:lnTo>
                    <a:pt x="1061" y="1272"/>
                  </a:lnTo>
                  <a:lnTo>
                    <a:pt x="1041" y="1259"/>
                  </a:lnTo>
                  <a:lnTo>
                    <a:pt x="987" y="1215"/>
                  </a:lnTo>
                  <a:lnTo>
                    <a:pt x="942" y="1237"/>
                  </a:lnTo>
                  <a:lnTo>
                    <a:pt x="897" y="1256"/>
                  </a:lnTo>
                  <a:lnTo>
                    <a:pt x="849" y="1269"/>
                  </a:lnTo>
                  <a:lnTo>
                    <a:pt x="840" y="1340"/>
                  </a:lnTo>
                  <a:lnTo>
                    <a:pt x="834" y="1363"/>
                  </a:lnTo>
                  <a:lnTo>
                    <a:pt x="823" y="1384"/>
                  </a:lnTo>
                  <a:lnTo>
                    <a:pt x="808" y="1400"/>
                  </a:lnTo>
                  <a:lnTo>
                    <a:pt x="789" y="1413"/>
                  </a:lnTo>
                  <a:lnTo>
                    <a:pt x="768" y="1422"/>
                  </a:lnTo>
                  <a:lnTo>
                    <a:pt x="744" y="1424"/>
                  </a:lnTo>
                  <a:lnTo>
                    <a:pt x="647" y="1423"/>
                  </a:lnTo>
                  <a:lnTo>
                    <a:pt x="624" y="1420"/>
                  </a:lnTo>
                  <a:lnTo>
                    <a:pt x="602" y="1411"/>
                  </a:lnTo>
                  <a:lnTo>
                    <a:pt x="583" y="1398"/>
                  </a:lnTo>
                  <a:lnTo>
                    <a:pt x="568" y="1380"/>
                  </a:lnTo>
                  <a:lnTo>
                    <a:pt x="558" y="1360"/>
                  </a:lnTo>
                  <a:lnTo>
                    <a:pt x="553" y="1337"/>
                  </a:lnTo>
                  <a:lnTo>
                    <a:pt x="544" y="1262"/>
                  </a:lnTo>
                  <a:lnTo>
                    <a:pt x="501" y="1247"/>
                  </a:lnTo>
                  <a:lnTo>
                    <a:pt x="459" y="1229"/>
                  </a:lnTo>
                  <a:lnTo>
                    <a:pt x="417" y="1206"/>
                  </a:lnTo>
                  <a:lnTo>
                    <a:pt x="360" y="1250"/>
                  </a:lnTo>
                  <a:lnTo>
                    <a:pt x="339" y="1262"/>
                  </a:lnTo>
                  <a:lnTo>
                    <a:pt x="318" y="1269"/>
                  </a:lnTo>
                  <a:lnTo>
                    <a:pt x="295" y="1270"/>
                  </a:lnTo>
                  <a:lnTo>
                    <a:pt x="272" y="1267"/>
                  </a:lnTo>
                  <a:lnTo>
                    <a:pt x="251" y="1257"/>
                  </a:lnTo>
                  <a:lnTo>
                    <a:pt x="233" y="1242"/>
                  </a:lnTo>
                  <a:lnTo>
                    <a:pt x="165" y="1172"/>
                  </a:lnTo>
                  <a:lnTo>
                    <a:pt x="151" y="1153"/>
                  </a:lnTo>
                  <a:lnTo>
                    <a:pt x="142" y="1131"/>
                  </a:lnTo>
                  <a:lnTo>
                    <a:pt x="138" y="1108"/>
                  </a:lnTo>
                  <a:lnTo>
                    <a:pt x="140" y="1085"/>
                  </a:lnTo>
                  <a:lnTo>
                    <a:pt x="146" y="1064"/>
                  </a:lnTo>
                  <a:lnTo>
                    <a:pt x="159" y="1044"/>
                  </a:lnTo>
                  <a:lnTo>
                    <a:pt x="205" y="986"/>
                  </a:lnTo>
                  <a:lnTo>
                    <a:pt x="185" y="946"/>
                  </a:lnTo>
                  <a:lnTo>
                    <a:pt x="168" y="904"/>
                  </a:lnTo>
                  <a:lnTo>
                    <a:pt x="155" y="862"/>
                  </a:lnTo>
                  <a:lnTo>
                    <a:pt x="83" y="852"/>
                  </a:lnTo>
                  <a:lnTo>
                    <a:pt x="60" y="846"/>
                  </a:lnTo>
                  <a:lnTo>
                    <a:pt x="40" y="835"/>
                  </a:lnTo>
                  <a:lnTo>
                    <a:pt x="23" y="820"/>
                  </a:lnTo>
                  <a:lnTo>
                    <a:pt x="11" y="800"/>
                  </a:lnTo>
                  <a:lnTo>
                    <a:pt x="2" y="779"/>
                  </a:lnTo>
                  <a:lnTo>
                    <a:pt x="0" y="756"/>
                  </a:lnTo>
                  <a:lnTo>
                    <a:pt x="1" y="657"/>
                  </a:lnTo>
                  <a:lnTo>
                    <a:pt x="4" y="633"/>
                  </a:lnTo>
                  <a:lnTo>
                    <a:pt x="13" y="613"/>
                  </a:lnTo>
                  <a:lnTo>
                    <a:pt x="26" y="594"/>
                  </a:lnTo>
                  <a:lnTo>
                    <a:pt x="43" y="579"/>
                  </a:lnTo>
                  <a:lnTo>
                    <a:pt x="64" y="568"/>
                  </a:lnTo>
                  <a:lnTo>
                    <a:pt x="87" y="562"/>
                  </a:lnTo>
                  <a:lnTo>
                    <a:pt x="154" y="556"/>
                  </a:lnTo>
                  <a:lnTo>
                    <a:pt x="168" y="509"/>
                  </a:lnTo>
                  <a:lnTo>
                    <a:pt x="186" y="464"/>
                  </a:lnTo>
                  <a:lnTo>
                    <a:pt x="209" y="420"/>
                  </a:lnTo>
                  <a:lnTo>
                    <a:pt x="168" y="367"/>
                  </a:lnTo>
                  <a:lnTo>
                    <a:pt x="156" y="346"/>
                  </a:lnTo>
                  <a:lnTo>
                    <a:pt x="148" y="324"/>
                  </a:lnTo>
                  <a:lnTo>
                    <a:pt x="147" y="301"/>
                  </a:lnTo>
                  <a:lnTo>
                    <a:pt x="152" y="278"/>
                  </a:lnTo>
                  <a:lnTo>
                    <a:pt x="161" y="258"/>
                  </a:lnTo>
                  <a:lnTo>
                    <a:pt x="177" y="239"/>
                  </a:lnTo>
                  <a:lnTo>
                    <a:pt x="246" y="170"/>
                  </a:lnTo>
                  <a:lnTo>
                    <a:pt x="266" y="155"/>
                  </a:lnTo>
                  <a:lnTo>
                    <a:pt x="286" y="146"/>
                  </a:lnTo>
                  <a:lnTo>
                    <a:pt x="309" y="143"/>
                  </a:lnTo>
                  <a:lnTo>
                    <a:pt x="332" y="144"/>
                  </a:lnTo>
                  <a:lnTo>
                    <a:pt x="353" y="152"/>
                  </a:lnTo>
                  <a:lnTo>
                    <a:pt x="374" y="164"/>
                  </a:lnTo>
                  <a:lnTo>
                    <a:pt x="422" y="204"/>
                  </a:lnTo>
                  <a:lnTo>
                    <a:pt x="468" y="179"/>
                  </a:lnTo>
                  <a:lnTo>
                    <a:pt x="516" y="159"/>
                  </a:lnTo>
                  <a:lnTo>
                    <a:pt x="566" y="144"/>
                  </a:lnTo>
                  <a:lnTo>
                    <a:pt x="574" y="84"/>
                  </a:lnTo>
                  <a:lnTo>
                    <a:pt x="580" y="61"/>
                  </a:lnTo>
                  <a:lnTo>
                    <a:pt x="591" y="40"/>
                  </a:lnTo>
                  <a:lnTo>
                    <a:pt x="606" y="23"/>
                  </a:lnTo>
                  <a:lnTo>
                    <a:pt x="625" y="11"/>
                  </a:lnTo>
                  <a:lnTo>
                    <a:pt x="646" y="2"/>
                  </a:lnTo>
                  <a:lnTo>
                    <a:pt x="67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bg1"/>
                </a:solidFill>
              </a:endParaRPr>
            </a:p>
          </p:txBody>
        </p:sp>
      </p:grpSp>
      <p:sp>
        <p:nvSpPr>
          <p:cNvPr id="210" name="Rechteck 21">
            <a:extLst>
              <a:ext uri="{FF2B5EF4-FFF2-40B4-BE49-F238E27FC236}">
                <a16:creationId xmlns:a16="http://schemas.microsoft.com/office/drawing/2014/main" id="{2E6CAE1B-B501-55EF-4427-2CB54444C18E}"/>
              </a:ext>
            </a:extLst>
          </p:cNvPr>
          <p:cNvSpPr/>
          <p:nvPr/>
        </p:nvSpPr>
        <p:spPr>
          <a:xfrm>
            <a:off x="8390797" y="1726823"/>
            <a:ext cx="545052" cy="11179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de-DE" sz="900">
              <a:solidFill>
                <a:schemeClr val="tx1"/>
              </a:solidFill>
              <a:sym typeface="+mn-lt"/>
            </a:endParaRPr>
          </a:p>
        </p:txBody>
      </p:sp>
      <p:sp>
        <p:nvSpPr>
          <p:cNvPr id="211" name="Freeform: Shape 21">
            <a:extLst>
              <a:ext uri="{FF2B5EF4-FFF2-40B4-BE49-F238E27FC236}">
                <a16:creationId xmlns:a16="http://schemas.microsoft.com/office/drawing/2014/main" id="{BCD3AC8D-7CF3-36CB-FF07-2B0B3F5337F3}"/>
              </a:ext>
            </a:extLst>
          </p:cNvPr>
          <p:cNvSpPr>
            <a:spLocks noChangeAspect="1"/>
          </p:cNvSpPr>
          <p:nvPr/>
        </p:nvSpPr>
        <p:spPr>
          <a:xfrm>
            <a:off x="8429820" y="1560129"/>
            <a:ext cx="413416" cy="427672"/>
          </a:xfrm>
          <a:custGeom>
            <a:avLst/>
            <a:gdLst>
              <a:gd name="connsiteX0" fmla="*/ 745121 w 2006734"/>
              <a:gd name="connsiteY0" fmla="*/ 1937536 h 2075932"/>
              <a:gd name="connsiteX1" fmla="*/ 1261718 w 2006734"/>
              <a:gd name="connsiteY1" fmla="*/ 1937536 h 2075932"/>
              <a:gd name="connsiteX2" fmla="*/ 1003368 w 2006734"/>
              <a:gd name="connsiteY2" fmla="*/ 2075932 h 2075932"/>
              <a:gd name="connsiteX3" fmla="*/ 745121 w 2006734"/>
              <a:gd name="connsiteY3" fmla="*/ 1937536 h 2075932"/>
              <a:gd name="connsiteX4" fmla="*/ 588181 w 2006734"/>
              <a:gd name="connsiteY4" fmla="*/ 1799141 h 2075932"/>
              <a:gd name="connsiteX5" fmla="*/ 1418554 w 2006734"/>
              <a:gd name="connsiteY5" fmla="*/ 1799141 h 2075932"/>
              <a:gd name="connsiteX6" fmla="*/ 1453153 w 2006734"/>
              <a:gd name="connsiteY6" fmla="*/ 1833741 h 2075932"/>
              <a:gd name="connsiteX7" fmla="*/ 1418554 w 2006734"/>
              <a:gd name="connsiteY7" fmla="*/ 1868340 h 2075932"/>
              <a:gd name="connsiteX8" fmla="*/ 588181 w 2006734"/>
              <a:gd name="connsiteY8" fmla="*/ 1868340 h 2075932"/>
              <a:gd name="connsiteX9" fmla="*/ 553582 w 2006734"/>
              <a:gd name="connsiteY9" fmla="*/ 1833741 h 2075932"/>
              <a:gd name="connsiteX10" fmla="*/ 588181 w 2006734"/>
              <a:gd name="connsiteY10" fmla="*/ 1799141 h 2075932"/>
              <a:gd name="connsiteX11" fmla="*/ 588181 w 2006734"/>
              <a:gd name="connsiteY11" fmla="*/ 1660745 h 2075932"/>
              <a:gd name="connsiteX12" fmla="*/ 1418554 w 2006734"/>
              <a:gd name="connsiteY12" fmla="*/ 1660745 h 2075932"/>
              <a:gd name="connsiteX13" fmla="*/ 1453153 w 2006734"/>
              <a:gd name="connsiteY13" fmla="*/ 1695345 h 2075932"/>
              <a:gd name="connsiteX14" fmla="*/ 1418554 w 2006734"/>
              <a:gd name="connsiteY14" fmla="*/ 1729944 h 2075932"/>
              <a:gd name="connsiteX15" fmla="*/ 588181 w 2006734"/>
              <a:gd name="connsiteY15" fmla="*/ 1729944 h 2075932"/>
              <a:gd name="connsiteX16" fmla="*/ 553582 w 2006734"/>
              <a:gd name="connsiteY16" fmla="*/ 1695345 h 2075932"/>
              <a:gd name="connsiteX17" fmla="*/ 588181 w 2006734"/>
              <a:gd name="connsiteY17" fmla="*/ 1660745 h 2075932"/>
              <a:gd name="connsiteX18" fmla="*/ 1799141 w 2006734"/>
              <a:gd name="connsiteY18" fmla="*/ 968768 h 2075932"/>
              <a:gd name="connsiteX19" fmla="*/ 2006734 w 2006734"/>
              <a:gd name="connsiteY19" fmla="*/ 968768 h 2075932"/>
              <a:gd name="connsiteX20" fmla="*/ 2006734 w 2006734"/>
              <a:gd name="connsiteY20" fmla="*/ 1037967 h 2075932"/>
              <a:gd name="connsiteX21" fmla="*/ 1799141 w 2006734"/>
              <a:gd name="connsiteY21" fmla="*/ 1037967 h 2075932"/>
              <a:gd name="connsiteX22" fmla="*/ 0 w 2006734"/>
              <a:gd name="connsiteY22" fmla="*/ 968768 h 2075932"/>
              <a:gd name="connsiteX23" fmla="*/ 207593 w 2006734"/>
              <a:gd name="connsiteY23" fmla="*/ 968768 h 2075932"/>
              <a:gd name="connsiteX24" fmla="*/ 207593 w 2006734"/>
              <a:gd name="connsiteY24" fmla="*/ 1037967 h 2075932"/>
              <a:gd name="connsiteX25" fmla="*/ 0 w 2006734"/>
              <a:gd name="connsiteY25" fmla="*/ 1037967 h 2075932"/>
              <a:gd name="connsiteX26" fmla="*/ 691978 w 2006734"/>
              <a:gd name="connsiteY26" fmla="*/ 830373 h 2075932"/>
              <a:gd name="connsiteX27" fmla="*/ 726576 w 2006734"/>
              <a:gd name="connsiteY27" fmla="*/ 830373 h 2075932"/>
              <a:gd name="connsiteX28" fmla="*/ 763182 w 2006734"/>
              <a:gd name="connsiteY28" fmla="*/ 909501 h 2075932"/>
              <a:gd name="connsiteX29" fmla="*/ 847569 w 2006734"/>
              <a:gd name="connsiteY29" fmla="*/ 932820 h 2075932"/>
              <a:gd name="connsiteX30" fmla="*/ 934100 w 2006734"/>
              <a:gd name="connsiteY30" fmla="*/ 830408 h 2075932"/>
              <a:gd name="connsiteX31" fmla="*/ 1003367 w 2006734"/>
              <a:gd name="connsiteY31" fmla="*/ 830408 h 2075932"/>
              <a:gd name="connsiteX32" fmla="*/ 1003367 w 2006734"/>
              <a:gd name="connsiteY32" fmla="*/ 968803 h 2075932"/>
              <a:gd name="connsiteX33" fmla="*/ 1103462 w 2006734"/>
              <a:gd name="connsiteY33" fmla="*/ 968803 h 2075932"/>
              <a:gd name="connsiteX34" fmla="*/ 1141278 w 2006734"/>
              <a:gd name="connsiteY34" fmla="*/ 997347 h 2075932"/>
              <a:gd name="connsiteX35" fmla="*/ 1133563 w 2006734"/>
              <a:gd name="connsiteY35" fmla="*/ 1025788 h 2075932"/>
              <a:gd name="connsiteX36" fmla="*/ 1107164 w 2006734"/>
              <a:gd name="connsiteY36" fmla="*/ 1037966 h 2075932"/>
              <a:gd name="connsiteX37" fmla="*/ 1003367 w 2006734"/>
              <a:gd name="connsiteY37" fmla="*/ 1037966 h 2075932"/>
              <a:gd name="connsiteX38" fmla="*/ 1003367 w 2006734"/>
              <a:gd name="connsiteY38" fmla="*/ 1176362 h 2075932"/>
              <a:gd name="connsiteX39" fmla="*/ 934170 w 2006734"/>
              <a:gd name="connsiteY39" fmla="*/ 1176362 h 2075932"/>
              <a:gd name="connsiteX40" fmla="*/ 897564 w 2006734"/>
              <a:gd name="connsiteY40" fmla="*/ 1097269 h 2075932"/>
              <a:gd name="connsiteX41" fmla="*/ 813177 w 2006734"/>
              <a:gd name="connsiteY41" fmla="*/ 1073949 h 2075932"/>
              <a:gd name="connsiteX42" fmla="*/ 726646 w 2006734"/>
              <a:gd name="connsiteY42" fmla="*/ 1176362 h 2075932"/>
              <a:gd name="connsiteX43" fmla="*/ 691978 w 2006734"/>
              <a:gd name="connsiteY43" fmla="*/ 1176362 h 2075932"/>
              <a:gd name="connsiteX44" fmla="*/ 657379 w 2006734"/>
              <a:gd name="connsiteY44" fmla="*/ 1141763 h 2075932"/>
              <a:gd name="connsiteX45" fmla="*/ 657379 w 2006734"/>
              <a:gd name="connsiteY45" fmla="*/ 1037966 h 2075932"/>
              <a:gd name="connsiteX46" fmla="*/ 553582 w 2006734"/>
              <a:gd name="connsiteY46" fmla="*/ 1037966 h 2075932"/>
              <a:gd name="connsiteX47" fmla="*/ 527183 w 2006734"/>
              <a:gd name="connsiteY47" fmla="*/ 1025753 h 2075932"/>
              <a:gd name="connsiteX48" fmla="*/ 519468 w 2006734"/>
              <a:gd name="connsiteY48" fmla="*/ 997313 h 2075932"/>
              <a:gd name="connsiteX49" fmla="*/ 557284 w 2006734"/>
              <a:gd name="connsiteY49" fmla="*/ 968769 h 2075932"/>
              <a:gd name="connsiteX50" fmla="*/ 657379 w 2006734"/>
              <a:gd name="connsiteY50" fmla="*/ 968769 h 2075932"/>
              <a:gd name="connsiteX51" fmla="*/ 657379 w 2006734"/>
              <a:gd name="connsiteY51" fmla="*/ 864972 h 2075932"/>
              <a:gd name="connsiteX52" fmla="*/ 691978 w 2006734"/>
              <a:gd name="connsiteY52" fmla="*/ 830373 h 2075932"/>
              <a:gd name="connsiteX53" fmla="*/ 1286213 w 2006734"/>
              <a:gd name="connsiteY53" fmla="*/ 692462 h 2075932"/>
              <a:gd name="connsiteX54" fmla="*/ 1314757 w 2006734"/>
              <a:gd name="connsiteY54" fmla="*/ 730279 h 2075932"/>
              <a:gd name="connsiteX55" fmla="*/ 1314757 w 2006734"/>
              <a:gd name="connsiteY55" fmla="*/ 830373 h 2075932"/>
              <a:gd name="connsiteX56" fmla="*/ 1453153 w 2006734"/>
              <a:gd name="connsiteY56" fmla="*/ 830373 h 2075932"/>
              <a:gd name="connsiteX57" fmla="*/ 1487751 w 2006734"/>
              <a:gd name="connsiteY57" fmla="*/ 864973 h 2075932"/>
              <a:gd name="connsiteX58" fmla="*/ 1487751 w 2006734"/>
              <a:gd name="connsiteY58" fmla="*/ 899572 h 2075932"/>
              <a:gd name="connsiteX59" fmla="*/ 1456855 w 2006734"/>
              <a:gd name="connsiteY59" fmla="*/ 899572 h 2075932"/>
              <a:gd name="connsiteX60" fmla="*/ 1350740 w 2006734"/>
              <a:gd name="connsiteY60" fmla="*/ 986173 h 2075932"/>
              <a:gd name="connsiteX61" fmla="*/ 1374060 w 2006734"/>
              <a:gd name="connsiteY61" fmla="*/ 1070559 h 2075932"/>
              <a:gd name="connsiteX62" fmla="*/ 1453153 w 2006734"/>
              <a:gd name="connsiteY62" fmla="*/ 1107165 h 2075932"/>
              <a:gd name="connsiteX63" fmla="*/ 1487751 w 2006734"/>
              <a:gd name="connsiteY63" fmla="*/ 1107165 h 2075932"/>
              <a:gd name="connsiteX64" fmla="*/ 1487751 w 2006734"/>
              <a:gd name="connsiteY64" fmla="*/ 1141764 h 2075932"/>
              <a:gd name="connsiteX65" fmla="*/ 1453153 w 2006734"/>
              <a:gd name="connsiteY65" fmla="*/ 1176363 h 2075932"/>
              <a:gd name="connsiteX66" fmla="*/ 1072565 w 2006734"/>
              <a:gd name="connsiteY66" fmla="*/ 1176363 h 2075932"/>
              <a:gd name="connsiteX67" fmla="*/ 1072565 w 2006734"/>
              <a:gd name="connsiteY67" fmla="*/ 1107165 h 2075932"/>
              <a:gd name="connsiteX68" fmla="*/ 1107164 w 2006734"/>
              <a:gd name="connsiteY68" fmla="*/ 1107165 h 2075932"/>
              <a:gd name="connsiteX69" fmla="*/ 1186257 w 2006734"/>
              <a:gd name="connsiteY69" fmla="*/ 1070559 h 2075932"/>
              <a:gd name="connsiteX70" fmla="*/ 1209577 w 2006734"/>
              <a:gd name="connsiteY70" fmla="*/ 986173 h 2075932"/>
              <a:gd name="connsiteX71" fmla="*/ 1103462 w 2006734"/>
              <a:gd name="connsiteY71" fmla="*/ 899572 h 2075932"/>
              <a:gd name="connsiteX72" fmla="*/ 1072565 w 2006734"/>
              <a:gd name="connsiteY72" fmla="*/ 899572 h 2075932"/>
              <a:gd name="connsiteX73" fmla="*/ 1072565 w 2006734"/>
              <a:gd name="connsiteY73" fmla="*/ 830373 h 2075932"/>
              <a:gd name="connsiteX74" fmla="*/ 1245559 w 2006734"/>
              <a:gd name="connsiteY74" fmla="*/ 830373 h 2075932"/>
              <a:gd name="connsiteX75" fmla="*/ 1245559 w 2006734"/>
              <a:gd name="connsiteY75" fmla="*/ 726576 h 2075932"/>
              <a:gd name="connsiteX76" fmla="*/ 1257773 w 2006734"/>
              <a:gd name="connsiteY76" fmla="*/ 700178 h 2075932"/>
              <a:gd name="connsiteX77" fmla="*/ 1286213 w 2006734"/>
              <a:gd name="connsiteY77" fmla="*/ 692462 h 2075932"/>
              <a:gd name="connsiteX78" fmla="*/ 1297355 w 2006734"/>
              <a:gd name="connsiteY78" fmla="*/ 624164 h 2075932"/>
              <a:gd name="connsiteX79" fmla="*/ 1212969 w 2006734"/>
              <a:gd name="connsiteY79" fmla="*/ 647484 h 2075932"/>
              <a:gd name="connsiteX80" fmla="*/ 1176363 w 2006734"/>
              <a:gd name="connsiteY80" fmla="*/ 726577 h 2075932"/>
              <a:gd name="connsiteX81" fmla="*/ 1176363 w 2006734"/>
              <a:gd name="connsiteY81" fmla="*/ 761175 h 2075932"/>
              <a:gd name="connsiteX82" fmla="*/ 1037968 w 2006734"/>
              <a:gd name="connsiteY82" fmla="*/ 761175 h 2075932"/>
              <a:gd name="connsiteX83" fmla="*/ 1003369 w 2006734"/>
              <a:gd name="connsiteY83" fmla="*/ 761175 h 2075932"/>
              <a:gd name="connsiteX84" fmla="*/ 864972 w 2006734"/>
              <a:gd name="connsiteY84" fmla="*/ 761175 h 2075932"/>
              <a:gd name="connsiteX85" fmla="*/ 864972 w 2006734"/>
              <a:gd name="connsiteY85" fmla="*/ 826707 h 2075932"/>
              <a:gd name="connsiteX86" fmla="*/ 836428 w 2006734"/>
              <a:gd name="connsiteY86" fmla="*/ 864523 h 2075932"/>
              <a:gd name="connsiteX87" fmla="*/ 807988 w 2006734"/>
              <a:gd name="connsiteY87" fmla="*/ 856808 h 2075932"/>
              <a:gd name="connsiteX88" fmla="*/ 795775 w 2006734"/>
              <a:gd name="connsiteY88" fmla="*/ 830409 h 2075932"/>
              <a:gd name="connsiteX89" fmla="*/ 795775 w 2006734"/>
              <a:gd name="connsiteY89" fmla="*/ 761210 h 2075932"/>
              <a:gd name="connsiteX90" fmla="*/ 691978 w 2006734"/>
              <a:gd name="connsiteY90" fmla="*/ 761210 h 2075932"/>
              <a:gd name="connsiteX91" fmla="*/ 588182 w 2006734"/>
              <a:gd name="connsiteY91" fmla="*/ 865008 h 2075932"/>
              <a:gd name="connsiteX92" fmla="*/ 588182 w 2006734"/>
              <a:gd name="connsiteY92" fmla="*/ 899606 h 2075932"/>
              <a:gd name="connsiteX93" fmla="*/ 557285 w 2006734"/>
              <a:gd name="connsiteY93" fmla="*/ 899606 h 2075932"/>
              <a:gd name="connsiteX94" fmla="*/ 451170 w 2006734"/>
              <a:gd name="connsiteY94" fmla="*/ 986207 h 2075932"/>
              <a:gd name="connsiteX95" fmla="*/ 474490 w 2006734"/>
              <a:gd name="connsiteY95" fmla="*/ 1070594 h 2075932"/>
              <a:gd name="connsiteX96" fmla="*/ 553583 w 2006734"/>
              <a:gd name="connsiteY96" fmla="*/ 1107200 h 2075932"/>
              <a:gd name="connsiteX97" fmla="*/ 588182 w 2006734"/>
              <a:gd name="connsiteY97" fmla="*/ 1107200 h 2075932"/>
              <a:gd name="connsiteX98" fmla="*/ 588182 w 2006734"/>
              <a:gd name="connsiteY98" fmla="*/ 1141798 h 2075932"/>
              <a:gd name="connsiteX99" fmla="*/ 691978 w 2006734"/>
              <a:gd name="connsiteY99" fmla="*/ 1245595 h 2075932"/>
              <a:gd name="connsiteX100" fmla="*/ 795775 w 2006734"/>
              <a:gd name="connsiteY100" fmla="*/ 1245595 h 2075932"/>
              <a:gd name="connsiteX101" fmla="*/ 795775 w 2006734"/>
              <a:gd name="connsiteY101" fmla="*/ 1180100 h 2075932"/>
              <a:gd name="connsiteX102" fmla="*/ 824319 w 2006734"/>
              <a:gd name="connsiteY102" fmla="*/ 1142248 h 2075932"/>
              <a:gd name="connsiteX103" fmla="*/ 852759 w 2006734"/>
              <a:gd name="connsiteY103" fmla="*/ 1149964 h 2075932"/>
              <a:gd name="connsiteX104" fmla="*/ 864972 w 2006734"/>
              <a:gd name="connsiteY104" fmla="*/ 1176363 h 2075932"/>
              <a:gd name="connsiteX105" fmla="*/ 864972 w 2006734"/>
              <a:gd name="connsiteY105" fmla="*/ 1245560 h 2075932"/>
              <a:gd name="connsiteX106" fmla="*/ 1003369 w 2006734"/>
              <a:gd name="connsiteY106" fmla="*/ 1245560 h 2075932"/>
              <a:gd name="connsiteX107" fmla="*/ 1037968 w 2006734"/>
              <a:gd name="connsiteY107" fmla="*/ 1245560 h 2075932"/>
              <a:gd name="connsiteX108" fmla="*/ 1453154 w 2006734"/>
              <a:gd name="connsiteY108" fmla="*/ 1245560 h 2075932"/>
              <a:gd name="connsiteX109" fmla="*/ 1556951 w 2006734"/>
              <a:gd name="connsiteY109" fmla="*/ 1141764 h 2075932"/>
              <a:gd name="connsiteX110" fmla="*/ 1556951 w 2006734"/>
              <a:gd name="connsiteY110" fmla="*/ 1037967 h 2075932"/>
              <a:gd name="connsiteX111" fmla="*/ 1453154 w 2006734"/>
              <a:gd name="connsiteY111" fmla="*/ 1037967 h 2075932"/>
              <a:gd name="connsiteX112" fmla="*/ 1426755 w 2006734"/>
              <a:gd name="connsiteY112" fmla="*/ 1025754 h 2075932"/>
              <a:gd name="connsiteX113" fmla="*/ 1419040 w 2006734"/>
              <a:gd name="connsiteY113" fmla="*/ 997314 h 2075932"/>
              <a:gd name="connsiteX114" fmla="*/ 1456856 w 2006734"/>
              <a:gd name="connsiteY114" fmla="*/ 968770 h 2075932"/>
              <a:gd name="connsiteX115" fmla="*/ 1556951 w 2006734"/>
              <a:gd name="connsiteY115" fmla="*/ 968770 h 2075932"/>
              <a:gd name="connsiteX116" fmla="*/ 1556951 w 2006734"/>
              <a:gd name="connsiteY116" fmla="*/ 864973 h 2075932"/>
              <a:gd name="connsiteX117" fmla="*/ 1453154 w 2006734"/>
              <a:gd name="connsiteY117" fmla="*/ 761210 h 2075932"/>
              <a:gd name="connsiteX118" fmla="*/ 1383956 w 2006734"/>
              <a:gd name="connsiteY118" fmla="*/ 761210 h 2075932"/>
              <a:gd name="connsiteX119" fmla="*/ 1383956 w 2006734"/>
              <a:gd name="connsiteY119" fmla="*/ 730313 h 2075932"/>
              <a:gd name="connsiteX120" fmla="*/ 1297355 w 2006734"/>
              <a:gd name="connsiteY120" fmla="*/ 624164 h 2075932"/>
              <a:gd name="connsiteX121" fmla="*/ 967801 w 2006734"/>
              <a:gd name="connsiteY121" fmla="*/ 346958 h 2075932"/>
              <a:gd name="connsiteX122" fmla="*/ 1455714 w 2006734"/>
              <a:gd name="connsiteY122" fmla="*/ 526388 h 2075932"/>
              <a:gd name="connsiteX123" fmla="*/ 1660747 w 2006734"/>
              <a:gd name="connsiteY123" fmla="*/ 1003368 h 2075932"/>
              <a:gd name="connsiteX124" fmla="*/ 1434955 w 2006734"/>
              <a:gd name="connsiteY124" fmla="*/ 1498478 h 2075932"/>
              <a:gd name="connsiteX125" fmla="*/ 1359979 w 2006734"/>
              <a:gd name="connsiteY125" fmla="*/ 1591584 h 2075932"/>
              <a:gd name="connsiteX126" fmla="*/ 645719 w 2006734"/>
              <a:gd name="connsiteY126" fmla="*/ 1591584 h 2075932"/>
              <a:gd name="connsiteX127" fmla="*/ 568080 w 2006734"/>
              <a:gd name="connsiteY127" fmla="*/ 1495260 h 2075932"/>
              <a:gd name="connsiteX128" fmla="*/ 346162 w 2006734"/>
              <a:gd name="connsiteY128" fmla="*/ 988975 h 2075932"/>
              <a:gd name="connsiteX129" fmla="*/ 967801 w 2006734"/>
              <a:gd name="connsiteY129" fmla="*/ 346958 h 2075932"/>
              <a:gd name="connsiteX130" fmla="*/ 1688368 w 2006734"/>
              <a:gd name="connsiteY130" fmla="*/ 269466 h 2075932"/>
              <a:gd name="connsiteX131" fmla="*/ 1737298 w 2006734"/>
              <a:gd name="connsiteY131" fmla="*/ 318396 h 2075932"/>
              <a:gd name="connsiteX132" fmla="*/ 1590533 w 2006734"/>
              <a:gd name="connsiteY132" fmla="*/ 465161 h 2075932"/>
              <a:gd name="connsiteX133" fmla="*/ 1541603 w 2006734"/>
              <a:gd name="connsiteY133" fmla="*/ 416231 h 2075932"/>
              <a:gd name="connsiteX134" fmla="*/ 318344 w 2006734"/>
              <a:gd name="connsiteY134" fmla="*/ 269444 h 2075932"/>
              <a:gd name="connsiteX135" fmla="*/ 465109 w 2006734"/>
              <a:gd name="connsiteY135" fmla="*/ 416209 h 2075932"/>
              <a:gd name="connsiteX136" fmla="*/ 416179 w 2006734"/>
              <a:gd name="connsiteY136" fmla="*/ 465139 h 2075932"/>
              <a:gd name="connsiteX137" fmla="*/ 269414 w 2006734"/>
              <a:gd name="connsiteY137" fmla="*/ 318374 h 2075932"/>
              <a:gd name="connsiteX138" fmla="*/ 968768 w 2006734"/>
              <a:gd name="connsiteY138" fmla="*/ 0 h 2075932"/>
              <a:gd name="connsiteX139" fmla="*/ 1037967 w 2006734"/>
              <a:gd name="connsiteY139" fmla="*/ 0 h 2075932"/>
              <a:gd name="connsiteX140" fmla="*/ 1037967 w 2006734"/>
              <a:gd name="connsiteY140" fmla="*/ 207593 h 2075932"/>
              <a:gd name="connsiteX141" fmla="*/ 968768 w 2006734"/>
              <a:gd name="connsiteY141" fmla="*/ 207593 h 207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2006734" h="2075932">
                <a:moveTo>
                  <a:pt x="745121" y="1937536"/>
                </a:moveTo>
                <a:lnTo>
                  <a:pt x="1261718" y="1937536"/>
                </a:lnTo>
                <a:cubicBezTo>
                  <a:pt x="1204526" y="2022822"/>
                  <a:pt x="1108376" y="2075932"/>
                  <a:pt x="1003368" y="2075932"/>
                </a:cubicBezTo>
                <a:cubicBezTo>
                  <a:pt x="898014" y="2075932"/>
                  <a:pt x="802209" y="2022857"/>
                  <a:pt x="745121" y="1937536"/>
                </a:cubicBezTo>
                <a:close/>
                <a:moveTo>
                  <a:pt x="588181" y="1799141"/>
                </a:moveTo>
                <a:lnTo>
                  <a:pt x="1418554" y="1799141"/>
                </a:lnTo>
                <a:cubicBezTo>
                  <a:pt x="1437652" y="1799141"/>
                  <a:pt x="1453153" y="1814642"/>
                  <a:pt x="1453153" y="1833741"/>
                </a:cubicBezTo>
                <a:cubicBezTo>
                  <a:pt x="1453153" y="1852840"/>
                  <a:pt x="1437652" y="1868340"/>
                  <a:pt x="1418554" y="1868340"/>
                </a:cubicBezTo>
                <a:lnTo>
                  <a:pt x="588181" y="1868340"/>
                </a:lnTo>
                <a:cubicBezTo>
                  <a:pt x="569082" y="1868340"/>
                  <a:pt x="553582" y="1852840"/>
                  <a:pt x="553582" y="1833741"/>
                </a:cubicBezTo>
                <a:cubicBezTo>
                  <a:pt x="553582" y="1814642"/>
                  <a:pt x="569082" y="1799141"/>
                  <a:pt x="588181" y="1799141"/>
                </a:cubicBezTo>
                <a:close/>
                <a:moveTo>
                  <a:pt x="588181" y="1660745"/>
                </a:moveTo>
                <a:lnTo>
                  <a:pt x="1418554" y="1660745"/>
                </a:lnTo>
                <a:cubicBezTo>
                  <a:pt x="1437652" y="1660745"/>
                  <a:pt x="1453153" y="1676246"/>
                  <a:pt x="1453153" y="1695345"/>
                </a:cubicBezTo>
                <a:cubicBezTo>
                  <a:pt x="1453153" y="1714444"/>
                  <a:pt x="1437652" y="1729944"/>
                  <a:pt x="1418554" y="1729944"/>
                </a:cubicBezTo>
                <a:lnTo>
                  <a:pt x="588181" y="1729944"/>
                </a:lnTo>
                <a:cubicBezTo>
                  <a:pt x="569082" y="1729944"/>
                  <a:pt x="553582" y="1714444"/>
                  <a:pt x="553582" y="1695345"/>
                </a:cubicBezTo>
                <a:cubicBezTo>
                  <a:pt x="553582" y="1676246"/>
                  <a:pt x="569082" y="1660745"/>
                  <a:pt x="588181" y="1660745"/>
                </a:cubicBezTo>
                <a:close/>
                <a:moveTo>
                  <a:pt x="1799141" y="968768"/>
                </a:moveTo>
                <a:lnTo>
                  <a:pt x="2006734" y="968768"/>
                </a:lnTo>
                <a:lnTo>
                  <a:pt x="2006734" y="1037967"/>
                </a:lnTo>
                <a:lnTo>
                  <a:pt x="1799141" y="1037967"/>
                </a:lnTo>
                <a:close/>
                <a:moveTo>
                  <a:pt x="0" y="968768"/>
                </a:moveTo>
                <a:lnTo>
                  <a:pt x="207593" y="968768"/>
                </a:lnTo>
                <a:lnTo>
                  <a:pt x="207593" y="1037967"/>
                </a:lnTo>
                <a:lnTo>
                  <a:pt x="0" y="1037967"/>
                </a:lnTo>
                <a:close/>
                <a:moveTo>
                  <a:pt x="691978" y="830373"/>
                </a:moveTo>
                <a:lnTo>
                  <a:pt x="726576" y="830373"/>
                </a:lnTo>
                <a:cubicBezTo>
                  <a:pt x="726576" y="860889"/>
                  <a:pt x="739932" y="889710"/>
                  <a:pt x="763182" y="909501"/>
                </a:cubicBezTo>
                <a:cubicBezTo>
                  <a:pt x="786398" y="929291"/>
                  <a:pt x="817122" y="937733"/>
                  <a:pt x="847569" y="932820"/>
                </a:cubicBezTo>
                <a:cubicBezTo>
                  <a:pt x="895799" y="924932"/>
                  <a:pt x="932405" y="881303"/>
                  <a:pt x="934100" y="830408"/>
                </a:cubicBezTo>
                <a:lnTo>
                  <a:pt x="1003367" y="830408"/>
                </a:lnTo>
                <a:lnTo>
                  <a:pt x="1003367" y="968803"/>
                </a:lnTo>
                <a:lnTo>
                  <a:pt x="1103462" y="968803"/>
                </a:lnTo>
                <a:cubicBezTo>
                  <a:pt x="1122076" y="968803"/>
                  <a:pt x="1138683" y="981328"/>
                  <a:pt x="1141278" y="997347"/>
                </a:cubicBezTo>
                <a:cubicBezTo>
                  <a:pt x="1142974" y="1007796"/>
                  <a:pt x="1140240" y="1017899"/>
                  <a:pt x="1133563" y="1025788"/>
                </a:cubicBezTo>
                <a:cubicBezTo>
                  <a:pt x="1126954" y="1033503"/>
                  <a:pt x="1117336" y="1037966"/>
                  <a:pt x="1107164" y="1037966"/>
                </a:cubicBezTo>
                <a:lnTo>
                  <a:pt x="1003367" y="1037966"/>
                </a:lnTo>
                <a:lnTo>
                  <a:pt x="1003367" y="1176362"/>
                </a:lnTo>
                <a:lnTo>
                  <a:pt x="934170" y="1176362"/>
                </a:lnTo>
                <a:cubicBezTo>
                  <a:pt x="934170" y="1145846"/>
                  <a:pt x="920814" y="1117025"/>
                  <a:pt x="897564" y="1097269"/>
                </a:cubicBezTo>
                <a:cubicBezTo>
                  <a:pt x="874348" y="1077478"/>
                  <a:pt x="843624" y="1069036"/>
                  <a:pt x="813177" y="1073949"/>
                </a:cubicBezTo>
                <a:cubicBezTo>
                  <a:pt x="764981" y="1081838"/>
                  <a:pt x="728341" y="1125467"/>
                  <a:pt x="726646" y="1176362"/>
                </a:cubicBezTo>
                <a:lnTo>
                  <a:pt x="691978" y="1176362"/>
                </a:lnTo>
                <a:cubicBezTo>
                  <a:pt x="672879" y="1176362"/>
                  <a:pt x="657379" y="1160861"/>
                  <a:pt x="657379" y="1141763"/>
                </a:cubicBezTo>
                <a:lnTo>
                  <a:pt x="657379" y="1037966"/>
                </a:lnTo>
                <a:lnTo>
                  <a:pt x="553582" y="1037966"/>
                </a:lnTo>
                <a:cubicBezTo>
                  <a:pt x="543410" y="1037966"/>
                  <a:pt x="533757" y="1033503"/>
                  <a:pt x="527183" y="1025753"/>
                </a:cubicBezTo>
                <a:cubicBezTo>
                  <a:pt x="520471" y="1017899"/>
                  <a:pt x="517738" y="1007796"/>
                  <a:pt x="519468" y="997313"/>
                </a:cubicBezTo>
                <a:cubicBezTo>
                  <a:pt x="522063" y="981293"/>
                  <a:pt x="538670" y="968769"/>
                  <a:pt x="557284" y="968769"/>
                </a:cubicBezTo>
                <a:lnTo>
                  <a:pt x="657379" y="968769"/>
                </a:lnTo>
                <a:lnTo>
                  <a:pt x="657379" y="864972"/>
                </a:lnTo>
                <a:cubicBezTo>
                  <a:pt x="657379" y="845873"/>
                  <a:pt x="672879" y="830373"/>
                  <a:pt x="691978" y="830373"/>
                </a:cubicBezTo>
                <a:close/>
                <a:moveTo>
                  <a:pt x="1286213" y="692462"/>
                </a:moveTo>
                <a:cubicBezTo>
                  <a:pt x="1302232" y="695057"/>
                  <a:pt x="1314757" y="711664"/>
                  <a:pt x="1314757" y="730279"/>
                </a:cubicBezTo>
                <a:lnTo>
                  <a:pt x="1314757" y="830373"/>
                </a:lnTo>
                <a:lnTo>
                  <a:pt x="1453153" y="830373"/>
                </a:lnTo>
                <a:cubicBezTo>
                  <a:pt x="1472251" y="830373"/>
                  <a:pt x="1487751" y="845873"/>
                  <a:pt x="1487751" y="864973"/>
                </a:cubicBezTo>
                <a:lnTo>
                  <a:pt x="1487751" y="899572"/>
                </a:lnTo>
                <a:lnTo>
                  <a:pt x="1456855" y="899572"/>
                </a:lnTo>
                <a:cubicBezTo>
                  <a:pt x="1404437" y="899572"/>
                  <a:pt x="1358767" y="936800"/>
                  <a:pt x="1350740" y="986173"/>
                </a:cubicBezTo>
                <a:cubicBezTo>
                  <a:pt x="1345827" y="1016551"/>
                  <a:pt x="1354304" y="1047309"/>
                  <a:pt x="1374060" y="1070559"/>
                </a:cubicBezTo>
                <a:cubicBezTo>
                  <a:pt x="1393816" y="1093810"/>
                  <a:pt x="1422636" y="1107165"/>
                  <a:pt x="1453153" y="1107165"/>
                </a:cubicBezTo>
                <a:lnTo>
                  <a:pt x="1487751" y="1107165"/>
                </a:lnTo>
                <a:lnTo>
                  <a:pt x="1487751" y="1141764"/>
                </a:lnTo>
                <a:cubicBezTo>
                  <a:pt x="1487751" y="1160862"/>
                  <a:pt x="1472251" y="1176363"/>
                  <a:pt x="1453153" y="1176363"/>
                </a:cubicBezTo>
                <a:lnTo>
                  <a:pt x="1072565" y="1176363"/>
                </a:lnTo>
                <a:lnTo>
                  <a:pt x="1072565" y="1107165"/>
                </a:lnTo>
                <a:lnTo>
                  <a:pt x="1107164" y="1107165"/>
                </a:lnTo>
                <a:cubicBezTo>
                  <a:pt x="1137680" y="1107165"/>
                  <a:pt x="1166501" y="1093810"/>
                  <a:pt x="1186257" y="1070559"/>
                </a:cubicBezTo>
                <a:cubicBezTo>
                  <a:pt x="1206013" y="1047344"/>
                  <a:pt x="1214524" y="1016585"/>
                  <a:pt x="1209577" y="986173"/>
                </a:cubicBezTo>
                <a:cubicBezTo>
                  <a:pt x="1201550" y="936800"/>
                  <a:pt x="1155914" y="899572"/>
                  <a:pt x="1103462" y="899572"/>
                </a:cubicBezTo>
                <a:lnTo>
                  <a:pt x="1072565" y="899572"/>
                </a:lnTo>
                <a:lnTo>
                  <a:pt x="1072565" y="830373"/>
                </a:lnTo>
                <a:lnTo>
                  <a:pt x="1245559" y="830373"/>
                </a:lnTo>
                <a:lnTo>
                  <a:pt x="1245559" y="726576"/>
                </a:lnTo>
                <a:cubicBezTo>
                  <a:pt x="1245559" y="716404"/>
                  <a:pt x="1250023" y="706786"/>
                  <a:pt x="1257773" y="700178"/>
                </a:cubicBezTo>
                <a:cubicBezTo>
                  <a:pt x="1265627" y="693465"/>
                  <a:pt x="1275660" y="690663"/>
                  <a:pt x="1286213" y="692462"/>
                </a:cubicBezTo>
                <a:close/>
                <a:moveTo>
                  <a:pt x="1297355" y="624164"/>
                </a:moveTo>
                <a:cubicBezTo>
                  <a:pt x="1266943" y="619286"/>
                  <a:pt x="1236219" y="627693"/>
                  <a:pt x="1212969" y="647484"/>
                </a:cubicBezTo>
                <a:cubicBezTo>
                  <a:pt x="1189718" y="667240"/>
                  <a:pt x="1176363" y="696060"/>
                  <a:pt x="1176363" y="726577"/>
                </a:cubicBezTo>
                <a:lnTo>
                  <a:pt x="1176363" y="761175"/>
                </a:lnTo>
                <a:lnTo>
                  <a:pt x="1037968" y="761175"/>
                </a:lnTo>
                <a:lnTo>
                  <a:pt x="1003369" y="761175"/>
                </a:lnTo>
                <a:lnTo>
                  <a:pt x="864972" y="761175"/>
                </a:lnTo>
                <a:lnTo>
                  <a:pt x="864972" y="826707"/>
                </a:lnTo>
                <a:cubicBezTo>
                  <a:pt x="864972" y="845286"/>
                  <a:pt x="852448" y="861859"/>
                  <a:pt x="836428" y="864523"/>
                </a:cubicBezTo>
                <a:cubicBezTo>
                  <a:pt x="826083" y="866219"/>
                  <a:pt x="815911" y="863485"/>
                  <a:pt x="807988" y="856808"/>
                </a:cubicBezTo>
                <a:cubicBezTo>
                  <a:pt x="800238" y="850199"/>
                  <a:pt x="795775" y="840581"/>
                  <a:pt x="795775" y="830409"/>
                </a:cubicBezTo>
                <a:lnTo>
                  <a:pt x="795775" y="761210"/>
                </a:lnTo>
                <a:lnTo>
                  <a:pt x="691978" y="761210"/>
                </a:lnTo>
                <a:cubicBezTo>
                  <a:pt x="634752" y="761210"/>
                  <a:pt x="588182" y="807781"/>
                  <a:pt x="588182" y="865008"/>
                </a:cubicBezTo>
                <a:lnTo>
                  <a:pt x="588182" y="899606"/>
                </a:lnTo>
                <a:lnTo>
                  <a:pt x="557285" y="899606"/>
                </a:lnTo>
                <a:cubicBezTo>
                  <a:pt x="504867" y="899606"/>
                  <a:pt x="459197" y="936835"/>
                  <a:pt x="451170" y="986207"/>
                </a:cubicBezTo>
                <a:cubicBezTo>
                  <a:pt x="446257" y="1016585"/>
                  <a:pt x="454734" y="1047344"/>
                  <a:pt x="474490" y="1070594"/>
                </a:cubicBezTo>
                <a:cubicBezTo>
                  <a:pt x="494246" y="1093845"/>
                  <a:pt x="523066" y="1107200"/>
                  <a:pt x="553583" y="1107200"/>
                </a:cubicBezTo>
                <a:lnTo>
                  <a:pt x="588182" y="1107200"/>
                </a:lnTo>
                <a:lnTo>
                  <a:pt x="588182" y="1141798"/>
                </a:lnTo>
                <a:cubicBezTo>
                  <a:pt x="588182" y="1199025"/>
                  <a:pt x="634752" y="1245595"/>
                  <a:pt x="691978" y="1245595"/>
                </a:cubicBezTo>
                <a:lnTo>
                  <a:pt x="795775" y="1245595"/>
                </a:lnTo>
                <a:lnTo>
                  <a:pt x="795775" y="1180100"/>
                </a:lnTo>
                <a:cubicBezTo>
                  <a:pt x="795775" y="1161485"/>
                  <a:pt x="808299" y="1144878"/>
                  <a:pt x="824319" y="1142248"/>
                </a:cubicBezTo>
                <a:cubicBezTo>
                  <a:pt x="834733" y="1140518"/>
                  <a:pt x="844870" y="1143321"/>
                  <a:pt x="852759" y="1149964"/>
                </a:cubicBezTo>
                <a:cubicBezTo>
                  <a:pt x="860509" y="1156572"/>
                  <a:pt x="864972" y="1166191"/>
                  <a:pt x="864972" y="1176363"/>
                </a:cubicBezTo>
                <a:lnTo>
                  <a:pt x="864972" y="1245560"/>
                </a:lnTo>
                <a:lnTo>
                  <a:pt x="1003369" y="1245560"/>
                </a:lnTo>
                <a:lnTo>
                  <a:pt x="1037968" y="1245560"/>
                </a:lnTo>
                <a:lnTo>
                  <a:pt x="1453154" y="1245560"/>
                </a:lnTo>
                <a:cubicBezTo>
                  <a:pt x="1510381" y="1245560"/>
                  <a:pt x="1556951" y="1198990"/>
                  <a:pt x="1556951" y="1141764"/>
                </a:cubicBezTo>
                <a:lnTo>
                  <a:pt x="1556951" y="1037967"/>
                </a:lnTo>
                <a:lnTo>
                  <a:pt x="1453154" y="1037967"/>
                </a:lnTo>
                <a:cubicBezTo>
                  <a:pt x="1442982" y="1037967"/>
                  <a:pt x="1433329" y="1033504"/>
                  <a:pt x="1426755" y="1025754"/>
                </a:cubicBezTo>
                <a:cubicBezTo>
                  <a:pt x="1420043" y="1017900"/>
                  <a:pt x="1417310" y="1007797"/>
                  <a:pt x="1419040" y="997314"/>
                </a:cubicBezTo>
                <a:cubicBezTo>
                  <a:pt x="1421634" y="981294"/>
                  <a:pt x="1438242" y="968770"/>
                  <a:pt x="1456856" y="968770"/>
                </a:cubicBezTo>
                <a:lnTo>
                  <a:pt x="1556951" y="968770"/>
                </a:lnTo>
                <a:lnTo>
                  <a:pt x="1556951" y="864973"/>
                </a:lnTo>
                <a:cubicBezTo>
                  <a:pt x="1556951" y="807747"/>
                  <a:pt x="1510381" y="761175"/>
                  <a:pt x="1453154" y="761210"/>
                </a:cubicBezTo>
                <a:lnTo>
                  <a:pt x="1383956" y="761210"/>
                </a:lnTo>
                <a:lnTo>
                  <a:pt x="1383956" y="730313"/>
                </a:lnTo>
                <a:cubicBezTo>
                  <a:pt x="1383956" y="677861"/>
                  <a:pt x="1346728" y="632226"/>
                  <a:pt x="1297355" y="624164"/>
                </a:cubicBezTo>
                <a:close/>
                <a:moveTo>
                  <a:pt x="967801" y="346958"/>
                </a:moveTo>
                <a:cubicBezTo>
                  <a:pt x="1149826" y="337201"/>
                  <a:pt x="1323616" y="401036"/>
                  <a:pt x="1455714" y="526388"/>
                </a:cubicBezTo>
                <a:cubicBezTo>
                  <a:pt x="1587951" y="651808"/>
                  <a:pt x="1660747" y="821205"/>
                  <a:pt x="1660747" y="1003368"/>
                </a:cubicBezTo>
                <a:cubicBezTo>
                  <a:pt x="1660747" y="1193074"/>
                  <a:pt x="1578471" y="1373507"/>
                  <a:pt x="1434955" y="1498478"/>
                </a:cubicBezTo>
                <a:cubicBezTo>
                  <a:pt x="1404543" y="1524981"/>
                  <a:pt x="1379631" y="1556397"/>
                  <a:pt x="1359979" y="1591584"/>
                </a:cubicBezTo>
                <a:lnTo>
                  <a:pt x="645719" y="1591584"/>
                </a:lnTo>
                <a:cubicBezTo>
                  <a:pt x="625514" y="1555705"/>
                  <a:pt x="599703" y="1523216"/>
                  <a:pt x="568080" y="1495260"/>
                </a:cubicBezTo>
                <a:cubicBezTo>
                  <a:pt x="422903" y="1366899"/>
                  <a:pt x="342011" y="1182383"/>
                  <a:pt x="346162" y="988975"/>
                </a:cubicBezTo>
                <a:cubicBezTo>
                  <a:pt x="353497" y="646930"/>
                  <a:pt x="626552" y="364915"/>
                  <a:pt x="967801" y="346958"/>
                </a:cubicBezTo>
                <a:close/>
                <a:moveTo>
                  <a:pt x="1688368" y="269466"/>
                </a:moveTo>
                <a:lnTo>
                  <a:pt x="1737298" y="318396"/>
                </a:lnTo>
                <a:lnTo>
                  <a:pt x="1590533" y="465161"/>
                </a:lnTo>
                <a:lnTo>
                  <a:pt x="1541603" y="416231"/>
                </a:lnTo>
                <a:close/>
                <a:moveTo>
                  <a:pt x="318344" y="269444"/>
                </a:moveTo>
                <a:lnTo>
                  <a:pt x="465109" y="416209"/>
                </a:lnTo>
                <a:lnTo>
                  <a:pt x="416179" y="465139"/>
                </a:lnTo>
                <a:lnTo>
                  <a:pt x="269414" y="318374"/>
                </a:lnTo>
                <a:close/>
                <a:moveTo>
                  <a:pt x="968768" y="0"/>
                </a:moveTo>
                <a:lnTo>
                  <a:pt x="1037967" y="0"/>
                </a:lnTo>
                <a:lnTo>
                  <a:pt x="1037967" y="207593"/>
                </a:lnTo>
                <a:lnTo>
                  <a:pt x="968768" y="207593"/>
                </a:lnTo>
                <a:close/>
              </a:path>
            </a:pathLst>
          </a:custGeom>
          <a:solidFill>
            <a:schemeClr val="accent5"/>
          </a:solidFill>
          <a:ln w="9525"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defRPr/>
            </a:pPr>
            <a:endParaRPr lang="en-US" sz="1350">
              <a:solidFill>
                <a:srgbClr val="000000"/>
              </a:solidFill>
            </a:endParaRPr>
          </a:p>
        </p:txBody>
      </p:sp>
      <p:sp>
        <p:nvSpPr>
          <p:cNvPr id="212" name="Freeform: Shape 26">
            <a:extLst>
              <a:ext uri="{FF2B5EF4-FFF2-40B4-BE49-F238E27FC236}">
                <a16:creationId xmlns:a16="http://schemas.microsoft.com/office/drawing/2014/main" id="{D5FA68FE-8E1B-4AB1-95FC-F276A10DE97F}"/>
              </a:ext>
            </a:extLst>
          </p:cNvPr>
          <p:cNvSpPr>
            <a:spLocks noChangeAspect="1"/>
          </p:cNvSpPr>
          <p:nvPr/>
        </p:nvSpPr>
        <p:spPr>
          <a:xfrm>
            <a:off x="5002428" y="2678661"/>
            <a:ext cx="204275" cy="264029"/>
          </a:xfrm>
          <a:custGeom>
            <a:avLst/>
            <a:gdLst>
              <a:gd name="connsiteX0" fmla="*/ 245917 w 565833"/>
              <a:gd name="connsiteY0" fmla="*/ 228762 h 731349"/>
              <a:gd name="connsiteX1" fmla="*/ 319917 w 565833"/>
              <a:gd name="connsiteY1" fmla="*/ 228762 h 731349"/>
              <a:gd name="connsiteX2" fmla="*/ 404641 w 565833"/>
              <a:gd name="connsiteY2" fmla="*/ 313496 h 731349"/>
              <a:gd name="connsiteX3" fmla="*/ 404651 w 565833"/>
              <a:gd name="connsiteY3" fmla="*/ 313496 h 731349"/>
              <a:gd name="connsiteX4" fmla="*/ 404651 w 565833"/>
              <a:gd name="connsiteY4" fmla="*/ 466020 h 731349"/>
              <a:gd name="connsiteX5" fmla="*/ 373552 w 565833"/>
              <a:gd name="connsiteY5" fmla="*/ 504663 h 731349"/>
              <a:gd name="connsiteX6" fmla="*/ 358017 w 565833"/>
              <a:gd name="connsiteY6" fmla="*/ 508054 h 731349"/>
              <a:gd name="connsiteX7" fmla="*/ 358017 w 565833"/>
              <a:gd name="connsiteY7" fmla="*/ 691791 h 731349"/>
              <a:gd name="connsiteX8" fmla="*/ 318459 w 565833"/>
              <a:gd name="connsiteY8" fmla="*/ 731349 h 731349"/>
              <a:gd name="connsiteX9" fmla="*/ 247393 w 565833"/>
              <a:gd name="connsiteY9" fmla="*/ 731349 h 731349"/>
              <a:gd name="connsiteX10" fmla="*/ 207836 w 565833"/>
              <a:gd name="connsiteY10" fmla="*/ 691791 h 731349"/>
              <a:gd name="connsiteX11" fmla="*/ 207836 w 565833"/>
              <a:gd name="connsiteY11" fmla="*/ 508064 h 731349"/>
              <a:gd name="connsiteX12" fmla="*/ 192301 w 565833"/>
              <a:gd name="connsiteY12" fmla="*/ 504673 h 731349"/>
              <a:gd name="connsiteX13" fmla="*/ 161192 w 565833"/>
              <a:gd name="connsiteY13" fmla="*/ 466020 h 731349"/>
              <a:gd name="connsiteX14" fmla="*/ 161192 w 565833"/>
              <a:gd name="connsiteY14" fmla="*/ 313496 h 731349"/>
              <a:gd name="connsiteX15" fmla="*/ 245917 w 565833"/>
              <a:gd name="connsiteY15" fmla="*/ 228762 h 731349"/>
              <a:gd name="connsiteX16" fmla="*/ 421615 w 565833"/>
              <a:gd name="connsiteY16" fmla="*/ 225105 h 731349"/>
              <a:gd name="connsiteX17" fmla="*/ 489595 w 565833"/>
              <a:gd name="connsiteY17" fmla="*/ 225105 h 731349"/>
              <a:gd name="connsiteX18" fmla="*/ 565833 w 565833"/>
              <a:gd name="connsiteY18" fmla="*/ 301343 h 731349"/>
              <a:gd name="connsiteX19" fmla="*/ 565814 w 565833"/>
              <a:gd name="connsiteY19" fmla="*/ 301343 h 731349"/>
              <a:gd name="connsiteX20" fmla="*/ 565814 w 565833"/>
              <a:gd name="connsiteY20" fmla="*/ 441465 h 731349"/>
              <a:gd name="connsiteX21" fmla="*/ 538515 w 565833"/>
              <a:gd name="connsiteY21" fmla="*/ 475403 h 731349"/>
              <a:gd name="connsiteX22" fmla="*/ 522980 w 565833"/>
              <a:gd name="connsiteY22" fmla="*/ 478794 h 731349"/>
              <a:gd name="connsiteX23" fmla="*/ 522980 w 565833"/>
              <a:gd name="connsiteY23" fmla="*/ 648872 h 731349"/>
              <a:gd name="connsiteX24" fmla="*/ 488242 w 565833"/>
              <a:gd name="connsiteY24" fmla="*/ 683610 h 731349"/>
              <a:gd name="connsiteX25" fmla="*/ 422958 w 565833"/>
              <a:gd name="connsiteY25" fmla="*/ 683610 h 731349"/>
              <a:gd name="connsiteX26" fmla="*/ 397488 w 565833"/>
              <a:gd name="connsiteY26" fmla="*/ 672304 h 731349"/>
              <a:gd name="connsiteX27" fmla="*/ 397488 w 565833"/>
              <a:gd name="connsiteY27" fmla="*/ 538087 h 731349"/>
              <a:gd name="connsiteX28" fmla="*/ 444122 w 565833"/>
              <a:gd name="connsiteY28" fmla="*/ 466021 h 731349"/>
              <a:gd name="connsiteX29" fmla="*/ 444122 w 565833"/>
              <a:gd name="connsiteY29" fmla="*/ 313497 h 731349"/>
              <a:gd name="connsiteX30" fmla="*/ 408289 w 565833"/>
              <a:gd name="connsiteY30" fmla="*/ 226343 h 731349"/>
              <a:gd name="connsiteX31" fmla="*/ 421615 w 565833"/>
              <a:gd name="connsiteY31" fmla="*/ 225105 h 731349"/>
              <a:gd name="connsiteX32" fmla="*/ 76238 w 565833"/>
              <a:gd name="connsiteY32" fmla="*/ 225105 h 731349"/>
              <a:gd name="connsiteX33" fmla="*/ 144218 w 565833"/>
              <a:gd name="connsiteY33" fmla="*/ 225105 h 731349"/>
              <a:gd name="connsiteX34" fmla="*/ 157544 w 565833"/>
              <a:gd name="connsiteY34" fmla="*/ 226343 h 731349"/>
              <a:gd name="connsiteX35" fmla="*/ 121710 w 565833"/>
              <a:gd name="connsiteY35" fmla="*/ 313497 h 731349"/>
              <a:gd name="connsiteX36" fmla="*/ 121710 w 565833"/>
              <a:gd name="connsiteY36" fmla="*/ 466021 h 731349"/>
              <a:gd name="connsiteX37" fmla="*/ 168354 w 565833"/>
              <a:gd name="connsiteY37" fmla="*/ 538106 h 731349"/>
              <a:gd name="connsiteX38" fmla="*/ 168345 w 565833"/>
              <a:gd name="connsiteY38" fmla="*/ 538106 h 731349"/>
              <a:gd name="connsiteX39" fmla="*/ 168345 w 565833"/>
              <a:gd name="connsiteY39" fmla="*/ 672304 h 731349"/>
              <a:gd name="connsiteX40" fmla="*/ 142856 w 565833"/>
              <a:gd name="connsiteY40" fmla="*/ 683619 h 731349"/>
              <a:gd name="connsiteX41" fmla="*/ 77572 w 565833"/>
              <a:gd name="connsiteY41" fmla="*/ 683619 h 731349"/>
              <a:gd name="connsiteX42" fmla="*/ 42834 w 565833"/>
              <a:gd name="connsiteY42" fmla="*/ 648882 h 731349"/>
              <a:gd name="connsiteX43" fmla="*/ 42834 w 565833"/>
              <a:gd name="connsiteY43" fmla="*/ 478794 h 731349"/>
              <a:gd name="connsiteX44" fmla="*/ 27299 w 565833"/>
              <a:gd name="connsiteY44" fmla="*/ 475403 h 731349"/>
              <a:gd name="connsiteX45" fmla="*/ 0 w 565833"/>
              <a:gd name="connsiteY45" fmla="*/ 441465 h 731349"/>
              <a:gd name="connsiteX46" fmla="*/ 0 w 565833"/>
              <a:gd name="connsiteY46" fmla="*/ 301343 h 731349"/>
              <a:gd name="connsiteX47" fmla="*/ 76238 w 565833"/>
              <a:gd name="connsiteY47" fmla="*/ 225105 h 731349"/>
              <a:gd name="connsiteX48" fmla="*/ 110223 w 565833"/>
              <a:gd name="connsiteY48" fmla="*/ 14964 h 731349"/>
              <a:gd name="connsiteX49" fmla="*/ 169021 w 565833"/>
              <a:gd name="connsiteY49" fmla="*/ 46101 h 731349"/>
              <a:gd name="connsiteX50" fmla="*/ 164230 w 565833"/>
              <a:gd name="connsiteY50" fmla="*/ 79210 h 731349"/>
              <a:gd name="connsiteX51" fmla="*/ 172050 w 565833"/>
              <a:gd name="connsiteY51" fmla="*/ 121206 h 731349"/>
              <a:gd name="connsiteX52" fmla="*/ 110223 w 565833"/>
              <a:gd name="connsiteY52" fmla="*/ 157277 h 731349"/>
              <a:gd name="connsiteX53" fmla="*/ 39062 w 565833"/>
              <a:gd name="connsiteY53" fmla="*/ 86116 h 731349"/>
              <a:gd name="connsiteX54" fmla="*/ 110223 w 565833"/>
              <a:gd name="connsiteY54" fmla="*/ 14964 h 731349"/>
              <a:gd name="connsiteX55" fmla="*/ 455619 w 565833"/>
              <a:gd name="connsiteY55" fmla="*/ 14954 h 731349"/>
              <a:gd name="connsiteX56" fmla="*/ 526781 w 565833"/>
              <a:gd name="connsiteY56" fmla="*/ 86106 h 731349"/>
              <a:gd name="connsiteX57" fmla="*/ 455619 w 565833"/>
              <a:gd name="connsiteY57" fmla="*/ 157267 h 731349"/>
              <a:gd name="connsiteX58" fmla="*/ 393802 w 565833"/>
              <a:gd name="connsiteY58" fmla="*/ 121215 h 731349"/>
              <a:gd name="connsiteX59" fmla="*/ 401632 w 565833"/>
              <a:gd name="connsiteY59" fmla="*/ 79210 h 731349"/>
              <a:gd name="connsiteX60" fmla="*/ 396831 w 565833"/>
              <a:gd name="connsiteY60" fmla="*/ 46082 h 731349"/>
              <a:gd name="connsiteX61" fmla="*/ 455619 w 565833"/>
              <a:gd name="connsiteY61" fmla="*/ 14954 h 731349"/>
              <a:gd name="connsiteX62" fmla="*/ 282921 w 565833"/>
              <a:gd name="connsiteY62" fmla="*/ 0 h 731349"/>
              <a:gd name="connsiteX63" fmla="*/ 362131 w 565833"/>
              <a:gd name="connsiteY63" fmla="*/ 79210 h 731349"/>
              <a:gd name="connsiteX64" fmla="*/ 282921 w 565833"/>
              <a:gd name="connsiteY64" fmla="*/ 158410 h 731349"/>
              <a:gd name="connsiteX65" fmla="*/ 203721 w 565833"/>
              <a:gd name="connsiteY65" fmla="*/ 79200 h 731349"/>
              <a:gd name="connsiteX66" fmla="*/ 282921 w 565833"/>
              <a:gd name="connsiteY66" fmla="*/ 0 h 73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65833" h="731349">
                <a:moveTo>
                  <a:pt x="245917" y="228762"/>
                </a:moveTo>
                <a:lnTo>
                  <a:pt x="319917" y="228762"/>
                </a:lnTo>
                <a:cubicBezTo>
                  <a:pt x="366637" y="228762"/>
                  <a:pt x="404641" y="266767"/>
                  <a:pt x="404641" y="313496"/>
                </a:cubicBezTo>
                <a:lnTo>
                  <a:pt x="404651" y="313496"/>
                </a:lnTo>
                <a:lnTo>
                  <a:pt x="404651" y="466020"/>
                </a:lnTo>
                <a:cubicBezTo>
                  <a:pt x="404651" y="484470"/>
                  <a:pt x="391564" y="500720"/>
                  <a:pt x="373552" y="504663"/>
                </a:cubicBezTo>
                <a:lnTo>
                  <a:pt x="358017" y="508054"/>
                </a:lnTo>
                <a:lnTo>
                  <a:pt x="358017" y="691791"/>
                </a:lnTo>
                <a:cubicBezTo>
                  <a:pt x="358017" y="713604"/>
                  <a:pt x="340272" y="731349"/>
                  <a:pt x="318459" y="731349"/>
                </a:cubicBezTo>
                <a:lnTo>
                  <a:pt x="247393" y="731349"/>
                </a:lnTo>
                <a:cubicBezTo>
                  <a:pt x="225581" y="731349"/>
                  <a:pt x="207836" y="713604"/>
                  <a:pt x="207836" y="691791"/>
                </a:cubicBezTo>
                <a:lnTo>
                  <a:pt x="207836" y="508064"/>
                </a:lnTo>
                <a:lnTo>
                  <a:pt x="192301" y="504673"/>
                </a:lnTo>
                <a:cubicBezTo>
                  <a:pt x="174270" y="500739"/>
                  <a:pt x="161192" y="484489"/>
                  <a:pt x="161192" y="466020"/>
                </a:cubicBezTo>
                <a:lnTo>
                  <a:pt x="161192" y="313496"/>
                </a:lnTo>
                <a:cubicBezTo>
                  <a:pt x="161192" y="266776"/>
                  <a:pt x="199197" y="228762"/>
                  <a:pt x="245917" y="228762"/>
                </a:cubicBezTo>
                <a:close/>
                <a:moveTo>
                  <a:pt x="421615" y="225105"/>
                </a:moveTo>
                <a:lnTo>
                  <a:pt x="489595" y="225105"/>
                </a:lnTo>
                <a:cubicBezTo>
                  <a:pt x="531629" y="225105"/>
                  <a:pt x="565833" y="259300"/>
                  <a:pt x="565833" y="301343"/>
                </a:cubicBezTo>
                <a:lnTo>
                  <a:pt x="565814" y="301343"/>
                </a:lnTo>
                <a:lnTo>
                  <a:pt x="565814" y="441465"/>
                </a:lnTo>
                <a:cubicBezTo>
                  <a:pt x="565814" y="457677"/>
                  <a:pt x="554336" y="471945"/>
                  <a:pt x="538515" y="475403"/>
                </a:cubicBezTo>
                <a:lnTo>
                  <a:pt x="522980" y="478794"/>
                </a:lnTo>
                <a:lnTo>
                  <a:pt x="522980" y="648872"/>
                </a:lnTo>
                <a:cubicBezTo>
                  <a:pt x="522980" y="668027"/>
                  <a:pt x="507397" y="683610"/>
                  <a:pt x="488242" y="683610"/>
                </a:cubicBezTo>
                <a:lnTo>
                  <a:pt x="422958" y="683610"/>
                </a:lnTo>
                <a:cubicBezTo>
                  <a:pt x="412861" y="683610"/>
                  <a:pt x="403841" y="679200"/>
                  <a:pt x="397488" y="672304"/>
                </a:cubicBezTo>
                <a:lnTo>
                  <a:pt x="397488" y="538087"/>
                </a:lnTo>
                <a:cubicBezTo>
                  <a:pt x="425253" y="525504"/>
                  <a:pt x="444122" y="497358"/>
                  <a:pt x="444122" y="466021"/>
                </a:cubicBezTo>
                <a:lnTo>
                  <a:pt x="444122" y="313497"/>
                </a:lnTo>
                <a:cubicBezTo>
                  <a:pt x="444122" y="279559"/>
                  <a:pt x="430416" y="248784"/>
                  <a:pt x="408289" y="226343"/>
                </a:cubicBezTo>
                <a:cubicBezTo>
                  <a:pt x="412623" y="225581"/>
                  <a:pt x="417062" y="225105"/>
                  <a:pt x="421615" y="225105"/>
                </a:cubicBezTo>
                <a:close/>
                <a:moveTo>
                  <a:pt x="76238" y="225105"/>
                </a:moveTo>
                <a:lnTo>
                  <a:pt x="144218" y="225105"/>
                </a:lnTo>
                <a:cubicBezTo>
                  <a:pt x="148771" y="225105"/>
                  <a:pt x="153210" y="225572"/>
                  <a:pt x="157544" y="226343"/>
                </a:cubicBezTo>
                <a:cubicBezTo>
                  <a:pt x="135417" y="248784"/>
                  <a:pt x="121710" y="279559"/>
                  <a:pt x="121710" y="313497"/>
                </a:cubicBezTo>
                <a:lnTo>
                  <a:pt x="121710" y="466021"/>
                </a:lnTo>
                <a:cubicBezTo>
                  <a:pt x="121710" y="497368"/>
                  <a:pt x="140579" y="525523"/>
                  <a:pt x="168354" y="538106"/>
                </a:cubicBezTo>
                <a:lnTo>
                  <a:pt x="168345" y="538106"/>
                </a:lnTo>
                <a:lnTo>
                  <a:pt x="168345" y="672304"/>
                </a:lnTo>
                <a:cubicBezTo>
                  <a:pt x="161992" y="679209"/>
                  <a:pt x="152962" y="683619"/>
                  <a:pt x="142856" y="683619"/>
                </a:cubicBezTo>
                <a:lnTo>
                  <a:pt x="77572" y="683619"/>
                </a:lnTo>
                <a:cubicBezTo>
                  <a:pt x="58417" y="683619"/>
                  <a:pt x="42834" y="668037"/>
                  <a:pt x="42834" y="648882"/>
                </a:cubicBezTo>
                <a:lnTo>
                  <a:pt x="42834" y="478794"/>
                </a:lnTo>
                <a:lnTo>
                  <a:pt x="27299" y="475403"/>
                </a:lnTo>
                <a:cubicBezTo>
                  <a:pt x="11487" y="471945"/>
                  <a:pt x="0" y="457677"/>
                  <a:pt x="0" y="441465"/>
                </a:cubicBezTo>
                <a:lnTo>
                  <a:pt x="0" y="301343"/>
                </a:lnTo>
                <a:cubicBezTo>
                  <a:pt x="0" y="259309"/>
                  <a:pt x="34204" y="225105"/>
                  <a:pt x="76238" y="225105"/>
                </a:cubicBezTo>
                <a:close/>
                <a:moveTo>
                  <a:pt x="110223" y="14964"/>
                </a:moveTo>
                <a:cubicBezTo>
                  <a:pt x="134626" y="14964"/>
                  <a:pt x="156200" y="27318"/>
                  <a:pt x="169021" y="46101"/>
                </a:cubicBezTo>
                <a:cubicBezTo>
                  <a:pt x="165954" y="56617"/>
                  <a:pt x="164230" y="67713"/>
                  <a:pt x="164230" y="79210"/>
                </a:cubicBezTo>
                <a:cubicBezTo>
                  <a:pt x="164230" y="94012"/>
                  <a:pt x="167078" y="108128"/>
                  <a:pt x="172050" y="121206"/>
                </a:cubicBezTo>
                <a:cubicBezTo>
                  <a:pt x="159791" y="142704"/>
                  <a:pt x="136693" y="157268"/>
                  <a:pt x="110223" y="157277"/>
                </a:cubicBezTo>
                <a:cubicBezTo>
                  <a:pt x="70980" y="157277"/>
                  <a:pt x="39062" y="125359"/>
                  <a:pt x="39062" y="86116"/>
                </a:cubicBezTo>
                <a:cubicBezTo>
                  <a:pt x="39062" y="46882"/>
                  <a:pt x="70980" y="14964"/>
                  <a:pt x="110223" y="14964"/>
                </a:cubicBezTo>
                <a:close/>
                <a:moveTo>
                  <a:pt x="455619" y="14954"/>
                </a:moveTo>
                <a:cubicBezTo>
                  <a:pt x="494862" y="14954"/>
                  <a:pt x="526781" y="46872"/>
                  <a:pt x="526781" y="86106"/>
                </a:cubicBezTo>
                <a:cubicBezTo>
                  <a:pt x="526781" y="125339"/>
                  <a:pt x="494862" y="157267"/>
                  <a:pt x="455619" y="157267"/>
                </a:cubicBezTo>
                <a:cubicBezTo>
                  <a:pt x="429149" y="157267"/>
                  <a:pt x="406061" y="142713"/>
                  <a:pt x="393802" y="121215"/>
                </a:cubicBezTo>
                <a:cubicBezTo>
                  <a:pt x="398774" y="108137"/>
                  <a:pt x="401622" y="94012"/>
                  <a:pt x="401632" y="79210"/>
                </a:cubicBezTo>
                <a:cubicBezTo>
                  <a:pt x="401632" y="67703"/>
                  <a:pt x="399898" y="56607"/>
                  <a:pt x="396831" y="46082"/>
                </a:cubicBezTo>
                <a:cubicBezTo>
                  <a:pt x="409652" y="27308"/>
                  <a:pt x="431216" y="14954"/>
                  <a:pt x="455619" y="14954"/>
                </a:cubicBezTo>
                <a:close/>
                <a:moveTo>
                  <a:pt x="282921" y="0"/>
                </a:moveTo>
                <a:cubicBezTo>
                  <a:pt x="326603" y="0"/>
                  <a:pt x="362131" y="35538"/>
                  <a:pt x="362131" y="79210"/>
                </a:cubicBezTo>
                <a:cubicBezTo>
                  <a:pt x="362131" y="122882"/>
                  <a:pt x="326593" y="158410"/>
                  <a:pt x="282921" y="158410"/>
                </a:cubicBezTo>
                <a:cubicBezTo>
                  <a:pt x="239249" y="158410"/>
                  <a:pt x="203721" y="122873"/>
                  <a:pt x="203721" y="79200"/>
                </a:cubicBezTo>
                <a:cubicBezTo>
                  <a:pt x="203721" y="35528"/>
                  <a:pt x="239240" y="0"/>
                  <a:pt x="282921" y="0"/>
                </a:cubicBezTo>
                <a:close/>
              </a:path>
            </a:pathLst>
          </a:custGeom>
          <a:solidFill>
            <a:schemeClr val="accent5"/>
          </a:solidFill>
          <a:ln w="9525" cap="flat">
            <a:noFill/>
            <a:prstDash val="solid"/>
            <a:miter/>
          </a:ln>
        </p:spPr>
        <p:txBody>
          <a:bodyPr rtlCol="0" anchor="ctr"/>
          <a:lstStyle/>
          <a:p>
            <a:endParaRPr lang="en-US" sz="1350"/>
          </a:p>
        </p:txBody>
      </p:sp>
      <p:grpSp>
        <p:nvGrpSpPr>
          <p:cNvPr id="213" name="Group 242">
            <a:extLst>
              <a:ext uri="{FF2B5EF4-FFF2-40B4-BE49-F238E27FC236}">
                <a16:creationId xmlns:a16="http://schemas.microsoft.com/office/drawing/2014/main" id="{EC7DFC7D-E821-C197-047D-67DECB22C608}"/>
              </a:ext>
            </a:extLst>
          </p:cNvPr>
          <p:cNvGrpSpPr/>
          <p:nvPr/>
        </p:nvGrpSpPr>
        <p:grpSpPr>
          <a:xfrm>
            <a:off x="1413152" y="2262644"/>
            <a:ext cx="2745549" cy="2322861"/>
            <a:chOff x="719638" y="-28575"/>
            <a:chExt cx="7290887" cy="6800850"/>
          </a:xfrm>
        </p:grpSpPr>
        <p:grpSp>
          <p:nvGrpSpPr>
            <p:cNvPr id="214" name="Group 243">
              <a:extLst>
                <a:ext uri="{FF2B5EF4-FFF2-40B4-BE49-F238E27FC236}">
                  <a16:creationId xmlns:a16="http://schemas.microsoft.com/office/drawing/2014/main" id="{6832FEA0-2719-0493-369F-F82AEEBBD69B}"/>
                </a:ext>
              </a:extLst>
            </p:cNvPr>
            <p:cNvGrpSpPr/>
            <p:nvPr/>
          </p:nvGrpSpPr>
          <p:grpSpPr>
            <a:xfrm>
              <a:off x="719638" y="-28575"/>
              <a:ext cx="7290887" cy="6800850"/>
              <a:chOff x="719638" y="-28575"/>
              <a:chExt cx="7290887" cy="6800850"/>
            </a:xfrm>
          </p:grpSpPr>
          <p:sp>
            <p:nvSpPr>
              <p:cNvPr id="216" name="Freeform: Shape 245">
                <a:extLst>
                  <a:ext uri="{FF2B5EF4-FFF2-40B4-BE49-F238E27FC236}">
                    <a16:creationId xmlns:a16="http://schemas.microsoft.com/office/drawing/2014/main" id="{D0615AAC-C3E7-4770-C783-C807ECFDB406}"/>
                  </a:ext>
                </a:extLst>
              </p:cNvPr>
              <p:cNvSpPr/>
              <p:nvPr/>
            </p:nvSpPr>
            <p:spPr>
              <a:xfrm>
                <a:off x="3544251" y="-28575"/>
                <a:ext cx="3228024" cy="2496112"/>
              </a:xfrm>
              <a:custGeom>
                <a:avLst/>
                <a:gdLst>
                  <a:gd name="connsiteX0" fmla="*/ 3228024 w 3228024"/>
                  <a:gd name="connsiteY0" fmla="*/ 0 h 2496112"/>
                  <a:gd name="connsiteX1" fmla="*/ 2770824 w 3228024"/>
                  <a:gd name="connsiteY1" fmla="*/ 1057275 h 2496112"/>
                  <a:gd name="connsiteX2" fmla="*/ 2751774 w 3228024"/>
                  <a:gd name="connsiteY2" fmla="*/ 1352550 h 2496112"/>
                  <a:gd name="connsiteX3" fmla="*/ 2932749 w 3228024"/>
                  <a:gd name="connsiteY3" fmla="*/ 1657350 h 2496112"/>
                  <a:gd name="connsiteX4" fmla="*/ 2942274 w 3228024"/>
                  <a:gd name="connsiteY4" fmla="*/ 1800225 h 2496112"/>
                  <a:gd name="connsiteX5" fmla="*/ 2618424 w 3228024"/>
                  <a:gd name="connsiteY5" fmla="*/ 2247900 h 2496112"/>
                  <a:gd name="connsiteX6" fmla="*/ 2151699 w 3228024"/>
                  <a:gd name="connsiteY6" fmla="*/ 2447925 h 2496112"/>
                  <a:gd name="connsiteX7" fmla="*/ 1665924 w 3228024"/>
                  <a:gd name="connsiteY7" fmla="*/ 2495550 h 2496112"/>
                  <a:gd name="connsiteX8" fmla="*/ 1161099 w 3228024"/>
                  <a:gd name="connsiteY8" fmla="*/ 2428875 h 2496112"/>
                  <a:gd name="connsiteX9" fmla="*/ 894399 w 3228024"/>
                  <a:gd name="connsiteY9" fmla="*/ 2352675 h 2496112"/>
                  <a:gd name="connsiteX10" fmla="*/ 627699 w 3228024"/>
                  <a:gd name="connsiteY10" fmla="*/ 2390775 h 2496112"/>
                  <a:gd name="connsiteX11" fmla="*/ 437199 w 3228024"/>
                  <a:gd name="connsiteY11" fmla="*/ 2295525 h 2496112"/>
                  <a:gd name="connsiteX12" fmla="*/ 113349 w 3228024"/>
                  <a:gd name="connsiteY12" fmla="*/ 1809750 h 2496112"/>
                  <a:gd name="connsiteX13" fmla="*/ 18099 w 3228024"/>
                  <a:gd name="connsiteY13" fmla="*/ 1447800 h 2496112"/>
                  <a:gd name="connsiteX14" fmla="*/ 27624 w 3228024"/>
                  <a:gd name="connsiteY14" fmla="*/ 1057275 h 2496112"/>
                  <a:gd name="connsiteX15" fmla="*/ 294324 w 3228024"/>
                  <a:gd name="connsiteY15" fmla="*/ 876300 h 2496112"/>
                  <a:gd name="connsiteX16" fmla="*/ 465774 w 3228024"/>
                  <a:gd name="connsiteY16" fmla="*/ 809625 h 2496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28024" h="2496112">
                    <a:moveTo>
                      <a:pt x="3228024" y="0"/>
                    </a:moveTo>
                    <a:cubicBezTo>
                      <a:pt x="3039111" y="415925"/>
                      <a:pt x="2850199" y="831850"/>
                      <a:pt x="2770824" y="1057275"/>
                    </a:cubicBezTo>
                    <a:cubicBezTo>
                      <a:pt x="2691449" y="1282700"/>
                      <a:pt x="2724787" y="1252538"/>
                      <a:pt x="2751774" y="1352550"/>
                    </a:cubicBezTo>
                    <a:cubicBezTo>
                      <a:pt x="2778761" y="1452562"/>
                      <a:pt x="2900999" y="1582738"/>
                      <a:pt x="2932749" y="1657350"/>
                    </a:cubicBezTo>
                    <a:cubicBezTo>
                      <a:pt x="2964499" y="1731963"/>
                      <a:pt x="2994661" y="1701800"/>
                      <a:pt x="2942274" y="1800225"/>
                    </a:cubicBezTo>
                    <a:cubicBezTo>
                      <a:pt x="2889887" y="1898650"/>
                      <a:pt x="2750186" y="2139950"/>
                      <a:pt x="2618424" y="2247900"/>
                    </a:cubicBezTo>
                    <a:cubicBezTo>
                      <a:pt x="2486662" y="2355850"/>
                      <a:pt x="2310449" y="2406650"/>
                      <a:pt x="2151699" y="2447925"/>
                    </a:cubicBezTo>
                    <a:cubicBezTo>
                      <a:pt x="1992949" y="2489200"/>
                      <a:pt x="1831024" y="2498725"/>
                      <a:pt x="1665924" y="2495550"/>
                    </a:cubicBezTo>
                    <a:cubicBezTo>
                      <a:pt x="1500824" y="2492375"/>
                      <a:pt x="1289686" y="2452687"/>
                      <a:pt x="1161099" y="2428875"/>
                    </a:cubicBezTo>
                    <a:cubicBezTo>
                      <a:pt x="1032512" y="2405063"/>
                      <a:pt x="983299" y="2359025"/>
                      <a:pt x="894399" y="2352675"/>
                    </a:cubicBezTo>
                    <a:cubicBezTo>
                      <a:pt x="805499" y="2346325"/>
                      <a:pt x="703899" y="2400300"/>
                      <a:pt x="627699" y="2390775"/>
                    </a:cubicBezTo>
                    <a:cubicBezTo>
                      <a:pt x="551499" y="2381250"/>
                      <a:pt x="522924" y="2392362"/>
                      <a:pt x="437199" y="2295525"/>
                    </a:cubicBezTo>
                    <a:cubicBezTo>
                      <a:pt x="351474" y="2198688"/>
                      <a:pt x="183199" y="1951037"/>
                      <a:pt x="113349" y="1809750"/>
                    </a:cubicBezTo>
                    <a:cubicBezTo>
                      <a:pt x="43499" y="1668463"/>
                      <a:pt x="32386" y="1573212"/>
                      <a:pt x="18099" y="1447800"/>
                    </a:cubicBezTo>
                    <a:cubicBezTo>
                      <a:pt x="3812" y="1322388"/>
                      <a:pt x="-18414" y="1152525"/>
                      <a:pt x="27624" y="1057275"/>
                    </a:cubicBezTo>
                    <a:cubicBezTo>
                      <a:pt x="73661" y="962025"/>
                      <a:pt x="221299" y="917575"/>
                      <a:pt x="294324" y="876300"/>
                    </a:cubicBezTo>
                    <a:cubicBezTo>
                      <a:pt x="367349" y="835025"/>
                      <a:pt x="416561" y="822325"/>
                      <a:pt x="465774" y="809625"/>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7" name="Freeform: Shape 246">
                <a:extLst>
                  <a:ext uri="{FF2B5EF4-FFF2-40B4-BE49-F238E27FC236}">
                    <a16:creationId xmlns:a16="http://schemas.microsoft.com/office/drawing/2014/main" id="{6BB00F62-4A91-3892-E592-4DD296725FE0}"/>
                  </a:ext>
                </a:extLst>
              </p:cNvPr>
              <p:cNvSpPr/>
              <p:nvPr/>
            </p:nvSpPr>
            <p:spPr>
              <a:xfrm>
                <a:off x="2867024" y="1038224"/>
                <a:ext cx="4841973" cy="5477293"/>
              </a:xfrm>
              <a:custGeom>
                <a:avLst/>
                <a:gdLst>
                  <a:gd name="connsiteX0" fmla="*/ 0 w 4848225"/>
                  <a:gd name="connsiteY0" fmla="*/ 0 h 5715000"/>
                  <a:gd name="connsiteX1" fmla="*/ 342900 w 4848225"/>
                  <a:gd name="connsiteY1" fmla="*/ 47625 h 5715000"/>
                  <a:gd name="connsiteX2" fmla="*/ 342900 w 4848225"/>
                  <a:gd name="connsiteY2" fmla="*/ 133350 h 5715000"/>
                  <a:gd name="connsiteX3" fmla="*/ 590550 w 4848225"/>
                  <a:gd name="connsiteY3" fmla="*/ 419100 h 5715000"/>
                  <a:gd name="connsiteX4" fmla="*/ 952500 w 4848225"/>
                  <a:gd name="connsiteY4" fmla="*/ 819150 h 5715000"/>
                  <a:gd name="connsiteX5" fmla="*/ 1057275 w 4848225"/>
                  <a:gd name="connsiteY5" fmla="*/ 1057275 h 5715000"/>
                  <a:gd name="connsiteX6" fmla="*/ 1171575 w 4848225"/>
                  <a:gd name="connsiteY6" fmla="*/ 1247775 h 5715000"/>
                  <a:gd name="connsiteX7" fmla="*/ 1181100 w 4848225"/>
                  <a:gd name="connsiteY7" fmla="*/ 1362075 h 5715000"/>
                  <a:gd name="connsiteX8" fmla="*/ 1104900 w 4848225"/>
                  <a:gd name="connsiteY8" fmla="*/ 1952625 h 5715000"/>
                  <a:gd name="connsiteX9" fmla="*/ 1133475 w 4848225"/>
                  <a:gd name="connsiteY9" fmla="*/ 2162175 h 5715000"/>
                  <a:gd name="connsiteX10" fmla="*/ 1209675 w 4848225"/>
                  <a:gd name="connsiteY10" fmla="*/ 2619375 h 5715000"/>
                  <a:gd name="connsiteX11" fmla="*/ 1371600 w 4848225"/>
                  <a:gd name="connsiteY11" fmla="*/ 3019425 h 5715000"/>
                  <a:gd name="connsiteX12" fmla="*/ 1514475 w 4848225"/>
                  <a:gd name="connsiteY12" fmla="*/ 3219450 h 5715000"/>
                  <a:gd name="connsiteX13" fmla="*/ 1676400 w 4848225"/>
                  <a:gd name="connsiteY13" fmla="*/ 3324225 h 5715000"/>
                  <a:gd name="connsiteX14" fmla="*/ 2200275 w 4848225"/>
                  <a:gd name="connsiteY14" fmla="*/ 3933825 h 5715000"/>
                  <a:gd name="connsiteX15" fmla="*/ 2562225 w 4848225"/>
                  <a:gd name="connsiteY15" fmla="*/ 4181475 h 5715000"/>
                  <a:gd name="connsiteX16" fmla="*/ 3057525 w 4848225"/>
                  <a:gd name="connsiteY16" fmla="*/ 4400550 h 5715000"/>
                  <a:gd name="connsiteX17" fmla="*/ 3571875 w 4848225"/>
                  <a:gd name="connsiteY17" fmla="*/ 4610100 h 5715000"/>
                  <a:gd name="connsiteX18" fmla="*/ 3943350 w 4848225"/>
                  <a:gd name="connsiteY18" fmla="*/ 4800600 h 5715000"/>
                  <a:gd name="connsiteX19" fmla="*/ 4324350 w 4848225"/>
                  <a:gd name="connsiteY19" fmla="*/ 5133975 h 5715000"/>
                  <a:gd name="connsiteX20" fmla="*/ 4600575 w 4848225"/>
                  <a:gd name="connsiteY20" fmla="*/ 5419725 h 5715000"/>
                  <a:gd name="connsiteX21" fmla="*/ 4848225 w 4848225"/>
                  <a:gd name="connsiteY21" fmla="*/ 5715000 h 57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48225" h="5715000">
                    <a:moveTo>
                      <a:pt x="0" y="0"/>
                    </a:moveTo>
                    <a:cubicBezTo>
                      <a:pt x="142875" y="12700"/>
                      <a:pt x="285750" y="25400"/>
                      <a:pt x="342900" y="47625"/>
                    </a:cubicBezTo>
                    <a:cubicBezTo>
                      <a:pt x="400050" y="69850"/>
                      <a:pt x="301625" y="71438"/>
                      <a:pt x="342900" y="133350"/>
                    </a:cubicBezTo>
                    <a:cubicBezTo>
                      <a:pt x="384175" y="195262"/>
                      <a:pt x="590550" y="419100"/>
                      <a:pt x="590550" y="419100"/>
                    </a:cubicBezTo>
                    <a:cubicBezTo>
                      <a:pt x="692150" y="533400"/>
                      <a:pt x="874713" y="712788"/>
                      <a:pt x="952500" y="819150"/>
                    </a:cubicBezTo>
                    <a:cubicBezTo>
                      <a:pt x="1030288" y="925513"/>
                      <a:pt x="1020762" y="985837"/>
                      <a:pt x="1057275" y="1057275"/>
                    </a:cubicBezTo>
                    <a:cubicBezTo>
                      <a:pt x="1093788" y="1128713"/>
                      <a:pt x="1150938" y="1196975"/>
                      <a:pt x="1171575" y="1247775"/>
                    </a:cubicBezTo>
                    <a:cubicBezTo>
                      <a:pt x="1192212" y="1298575"/>
                      <a:pt x="1192212" y="1244600"/>
                      <a:pt x="1181100" y="1362075"/>
                    </a:cubicBezTo>
                    <a:cubicBezTo>
                      <a:pt x="1169988" y="1479550"/>
                      <a:pt x="1112838" y="1819275"/>
                      <a:pt x="1104900" y="1952625"/>
                    </a:cubicBezTo>
                    <a:cubicBezTo>
                      <a:pt x="1096963" y="2085975"/>
                      <a:pt x="1116013" y="2051050"/>
                      <a:pt x="1133475" y="2162175"/>
                    </a:cubicBezTo>
                    <a:cubicBezTo>
                      <a:pt x="1150938" y="2273300"/>
                      <a:pt x="1169988" y="2476500"/>
                      <a:pt x="1209675" y="2619375"/>
                    </a:cubicBezTo>
                    <a:cubicBezTo>
                      <a:pt x="1249363" y="2762250"/>
                      <a:pt x="1320800" y="2919412"/>
                      <a:pt x="1371600" y="3019425"/>
                    </a:cubicBezTo>
                    <a:cubicBezTo>
                      <a:pt x="1422400" y="3119438"/>
                      <a:pt x="1463675" y="3168650"/>
                      <a:pt x="1514475" y="3219450"/>
                    </a:cubicBezTo>
                    <a:cubicBezTo>
                      <a:pt x="1565275" y="3270250"/>
                      <a:pt x="1562100" y="3205163"/>
                      <a:pt x="1676400" y="3324225"/>
                    </a:cubicBezTo>
                    <a:cubicBezTo>
                      <a:pt x="1790700" y="3443287"/>
                      <a:pt x="2052637" y="3790950"/>
                      <a:pt x="2200275" y="3933825"/>
                    </a:cubicBezTo>
                    <a:cubicBezTo>
                      <a:pt x="2347913" y="4076700"/>
                      <a:pt x="2419350" y="4103688"/>
                      <a:pt x="2562225" y="4181475"/>
                    </a:cubicBezTo>
                    <a:cubicBezTo>
                      <a:pt x="2705100" y="4259262"/>
                      <a:pt x="2889250" y="4329113"/>
                      <a:pt x="3057525" y="4400550"/>
                    </a:cubicBezTo>
                    <a:cubicBezTo>
                      <a:pt x="3225800" y="4471988"/>
                      <a:pt x="3424238" y="4543425"/>
                      <a:pt x="3571875" y="4610100"/>
                    </a:cubicBezTo>
                    <a:cubicBezTo>
                      <a:pt x="3719512" y="4676775"/>
                      <a:pt x="3817938" y="4713288"/>
                      <a:pt x="3943350" y="4800600"/>
                    </a:cubicBezTo>
                    <a:cubicBezTo>
                      <a:pt x="4068763" y="4887913"/>
                      <a:pt x="4214813" y="5030788"/>
                      <a:pt x="4324350" y="5133975"/>
                    </a:cubicBezTo>
                    <a:cubicBezTo>
                      <a:pt x="4433887" y="5237162"/>
                      <a:pt x="4513263" y="5322888"/>
                      <a:pt x="4600575" y="5419725"/>
                    </a:cubicBezTo>
                    <a:cubicBezTo>
                      <a:pt x="4687887" y="5516562"/>
                      <a:pt x="4768056" y="5615781"/>
                      <a:pt x="4848225" y="5715000"/>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8" name="Freeform: Shape 247">
                <a:extLst>
                  <a:ext uri="{FF2B5EF4-FFF2-40B4-BE49-F238E27FC236}">
                    <a16:creationId xmlns:a16="http://schemas.microsoft.com/office/drawing/2014/main" id="{CA14626A-1B3F-15E6-43B5-ECDC9459C136}"/>
                  </a:ext>
                </a:extLst>
              </p:cNvPr>
              <p:cNvSpPr/>
              <p:nvPr/>
            </p:nvSpPr>
            <p:spPr>
              <a:xfrm>
                <a:off x="2828925" y="1490810"/>
                <a:ext cx="685800" cy="404665"/>
              </a:xfrm>
              <a:custGeom>
                <a:avLst/>
                <a:gdLst>
                  <a:gd name="connsiteX0" fmla="*/ 0 w 685800"/>
                  <a:gd name="connsiteY0" fmla="*/ 404665 h 404665"/>
                  <a:gd name="connsiteX1" fmla="*/ 200025 w 685800"/>
                  <a:gd name="connsiteY1" fmla="*/ 99865 h 404665"/>
                  <a:gd name="connsiteX2" fmla="*/ 504825 w 685800"/>
                  <a:gd name="connsiteY2" fmla="*/ 4615 h 404665"/>
                  <a:gd name="connsiteX3" fmla="*/ 685800 w 685800"/>
                  <a:gd name="connsiteY3" fmla="*/ 23665 h 404665"/>
                </a:gdLst>
                <a:ahLst/>
                <a:cxnLst>
                  <a:cxn ang="0">
                    <a:pos x="connsiteX0" y="connsiteY0"/>
                  </a:cxn>
                  <a:cxn ang="0">
                    <a:pos x="connsiteX1" y="connsiteY1"/>
                  </a:cxn>
                  <a:cxn ang="0">
                    <a:pos x="connsiteX2" y="connsiteY2"/>
                  </a:cxn>
                  <a:cxn ang="0">
                    <a:pos x="connsiteX3" y="connsiteY3"/>
                  </a:cxn>
                </a:cxnLst>
                <a:rect l="l" t="t" r="r" b="b"/>
                <a:pathLst>
                  <a:path w="685800" h="404665">
                    <a:moveTo>
                      <a:pt x="0" y="404665"/>
                    </a:moveTo>
                    <a:cubicBezTo>
                      <a:pt x="57944" y="285602"/>
                      <a:pt x="115888" y="166540"/>
                      <a:pt x="200025" y="99865"/>
                    </a:cubicBezTo>
                    <a:cubicBezTo>
                      <a:pt x="284163" y="33190"/>
                      <a:pt x="423862" y="17315"/>
                      <a:pt x="504825" y="4615"/>
                    </a:cubicBezTo>
                    <a:cubicBezTo>
                      <a:pt x="585788" y="-8085"/>
                      <a:pt x="635794" y="7790"/>
                      <a:pt x="685800" y="23665"/>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9" name="Freeform: Shape 248">
                <a:extLst>
                  <a:ext uri="{FF2B5EF4-FFF2-40B4-BE49-F238E27FC236}">
                    <a16:creationId xmlns:a16="http://schemas.microsoft.com/office/drawing/2014/main" id="{4F1CB8CE-10F2-87EB-3F8D-D5DA2818F43E}"/>
                  </a:ext>
                </a:extLst>
              </p:cNvPr>
              <p:cNvSpPr/>
              <p:nvPr/>
            </p:nvSpPr>
            <p:spPr>
              <a:xfrm>
                <a:off x="4411117" y="1620820"/>
                <a:ext cx="532358" cy="712805"/>
              </a:xfrm>
              <a:custGeom>
                <a:avLst/>
                <a:gdLst>
                  <a:gd name="connsiteX0" fmla="*/ 532358 w 532358"/>
                  <a:gd name="connsiteY0" fmla="*/ 84155 h 712805"/>
                  <a:gd name="connsiteX1" fmla="*/ 246608 w 532358"/>
                  <a:gd name="connsiteY1" fmla="*/ 17480 h 712805"/>
                  <a:gd name="connsiteX2" fmla="*/ 8483 w 532358"/>
                  <a:gd name="connsiteY2" fmla="*/ 46055 h 712805"/>
                  <a:gd name="connsiteX3" fmla="*/ 56108 w 532358"/>
                  <a:gd name="connsiteY3" fmla="*/ 484205 h 712805"/>
                  <a:gd name="connsiteX4" fmla="*/ 84683 w 532358"/>
                  <a:gd name="connsiteY4" fmla="*/ 712805 h 712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358" h="712805">
                    <a:moveTo>
                      <a:pt x="532358" y="84155"/>
                    </a:moveTo>
                    <a:cubicBezTo>
                      <a:pt x="433139" y="53992"/>
                      <a:pt x="333920" y="23830"/>
                      <a:pt x="246608" y="17480"/>
                    </a:cubicBezTo>
                    <a:cubicBezTo>
                      <a:pt x="159295" y="11130"/>
                      <a:pt x="40233" y="-31732"/>
                      <a:pt x="8483" y="46055"/>
                    </a:cubicBezTo>
                    <a:cubicBezTo>
                      <a:pt x="-23267" y="123842"/>
                      <a:pt x="43408" y="373080"/>
                      <a:pt x="56108" y="484205"/>
                    </a:cubicBezTo>
                    <a:cubicBezTo>
                      <a:pt x="68808" y="595330"/>
                      <a:pt x="76745" y="654067"/>
                      <a:pt x="84683" y="712805"/>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0" name="Freeform: Shape 249">
                <a:extLst>
                  <a:ext uri="{FF2B5EF4-FFF2-40B4-BE49-F238E27FC236}">
                    <a16:creationId xmlns:a16="http://schemas.microsoft.com/office/drawing/2014/main" id="{CF944A9B-A379-E0B8-A8EA-28C6F81B5221}"/>
                  </a:ext>
                </a:extLst>
              </p:cNvPr>
              <p:cNvSpPr/>
              <p:nvPr/>
            </p:nvSpPr>
            <p:spPr>
              <a:xfrm>
                <a:off x="4276725" y="1905000"/>
                <a:ext cx="956858" cy="831656"/>
              </a:xfrm>
              <a:custGeom>
                <a:avLst/>
                <a:gdLst>
                  <a:gd name="connsiteX0" fmla="*/ 781050 w 956858"/>
                  <a:gd name="connsiteY0" fmla="*/ 0 h 831656"/>
                  <a:gd name="connsiteX1" fmla="*/ 838200 w 956858"/>
                  <a:gd name="connsiteY1" fmla="*/ 323850 h 831656"/>
                  <a:gd name="connsiteX2" fmla="*/ 923925 w 956858"/>
                  <a:gd name="connsiteY2" fmla="*/ 485775 h 831656"/>
                  <a:gd name="connsiteX3" fmla="*/ 952500 w 956858"/>
                  <a:gd name="connsiteY3" fmla="*/ 600075 h 831656"/>
                  <a:gd name="connsiteX4" fmla="*/ 838200 w 956858"/>
                  <a:gd name="connsiteY4" fmla="*/ 723900 h 831656"/>
                  <a:gd name="connsiteX5" fmla="*/ 619125 w 956858"/>
                  <a:gd name="connsiteY5" fmla="*/ 819150 h 831656"/>
                  <a:gd name="connsiteX6" fmla="*/ 476250 w 956858"/>
                  <a:gd name="connsiteY6" fmla="*/ 809625 h 831656"/>
                  <a:gd name="connsiteX7" fmla="*/ 123825 w 956858"/>
                  <a:gd name="connsiteY7" fmla="*/ 628650 h 831656"/>
                  <a:gd name="connsiteX8" fmla="*/ 0 w 956858"/>
                  <a:gd name="connsiteY8" fmla="*/ 457200 h 831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6858" h="831656">
                    <a:moveTo>
                      <a:pt x="781050" y="0"/>
                    </a:moveTo>
                    <a:cubicBezTo>
                      <a:pt x="797719" y="121444"/>
                      <a:pt x="814388" y="242888"/>
                      <a:pt x="838200" y="323850"/>
                    </a:cubicBezTo>
                    <a:cubicBezTo>
                      <a:pt x="862012" y="404812"/>
                      <a:pt x="904875" y="439738"/>
                      <a:pt x="923925" y="485775"/>
                    </a:cubicBezTo>
                    <a:cubicBezTo>
                      <a:pt x="942975" y="531812"/>
                      <a:pt x="966787" y="560388"/>
                      <a:pt x="952500" y="600075"/>
                    </a:cubicBezTo>
                    <a:cubicBezTo>
                      <a:pt x="938213" y="639762"/>
                      <a:pt x="893763" y="687388"/>
                      <a:pt x="838200" y="723900"/>
                    </a:cubicBezTo>
                    <a:cubicBezTo>
                      <a:pt x="782638" y="760413"/>
                      <a:pt x="679450" y="804863"/>
                      <a:pt x="619125" y="819150"/>
                    </a:cubicBezTo>
                    <a:cubicBezTo>
                      <a:pt x="558800" y="833437"/>
                      <a:pt x="558800" y="841375"/>
                      <a:pt x="476250" y="809625"/>
                    </a:cubicBezTo>
                    <a:cubicBezTo>
                      <a:pt x="393700" y="777875"/>
                      <a:pt x="203200" y="687387"/>
                      <a:pt x="123825" y="628650"/>
                    </a:cubicBezTo>
                    <a:cubicBezTo>
                      <a:pt x="44450" y="569913"/>
                      <a:pt x="22225" y="513556"/>
                      <a:pt x="0" y="457200"/>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1" name="Freeform: Shape 250">
                <a:extLst>
                  <a:ext uri="{FF2B5EF4-FFF2-40B4-BE49-F238E27FC236}">
                    <a16:creationId xmlns:a16="http://schemas.microsoft.com/office/drawing/2014/main" id="{12340A02-7DC9-A287-E34A-570A1923477A}"/>
                  </a:ext>
                </a:extLst>
              </p:cNvPr>
              <p:cNvSpPr/>
              <p:nvPr/>
            </p:nvSpPr>
            <p:spPr>
              <a:xfrm>
                <a:off x="3976053" y="2362200"/>
                <a:ext cx="276734" cy="592599"/>
              </a:xfrm>
              <a:custGeom>
                <a:avLst/>
                <a:gdLst>
                  <a:gd name="connsiteX0" fmla="*/ 272097 w 276734"/>
                  <a:gd name="connsiteY0" fmla="*/ 0 h 592599"/>
                  <a:gd name="connsiteX1" fmla="*/ 243522 w 276734"/>
                  <a:gd name="connsiteY1" fmla="*/ 257175 h 592599"/>
                  <a:gd name="connsiteX2" fmla="*/ 24447 w 276734"/>
                  <a:gd name="connsiteY2" fmla="*/ 542925 h 592599"/>
                  <a:gd name="connsiteX3" fmla="*/ 14922 w 276734"/>
                  <a:gd name="connsiteY3" fmla="*/ 590550 h 592599"/>
                </a:gdLst>
                <a:ahLst/>
                <a:cxnLst>
                  <a:cxn ang="0">
                    <a:pos x="connsiteX0" y="connsiteY0"/>
                  </a:cxn>
                  <a:cxn ang="0">
                    <a:pos x="connsiteX1" y="connsiteY1"/>
                  </a:cxn>
                  <a:cxn ang="0">
                    <a:pos x="connsiteX2" y="connsiteY2"/>
                  </a:cxn>
                  <a:cxn ang="0">
                    <a:pos x="connsiteX3" y="connsiteY3"/>
                  </a:cxn>
                </a:cxnLst>
                <a:rect l="l" t="t" r="r" b="b"/>
                <a:pathLst>
                  <a:path w="276734" h="592599">
                    <a:moveTo>
                      <a:pt x="272097" y="0"/>
                    </a:moveTo>
                    <a:cubicBezTo>
                      <a:pt x="278447" y="83344"/>
                      <a:pt x="284797" y="166688"/>
                      <a:pt x="243522" y="257175"/>
                    </a:cubicBezTo>
                    <a:cubicBezTo>
                      <a:pt x="202247" y="347662"/>
                      <a:pt x="62547" y="487363"/>
                      <a:pt x="24447" y="542925"/>
                    </a:cubicBezTo>
                    <a:cubicBezTo>
                      <a:pt x="-13653" y="598487"/>
                      <a:pt x="634" y="594518"/>
                      <a:pt x="14922" y="590550"/>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2" name="Freeform: Shape 251">
                <a:extLst>
                  <a:ext uri="{FF2B5EF4-FFF2-40B4-BE49-F238E27FC236}">
                    <a16:creationId xmlns:a16="http://schemas.microsoft.com/office/drawing/2014/main" id="{D6E8134B-2EDB-4CCB-CFD4-BA3D80804D5F}"/>
                  </a:ext>
                </a:extLst>
              </p:cNvPr>
              <p:cNvSpPr/>
              <p:nvPr/>
            </p:nvSpPr>
            <p:spPr>
              <a:xfrm>
                <a:off x="1932659" y="2362200"/>
                <a:ext cx="2105941" cy="4391025"/>
              </a:xfrm>
              <a:custGeom>
                <a:avLst/>
                <a:gdLst>
                  <a:gd name="connsiteX0" fmla="*/ 2105941 w 2105941"/>
                  <a:gd name="connsiteY0" fmla="*/ 0 h 4391025"/>
                  <a:gd name="connsiteX1" fmla="*/ 1934491 w 2105941"/>
                  <a:gd name="connsiteY1" fmla="*/ 76200 h 4391025"/>
                  <a:gd name="connsiteX2" fmla="*/ 1743991 w 2105941"/>
                  <a:gd name="connsiteY2" fmla="*/ 123825 h 4391025"/>
                  <a:gd name="connsiteX3" fmla="*/ 1591591 w 2105941"/>
                  <a:gd name="connsiteY3" fmla="*/ 409575 h 4391025"/>
                  <a:gd name="connsiteX4" fmla="*/ 1401091 w 2105941"/>
                  <a:gd name="connsiteY4" fmla="*/ 581025 h 4391025"/>
                  <a:gd name="connsiteX5" fmla="*/ 1401091 w 2105941"/>
                  <a:gd name="connsiteY5" fmla="*/ 904875 h 4391025"/>
                  <a:gd name="connsiteX6" fmla="*/ 1353466 w 2105941"/>
                  <a:gd name="connsiteY6" fmla="*/ 1314450 h 4391025"/>
                  <a:gd name="connsiteX7" fmla="*/ 1077241 w 2105941"/>
                  <a:gd name="connsiteY7" fmla="*/ 1743075 h 4391025"/>
                  <a:gd name="connsiteX8" fmla="*/ 639091 w 2105941"/>
                  <a:gd name="connsiteY8" fmla="*/ 2171700 h 4391025"/>
                  <a:gd name="connsiteX9" fmla="*/ 96166 w 2105941"/>
                  <a:gd name="connsiteY9" fmla="*/ 2752725 h 4391025"/>
                  <a:gd name="connsiteX10" fmla="*/ 916 w 2105941"/>
                  <a:gd name="connsiteY10" fmla="*/ 3162300 h 4391025"/>
                  <a:gd name="connsiteX11" fmla="*/ 105691 w 2105941"/>
                  <a:gd name="connsiteY11" fmla="*/ 3438525 h 4391025"/>
                  <a:gd name="connsiteX12" fmla="*/ 248566 w 2105941"/>
                  <a:gd name="connsiteY12" fmla="*/ 3476625 h 4391025"/>
                  <a:gd name="connsiteX13" fmla="*/ 410491 w 2105941"/>
                  <a:gd name="connsiteY13" fmla="*/ 3800475 h 4391025"/>
                  <a:gd name="connsiteX14" fmla="*/ 496216 w 2105941"/>
                  <a:gd name="connsiteY14" fmla="*/ 4229100 h 4391025"/>
                  <a:gd name="connsiteX15" fmla="*/ 581941 w 2105941"/>
                  <a:gd name="connsiteY15" fmla="*/ 4391025 h 439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05941" h="4391025">
                    <a:moveTo>
                      <a:pt x="2105941" y="0"/>
                    </a:moveTo>
                    <a:cubicBezTo>
                      <a:pt x="2050378" y="27781"/>
                      <a:pt x="1994816" y="55563"/>
                      <a:pt x="1934491" y="76200"/>
                    </a:cubicBezTo>
                    <a:cubicBezTo>
                      <a:pt x="1874166" y="96837"/>
                      <a:pt x="1801141" y="68263"/>
                      <a:pt x="1743991" y="123825"/>
                    </a:cubicBezTo>
                    <a:cubicBezTo>
                      <a:pt x="1686841" y="179387"/>
                      <a:pt x="1648741" y="333375"/>
                      <a:pt x="1591591" y="409575"/>
                    </a:cubicBezTo>
                    <a:cubicBezTo>
                      <a:pt x="1534441" y="485775"/>
                      <a:pt x="1432841" y="498475"/>
                      <a:pt x="1401091" y="581025"/>
                    </a:cubicBezTo>
                    <a:cubicBezTo>
                      <a:pt x="1369341" y="663575"/>
                      <a:pt x="1409028" y="782638"/>
                      <a:pt x="1401091" y="904875"/>
                    </a:cubicBezTo>
                    <a:cubicBezTo>
                      <a:pt x="1393154" y="1027112"/>
                      <a:pt x="1407441" y="1174750"/>
                      <a:pt x="1353466" y="1314450"/>
                    </a:cubicBezTo>
                    <a:cubicBezTo>
                      <a:pt x="1299491" y="1454150"/>
                      <a:pt x="1196303" y="1600200"/>
                      <a:pt x="1077241" y="1743075"/>
                    </a:cubicBezTo>
                    <a:cubicBezTo>
                      <a:pt x="958178" y="1885950"/>
                      <a:pt x="802603" y="2003425"/>
                      <a:pt x="639091" y="2171700"/>
                    </a:cubicBezTo>
                    <a:cubicBezTo>
                      <a:pt x="475579" y="2339975"/>
                      <a:pt x="202528" y="2587625"/>
                      <a:pt x="96166" y="2752725"/>
                    </a:cubicBezTo>
                    <a:cubicBezTo>
                      <a:pt x="-10196" y="2917825"/>
                      <a:pt x="-672" y="3048000"/>
                      <a:pt x="916" y="3162300"/>
                    </a:cubicBezTo>
                    <a:cubicBezTo>
                      <a:pt x="2503" y="3276600"/>
                      <a:pt x="64416" y="3386138"/>
                      <a:pt x="105691" y="3438525"/>
                    </a:cubicBezTo>
                    <a:cubicBezTo>
                      <a:pt x="146966" y="3490912"/>
                      <a:pt x="197766" y="3416300"/>
                      <a:pt x="248566" y="3476625"/>
                    </a:cubicBezTo>
                    <a:cubicBezTo>
                      <a:pt x="299366" y="3536950"/>
                      <a:pt x="369216" y="3675062"/>
                      <a:pt x="410491" y="3800475"/>
                    </a:cubicBezTo>
                    <a:cubicBezTo>
                      <a:pt x="451766" y="3925888"/>
                      <a:pt x="467641" y="4130675"/>
                      <a:pt x="496216" y="4229100"/>
                    </a:cubicBezTo>
                    <a:cubicBezTo>
                      <a:pt x="524791" y="4327525"/>
                      <a:pt x="553366" y="4359275"/>
                      <a:pt x="581941" y="4391025"/>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3" name="Freeform: Shape 252">
                <a:extLst>
                  <a:ext uri="{FF2B5EF4-FFF2-40B4-BE49-F238E27FC236}">
                    <a16:creationId xmlns:a16="http://schemas.microsoft.com/office/drawing/2014/main" id="{AB8724DD-BD6E-3C89-01DF-4EF381303AE2}"/>
                  </a:ext>
                </a:extLst>
              </p:cNvPr>
              <p:cNvSpPr/>
              <p:nvPr/>
            </p:nvSpPr>
            <p:spPr>
              <a:xfrm>
                <a:off x="4019550" y="2781300"/>
                <a:ext cx="3990975" cy="747451"/>
              </a:xfrm>
              <a:custGeom>
                <a:avLst/>
                <a:gdLst>
                  <a:gd name="connsiteX0" fmla="*/ 3990975 w 3990975"/>
                  <a:gd name="connsiteY0" fmla="*/ 0 h 747451"/>
                  <a:gd name="connsiteX1" fmla="*/ 3390900 w 3990975"/>
                  <a:gd name="connsiteY1" fmla="*/ 323850 h 747451"/>
                  <a:gd name="connsiteX2" fmla="*/ 3067050 w 3990975"/>
                  <a:gd name="connsiteY2" fmla="*/ 409575 h 747451"/>
                  <a:gd name="connsiteX3" fmla="*/ 2657475 w 3990975"/>
                  <a:gd name="connsiteY3" fmla="*/ 485775 h 747451"/>
                  <a:gd name="connsiteX4" fmla="*/ 2257425 w 3990975"/>
                  <a:gd name="connsiteY4" fmla="*/ 657225 h 747451"/>
                  <a:gd name="connsiteX5" fmla="*/ 2009775 w 3990975"/>
                  <a:gd name="connsiteY5" fmla="*/ 742950 h 747451"/>
                  <a:gd name="connsiteX6" fmla="*/ 1562100 w 3990975"/>
                  <a:gd name="connsiteY6" fmla="*/ 523875 h 747451"/>
                  <a:gd name="connsiteX7" fmla="*/ 1200150 w 3990975"/>
                  <a:gd name="connsiteY7" fmla="*/ 276225 h 747451"/>
                  <a:gd name="connsiteX8" fmla="*/ 1085850 w 3990975"/>
                  <a:gd name="connsiteY8" fmla="*/ 352425 h 747451"/>
                  <a:gd name="connsiteX9" fmla="*/ 847725 w 3990975"/>
                  <a:gd name="connsiteY9" fmla="*/ 447675 h 747451"/>
                  <a:gd name="connsiteX10" fmla="*/ 533400 w 3990975"/>
                  <a:gd name="connsiteY10" fmla="*/ 390525 h 747451"/>
                  <a:gd name="connsiteX11" fmla="*/ 209550 w 3990975"/>
                  <a:gd name="connsiteY11" fmla="*/ 447675 h 747451"/>
                  <a:gd name="connsiteX12" fmla="*/ 0 w 3990975"/>
                  <a:gd name="connsiteY12" fmla="*/ 523875 h 74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90975" h="747451">
                    <a:moveTo>
                      <a:pt x="3990975" y="0"/>
                    </a:moveTo>
                    <a:cubicBezTo>
                      <a:pt x="3767931" y="127794"/>
                      <a:pt x="3544887" y="255588"/>
                      <a:pt x="3390900" y="323850"/>
                    </a:cubicBezTo>
                    <a:cubicBezTo>
                      <a:pt x="3236912" y="392113"/>
                      <a:pt x="3189287" y="382588"/>
                      <a:pt x="3067050" y="409575"/>
                    </a:cubicBezTo>
                    <a:cubicBezTo>
                      <a:pt x="2944813" y="436562"/>
                      <a:pt x="2792412" y="444500"/>
                      <a:pt x="2657475" y="485775"/>
                    </a:cubicBezTo>
                    <a:cubicBezTo>
                      <a:pt x="2522537" y="527050"/>
                      <a:pt x="2365375" y="614363"/>
                      <a:pt x="2257425" y="657225"/>
                    </a:cubicBezTo>
                    <a:cubicBezTo>
                      <a:pt x="2149475" y="700088"/>
                      <a:pt x="2125662" y="765175"/>
                      <a:pt x="2009775" y="742950"/>
                    </a:cubicBezTo>
                    <a:cubicBezTo>
                      <a:pt x="1893888" y="720725"/>
                      <a:pt x="1697037" y="601663"/>
                      <a:pt x="1562100" y="523875"/>
                    </a:cubicBezTo>
                    <a:cubicBezTo>
                      <a:pt x="1427162" y="446088"/>
                      <a:pt x="1279525" y="304800"/>
                      <a:pt x="1200150" y="276225"/>
                    </a:cubicBezTo>
                    <a:cubicBezTo>
                      <a:pt x="1120775" y="247650"/>
                      <a:pt x="1144587" y="323850"/>
                      <a:pt x="1085850" y="352425"/>
                    </a:cubicBezTo>
                    <a:cubicBezTo>
                      <a:pt x="1027113" y="381000"/>
                      <a:pt x="939800" y="441325"/>
                      <a:pt x="847725" y="447675"/>
                    </a:cubicBezTo>
                    <a:cubicBezTo>
                      <a:pt x="755650" y="454025"/>
                      <a:pt x="639762" y="390525"/>
                      <a:pt x="533400" y="390525"/>
                    </a:cubicBezTo>
                    <a:cubicBezTo>
                      <a:pt x="427038" y="390525"/>
                      <a:pt x="298450" y="425450"/>
                      <a:pt x="209550" y="447675"/>
                    </a:cubicBezTo>
                    <a:cubicBezTo>
                      <a:pt x="120650" y="469900"/>
                      <a:pt x="60325" y="496887"/>
                      <a:pt x="0" y="523875"/>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4" name="Freeform: Shape 253">
                <a:extLst>
                  <a:ext uri="{FF2B5EF4-FFF2-40B4-BE49-F238E27FC236}">
                    <a16:creationId xmlns:a16="http://schemas.microsoft.com/office/drawing/2014/main" id="{A259B92C-AC84-9084-46A1-9B22C2B9270C}"/>
                  </a:ext>
                </a:extLst>
              </p:cNvPr>
              <p:cNvSpPr/>
              <p:nvPr/>
            </p:nvSpPr>
            <p:spPr>
              <a:xfrm>
                <a:off x="3324225" y="3374403"/>
                <a:ext cx="714375" cy="283343"/>
              </a:xfrm>
              <a:custGeom>
                <a:avLst/>
                <a:gdLst>
                  <a:gd name="connsiteX0" fmla="*/ 0 w 714375"/>
                  <a:gd name="connsiteY0" fmla="*/ 64122 h 283343"/>
                  <a:gd name="connsiteX1" fmla="*/ 381000 w 714375"/>
                  <a:gd name="connsiteY1" fmla="*/ 283197 h 283343"/>
                  <a:gd name="connsiteX2" fmla="*/ 514350 w 714375"/>
                  <a:gd name="connsiteY2" fmla="*/ 35547 h 283343"/>
                  <a:gd name="connsiteX3" fmla="*/ 714375 w 714375"/>
                  <a:gd name="connsiteY3" fmla="*/ 6972 h 283343"/>
                </a:gdLst>
                <a:ahLst/>
                <a:cxnLst>
                  <a:cxn ang="0">
                    <a:pos x="connsiteX0" y="connsiteY0"/>
                  </a:cxn>
                  <a:cxn ang="0">
                    <a:pos x="connsiteX1" y="connsiteY1"/>
                  </a:cxn>
                  <a:cxn ang="0">
                    <a:pos x="connsiteX2" y="connsiteY2"/>
                  </a:cxn>
                  <a:cxn ang="0">
                    <a:pos x="connsiteX3" y="connsiteY3"/>
                  </a:cxn>
                </a:cxnLst>
                <a:rect l="l" t="t" r="r" b="b"/>
                <a:pathLst>
                  <a:path w="714375" h="283343">
                    <a:moveTo>
                      <a:pt x="0" y="64122"/>
                    </a:moveTo>
                    <a:cubicBezTo>
                      <a:pt x="147637" y="176040"/>
                      <a:pt x="295275" y="287959"/>
                      <a:pt x="381000" y="283197"/>
                    </a:cubicBezTo>
                    <a:cubicBezTo>
                      <a:pt x="466725" y="278435"/>
                      <a:pt x="458788" y="81584"/>
                      <a:pt x="514350" y="35547"/>
                    </a:cubicBezTo>
                    <a:cubicBezTo>
                      <a:pt x="569912" y="-10490"/>
                      <a:pt x="642143" y="-1759"/>
                      <a:pt x="714375" y="6972"/>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5" name="Freeform: Shape 254">
                <a:extLst>
                  <a:ext uri="{FF2B5EF4-FFF2-40B4-BE49-F238E27FC236}">
                    <a16:creationId xmlns:a16="http://schemas.microsoft.com/office/drawing/2014/main" id="{D2441A9D-3285-46ED-2B8F-31232C328E50}"/>
                  </a:ext>
                </a:extLst>
              </p:cNvPr>
              <p:cNvSpPr/>
              <p:nvPr/>
            </p:nvSpPr>
            <p:spPr>
              <a:xfrm>
                <a:off x="4438589" y="2724150"/>
                <a:ext cx="390586" cy="438150"/>
              </a:xfrm>
              <a:custGeom>
                <a:avLst/>
                <a:gdLst>
                  <a:gd name="connsiteX0" fmla="*/ 390586 w 390586"/>
                  <a:gd name="connsiteY0" fmla="*/ 0 h 438150"/>
                  <a:gd name="connsiteX1" fmla="*/ 333436 w 390586"/>
                  <a:gd name="connsiteY1" fmla="*/ 123825 h 438150"/>
                  <a:gd name="connsiteX2" fmla="*/ 66736 w 390586"/>
                  <a:gd name="connsiteY2" fmla="*/ 200025 h 438150"/>
                  <a:gd name="connsiteX3" fmla="*/ 61 w 390586"/>
                  <a:gd name="connsiteY3" fmla="*/ 276225 h 438150"/>
                  <a:gd name="connsiteX4" fmla="*/ 57211 w 390586"/>
                  <a:gd name="connsiteY4" fmla="*/ 438150 h 43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586" h="438150">
                    <a:moveTo>
                      <a:pt x="390586" y="0"/>
                    </a:moveTo>
                    <a:cubicBezTo>
                      <a:pt x="388998" y="45244"/>
                      <a:pt x="387411" y="90488"/>
                      <a:pt x="333436" y="123825"/>
                    </a:cubicBezTo>
                    <a:cubicBezTo>
                      <a:pt x="279461" y="157162"/>
                      <a:pt x="122298" y="174625"/>
                      <a:pt x="66736" y="200025"/>
                    </a:cubicBezTo>
                    <a:cubicBezTo>
                      <a:pt x="11173" y="225425"/>
                      <a:pt x="1648" y="236538"/>
                      <a:pt x="61" y="276225"/>
                    </a:cubicBezTo>
                    <a:cubicBezTo>
                      <a:pt x="-1526" y="315912"/>
                      <a:pt x="27842" y="377031"/>
                      <a:pt x="57211" y="438150"/>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6" name="Freeform: Shape 255">
                <a:extLst>
                  <a:ext uri="{FF2B5EF4-FFF2-40B4-BE49-F238E27FC236}">
                    <a16:creationId xmlns:a16="http://schemas.microsoft.com/office/drawing/2014/main" id="{A0507274-286B-642D-5F12-906E333DDAAE}"/>
                  </a:ext>
                </a:extLst>
              </p:cNvPr>
              <p:cNvSpPr/>
              <p:nvPr/>
            </p:nvSpPr>
            <p:spPr>
              <a:xfrm>
                <a:off x="4486275" y="3409950"/>
                <a:ext cx="1314450" cy="929034"/>
              </a:xfrm>
              <a:custGeom>
                <a:avLst/>
                <a:gdLst>
                  <a:gd name="connsiteX0" fmla="*/ 1314450 w 1314450"/>
                  <a:gd name="connsiteY0" fmla="*/ 0 h 929034"/>
                  <a:gd name="connsiteX1" fmla="*/ 952500 w 1314450"/>
                  <a:gd name="connsiteY1" fmla="*/ 514350 h 929034"/>
                  <a:gd name="connsiteX2" fmla="*/ 342900 w 1314450"/>
                  <a:gd name="connsiteY2" fmla="*/ 895350 h 929034"/>
                  <a:gd name="connsiteX3" fmla="*/ 0 w 1314450"/>
                  <a:gd name="connsiteY3" fmla="*/ 885825 h 929034"/>
                </a:gdLst>
                <a:ahLst/>
                <a:cxnLst>
                  <a:cxn ang="0">
                    <a:pos x="connsiteX0" y="connsiteY0"/>
                  </a:cxn>
                  <a:cxn ang="0">
                    <a:pos x="connsiteX1" y="connsiteY1"/>
                  </a:cxn>
                  <a:cxn ang="0">
                    <a:pos x="connsiteX2" y="connsiteY2"/>
                  </a:cxn>
                  <a:cxn ang="0">
                    <a:pos x="connsiteX3" y="connsiteY3"/>
                  </a:cxn>
                </a:cxnLst>
                <a:rect l="l" t="t" r="r" b="b"/>
                <a:pathLst>
                  <a:path w="1314450" h="929034">
                    <a:moveTo>
                      <a:pt x="1314450" y="0"/>
                    </a:moveTo>
                    <a:cubicBezTo>
                      <a:pt x="1214437" y="182562"/>
                      <a:pt x="1114425" y="365125"/>
                      <a:pt x="952500" y="514350"/>
                    </a:cubicBezTo>
                    <a:cubicBezTo>
                      <a:pt x="790575" y="663575"/>
                      <a:pt x="501650" y="833438"/>
                      <a:pt x="342900" y="895350"/>
                    </a:cubicBezTo>
                    <a:cubicBezTo>
                      <a:pt x="184150" y="957262"/>
                      <a:pt x="92075" y="921543"/>
                      <a:pt x="0" y="885825"/>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7" name="Freeform: Shape 256">
                <a:extLst>
                  <a:ext uri="{FF2B5EF4-FFF2-40B4-BE49-F238E27FC236}">
                    <a16:creationId xmlns:a16="http://schemas.microsoft.com/office/drawing/2014/main" id="{42B385A5-595A-7267-1444-72BC8961650F}"/>
                  </a:ext>
                </a:extLst>
              </p:cNvPr>
              <p:cNvSpPr/>
              <p:nvPr/>
            </p:nvSpPr>
            <p:spPr>
              <a:xfrm>
                <a:off x="4838538" y="4305300"/>
                <a:ext cx="28737" cy="400050"/>
              </a:xfrm>
              <a:custGeom>
                <a:avLst/>
                <a:gdLst>
                  <a:gd name="connsiteX0" fmla="*/ 19212 w 28737"/>
                  <a:gd name="connsiteY0" fmla="*/ 400050 h 400050"/>
                  <a:gd name="connsiteX1" fmla="*/ 162 w 28737"/>
                  <a:gd name="connsiteY1" fmla="*/ 104775 h 400050"/>
                  <a:gd name="connsiteX2" fmla="*/ 28737 w 28737"/>
                  <a:gd name="connsiteY2" fmla="*/ 0 h 400050"/>
                </a:gdLst>
                <a:ahLst/>
                <a:cxnLst>
                  <a:cxn ang="0">
                    <a:pos x="connsiteX0" y="connsiteY0"/>
                  </a:cxn>
                  <a:cxn ang="0">
                    <a:pos x="connsiteX1" y="connsiteY1"/>
                  </a:cxn>
                  <a:cxn ang="0">
                    <a:pos x="connsiteX2" y="connsiteY2"/>
                  </a:cxn>
                </a:cxnLst>
                <a:rect l="l" t="t" r="r" b="b"/>
                <a:pathLst>
                  <a:path w="28737" h="400050">
                    <a:moveTo>
                      <a:pt x="19212" y="400050"/>
                    </a:moveTo>
                    <a:cubicBezTo>
                      <a:pt x="8893" y="285750"/>
                      <a:pt x="-1425" y="171450"/>
                      <a:pt x="162" y="104775"/>
                    </a:cubicBezTo>
                    <a:cubicBezTo>
                      <a:pt x="1749" y="38100"/>
                      <a:pt x="15243" y="19050"/>
                      <a:pt x="28737" y="0"/>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8" name="Freeform: Shape 257">
                <a:extLst>
                  <a:ext uri="{FF2B5EF4-FFF2-40B4-BE49-F238E27FC236}">
                    <a16:creationId xmlns:a16="http://schemas.microsoft.com/office/drawing/2014/main" id="{16FAD5A3-6DFC-0AD7-7375-50305CB0148C}"/>
                  </a:ext>
                </a:extLst>
              </p:cNvPr>
              <p:cNvSpPr/>
              <p:nvPr/>
            </p:nvSpPr>
            <p:spPr>
              <a:xfrm>
                <a:off x="4486275" y="5219700"/>
                <a:ext cx="1334082" cy="1543050"/>
              </a:xfrm>
              <a:custGeom>
                <a:avLst/>
                <a:gdLst>
                  <a:gd name="connsiteX0" fmla="*/ 933450 w 1334082"/>
                  <a:gd name="connsiteY0" fmla="*/ 0 h 1543050"/>
                  <a:gd name="connsiteX1" fmla="*/ 1200150 w 1334082"/>
                  <a:gd name="connsiteY1" fmla="*/ 400050 h 1543050"/>
                  <a:gd name="connsiteX2" fmla="*/ 1333500 w 1334082"/>
                  <a:gd name="connsiteY2" fmla="*/ 714375 h 1543050"/>
                  <a:gd name="connsiteX3" fmla="*/ 1152525 w 1334082"/>
                  <a:gd name="connsiteY3" fmla="*/ 981075 h 1543050"/>
                  <a:gd name="connsiteX4" fmla="*/ 628650 w 1334082"/>
                  <a:gd name="connsiteY4" fmla="*/ 1009650 h 1543050"/>
                  <a:gd name="connsiteX5" fmla="*/ 581025 w 1334082"/>
                  <a:gd name="connsiteY5" fmla="*/ 1123950 h 1543050"/>
                  <a:gd name="connsiteX6" fmla="*/ 257175 w 1334082"/>
                  <a:gd name="connsiteY6" fmla="*/ 1238250 h 1543050"/>
                  <a:gd name="connsiteX7" fmla="*/ 123825 w 1334082"/>
                  <a:gd name="connsiteY7" fmla="*/ 1457325 h 1543050"/>
                  <a:gd name="connsiteX8" fmla="*/ 0 w 1334082"/>
                  <a:gd name="connsiteY8" fmla="*/ 1543050 h 154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4082" h="1543050">
                    <a:moveTo>
                      <a:pt x="933450" y="0"/>
                    </a:moveTo>
                    <a:cubicBezTo>
                      <a:pt x="1033462" y="140494"/>
                      <a:pt x="1133475" y="280988"/>
                      <a:pt x="1200150" y="400050"/>
                    </a:cubicBezTo>
                    <a:cubicBezTo>
                      <a:pt x="1266825" y="519112"/>
                      <a:pt x="1341438" y="617538"/>
                      <a:pt x="1333500" y="714375"/>
                    </a:cubicBezTo>
                    <a:cubicBezTo>
                      <a:pt x="1325563" y="811213"/>
                      <a:pt x="1270000" y="931863"/>
                      <a:pt x="1152525" y="981075"/>
                    </a:cubicBezTo>
                    <a:cubicBezTo>
                      <a:pt x="1035050" y="1030287"/>
                      <a:pt x="723900" y="985838"/>
                      <a:pt x="628650" y="1009650"/>
                    </a:cubicBezTo>
                    <a:cubicBezTo>
                      <a:pt x="533400" y="1033463"/>
                      <a:pt x="642938" y="1085850"/>
                      <a:pt x="581025" y="1123950"/>
                    </a:cubicBezTo>
                    <a:cubicBezTo>
                      <a:pt x="519112" y="1162050"/>
                      <a:pt x="333375" y="1182688"/>
                      <a:pt x="257175" y="1238250"/>
                    </a:cubicBezTo>
                    <a:cubicBezTo>
                      <a:pt x="180975" y="1293812"/>
                      <a:pt x="166687" y="1406525"/>
                      <a:pt x="123825" y="1457325"/>
                    </a:cubicBezTo>
                    <a:cubicBezTo>
                      <a:pt x="80963" y="1508125"/>
                      <a:pt x="40481" y="1525587"/>
                      <a:pt x="0" y="1543050"/>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9" name="Freeform: Shape 258">
                <a:extLst>
                  <a:ext uri="{FF2B5EF4-FFF2-40B4-BE49-F238E27FC236}">
                    <a16:creationId xmlns:a16="http://schemas.microsoft.com/office/drawing/2014/main" id="{CC367656-44B2-7C7A-1641-F81587F8EB24}"/>
                  </a:ext>
                </a:extLst>
              </p:cNvPr>
              <p:cNvSpPr/>
              <p:nvPr/>
            </p:nvSpPr>
            <p:spPr>
              <a:xfrm>
                <a:off x="4190965" y="3228975"/>
                <a:ext cx="1485935" cy="419836"/>
              </a:xfrm>
              <a:custGeom>
                <a:avLst/>
                <a:gdLst>
                  <a:gd name="connsiteX0" fmla="*/ 1485935 w 1485935"/>
                  <a:gd name="connsiteY0" fmla="*/ 361950 h 419836"/>
                  <a:gd name="connsiteX1" fmla="*/ 1362110 w 1485935"/>
                  <a:gd name="connsiteY1" fmla="*/ 295275 h 419836"/>
                  <a:gd name="connsiteX2" fmla="*/ 1181135 w 1485935"/>
                  <a:gd name="connsiteY2" fmla="*/ 342900 h 419836"/>
                  <a:gd name="connsiteX3" fmla="*/ 1057310 w 1485935"/>
                  <a:gd name="connsiteY3" fmla="*/ 266700 h 419836"/>
                  <a:gd name="connsiteX4" fmla="*/ 714410 w 1485935"/>
                  <a:gd name="connsiteY4" fmla="*/ 419100 h 419836"/>
                  <a:gd name="connsiteX5" fmla="*/ 600110 w 1485935"/>
                  <a:gd name="connsiteY5" fmla="*/ 323850 h 419836"/>
                  <a:gd name="connsiteX6" fmla="*/ 542960 w 1485935"/>
                  <a:gd name="connsiteY6" fmla="*/ 304800 h 419836"/>
                  <a:gd name="connsiteX7" fmla="*/ 47660 w 1485935"/>
                  <a:gd name="connsiteY7" fmla="*/ 152400 h 419836"/>
                  <a:gd name="connsiteX8" fmla="*/ 47660 w 1485935"/>
                  <a:gd name="connsiteY8" fmla="*/ 0 h 41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5935" h="419836">
                    <a:moveTo>
                      <a:pt x="1485935" y="361950"/>
                    </a:moveTo>
                    <a:cubicBezTo>
                      <a:pt x="1449422" y="330200"/>
                      <a:pt x="1412910" y="298450"/>
                      <a:pt x="1362110" y="295275"/>
                    </a:cubicBezTo>
                    <a:cubicBezTo>
                      <a:pt x="1311310" y="292100"/>
                      <a:pt x="1231935" y="347662"/>
                      <a:pt x="1181135" y="342900"/>
                    </a:cubicBezTo>
                    <a:cubicBezTo>
                      <a:pt x="1130335" y="338138"/>
                      <a:pt x="1135097" y="254000"/>
                      <a:pt x="1057310" y="266700"/>
                    </a:cubicBezTo>
                    <a:cubicBezTo>
                      <a:pt x="979522" y="279400"/>
                      <a:pt x="790610" y="409575"/>
                      <a:pt x="714410" y="419100"/>
                    </a:cubicBezTo>
                    <a:cubicBezTo>
                      <a:pt x="638210" y="428625"/>
                      <a:pt x="628685" y="342900"/>
                      <a:pt x="600110" y="323850"/>
                    </a:cubicBezTo>
                    <a:cubicBezTo>
                      <a:pt x="571535" y="304800"/>
                      <a:pt x="542960" y="304800"/>
                      <a:pt x="542960" y="304800"/>
                    </a:cubicBezTo>
                    <a:cubicBezTo>
                      <a:pt x="450885" y="276225"/>
                      <a:pt x="130210" y="203200"/>
                      <a:pt x="47660" y="152400"/>
                    </a:cubicBezTo>
                    <a:cubicBezTo>
                      <a:pt x="-34890" y="101600"/>
                      <a:pt x="6385" y="50800"/>
                      <a:pt x="47660" y="0"/>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0" name="Freeform: Shape 259">
                <a:extLst>
                  <a:ext uri="{FF2B5EF4-FFF2-40B4-BE49-F238E27FC236}">
                    <a16:creationId xmlns:a16="http://schemas.microsoft.com/office/drawing/2014/main" id="{1AB849FE-8483-617C-053F-071752DC00D0}"/>
                  </a:ext>
                </a:extLst>
              </p:cNvPr>
              <p:cNvSpPr/>
              <p:nvPr/>
            </p:nvSpPr>
            <p:spPr>
              <a:xfrm>
                <a:off x="1209860" y="5705475"/>
                <a:ext cx="1182748" cy="1066800"/>
              </a:xfrm>
              <a:custGeom>
                <a:avLst/>
                <a:gdLst>
                  <a:gd name="connsiteX0" fmla="*/ 1180915 w 1182748"/>
                  <a:gd name="connsiteY0" fmla="*/ 0 h 1066800"/>
                  <a:gd name="connsiteX1" fmla="*/ 1152340 w 1182748"/>
                  <a:gd name="connsiteY1" fmla="*/ 190500 h 1066800"/>
                  <a:gd name="connsiteX2" fmla="*/ 971365 w 1182748"/>
                  <a:gd name="connsiteY2" fmla="*/ 342900 h 1066800"/>
                  <a:gd name="connsiteX3" fmla="*/ 809440 w 1182748"/>
                  <a:gd name="connsiteY3" fmla="*/ 361950 h 1066800"/>
                  <a:gd name="connsiteX4" fmla="*/ 685615 w 1182748"/>
                  <a:gd name="connsiteY4" fmla="*/ 466725 h 1066800"/>
                  <a:gd name="connsiteX5" fmla="*/ 323665 w 1182748"/>
                  <a:gd name="connsiteY5" fmla="*/ 485775 h 1066800"/>
                  <a:gd name="connsiteX6" fmla="*/ 180790 w 1182748"/>
                  <a:gd name="connsiteY6" fmla="*/ 523875 h 1066800"/>
                  <a:gd name="connsiteX7" fmla="*/ 9340 w 1182748"/>
                  <a:gd name="connsiteY7" fmla="*/ 828675 h 1066800"/>
                  <a:gd name="connsiteX8" fmla="*/ 37915 w 1182748"/>
                  <a:gd name="connsiteY8" fmla="*/ 106680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2748" h="1066800">
                    <a:moveTo>
                      <a:pt x="1180915" y="0"/>
                    </a:moveTo>
                    <a:cubicBezTo>
                      <a:pt x="1184090" y="66675"/>
                      <a:pt x="1187265" y="133350"/>
                      <a:pt x="1152340" y="190500"/>
                    </a:cubicBezTo>
                    <a:cubicBezTo>
                      <a:pt x="1117415" y="247650"/>
                      <a:pt x="1028515" y="314325"/>
                      <a:pt x="971365" y="342900"/>
                    </a:cubicBezTo>
                    <a:cubicBezTo>
                      <a:pt x="914215" y="371475"/>
                      <a:pt x="857065" y="341313"/>
                      <a:pt x="809440" y="361950"/>
                    </a:cubicBezTo>
                    <a:cubicBezTo>
                      <a:pt x="761815" y="382588"/>
                      <a:pt x="766577" y="446088"/>
                      <a:pt x="685615" y="466725"/>
                    </a:cubicBezTo>
                    <a:cubicBezTo>
                      <a:pt x="604653" y="487362"/>
                      <a:pt x="407802" y="476250"/>
                      <a:pt x="323665" y="485775"/>
                    </a:cubicBezTo>
                    <a:cubicBezTo>
                      <a:pt x="239527" y="495300"/>
                      <a:pt x="233178" y="466725"/>
                      <a:pt x="180790" y="523875"/>
                    </a:cubicBezTo>
                    <a:cubicBezTo>
                      <a:pt x="128402" y="581025"/>
                      <a:pt x="33152" y="738188"/>
                      <a:pt x="9340" y="828675"/>
                    </a:cubicBezTo>
                    <a:cubicBezTo>
                      <a:pt x="-14472" y="919162"/>
                      <a:pt x="11721" y="992981"/>
                      <a:pt x="37915" y="1066800"/>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1" name="Freeform: Shape 260">
                <a:extLst>
                  <a:ext uri="{FF2B5EF4-FFF2-40B4-BE49-F238E27FC236}">
                    <a16:creationId xmlns:a16="http://schemas.microsoft.com/office/drawing/2014/main" id="{A608FF90-5E09-8A5C-4BD4-C9F51AEC0D3F}"/>
                  </a:ext>
                </a:extLst>
              </p:cNvPr>
              <p:cNvSpPr/>
              <p:nvPr/>
            </p:nvSpPr>
            <p:spPr>
              <a:xfrm>
                <a:off x="719638" y="5343525"/>
                <a:ext cx="671012" cy="885825"/>
              </a:xfrm>
              <a:custGeom>
                <a:avLst/>
                <a:gdLst>
                  <a:gd name="connsiteX0" fmla="*/ 99512 w 671012"/>
                  <a:gd name="connsiteY0" fmla="*/ 0 h 885825"/>
                  <a:gd name="connsiteX1" fmla="*/ 4262 w 671012"/>
                  <a:gd name="connsiteY1" fmla="*/ 561975 h 885825"/>
                  <a:gd name="connsiteX2" fmla="*/ 223337 w 671012"/>
                  <a:gd name="connsiteY2" fmla="*/ 638175 h 885825"/>
                  <a:gd name="connsiteX3" fmla="*/ 671012 w 671012"/>
                  <a:gd name="connsiteY3" fmla="*/ 885825 h 885825"/>
                </a:gdLst>
                <a:ahLst/>
                <a:cxnLst>
                  <a:cxn ang="0">
                    <a:pos x="connsiteX0" y="connsiteY0"/>
                  </a:cxn>
                  <a:cxn ang="0">
                    <a:pos x="connsiteX1" y="connsiteY1"/>
                  </a:cxn>
                  <a:cxn ang="0">
                    <a:pos x="connsiteX2" y="connsiteY2"/>
                  </a:cxn>
                  <a:cxn ang="0">
                    <a:pos x="connsiteX3" y="connsiteY3"/>
                  </a:cxn>
                </a:cxnLst>
                <a:rect l="l" t="t" r="r" b="b"/>
                <a:pathLst>
                  <a:path w="671012" h="885825">
                    <a:moveTo>
                      <a:pt x="99512" y="0"/>
                    </a:moveTo>
                    <a:cubicBezTo>
                      <a:pt x="41568" y="227806"/>
                      <a:pt x="-16375" y="455613"/>
                      <a:pt x="4262" y="561975"/>
                    </a:cubicBezTo>
                    <a:cubicBezTo>
                      <a:pt x="24899" y="668337"/>
                      <a:pt x="112212" y="584200"/>
                      <a:pt x="223337" y="638175"/>
                    </a:cubicBezTo>
                    <a:cubicBezTo>
                      <a:pt x="334462" y="692150"/>
                      <a:pt x="502737" y="788987"/>
                      <a:pt x="671012" y="885825"/>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2" name="Freeform: Shape 261">
                <a:extLst>
                  <a:ext uri="{FF2B5EF4-FFF2-40B4-BE49-F238E27FC236}">
                    <a16:creationId xmlns:a16="http://schemas.microsoft.com/office/drawing/2014/main" id="{CEB0DDEE-BCF9-28FC-89E7-179A6CFBA79A}"/>
                  </a:ext>
                </a:extLst>
              </p:cNvPr>
              <p:cNvSpPr/>
              <p:nvPr/>
            </p:nvSpPr>
            <p:spPr>
              <a:xfrm>
                <a:off x="4714875" y="3228975"/>
                <a:ext cx="174691" cy="285750"/>
              </a:xfrm>
              <a:custGeom>
                <a:avLst/>
                <a:gdLst>
                  <a:gd name="connsiteX0" fmla="*/ 152400 w 174691"/>
                  <a:gd name="connsiteY0" fmla="*/ 0 h 285750"/>
                  <a:gd name="connsiteX1" fmla="*/ 161925 w 174691"/>
                  <a:gd name="connsiteY1" fmla="*/ 114300 h 285750"/>
                  <a:gd name="connsiteX2" fmla="*/ 0 w 174691"/>
                  <a:gd name="connsiteY2" fmla="*/ 285750 h 285750"/>
                </a:gdLst>
                <a:ahLst/>
                <a:cxnLst>
                  <a:cxn ang="0">
                    <a:pos x="connsiteX0" y="connsiteY0"/>
                  </a:cxn>
                  <a:cxn ang="0">
                    <a:pos x="connsiteX1" y="connsiteY1"/>
                  </a:cxn>
                  <a:cxn ang="0">
                    <a:pos x="connsiteX2" y="connsiteY2"/>
                  </a:cxn>
                </a:cxnLst>
                <a:rect l="l" t="t" r="r" b="b"/>
                <a:pathLst>
                  <a:path w="174691" h="285750">
                    <a:moveTo>
                      <a:pt x="152400" y="0"/>
                    </a:moveTo>
                    <a:cubicBezTo>
                      <a:pt x="169862" y="33337"/>
                      <a:pt x="187325" y="66675"/>
                      <a:pt x="161925" y="114300"/>
                    </a:cubicBezTo>
                    <a:cubicBezTo>
                      <a:pt x="136525" y="161925"/>
                      <a:pt x="68262" y="223837"/>
                      <a:pt x="0" y="285750"/>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3" name="Freeform: Shape 262">
                <a:extLst>
                  <a:ext uri="{FF2B5EF4-FFF2-40B4-BE49-F238E27FC236}">
                    <a16:creationId xmlns:a16="http://schemas.microsoft.com/office/drawing/2014/main" id="{3A39C188-4413-7C26-2A4C-A49798E166C2}"/>
                  </a:ext>
                </a:extLst>
              </p:cNvPr>
              <p:cNvSpPr/>
              <p:nvPr/>
            </p:nvSpPr>
            <p:spPr>
              <a:xfrm>
                <a:off x="3495675" y="2419350"/>
                <a:ext cx="409744" cy="371475"/>
              </a:xfrm>
              <a:custGeom>
                <a:avLst/>
                <a:gdLst>
                  <a:gd name="connsiteX0" fmla="*/ 409575 w 409744"/>
                  <a:gd name="connsiteY0" fmla="*/ 0 h 371475"/>
                  <a:gd name="connsiteX1" fmla="*/ 342900 w 409744"/>
                  <a:gd name="connsiteY1" fmla="*/ 247650 h 371475"/>
                  <a:gd name="connsiteX2" fmla="*/ 0 w 409744"/>
                  <a:gd name="connsiteY2" fmla="*/ 371475 h 371475"/>
                </a:gdLst>
                <a:ahLst/>
                <a:cxnLst>
                  <a:cxn ang="0">
                    <a:pos x="connsiteX0" y="connsiteY0"/>
                  </a:cxn>
                  <a:cxn ang="0">
                    <a:pos x="connsiteX1" y="connsiteY1"/>
                  </a:cxn>
                  <a:cxn ang="0">
                    <a:pos x="connsiteX2" y="connsiteY2"/>
                  </a:cxn>
                </a:cxnLst>
                <a:rect l="l" t="t" r="r" b="b"/>
                <a:pathLst>
                  <a:path w="409744" h="371475">
                    <a:moveTo>
                      <a:pt x="409575" y="0"/>
                    </a:moveTo>
                    <a:cubicBezTo>
                      <a:pt x="410368" y="92869"/>
                      <a:pt x="411162" y="185738"/>
                      <a:pt x="342900" y="247650"/>
                    </a:cubicBezTo>
                    <a:cubicBezTo>
                      <a:pt x="274638" y="309562"/>
                      <a:pt x="137319" y="340518"/>
                      <a:pt x="0" y="371475"/>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215" name="Freeform: Shape 244">
              <a:extLst>
                <a:ext uri="{FF2B5EF4-FFF2-40B4-BE49-F238E27FC236}">
                  <a16:creationId xmlns:a16="http://schemas.microsoft.com/office/drawing/2014/main" id="{C32AF5B2-1D82-D384-582A-BBA53C1E1549}"/>
                </a:ext>
              </a:extLst>
            </p:cNvPr>
            <p:cNvSpPr/>
            <p:nvPr/>
          </p:nvSpPr>
          <p:spPr>
            <a:xfrm>
              <a:off x="6865649" y="3199911"/>
              <a:ext cx="981749" cy="2451225"/>
            </a:xfrm>
            <a:custGeom>
              <a:avLst/>
              <a:gdLst>
                <a:gd name="connsiteX0" fmla="*/ 419100 w 1205298"/>
                <a:gd name="connsiteY0" fmla="*/ 488 h 2540488"/>
                <a:gd name="connsiteX1" fmla="*/ 1104900 w 1205298"/>
                <a:gd name="connsiteY1" fmla="*/ 152888 h 2540488"/>
                <a:gd name="connsiteX2" fmla="*/ 1193800 w 1205298"/>
                <a:gd name="connsiteY2" fmla="*/ 940288 h 2540488"/>
                <a:gd name="connsiteX3" fmla="*/ 1028700 w 1205298"/>
                <a:gd name="connsiteY3" fmla="*/ 1511788 h 2540488"/>
                <a:gd name="connsiteX4" fmla="*/ 330200 w 1205298"/>
                <a:gd name="connsiteY4" fmla="*/ 2235688 h 2540488"/>
                <a:gd name="connsiteX5" fmla="*/ 0 w 1205298"/>
                <a:gd name="connsiteY5" fmla="*/ 2540488 h 254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298" h="2540488">
                  <a:moveTo>
                    <a:pt x="419100" y="488"/>
                  </a:moveTo>
                  <a:cubicBezTo>
                    <a:pt x="697441" y="-1629"/>
                    <a:pt x="975783" y="-3745"/>
                    <a:pt x="1104900" y="152888"/>
                  </a:cubicBezTo>
                  <a:cubicBezTo>
                    <a:pt x="1234017" y="309521"/>
                    <a:pt x="1206500" y="713805"/>
                    <a:pt x="1193800" y="940288"/>
                  </a:cubicBezTo>
                  <a:cubicBezTo>
                    <a:pt x="1181100" y="1166771"/>
                    <a:pt x="1172633" y="1295888"/>
                    <a:pt x="1028700" y="1511788"/>
                  </a:cubicBezTo>
                  <a:cubicBezTo>
                    <a:pt x="884767" y="1727688"/>
                    <a:pt x="501650" y="2064238"/>
                    <a:pt x="330200" y="2235688"/>
                  </a:cubicBezTo>
                  <a:cubicBezTo>
                    <a:pt x="158750" y="2407138"/>
                    <a:pt x="79375" y="2473813"/>
                    <a:pt x="0" y="2540488"/>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234" name="Freeform: Shape 264">
            <a:extLst>
              <a:ext uri="{FF2B5EF4-FFF2-40B4-BE49-F238E27FC236}">
                <a16:creationId xmlns:a16="http://schemas.microsoft.com/office/drawing/2014/main" id="{1D50240F-66A1-83CC-F5F7-663ECCB64C97}"/>
              </a:ext>
            </a:extLst>
          </p:cNvPr>
          <p:cNvSpPr/>
          <p:nvPr/>
        </p:nvSpPr>
        <p:spPr>
          <a:xfrm>
            <a:off x="359039" y="4418756"/>
            <a:ext cx="233121" cy="48107"/>
          </a:xfrm>
          <a:custGeom>
            <a:avLst/>
            <a:gdLst>
              <a:gd name="connsiteX0" fmla="*/ 584200 w 584200"/>
              <a:gd name="connsiteY0" fmla="*/ 185782 h 201668"/>
              <a:gd name="connsiteX1" fmla="*/ 228600 w 584200"/>
              <a:gd name="connsiteY1" fmla="*/ 185782 h 201668"/>
              <a:gd name="connsiteX2" fmla="*/ 266700 w 584200"/>
              <a:gd name="connsiteY2" fmla="*/ 20682 h 201668"/>
              <a:gd name="connsiteX3" fmla="*/ 0 w 584200"/>
              <a:gd name="connsiteY3" fmla="*/ 7982 h 201668"/>
            </a:gdLst>
            <a:ahLst/>
            <a:cxnLst>
              <a:cxn ang="0">
                <a:pos x="connsiteX0" y="connsiteY0"/>
              </a:cxn>
              <a:cxn ang="0">
                <a:pos x="connsiteX1" y="connsiteY1"/>
              </a:cxn>
              <a:cxn ang="0">
                <a:pos x="connsiteX2" y="connsiteY2"/>
              </a:cxn>
              <a:cxn ang="0">
                <a:pos x="connsiteX3" y="connsiteY3"/>
              </a:cxn>
            </a:cxnLst>
            <a:rect l="l" t="t" r="r" b="b"/>
            <a:pathLst>
              <a:path w="584200" h="201668">
                <a:moveTo>
                  <a:pt x="584200" y="185782"/>
                </a:moveTo>
                <a:cubicBezTo>
                  <a:pt x="432858" y="199540"/>
                  <a:pt x="281517" y="213299"/>
                  <a:pt x="228600" y="185782"/>
                </a:cubicBezTo>
                <a:cubicBezTo>
                  <a:pt x="175683" y="158265"/>
                  <a:pt x="304800" y="50315"/>
                  <a:pt x="266700" y="20682"/>
                </a:cubicBezTo>
                <a:cubicBezTo>
                  <a:pt x="228600" y="-8951"/>
                  <a:pt x="114300" y="-485"/>
                  <a:pt x="0" y="7982"/>
                </a:cubicBezTo>
              </a:path>
            </a:pathLst>
          </a:cu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5" name="Oval 223">
            <a:extLst>
              <a:ext uri="{FF2B5EF4-FFF2-40B4-BE49-F238E27FC236}">
                <a16:creationId xmlns:a16="http://schemas.microsoft.com/office/drawing/2014/main" id="{CCDA9D18-7F2A-6D5B-9511-3339FF5D0CBE}"/>
              </a:ext>
            </a:extLst>
          </p:cNvPr>
          <p:cNvSpPr/>
          <p:nvPr/>
        </p:nvSpPr>
        <p:spPr>
          <a:xfrm>
            <a:off x="4005081" y="4447253"/>
            <a:ext cx="100511" cy="91374"/>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a:solidFill>
                <a:schemeClr val="tx1"/>
              </a:solidFill>
              <a:sym typeface="+mn-lt"/>
            </a:endParaRPr>
          </a:p>
        </p:txBody>
      </p:sp>
      <p:sp>
        <p:nvSpPr>
          <p:cNvPr id="236" name="Oval 224">
            <a:extLst>
              <a:ext uri="{FF2B5EF4-FFF2-40B4-BE49-F238E27FC236}">
                <a16:creationId xmlns:a16="http://schemas.microsoft.com/office/drawing/2014/main" id="{9E17721D-0E71-B746-79DC-0E59AD569A5C}"/>
              </a:ext>
            </a:extLst>
          </p:cNvPr>
          <p:cNvSpPr/>
          <p:nvPr/>
        </p:nvSpPr>
        <p:spPr>
          <a:xfrm>
            <a:off x="3774734" y="4279512"/>
            <a:ext cx="62336" cy="56669"/>
          </a:xfrm>
          <a:prstGeom prst="ellipse">
            <a:avLst/>
          </a:prstGeom>
          <a:solidFill>
            <a:schemeClr val="accent5"/>
          </a:solidFill>
          <a:ln w="635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defPPr>
              <a:defRPr lang="en-EN"/>
            </a:defPPr>
            <a:lvl1pPr algn="l" rtl="0" fontAlgn="base">
              <a:spcBef>
                <a:spcPct val="0"/>
              </a:spcBef>
              <a:spcAft>
                <a:spcPct val="0"/>
              </a:spcAft>
              <a:defRPr sz="1200" b="1" kern="1200">
                <a:solidFill>
                  <a:schemeClr val="lt1"/>
                </a:solidFill>
                <a:latin typeface="+mn-lt"/>
                <a:ea typeface="+mn-ea"/>
                <a:cs typeface="+mn-cs"/>
              </a:defRPr>
            </a:lvl1pPr>
            <a:lvl2pPr marL="457200" algn="l" rtl="0" fontAlgn="base">
              <a:spcBef>
                <a:spcPct val="0"/>
              </a:spcBef>
              <a:spcAft>
                <a:spcPct val="0"/>
              </a:spcAft>
              <a:defRPr sz="1200" b="1" kern="1200">
                <a:solidFill>
                  <a:schemeClr val="lt1"/>
                </a:solidFill>
                <a:latin typeface="+mn-lt"/>
                <a:ea typeface="+mn-ea"/>
                <a:cs typeface="+mn-cs"/>
              </a:defRPr>
            </a:lvl2pPr>
            <a:lvl3pPr marL="914400" algn="l" rtl="0" fontAlgn="base">
              <a:spcBef>
                <a:spcPct val="0"/>
              </a:spcBef>
              <a:spcAft>
                <a:spcPct val="0"/>
              </a:spcAft>
              <a:defRPr sz="1200" b="1" kern="1200">
                <a:solidFill>
                  <a:schemeClr val="lt1"/>
                </a:solidFill>
                <a:latin typeface="+mn-lt"/>
                <a:ea typeface="+mn-ea"/>
                <a:cs typeface="+mn-cs"/>
              </a:defRPr>
            </a:lvl3pPr>
            <a:lvl4pPr marL="1371600" algn="l" rtl="0" fontAlgn="base">
              <a:spcBef>
                <a:spcPct val="0"/>
              </a:spcBef>
              <a:spcAft>
                <a:spcPct val="0"/>
              </a:spcAft>
              <a:defRPr sz="1200" b="1" kern="1200">
                <a:solidFill>
                  <a:schemeClr val="lt1"/>
                </a:solidFill>
                <a:latin typeface="+mn-lt"/>
                <a:ea typeface="+mn-ea"/>
                <a:cs typeface="+mn-cs"/>
              </a:defRPr>
            </a:lvl4pPr>
            <a:lvl5pPr marL="1828800" algn="l" rtl="0" fontAlgn="base">
              <a:spcBef>
                <a:spcPct val="0"/>
              </a:spcBef>
              <a:spcAft>
                <a:spcPct val="0"/>
              </a:spcAft>
              <a:defRPr sz="1200" b="1" kern="1200">
                <a:solidFill>
                  <a:schemeClr val="lt1"/>
                </a:solidFill>
                <a:latin typeface="+mn-lt"/>
                <a:ea typeface="+mn-ea"/>
                <a:cs typeface="+mn-cs"/>
              </a:defRPr>
            </a:lvl5pPr>
            <a:lvl6pPr marL="2286000" algn="l" defTabSz="914400" rtl="0" eaLnBrk="1" latinLnBrk="0" hangingPunct="1">
              <a:defRPr sz="1200" b="1" kern="1200">
                <a:solidFill>
                  <a:schemeClr val="lt1"/>
                </a:solidFill>
                <a:latin typeface="+mn-lt"/>
                <a:ea typeface="+mn-ea"/>
                <a:cs typeface="+mn-cs"/>
              </a:defRPr>
            </a:lvl6pPr>
            <a:lvl7pPr marL="2743200" algn="l" defTabSz="914400" rtl="0" eaLnBrk="1" latinLnBrk="0" hangingPunct="1">
              <a:defRPr sz="1200" b="1" kern="1200">
                <a:solidFill>
                  <a:schemeClr val="lt1"/>
                </a:solidFill>
                <a:latin typeface="+mn-lt"/>
                <a:ea typeface="+mn-ea"/>
                <a:cs typeface="+mn-cs"/>
              </a:defRPr>
            </a:lvl7pPr>
            <a:lvl8pPr marL="3200400" algn="l" defTabSz="914400" rtl="0" eaLnBrk="1" latinLnBrk="0" hangingPunct="1">
              <a:defRPr sz="1200" b="1" kern="1200">
                <a:solidFill>
                  <a:schemeClr val="lt1"/>
                </a:solidFill>
                <a:latin typeface="+mn-lt"/>
                <a:ea typeface="+mn-ea"/>
                <a:cs typeface="+mn-cs"/>
              </a:defRPr>
            </a:lvl8pPr>
            <a:lvl9pPr marL="3657600" algn="l" defTabSz="914400" rtl="0" eaLnBrk="1" latinLnBrk="0" hangingPunct="1">
              <a:defRPr sz="1200" b="1" kern="1200">
                <a:solidFill>
                  <a:schemeClr val="lt1"/>
                </a:solidFill>
                <a:latin typeface="+mn-lt"/>
                <a:ea typeface="+mn-ea"/>
                <a:cs typeface="+mn-cs"/>
              </a:defRPr>
            </a:lvl9pPr>
          </a:lstStyle>
          <a:p>
            <a:pPr>
              <a:lnSpc>
                <a:spcPct val="90000"/>
              </a:lnSpc>
              <a:spcBef>
                <a:spcPts val="300"/>
              </a:spcBef>
              <a:buSzPct val="100000"/>
            </a:pPr>
            <a:endParaRPr lang="en-US" sz="900" b="0">
              <a:solidFill>
                <a:schemeClr val="tx1"/>
              </a:solidFill>
              <a:sym typeface="+mn-lt"/>
            </a:endParaRPr>
          </a:p>
        </p:txBody>
      </p:sp>
      <p:sp>
        <p:nvSpPr>
          <p:cNvPr id="237" name="Oval 241">
            <a:extLst>
              <a:ext uri="{FF2B5EF4-FFF2-40B4-BE49-F238E27FC236}">
                <a16:creationId xmlns:a16="http://schemas.microsoft.com/office/drawing/2014/main" id="{82C10677-A295-84C6-006A-5262D5F069C9}"/>
              </a:ext>
            </a:extLst>
          </p:cNvPr>
          <p:cNvSpPr/>
          <p:nvPr/>
        </p:nvSpPr>
        <p:spPr>
          <a:xfrm rot="11288474">
            <a:off x="3863377" y="3441167"/>
            <a:ext cx="340549" cy="376881"/>
          </a:xfrm>
          <a:prstGeom prst="ellipse">
            <a:avLst/>
          </a:prstGeom>
          <a:noFill/>
          <a:ln w="6350">
            <a:solidFill>
              <a:schemeClr val="accent5"/>
            </a:solidFill>
            <a:prstDash val="dash"/>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spcBef>
                <a:spcPts val="300"/>
              </a:spcBef>
              <a:spcAft>
                <a:spcPct val="0"/>
              </a:spcAft>
              <a:buSzPct val="100000"/>
            </a:pPr>
            <a:endParaRPr lang="en-US" sz="900">
              <a:solidFill>
                <a:schemeClr val="tx1"/>
              </a:solidFill>
              <a:sym typeface="+mn-lt"/>
            </a:endParaRPr>
          </a:p>
        </p:txBody>
      </p:sp>
      <p:sp>
        <p:nvSpPr>
          <p:cNvPr id="238" name="Speech Bubble: Rectangle 238">
            <a:extLst>
              <a:ext uri="{FF2B5EF4-FFF2-40B4-BE49-F238E27FC236}">
                <a16:creationId xmlns:a16="http://schemas.microsoft.com/office/drawing/2014/main" id="{B4775ABF-BAA0-DF63-A679-5FB07CDC5C3E}"/>
              </a:ext>
            </a:extLst>
          </p:cNvPr>
          <p:cNvSpPr/>
          <p:nvPr/>
        </p:nvSpPr>
        <p:spPr>
          <a:xfrm>
            <a:off x="1376675" y="1560287"/>
            <a:ext cx="1022575" cy="736753"/>
          </a:xfrm>
          <a:prstGeom prst="wedgeRectCallout">
            <a:avLst>
              <a:gd name="adj1" fmla="val 63890"/>
              <a:gd name="adj2" fmla="val 127422"/>
            </a:avLst>
          </a:prstGeom>
          <a:solidFill>
            <a:schemeClr val="accent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lstStyle/>
          <a:p>
            <a:pPr algn="ctr" fontAlgn="base">
              <a:spcBef>
                <a:spcPts val="300"/>
              </a:spcBef>
              <a:spcAft>
                <a:spcPct val="0"/>
              </a:spcAft>
              <a:buSzPct val="100000"/>
            </a:pPr>
            <a:r>
              <a:rPr lang="en-US" sz="600">
                <a:solidFill>
                  <a:schemeClr val="bg1"/>
                </a:solidFill>
                <a:sym typeface="+mn-lt"/>
              </a:rPr>
              <a:t>H</a:t>
            </a:r>
            <a:r>
              <a:rPr lang="en-US" sz="600" baseline="-25000">
                <a:solidFill>
                  <a:schemeClr val="bg1"/>
                </a:solidFill>
                <a:sym typeface="+mn-lt"/>
              </a:rPr>
              <a:t>2</a:t>
            </a:r>
            <a:r>
              <a:rPr lang="en-US" sz="600">
                <a:solidFill>
                  <a:schemeClr val="bg1"/>
                </a:solidFill>
                <a:sym typeface="+mn-lt"/>
              </a:rPr>
              <a:t> backbone centered around large import hubs (e.g., port of Rotterdam) and industrial offtakers such a Western Germany </a:t>
            </a:r>
          </a:p>
        </p:txBody>
      </p:sp>
      <p:sp>
        <p:nvSpPr>
          <p:cNvPr id="239" name="Title 206">
            <a:extLst>
              <a:ext uri="{FF2B5EF4-FFF2-40B4-BE49-F238E27FC236}">
                <a16:creationId xmlns:a16="http://schemas.microsoft.com/office/drawing/2014/main" id="{2F670370-CF44-A36F-318C-CD419E1AC829}"/>
              </a:ext>
            </a:extLst>
          </p:cNvPr>
          <p:cNvSpPr txBox="1">
            <a:spLocks/>
          </p:cNvSpPr>
          <p:nvPr/>
        </p:nvSpPr>
        <p:spPr>
          <a:xfrm>
            <a:off x="137574" y="844134"/>
            <a:ext cx="7251698" cy="576000"/>
          </a:xfrm>
          <a:prstGeom prst="rect">
            <a:avLst/>
          </a:prstGeom>
        </p:spPr>
        <p:txBody>
          <a:bodyPr vert="horz"/>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r>
              <a:rPr lang="en-US" sz="1800" dirty="0"/>
              <a:t>A H2 pipeline network across EU is currently under development connecting regional and cross-continent H2 supply and demand</a:t>
            </a:r>
          </a:p>
        </p:txBody>
      </p:sp>
      <p:sp>
        <p:nvSpPr>
          <p:cNvPr id="240" name="TextBox 207">
            <a:extLst>
              <a:ext uri="{FF2B5EF4-FFF2-40B4-BE49-F238E27FC236}">
                <a16:creationId xmlns:a16="http://schemas.microsoft.com/office/drawing/2014/main" id="{B0B3BCD0-C30E-F094-9F9E-A9EDC5520982}"/>
              </a:ext>
            </a:extLst>
          </p:cNvPr>
          <p:cNvSpPr txBox="1"/>
          <p:nvPr/>
        </p:nvSpPr>
        <p:spPr>
          <a:xfrm>
            <a:off x="174549" y="1345979"/>
            <a:ext cx="7579731" cy="276999"/>
          </a:xfrm>
          <a:prstGeom prst="rect">
            <a:avLst/>
          </a:prstGeom>
          <a:noFill/>
        </p:spPr>
        <p:txBody>
          <a:bodyPr wrap="square">
            <a:spAutoFit/>
          </a:bodyPr>
          <a:lstStyle/>
          <a:p>
            <a:r>
              <a:rPr lang="en-US" sz="1200" dirty="0">
                <a:solidFill>
                  <a:schemeClr val="tx2"/>
                </a:solidFill>
                <a:latin typeface="+mj-lt"/>
                <a:cs typeface="+mj-cs"/>
                <a:sym typeface="+mn-lt"/>
              </a:rPr>
              <a:t>Infra. driven cooperation – Deep dive: Transmission and distribution</a:t>
            </a:r>
          </a:p>
        </p:txBody>
      </p:sp>
      <p:sp>
        <p:nvSpPr>
          <p:cNvPr id="241" name="Source">
            <a:extLst>
              <a:ext uri="{FF2B5EF4-FFF2-40B4-BE49-F238E27FC236}">
                <a16:creationId xmlns:a16="http://schemas.microsoft.com/office/drawing/2014/main" id="{000C9DA9-5A74-4BD7-3032-2563AA2CD5E7}"/>
              </a:ext>
            </a:extLst>
          </p:cNvPr>
          <p:cNvSpPr txBox="1"/>
          <p:nvPr/>
        </p:nvSpPr>
        <p:spPr>
          <a:xfrm>
            <a:off x="6624262" y="1425028"/>
            <a:ext cx="2523127"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dirty="0">
                <a:sym typeface="+mn-lt"/>
              </a:rPr>
              <a:t>Source: European Hydrogen Backbone, Hydrogen Europe, Desk research</a:t>
            </a:r>
          </a:p>
        </p:txBody>
      </p:sp>
      <p:grpSp>
        <p:nvGrpSpPr>
          <p:cNvPr id="242" name="Group 267">
            <a:extLst>
              <a:ext uri="{FF2B5EF4-FFF2-40B4-BE49-F238E27FC236}">
                <a16:creationId xmlns:a16="http://schemas.microsoft.com/office/drawing/2014/main" id="{2E84580E-F421-D25E-3277-217B0CC9500C}"/>
              </a:ext>
            </a:extLst>
          </p:cNvPr>
          <p:cNvGrpSpPr/>
          <p:nvPr/>
        </p:nvGrpSpPr>
        <p:grpSpPr>
          <a:xfrm>
            <a:off x="267604" y="-985"/>
            <a:ext cx="1821103" cy="246221"/>
            <a:chOff x="267604" y="3778"/>
            <a:chExt cx="1821103" cy="246221"/>
          </a:xfrm>
        </p:grpSpPr>
        <p:sp>
          <p:nvSpPr>
            <p:cNvPr id="243" name="Oval 268">
              <a:extLst>
                <a:ext uri="{FF2B5EF4-FFF2-40B4-BE49-F238E27FC236}">
                  <a16:creationId xmlns:a16="http://schemas.microsoft.com/office/drawing/2014/main" id="{E67E2A62-F3BF-9134-8DE8-2CA48EAEBCAE}"/>
                </a:ext>
              </a:extLst>
            </p:cNvPr>
            <p:cNvSpPr/>
            <p:nvPr/>
          </p:nvSpPr>
          <p:spPr>
            <a:xfrm>
              <a:off x="267604" y="45746"/>
              <a:ext cx="162285" cy="162285"/>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RB Office"/>
                  <a:ea typeface="Microsoft YaHei"/>
                  <a:cs typeface="Calibri"/>
                </a:rPr>
                <a:t>B</a:t>
              </a:r>
            </a:p>
          </p:txBody>
        </p:sp>
        <p:sp>
          <p:nvSpPr>
            <p:cNvPr id="244" name="TextBox 269">
              <a:extLst>
                <a:ext uri="{FF2B5EF4-FFF2-40B4-BE49-F238E27FC236}">
                  <a16:creationId xmlns:a16="http://schemas.microsoft.com/office/drawing/2014/main" id="{070C3555-B37C-EF38-232F-469B235DB3AB}"/>
                </a:ext>
              </a:extLst>
            </p:cNvPr>
            <p:cNvSpPr txBox="1"/>
            <p:nvPr/>
          </p:nvSpPr>
          <p:spPr>
            <a:xfrm>
              <a:off x="362201" y="3778"/>
              <a:ext cx="1726506" cy="246221"/>
            </a:xfrm>
            <a:prstGeom prst="rect">
              <a:avLst/>
            </a:prstGeom>
            <a:noFill/>
          </p:spPr>
          <p:txBody>
            <a:bodyPr wrap="square" rtlCol="0" anchor="ctr">
              <a:spAutoFit/>
            </a:bodyPr>
            <a:lstStyle/>
            <a:p>
              <a:r>
                <a:rPr lang="en-GB" sz="1000" dirty="0"/>
                <a:t>Hydrogen infrastructure</a:t>
              </a:r>
            </a:p>
          </p:txBody>
        </p:sp>
      </p:grpSp>
    </p:spTree>
    <p:extLst>
      <p:ext uri="{BB962C8B-B14F-4D97-AF65-F5344CB8AC3E}">
        <p14:creationId xmlns:p14="http://schemas.microsoft.com/office/powerpoint/2010/main" val="36220794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 name="Title 1">
            <a:extLst>
              <a:ext uri="{FF2B5EF4-FFF2-40B4-BE49-F238E27FC236}">
                <a16:creationId xmlns:a16="http://schemas.microsoft.com/office/drawing/2014/main" id="{EBE4416B-2A49-556F-845D-D036367F1103}"/>
              </a:ext>
            </a:extLst>
          </p:cNvPr>
          <p:cNvSpPr txBox="1">
            <a:spLocks/>
          </p:cNvSpPr>
          <p:nvPr/>
        </p:nvSpPr>
        <p:spPr>
          <a:xfrm>
            <a:off x="153614" y="800498"/>
            <a:ext cx="8721446" cy="576000"/>
          </a:xfrm>
          <a:prstGeom prst="rect">
            <a:avLst/>
          </a:prstGeom>
        </p:spPr>
        <p:txBody>
          <a:bodyPr vert="horz"/>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r>
              <a:rPr lang="en-US" sz="1600" dirty="0"/>
              <a:t>Pipeline projects are in different dev. stages with likelihood of implementation varying – ~31,000 km to be realized until 2040</a:t>
            </a:r>
            <a:endParaRPr lang="en-GB" sz="1600" dirty="0"/>
          </a:p>
        </p:txBody>
      </p:sp>
      <p:pic>
        <p:nvPicPr>
          <p:cNvPr id="246" name="Picture 3">
            <a:extLst>
              <a:ext uri="{FF2B5EF4-FFF2-40B4-BE49-F238E27FC236}">
                <a16:creationId xmlns:a16="http://schemas.microsoft.com/office/drawing/2014/main" id="{93874715-010B-8796-8C1B-AB35E97DCFC9}"/>
              </a:ext>
            </a:extLst>
          </p:cNvPr>
          <p:cNvPicPr>
            <a:picLocks noChangeAspect="1"/>
          </p:cNvPicPr>
          <p:nvPr/>
        </p:nvPicPr>
        <p:blipFill>
          <a:blip r:embed="rId2"/>
          <a:stretch>
            <a:fillRect/>
          </a:stretch>
        </p:blipFill>
        <p:spPr>
          <a:xfrm>
            <a:off x="291466" y="1946432"/>
            <a:ext cx="2512641" cy="2476437"/>
          </a:xfrm>
          <a:prstGeom prst="rect">
            <a:avLst/>
          </a:prstGeom>
        </p:spPr>
      </p:pic>
      <p:sp>
        <p:nvSpPr>
          <p:cNvPr id="247" name="Rectangle: Rounded Corners 8">
            <a:extLst>
              <a:ext uri="{FF2B5EF4-FFF2-40B4-BE49-F238E27FC236}">
                <a16:creationId xmlns:a16="http://schemas.microsoft.com/office/drawing/2014/main" id="{8B7C7792-1948-0F04-570F-C8029009008C}"/>
              </a:ext>
            </a:extLst>
          </p:cNvPr>
          <p:cNvSpPr>
            <a:spLocks/>
          </p:cNvSpPr>
          <p:nvPr/>
        </p:nvSpPr>
        <p:spPr>
          <a:xfrm>
            <a:off x="4571840" y="1841345"/>
            <a:ext cx="4303220" cy="2664220"/>
          </a:xfrm>
          <a:prstGeom prst="roundRect">
            <a:avLst>
              <a:gd name="adj" fmla="val 3475"/>
            </a:avLst>
          </a:prstGeom>
          <a:solidFill>
            <a:schemeClr val="bg1">
              <a:lumMod val="95000"/>
            </a:schemeClr>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chorCtr="1"/>
          <a:lstStyle/>
          <a:p>
            <a:pPr algn="ctr" fontAlgn="base">
              <a:lnSpc>
                <a:spcPct val="90000"/>
              </a:lnSpc>
              <a:spcBef>
                <a:spcPts val="400"/>
              </a:spcBef>
              <a:spcAft>
                <a:spcPct val="0"/>
              </a:spcAft>
              <a:buSzPct val="100000"/>
            </a:pPr>
            <a:endParaRPr lang="en-US" sz="1050" b="0">
              <a:solidFill>
                <a:schemeClr val="tx1"/>
              </a:solidFill>
              <a:sym typeface="+mn-lt"/>
            </a:endParaRPr>
          </a:p>
        </p:txBody>
      </p:sp>
      <p:sp>
        <p:nvSpPr>
          <p:cNvPr id="248" name="RBContent71">
            <a:extLst>
              <a:ext uri="{FF2B5EF4-FFF2-40B4-BE49-F238E27FC236}">
                <a16:creationId xmlns:a16="http://schemas.microsoft.com/office/drawing/2014/main" id="{CFE40212-063F-357D-448F-00EB250FC7CD}"/>
              </a:ext>
            </a:extLst>
          </p:cNvPr>
          <p:cNvSpPr txBox="1">
            <a:spLocks/>
          </p:cNvSpPr>
          <p:nvPr/>
        </p:nvSpPr>
        <p:spPr>
          <a:xfrm>
            <a:off x="3102372" y="1543909"/>
            <a:ext cx="384721" cy="153888"/>
          </a:xfrm>
          <a:prstGeom prst="roundRect">
            <a:avLst>
              <a:gd name="adj" fmla="val 0"/>
            </a:avLst>
          </a:prstGeom>
          <a:noFill/>
          <a:ln w="9525">
            <a:noFill/>
          </a:ln>
        </p:spPr>
        <p:txBody>
          <a:bodyPr vert="horz" wrap="none" lIns="0" tIns="0" rIns="0" bIns="0" rtlCol="0">
            <a:spAutoFit/>
          </a:bodyPr>
          <a:lstStyle/>
          <a:p>
            <a:pPr algn="ctr">
              <a:spcBef>
                <a:spcPts val="400"/>
              </a:spcBef>
              <a:buSzPct val="100000"/>
              <a:buFont typeface=""/>
            </a:pPr>
            <a:r>
              <a:rPr lang="en-US" sz="1000" b="1">
                <a:sym typeface="+mn-lt"/>
              </a:rPr>
              <a:t>Group</a:t>
            </a:r>
          </a:p>
        </p:txBody>
      </p:sp>
      <p:sp>
        <p:nvSpPr>
          <p:cNvPr id="249" name="RBContent71">
            <a:extLst>
              <a:ext uri="{FF2B5EF4-FFF2-40B4-BE49-F238E27FC236}">
                <a16:creationId xmlns:a16="http://schemas.microsoft.com/office/drawing/2014/main" id="{DCA32F12-D6A8-AB59-361E-6EB5F7A252DD}"/>
              </a:ext>
            </a:extLst>
          </p:cNvPr>
          <p:cNvSpPr txBox="1">
            <a:spLocks/>
          </p:cNvSpPr>
          <p:nvPr/>
        </p:nvSpPr>
        <p:spPr>
          <a:xfrm>
            <a:off x="3866396" y="1543909"/>
            <a:ext cx="694507" cy="153888"/>
          </a:xfrm>
          <a:prstGeom prst="roundRect">
            <a:avLst>
              <a:gd name="adj" fmla="val 0"/>
            </a:avLst>
          </a:prstGeom>
          <a:noFill/>
          <a:ln w="9525">
            <a:noFill/>
          </a:ln>
        </p:spPr>
        <p:txBody>
          <a:bodyPr vert="horz" wrap="square" lIns="0" tIns="0" rIns="0" bIns="0" rtlCol="0">
            <a:spAutoFit/>
          </a:bodyPr>
          <a:lstStyle/>
          <a:p>
            <a:pPr>
              <a:spcBef>
                <a:spcPts val="400"/>
              </a:spcBef>
              <a:buSzPct val="100000"/>
              <a:buFont typeface=""/>
            </a:pPr>
            <a:r>
              <a:rPr lang="en-US" sz="1000" b="1" dirty="0">
                <a:sym typeface="+mn-lt"/>
              </a:rPr>
              <a:t>Countries</a:t>
            </a:r>
          </a:p>
        </p:txBody>
      </p:sp>
      <p:sp>
        <p:nvSpPr>
          <p:cNvPr id="250" name="RBContent71">
            <a:extLst>
              <a:ext uri="{FF2B5EF4-FFF2-40B4-BE49-F238E27FC236}">
                <a16:creationId xmlns:a16="http://schemas.microsoft.com/office/drawing/2014/main" id="{825A7931-BF8A-B30E-DF96-F0435CCBE573}"/>
              </a:ext>
            </a:extLst>
          </p:cNvPr>
          <p:cNvSpPr txBox="1">
            <a:spLocks/>
          </p:cNvSpPr>
          <p:nvPr/>
        </p:nvSpPr>
        <p:spPr>
          <a:xfrm>
            <a:off x="4345168" y="1339321"/>
            <a:ext cx="1768213" cy="153888"/>
          </a:xfrm>
          <a:prstGeom prst="roundRect">
            <a:avLst>
              <a:gd name="adj" fmla="val 0"/>
            </a:avLst>
          </a:prstGeom>
          <a:noFill/>
          <a:ln w="9525">
            <a:noFill/>
          </a:ln>
        </p:spPr>
        <p:txBody>
          <a:bodyPr vert="horz" wrap="square" lIns="0" tIns="0" rIns="0" bIns="0" rtlCol="0">
            <a:spAutoFit/>
          </a:bodyPr>
          <a:lstStyle/>
          <a:p>
            <a:pPr algn="ctr">
              <a:spcBef>
                <a:spcPts val="400"/>
              </a:spcBef>
              <a:buSzPct val="100000"/>
              <a:buFont typeface=""/>
            </a:pPr>
            <a:r>
              <a:rPr lang="en-US" sz="1000" b="0" i="1">
                <a:sym typeface="+mn-lt"/>
              </a:rPr>
              <a:t>Length 2040 per stage</a:t>
            </a:r>
          </a:p>
        </p:txBody>
      </p:sp>
      <p:sp>
        <p:nvSpPr>
          <p:cNvPr id="251" name="RBContent71">
            <a:extLst>
              <a:ext uri="{FF2B5EF4-FFF2-40B4-BE49-F238E27FC236}">
                <a16:creationId xmlns:a16="http://schemas.microsoft.com/office/drawing/2014/main" id="{EB32356A-D24C-BA51-C411-AABD0884B434}"/>
              </a:ext>
            </a:extLst>
          </p:cNvPr>
          <p:cNvSpPr txBox="1">
            <a:spLocks/>
          </p:cNvSpPr>
          <p:nvPr/>
        </p:nvSpPr>
        <p:spPr>
          <a:xfrm>
            <a:off x="5948480" y="1509090"/>
            <a:ext cx="2757473" cy="307777"/>
          </a:xfrm>
          <a:prstGeom prst="roundRect">
            <a:avLst>
              <a:gd name="adj" fmla="val 0"/>
            </a:avLst>
          </a:prstGeom>
          <a:noFill/>
          <a:ln w="9525">
            <a:noFill/>
          </a:ln>
        </p:spPr>
        <p:txBody>
          <a:bodyPr vert="horz" wrap="square" lIns="0" tIns="0" rIns="0" bIns="0" rtlCol="0">
            <a:spAutoFit/>
          </a:bodyPr>
          <a:lstStyle/>
          <a:p>
            <a:pPr>
              <a:spcBef>
                <a:spcPts val="400"/>
              </a:spcBef>
              <a:buSzPct val="100000"/>
              <a:buFont typeface=""/>
            </a:pPr>
            <a:r>
              <a:rPr lang="en-US" sz="1000" b="1">
                <a:sym typeface="+mn-lt"/>
              </a:rPr>
              <a:t>Construction probability of </a:t>
            </a:r>
            <a:br>
              <a:rPr lang="en-US" sz="1000" b="1">
                <a:sym typeface="+mn-lt"/>
              </a:rPr>
            </a:br>
            <a:r>
              <a:rPr lang="en-US" sz="1000" b="1">
                <a:sym typeface="+mn-lt"/>
              </a:rPr>
              <a:t>projects in countries</a:t>
            </a:r>
          </a:p>
        </p:txBody>
      </p:sp>
      <p:pic>
        <p:nvPicPr>
          <p:cNvPr id="252" name="Graphic 24">
            <a:extLst>
              <a:ext uri="{FF2B5EF4-FFF2-40B4-BE49-F238E27FC236}">
                <a16:creationId xmlns:a16="http://schemas.microsoft.com/office/drawing/2014/main" id="{EC290A77-B0ED-B3DF-17E8-29A53FC2EF4B}"/>
              </a:ext>
            </a:extLst>
          </p:cNvPr>
          <p:cNvPicPr>
            <a:picLocks/>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236841" y="1921007"/>
            <a:ext cx="198437" cy="198437"/>
          </a:xfrm>
          <a:prstGeom prst="rect">
            <a:avLst/>
          </a:prstGeom>
        </p:spPr>
      </p:pic>
      <p:pic>
        <p:nvPicPr>
          <p:cNvPr id="253" name="Graphic 51">
            <a:extLst>
              <a:ext uri="{FF2B5EF4-FFF2-40B4-BE49-F238E27FC236}">
                <a16:creationId xmlns:a16="http://schemas.microsoft.com/office/drawing/2014/main" id="{0385BF31-1521-F46C-86D1-7E63B726A401}"/>
              </a:ext>
            </a:extLst>
          </p:cNvPr>
          <p:cNvPicPr>
            <a:picLocks/>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923633" y="1921007"/>
            <a:ext cx="198437" cy="198437"/>
          </a:xfrm>
          <a:prstGeom prst="rect">
            <a:avLst/>
          </a:prstGeom>
        </p:spPr>
      </p:pic>
      <p:pic>
        <p:nvPicPr>
          <p:cNvPr id="254" name="Graphic 52">
            <a:extLst>
              <a:ext uri="{FF2B5EF4-FFF2-40B4-BE49-F238E27FC236}">
                <a16:creationId xmlns:a16="http://schemas.microsoft.com/office/drawing/2014/main" id="{D5BFB403-1B7B-5EA8-14B0-425B458F0E33}"/>
              </a:ext>
            </a:extLst>
          </p:cNvPr>
          <p:cNvPicPr>
            <a:picLocks/>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926647" y="2156841"/>
            <a:ext cx="198437" cy="198437"/>
          </a:xfrm>
          <a:prstGeom prst="rect">
            <a:avLst/>
          </a:prstGeom>
        </p:spPr>
      </p:pic>
      <p:sp>
        <p:nvSpPr>
          <p:cNvPr id="255" name="RBContent71">
            <a:extLst>
              <a:ext uri="{FF2B5EF4-FFF2-40B4-BE49-F238E27FC236}">
                <a16:creationId xmlns:a16="http://schemas.microsoft.com/office/drawing/2014/main" id="{57036A5C-7BC7-17E2-038C-D49E02DC3771}"/>
              </a:ext>
            </a:extLst>
          </p:cNvPr>
          <p:cNvSpPr txBox="1">
            <a:spLocks/>
          </p:cNvSpPr>
          <p:nvPr/>
        </p:nvSpPr>
        <p:spPr>
          <a:xfrm>
            <a:off x="8282168" y="4385909"/>
            <a:ext cx="477695" cy="153888"/>
          </a:xfrm>
          <a:prstGeom prst="roundRect">
            <a:avLst>
              <a:gd name="adj" fmla="val 0"/>
            </a:avLst>
          </a:prstGeom>
          <a:noFill/>
          <a:ln w="9525">
            <a:noFill/>
          </a:ln>
        </p:spPr>
        <p:txBody>
          <a:bodyPr vert="horz" wrap="none" lIns="0" tIns="0" rIns="0" bIns="0" rtlCol="0">
            <a:spAutoFit/>
          </a:bodyPr>
          <a:lstStyle/>
          <a:p>
            <a:pPr algn="r">
              <a:spcBef>
                <a:spcPts val="400"/>
              </a:spcBef>
              <a:buSzPct val="100000"/>
              <a:buFont typeface=""/>
            </a:pPr>
            <a:r>
              <a:rPr lang="en-US" sz="1000" dirty="0">
                <a:latin typeface="RB Office" panose="00000600000000000000" pitchFamily="2" charset="0"/>
                <a:ea typeface="RB Office" panose="00000600000000000000" pitchFamily="2" charset="0"/>
                <a:sym typeface="+mn-lt"/>
              </a:rPr>
              <a:t>∑ = 30.6</a:t>
            </a:r>
            <a:endParaRPr lang="en-US" sz="1000" dirty="0">
              <a:latin typeface="RB Office" panose="00000600000000000000" pitchFamily="2" charset="0"/>
              <a:sym typeface="+mn-lt"/>
            </a:endParaRPr>
          </a:p>
        </p:txBody>
      </p:sp>
      <p:sp>
        <p:nvSpPr>
          <p:cNvPr id="256" name="RBContent71">
            <a:extLst>
              <a:ext uri="{FF2B5EF4-FFF2-40B4-BE49-F238E27FC236}">
                <a16:creationId xmlns:a16="http://schemas.microsoft.com/office/drawing/2014/main" id="{4C873D3E-D4F6-1F00-794D-ED34105C6833}"/>
              </a:ext>
            </a:extLst>
          </p:cNvPr>
          <p:cNvSpPr txBox="1">
            <a:spLocks/>
          </p:cNvSpPr>
          <p:nvPr/>
        </p:nvSpPr>
        <p:spPr>
          <a:xfrm>
            <a:off x="4498936" y="1521803"/>
            <a:ext cx="405580" cy="153888"/>
          </a:xfrm>
          <a:prstGeom prst="roundRect">
            <a:avLst>
              <a:gd name="adj" fmla="val 0"/>
            </a:avLst>
          </a:prstGeom>
          <a:noFill/>
          <a:ln w="9525">
            <a:noFill/>
          </a:ln>
        </p:spPr>
        <p:txBody>
          <a:bodyPr vert="horz" wrap="square" lIns="0" tIns="0" rIns="0" bIns="0" rtlCol="0">
            <a:spAutoFit/>
          </a:bodyPr>
          <a:lstStyle/>
          <a:p>
            <a:pPr algn="r">
              <a:spcBef>
                <a:spcPts val="400"/>
              </a:spcBef>
              <a:buSzPct val="100000"/>
              <a:buFont typeface=""/>
            </a:pPr>
            <a:r>
              <a:rPr lang="en-US" sz="1000" b="1">
                <a:sym typeface="+mn-lt"/>
              </a:rPr>
              <a:t>Adv.</a:t>
            </a:r>
          </a:p>
        </p:txBody>
      </p:sp>
      <p:sp>
        <p:nvSpPr>
          <p:cNvPr id="257" name="RBContent71">
            <a:extLst>
              <a:ext uri="{FF2B5EF4-FFF2-40B4-BE49-F238E27FC236}">
                <a16:creationId xmlns:a16="http://schemas.microsoft.com/office/drawing/2014/main" id="{9BD885C7-D79E-3856-FA83-FA3E70DF789C}"/>
              </a:ext>
            </a:extLst>
          </p:cNvPr>
          <p:cNvSpPr txBox="1">
            <a:spLocks/>
          </p:cNvSpPr>
          <p:nvPr/>
        </p:nvSpPr>
        <p:spPr>
          <a:xfrm>
            <a:off x="5025472" y="1521803"/>
            <a:ext cx="325410" cy="307777"/>
          </a:xfrm>
          <a:prstGeom prst="roundRect">
            <a:avLst>
              <a:gd name="adj" fmla="val 0"/>
            </a:avLst>
          </a:prstGeom>
          <a:noFill/>
          <a:ln w="9525">
            <a:noFill/>
          </a:ln>
        </p:spPr>
        <p:txBody>
          <a:bodyPr vert="horz" wrap="none" lIns="0" tIns="0" rIns="0" bIns="0" rtlCol="0">
            <a:spAutoFit/>
          </a:bodyPr>
          <a:lstStyle/>
          <a:p>
            <a:pPr algn="r">
              <a:spcBef>
                <a:spcPts val="400"/>
              </a:spcBef>
              <a:buSzPct val="100000"/>
              <a:buFont typeface=""/>
            </a:pPr>
            <a:r>
              <a:rPr lang="en-US" sz="1000" b="1" dirty="0">
                <a:sym typeface="+mn-lt"/>
              </a:rPr>
              <a:t>Less </a:t>
            </a:r>
            <a:br>
              <a:rPr lang="en-US" sz="1000" b="1" dirty="0">
                <a:sym typeface="+mn-lt"/>
              </a:rPr>
            </a:br>
            <a:r>
              <a:rPr lang="en-US" sz="1000" b="1" dirty="0">
                <a:sym typeface="+mn-lt"/>
              </a:rPr>
              <a:t>adv.</a:t>
            </a:r>
          </a:p>
        </p:txBody>
      </p:sp>
      <p:sp>
        <p:nvSpPr>
          <p:cNvPr id="258" name="RBContent71">
            <a:extLst>
              <a:ext uri="{FF2B5EF4-FFF2-40B4-BE49-F238E27FC236}">
                <a16:creationId xmlns:a16="http://schemas.microsoft.com/office/drawing/2014/main" id="{F60474B4-50EF-9E2B-8A47-9D9E42CA03B2}"/>
              </a:ext>
            </a:extLst>
          </p:cNvPr>
          <p:cNvSpPr txBox="1">
            <a:spLocks/>
          </p:cNvSpPr>
          <p:nvPr/>
        </p:nvSpPr>
        <p:spPr>
          <a:xfrm>
            <a:off x="5470515" y="1521803"/>
            <a:ext cx="383117" cy="307777"/>
          </a:xfrm>
          <a:prstGeom prst="roundRect">
            <a:avLst>
              <a:gd name="adj" fmla="val 0"/>
            </a:avLst>
          </a:prstGeom>
          <a:noFill/>
          <a:ln w="9525">
            <a:noFill/>
          </a:ln>
        </p:spPr>
        <p:txBody>
          <a:bodyPr vert="horz" wrap="none" lIns="0" tIns="0" rIns="0" bIns="0" rtlCol="0">
            <a:spAutoFit/>
          </a:bodyPr>
          <a:lstStyle/>
          <a:p>
            <a:pPr algn="r">
              <a:spcBef>
                <a:spcPts val="400"/>
              </a:spcBef>
              <a:buSzPct val="100000"/>
              <a:buFont typeface=""/>
            </a:pPr>
            <a:r>
              <a:rPr lang="en-US" sz="1000" b="1">
                <a:sym typeface="+mn-lt"/>
              </a:rPr>
              <a:t>Envis-</a:t>
            </a:r>
            <a:br>
              <a:rPr lang="en-US" sz="1000" b="1">
                <a:sym typeface="+mn-lt"/>
              </a:rPr>
            </a:br>
            <a:r>
              <a:rPr lang="en-US" sz="1000" b="1">
                <a:sym typeface="+mn-lt"/>
              </a:rPr>
              <a:t>ioned</a:t>
            </a:r>
          </a:p>
        </p:txBody>
      </p:sp>
      <p:sp>
        <p:nvSpPr>
          <p:cNvPr id="259" name="RBContent71">
            <a:extLst>
              <a:ext uri="{FF2B5EF4-FFF2-40B4-BE49-F238E27FC236}">
                <a16:creationId xmlns:a16="http://schemas.microsoft.com/office/drawing/2014/main" id="{B02C780F-AB5C-0182-8C85-397A427A8A8F}"/>
              </a:ext>
            </a:extLst>
          </p:cNvPr>
          <p:cNvSpPr txBox="1">
            <a:spLocks/>
          </p:cNvSpPr>
          <p:nvPr/>
        </p:nvSpPr>
        <p:spPr>
          <a:xfrm>
            <a:off x="8189264" y="1504124"/>
            <a:ext cx="577081" cy="307777"/>
          </a:xfrm>
          <a:prstGeom prst="roundRect">
            <a:avLst>
              <a:gd name="adj" fmla="val 0"/>
            </a:avLst>
          </a:prstGeom>
          <a:noFill/>
          <a:ln w="9525">
            <a:noFill/>
          </a:ln>
        </p:spPr>
        <p:txBody>
          <a:bodyPr vert="horz" wrap="none" lIns="0" tIns="0" rIns="0" bIns="0" rtlCol="0">
            <a:spAutoFit/>
          </a:bodyPr>
          <a:lstStyle/>
          <a:p>
            <a:pPr algn="r">
              <a:spcBef>
                <a:spcPts val="400"/>
              </a:spcBef>
              <a:buSzPct val="100000"/>
              <a:buFont typeface=""/>
            </a:pPr>
            <a:r>
              <a:rPr lang="en-US" sz="1000" b="1">
                <a:sym typeface="+mn-lt"/>
              </a:rPr>
              <a:t>Weighted</a:t>
            </a:r>
            <a:br>
              <a:rPr lang="en-US" sz="1000" b="1">
                <a:sym typeface="+mn-lt"/>
              </a:rPr>
            </a:br>
            <a:r>
              <a:rPr lang="en-US" sz="1000" b="1">
                <a:sym typeface="+mn-lt"/>
              </a:rPr>
              <a:t>length</a:t>
            </a:r>
          </a:p>
        </p:txBody>
      </p:sp>
      <p:sp>
        <p:nvSpPr>
          <p:cNvPr id="260" name="Rectangle: Rounded Corners 22">
            <a:extLst>
              <a:ext uri="{FF2B5EF4-FFF2-40B4-BE49-F238E27FC236}">
                <a16:creationId xmlns:a16="http://schemas.microsoft.com/office/drawing/2014/main" id="{FF407DBB-89D2-B446-E813-B6F09756259B}"/>
              </a:ext>
            </a:extLst>
          </p:cNvPr>
          <p:cNvSpPr>
            <a:spLocks/>
          </p:cNvSpPr>
          <p:nvPr/>
        </p:nvSpPr>
        <p:spPr>
          <a:xfrm>
            <a:off x="2880504" y="1841345"/>
            <a:ext cx="907907" cy="2664220"/>
          </a:xfrm>
          <a:prstGeom prst="roundRect">
            <a:avLst>
              <a:gd name="adj" fmla="val 11594"/>
            </a:avLst>
          </a:prstGeom>
          <a:solidFill>
            <a:schemeClr val="bg1">
              <a:lumMod val="95000"/>
            </a:schemeClr>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chorCtr="1"/>
          <a:lstStyle/>
          <a:p>
            <a:pPr algn="ctr">
              <a:lnSpc>
                <a:spcPct val="90000"/>
              </a:lnSpc>
              <a:spcBef>
                <a:spcPts val="400"/>
              </a:spcBef>
              <a:buSzPct val="100000"/>
            </a:pPr>
            <a:endParaRPr lang="en-US" sz="1400" b="0">
              <a:solidFill>
                <a:schemeClr val="tx1"/>
              </a:solidFill>
              <a:sym typeface="+mn-lt"/>
            </a:endParaRPr>
          </a:p>
        </p:txBody>
      </p:sp>
      <p:grpSp>
        <p:nvGrpSpPr>
          <p:cNvPr id="261" name="Group 23">
            <a:extLst>
              <a:ext uri="{FF2B5EF4-FFF2-40B4-BE49-F238E27FC236}">
                <a16:creationId xmlns:a16="http://schemas.microsoft.com/office/drawing/2014/main" id="{5E72EBC4-9011-647B-1993-70C4339ED18D}"/>
              </a:ext>
            </a:extLst>
          </p:cNvPr>
          <p:cNvGrpSpPr/>
          <p:nvPr/>
        </p:nvGrpSpPr>
        <p:grpSpPr>
          <a:xfrm>
            <a:off x="2804527" y="2383872"/>
            <a:ext cx="6107785" cy="142105"/>
            <a:chOff x="4069398" y="3300962"/>
            <a:chExt cx="7783929" cy="142105"/>
          </a:xfrm>
        </p:grpSpPr>
        <p:sp>
          <p:nvSpPr>
            <p:cNvPr id="262" name="Oval 24">
              <a:extLst>
                <a:ext uri="{FF2B5EF4-FFF2-40B4-BE49-F238E27FC236}">
                  <a16:creationId xmlns:a16="http://schemas.microsoft.com/office/drawing/2014/main" id="{B346E160-2E28-3EB2-1486-C99001C472D2}"/>
                </a:ext>
              </a:extLst>
            </p:cNvPr>
            <p:cNvSpPr/>
            <p:nvPr/>
          </p:nvSpPr>
          <p:spPr>
            <a:xfrm>
              <a:off x="4069398" y="3300962"/>
              <a:ext cx="142105" cy="142105"/>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lstStyle/>
            <a:p>
              <a:pPr algn="l" fontAlgn="base">
                <a:lnSpc>
                  <a:spcPct val="100000"/>
                </a:lnSpc>
                <a:spcBef>
                  <a:spcPts val="400"/>
                </a:spcBef>
                <a:spcAft>
                  <a:spcPct val="0"/>
                </a:spcAft>
                <a:buSzPct val="100000"/>
              </a:pPr>
              <a:endParaRPr lang="en-US" sz="1050" b="0" err="1">
                <a:solidFill>
                  <a:schemeClr val="tx1"/>
                </a:solidFill>
                <a:sym typeface="+mn-lt"/>
              </a:endParaRPr>
            </a:p>
          </p:txBody>
        </p:sp>
        <p:sp>
          <p:nvSpPr>
            <p:cNvPr id="263" name="Oval 25">
              <a:extLst>
                <a:ext uri="{FF2B5EF4-FFF2-40B4-BE49-F238E27FC236}">
                  <a16:creationId xmlns:a16="http://schemas.microsoft.com/office/drawing/2014/main" id="{9A4745FE-32ED-23D8-1957-96F062D1B706}"/>
                </a:ext>
              </a:extLst>
            </p:cNvPr>
            <p:cNvSpPr/>
            <p:nvPr/>
          </p:nvSpPr>
          <p:spPr>
            <a:xfrm>
              <a:off x="11711222" y="3300962"/>
              <a:ext cx="142105" cy="142105"/>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lstStyle/>
            <a:p>
              <a:pPr algn="l" fontAlgn="base">
                <a:lnSpc>
                  <a:spcPct val="100000"/>
                </a:lnSpc>
                <a:spcBef>
                  <a:spcPts val="400"/>
                </a:spcBef>
                <a:spcAft>
                  <a:spcPct val="0"/>
                </a:spcAft>
                <a:buSzPct val="100000"/>
              </a:pPr>
              <a:endParaRPr lang="en-US" sz="1050" b="0" err="1">
                <a:solidFill>
                  <a:schemeClr val="tx1"/>
                </a:solidFill>
                <a:sym typeface="+mn-lt"/>
              </a:endParaRPr>
            </a:p>
          </p:txBody>
        </p:sp>
        <p:cxnSp>
          <p:nvCxnSpPr>
            <p:cNvPr id="264" name="RBHorizontalLine152">
              <a:extLst>
                <a:ext uri="{FF2B5EF4-FFF2-40B4-BE49-F238E27FC236}">
                  <a16:creationId xmlns:a16="http://schemas.microsoft.com/office/drawing/2014/main" id="{7A35A959-972E-0091-078F-CC2A7296E81B}"/>
                </a:ext>
              </a:extLst>
            </p:cNvPr>
            <p:cNvCxnSpPr/>
            <p:nvPr/>
          </p:nvCxnSpPr>
          <p:spPr>
            <a:xfrm>
              <a:off x="4145375" y="3372014"/>
              <a:ext cx="7633874" cy="0"/>
            </a:xfrm>
            <a:prstGeom prst="line">
              <a:avLst/>
            </a:prstGeom>
            <a:ln w="12700" cmpd="sng">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265" name="Group 27">
            <a:extLst>
              <a:ext uri="{FF2B5EF4-FFF2-40B4-BE49-F238E27FC236}">
                <a16:creationId xmlns:a16="http://schemas.microsoft.com/office/drawing/2014/main" id="{0AAD04FE-EDD5-55C8-8A18-449925C3C7EB}"/>
              </a:ext>
            </a:extLst>
          </p:cNvPr>
          <p:cNvGrpSpPr/>
          <p:nvPr/>
        </p:nvGrpSpPr>
        <p:grpSpPr>
          <a:xfrm>
            <a:off x="2812427" y="3057515"/>
            <a:ext cx="6107785" cy="142105"/>
            <a:chOff x="4077298" y="4085241"/>
            <a:chExt cx="7783929" cy="142105"/>
          </a:xfrm>
        </p:grpSpPr>
        <p:sp>
          <p:nvSpPr>
            <p:cNvPr id="266" name="Oval 28">
              <a:extLst>
                <a:ext uri="{FF2B5EF4-FFF2-40B4-BE49-F238E27FC236}">
                  <a16:creationId xmlns:a16="http://schemas.microsoft.com/office/drawing/2014/main" id="{87C5415E-CD80-8D43-AF6C-800D46ADBC8F}"/>
                </a:ext>
              </a:extLst>
            </p:cNvPr>
            <p:cNvSpPr/>
            <p:nvPr/>
          </p:nvSpPr>
          <p:spPr>
            <a:xfrm>
              <a:off x="4077298" y="4085241"/>
              <a:ext cx="142105" cy="142105"/>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lstStyle/>
            <a:p>
              <a:pPr algn="l" fontAlgn="base">
                <a:lnSpc>
                  <a:spcPct val="100000"/>
                </a:lnSpc>
                <a:spcBef>
                  <a:spcPts val="400"/>
                </a:spcBef>
                <a:spcAft>
                  <a:spcPct val="0"/>
                </a:spcAft>
                <a:buSzPct val="100000"/>
              </a:pPr>
              <a:endParaRPr lang="en-US" sz="1050" b="0" err="1">
                <a:solidFill>
                  <a:schemeClr val="tx1"/>
                </a:solidFill>
                <a:sym typeface="+mn-lt"/>
              </a:endParaRPr>
            </a:p>
          </p:txBody>
        </p:sp>
        <p:sp>
          <p:nvSpPr>
            <p:cNvPr id="267" name="Oval 29">
              <a:extLst>
                <a:ext uri="{FF2B5EF4-FFF2-40B4-BE49-F238E27FC236}">
                  <a16:creationId xmlns:a16="http://schemas.microsoft.com/office/drawing/2014/main" id="{0DAA79D4-814F-1DE1-3B7E-4E44BAE7712A}"/>
                </a:ext>
              </a:extLst>
            </p:cNvPr>
            <p:cNvSpPr/>
            <p:nvPr/>
          </p:nvSpPr>
          <p:spPr>
            <a:xfrm>
              <a:off x="11719122" y="4085241"/>
              <a:ext cx="142105" cy="142105"/>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lstStyle/>
            <a:p>
              <a:pPr algn="l" fontAlgn="base">
                <a:lnSpc>
                  <a:spcPct val="100000"/>
                </a:lnSpc>
                <a:spcBef>
                  <a:spcPts val="400"/>
                </a:spcBef>
                <a:spcAft>
                  <a:spcPct val="0"/>
                </a:spcAft>
                <a:buSzPct val="100000"/>
              </a:pPr>
              <a:endParaRPr lang="en-US" sz="1050" b="0" err="1">
                <a:solidFill>
                  <a:schemeClr val="tx1"/>
                </a:solidFill>
                <a:sym typeface="+mn-lt"/>
              </a:endParaRPr>
            </a:p>
          </p:txBody>
        </p:sp>
        <p:cxnSp>
          <p:nvCxnSpPr>
            <p:cNvPr id="268" name="RBHorizontalLine152">
              <a:extLst>
                <a:ext uri="{FF2B5EF4-FFF2-40B4-BE49-F238E27FC236}">
                  <a16:creationId xmlns:a16="http://schemas.microsoft.com/office/drawing/2014/main" id="{780BE019-470E-58FA-FD16-83EB30B6984E}"/>
                </a:ext>
              </a:extLst>
            </p:cNvPr>
            <p:cNvCxnSpPr/>
            <p:nvPr/>
          </p:nvCxnSpPr>
          <p:spPr>
            <a:xfrm>
              <a:off x="4145375" y="4156294"/>
              <a:ext cx="7633872" cy="0"/>
            </a:xfrm>
            <a:prstGeom prst="line">
              <a:avLst/>
            </a:prstGeom>
            <a:ln w="12700" cmpd="sng">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269" name="Group 31">
            <a:extLst>
              <a:ext uri="{FF2B5EF4-FFF2-40B4-BE49-F238E27FC236}">
                <a16:creationId xmlns:a16="http://schemas.microsoft.com/office/drawing/2014/main" id="{5953ADA5-8AE7-B914-9C79-C3E68296F2DE}"/>
              </a:ext>
            </a:extLst>
          </p:cNvPr>
          <p:cNvGrpSpPr/>
          <p:nvPr/>
        </p:nvGrpSpPr>
        <p:grpSpPr>
          <a:xfrm>
            <a:off x="2804527" y="3781606"/>
            <a:ext cx="6107785" cy="142105"/>
            <a:chOff x="4069398" y="4869520"/>
            <a:chExt cx="7783929" cy="142105"/>
          </a:xfrm>
        </p:grpSpPr>
        <p:sp>
          <p:nvSpPr>
            <p:cNvPr id="270" name="Oval 32">
              <a:extLst>
                <a:ext uri="{FF2B5EF4-FFF2-40B4-BE49-F238E27FC236}">
                  <a16:creationId xmlns:a16="http://schemas.microsoft.com/office/drawing/2014/main" id="{F11005DB-6B84-D9D4-665B-CFBC7EA158BB}"/>
                </a:ext>
              </a:extLst>
            </p:cNvPr>
            <p:cNvSpPr/>
            <p:nvPr/>
          </p:nvSpPr>
          <p:spPr>
            <a:xfrm>
              <a:off x="4069398" y="4869520"/>
              <a:ext cx="142105" cy="142105"/>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lstStyle/>
            <a:p>
              <a:pPr algn="l" fontAlgn="base">
                <a:lnSpc>
                  <a:spcPct val="100000"/>
                </a:lnSpc>
                <a:spcBef>
                  <a:spcPts val="400"/>
                </a:spcBef>
                <a:spcAft>
                  <a:spcPct val="0"/>
                </a:spcAft>
                <a:buSzPct val="100000"/>
              </a:pPr>
              <a:endParaRPr lang="en-US" sz="1050" b="0" err="1">
                <a:solidFill>
                  <a:schemeClr val="tx1"/>
                </a:solidFill>
                <a:sym typeface="+mn-lt"/>
              </a:endParaRPr>
            </a:p>
          </p:txBody>
        </p:sp>
        <p:sp>
          <p:nvSpPr>
            <p:cNvPr id="271" name="Oval 33">
              <a:extLst>
                <a:ext uri="{FF2B5EF4-FFF2-40B4-BE49-F238E27FC236}">
                  <a16:creationId xmlns:a16="http://schemas.microsoft.com/office/drawing/2014/main" id="{A21D4BB0-CC54-EA0C-2BB1-480122AEAA37}"/>
                </a:ext>
              </a:extLst>
            </p:cNvPr>
            <p:cNvSpPr/>
            <p:nvPr/>
          </p:nvSpPr>
          <p:spPr>
            <a:xfrm>
              <a:off x="11711222" y="4869520"/>
              <a:ext cx="142105" cy="142105"/>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lstStyle/>
            <a:p>
              <a:pPr algn="l" fontAlgn="base">
                <a:lnSpc>
                  <a:spcPct val="100000"/>
                </a:lnSpc>
                <a:spcBef>
                  <a:spcPts val="400"/>
                </a:spcBef>
                <a:spcAft>
                  <a:spcPct val="0"/>
                </a:spcAft>
                <a:buSzPct val="100000"/>
              </a:pPr>
              <a:endParaRPr lang="en-US" sz="1050" b="0" err="1">
                <a:solidFill>
                  <a:schemeClr val="tx1"/>
                </a:solidFill>
                <a:sym typeface="+mn-lt"/>
              </a:endParaRPr>
            </a:p>
          </p:txBody>
        </p:sp>
        <p:cxnSp>
          <p:nvCxnSpPr>
            <p:cNvPr id="272" name="RBHorizontalLine152">
              <a:extLst>
                <a:ext uri="{FF2B5EF4-FFF2-40B4-BE49-F238E27FC236}">
                  <a16:creationId xmlns:a16="http://schemas.microsoft.com/office/drawing/2014/main" id="{7F5B6D84-E850-9FF8-FC5D-AC2A29068AF1}"/>
                </a:ext>
              </a:extLst>
            </p:cNvPr>
            <p:cNvCxnSpPr/>
            <p:nvPr/>
          </p:nvCxnSpPr>
          <p:spPr>
            <a:xfrm>
              <a:off x="4145375" y="4940572"/>
              <a:ext cx="7633874" cy="0"/>
            </a:xfrm>
            <a:prstGeom prst="line">
              <a:avLst/>
            </a:prstGeom>
            <a:ln w="12700" cmpd="sng">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273" name="RBContent71">
            <a:extLst>
              <a:ext uri="{FF2B5EF4-FFF2-40B4-BE49-F238E27FC236}">
                <a16:creationId xmlns:a16="http://schemas.microsoft.com/office/drawing/2014/main" id="{34F067C0-0A86-DF0A-81AA-0B23E66BDC8B}"/>
              </a:ext>
            </a:extLst>
          </p:cNvPr>
          <p:cNvSpPr txBox="1">
            <a:spLocks/>
          </p:cNvSpPr>
          <p:nvPr/>
        </p:nvSpPr>
        <p:spPr>
          <a:xfrm>
            <a:off x="5943492" y="1845310"/>
            <a:ext cx="2278903" cy="553998"/>
          </a:xfrm>
          <a:prstGeom prst="roundRect">
            <a:avLst>
              <a:gd name="adj" fmla="val 0"/>
            </a:avLst>
          </a:prstGeom>
          <a:noFill/>
          <a:ln w="9525">
            <a:noFill/>
          </a:ln>
        </p:spPr>
        <p:txBody>
          <a:bodyPr vert="horz" wrap="square" lIns="0" tIns="0" rIns="0" bIns="0" rtlCol="0">
            <a:spAutoFit/>
          </a:bodyPr>
          <a:lstStyle/>
          <a:p>
            <a:pPr>
              <a:spcBef>
                <a:spcPts val="400"/>
              </a:spcBef>
              <a:buSzPct val="100000"/>
              <a:buFont typeface=""/>
            </a:pPr>
            <a:r>
              <a:rPr lang="en-US" sz="1200" b="0">
                <a:sym typeface="+mn-lt"/>
              </a:rPr>
              <a:t>Core </a:t>
            </a:r>
            <a:r>
              <a:rPr lang="en-US" sz="1200" b="0" err="1">
                <a:sym typeface="+mn-lt"/>
              </a:rPr>
              <a:t>H</a:t>
            </a:r>
            <a:r>
              <a:rPr lang="en-US" sz="1200" b="0" baseline="-25000" err="1">
                <a:sym typeface="+mn-lt"/>
              </a:rPr>
              <a:t>2</a:t>
            </a:r>
            <a:r>
              <a:rPr lang="en-US" sz="1200" b="0">
                <a:sym typeface="+mn-lt"/>
              </a:rPr>
              <a:t> leading countries with high probability due to terminals and dense industry clusters</a:t>
            </a:r>
            <a:endParaRPr lang="en-US" sz="1200">
              <a:sym typeface="+mn-lt"/>
            </a:endParaRPr>
          </a:p>
        </p:txBody>
      </p:sp>
      <p:sp>
        <p:nvSpPr>
          <p:cNvPr id="274" name="RBContent71">
            <a:extLst>
              <a:ext uri="{FF2B5EF4-FFF2-40B4-BE49-F238E27FC236}">
                <a16:creationId xmlns:a16="http://schemas.microsoft.com/office/drawing/2014/main" id="{484BC7A9-799A-289C-5EAB-CB8D78BB16EA}"/>
              </a:ext>
            </a:extLst>
          </p:cNvPr>
          <p:cNvSpPr txBox="1">
            <a:spLocks/>
          </p:cNvSpPr>
          <p:nvPr/>
        </p:nvSpPr>
        <p:spPr>
          <a:xfrm>
            <a:off x="4657172" y="1935000"/>
            <a:ext cx="253561" cy="374619"/>
          </a:xfrm>
          <a:prstGeom prst="roundRect">
            <a:avLst>
              <a:gd name="adj" fmla="val 0"/>
            </a:avLst>
          </a:prstGeom>
          <a:noFill/>
          <a:ln w="9525">
            <a:noFill/>
          </a:ln>
        </p:spPr>
        <p:txBody>
          <a:bodyPr vert="horz" wrap="square" lIns="0" tIns="0" rIns="0" bIns="0" rtlCol="0">
            <a:noAutofit/>
          </a:bodyPr>
          <a:lstStyle/>
          <a:p>
            <a:pPr algn="r">
              <a:spcBef>
                <a:spcPts val="400"/>
              </a:spcBef>
              <a:buSzPct val="100000"/>
              <a:buFont typeface=""/>
            </a:pPr>
            <a:r>
              <a:rPr lang="en-US" sz="1200" b="0">
                <a:sym typeface="+mn-lt"/>
              </a:rPr>
              <a:t>0.4</a:t>
            </a:r>
            <a:endParaRPr lang="en-US" sz="1200">
              <a:sym typeface="+mn-lt"/>
            </a:endParaRPr>
          </a:p>
        </p:txBody>
      </p:sp>
      <p:sp>
        <p:nvSpPr>
          <p:cNvPr id="275" name="RBContent71">
            <a:extLst>
              <a:ext uri="{FF2B5EF4-FFF2-40B4-BE49-F238E27FC236}">
                <a16:creationId xmlns:a16="http://schemas.microsoft.com/office/drawing/2014/main" id="{6E7C30EE-33DD-C130-2A14-3975D18AB98D}"/>
              </a:ext>
            </a:extLst>
          </p:cNvPr>
          <p:cNvSpPr txBox="1">
            <a:spLocks/>
          </p:cNvSpPr>
          <p:nvPr/>
        </p:nvSpPr>
        <p:spPr>
          <a:xfrm>
            <a:off x="5015741" y="1935000"/>
            <a:ext cx="295639" cy="374619"/>
          </a:xfrm>
          <a:prstGeom prst="roundRect">
            <a:avLst>
              <a:gd name="adj" fmla="val 0"/>
            </a:avLst>
          </a:prstGeom>
          <a:noFill/>
          <a:ln w="9525">
            <a:noFill/>
          </a:ln>
        </p:spPr>
        <p:txBody>
          <a:bodyPr vert="horz" wrap="square" lIns="0" tIns="0" rIns="0" bIns="0" rtlCol="0">
            <a:noAutofit/>
          </a:bodyPr>
          <a:lstStyle/>
          <a:p>
            <a:pPr algn="r">
              <a:spcBef>
                <a:spcPts val="400"/>
              </a:spcBef>
              <a:buSzPct val="100000"/>
              <a:buFont typeface=""/>
            </a:pPr>
            <a:r>
              <a:rPr lang="en-US" sz="1200" b="0">
                <a:sym typeface="+mn-lt"/>
              </a:rPr>
              <a:t>10.5</a:t>
            </a:r>
            <a:endParaRPr lang="en-US" sz="1200">
              <a:sym typeface="+mn-lt"/>
            </a:endParaRPr>
          </a:p>
        </p:txBody>
      </p:sp>
      <p:sp>
        <p:nvSpPr>
          <p:cNvPr id="276" name="RBContent71">
            <a:extLst>
              <a:ext uri="{FF2B5EF4-FFF2-40B4-BE49-F238E27FC236}">
                <a16:creationId xmlns:a16="http://schemas.microsoft.com/office/drawing/2014/main" id="{741C8A50-9F21-72BD-259B-42F3D9895C0B}"/>
              </a:ext>
            </a:extLst>
          </p:cNvPr>
          <p:cNvSpPr txBox="1">
            <a:spLocks/>
          </p:cNvSpPr>
          <p:nvPr/>
        </p:nvSpPr>
        <p:spPr>
          <a:xfrm>
            <a:off x="5513077" y="1935000"/>
            <a:ext cx="253560" cy="374619"/>
          </a:xfrm>
          <a:prstGeom prst="roundRect">
            <a:avLst>
              <a:gd name="adj" fmla="val 0"/>
            </a:avLst>
          </a:prstGeom>
          <a:noFill/>
          <a:ln w="9525">
            <a:noFill/>
          </a:ln>
        </p:spPr>
        <p:txBody>
          <a:bodyPr vert="horz" wrap="square" lIns="0" tIns="0" rIns="0" bIns="0" rtlCol="0">
            <a:noAutofit/>
          </a:bodyPr>
          <a:lstStyle/>
          <a:p>
            <a:pPr algn="r">
              <a:spcBef>
                <a:spcPts val="400"/>
              </a:spcBef>
              <a:buSzPct val="100000"/>
              <a:buFont typeface=""/>
            </a:pPr>
            <a:r>
              <a:rPr lang="en-US" sz="1200" b="0">
                <a:sym typeface="+mn-lt"/>
              </a:rPr>
              <a:t>4.9</a:t>
            </a:r>
            <a:endParaRPr lang="en-US" sz="1200">
              <a:sym typeface="+mn-lt"/>
            </a:endParaRPr>
          </a:p>
        </p:txBody>
      </p:sp>
      <p:sp>
        <p:nvSpPr>
          <p:cNvPr id="277" name="RBContent71">
            <a:extLst>
              <a:ext uri="{FF2B5EF4-FFF2-40B4-BE49-F238E27FC236}">
                <a16:creationId xmlns:a16="http://schemas.microsoft.com/office/drawing/2014/main" id="{B8170BDD-CA71-9EB9-E642-ED29842338A3}"/>
              </a:ext>
            </a:extLst>
          </p:cNvPr>
          <p:cNvSpPr txBox="1">
            <a:spLocks/>
          </p:cNvSpPr>
          <p:nvPr/>
        </p:nvSpPr>
        <p:spPr>
          <a:xfrm>
            <a:off x="8312377" y="1935000"/>
            <a:ext cx="472886" cy="374619"/>
          </a:xfrm>
          <a:prstGeom prst="roundRect">
            <a:avLst>
              <a:gd name="adj" fmla="val 0"/>
            </a:avLst>
          </a:prstGeom>
          <a:noFill/>
          <a:ln w="9525">
            <a:noFill/>
          </a:ln>
        </p:spPr>
        <p:txBody>
          <a:bodyPr vert="horz" wrap="square" lIns="0" tIns="0" rIns="36000" bIns="0" rtlCol="0">
            <a:noAutofit/>
          </a:bodyPr>
          <a:lstStyle/>
          <a:p>
            <a:pPr algn="r">
              <a:spcBef>
                <a:spcPts val="400"/>
              </a:spcBef>
              <a:buSzPct val="100000"/>
              <a:buFont typeface=""/>
            </a:pPr>
            <a:r>
              <a:rPr lang="en-US" sz="1200" b="0" dirty="0">
                <a:sym typeface="+mn-lt"/>
              </a:rPr>
              <a:t>10.3</a:t>
            </a:r>
            <a:endParaRPr lang="en-US" sz="1200" dirty="0">
              <a:sym typeface="+mn-lt"/>
            </a:endParaRPr>
          </a:p>
        </p:txBody>
      </p:sp>
      <p:sp>
        <p:nvSpPr>
          <p:cNvPr id="278" name="RBContent71">
            <a:extLst>
              <a:ext uri="{FF2B5EF4-FFF2-40B4-BE49-F238E27FC236}">
                <a16:creationId xmlns:a16="http://schemas.microsoft.com/office/drawing/2014/main" id="{59159951-C6CA-532B-072A-C62E64B6AF2A}"/>
              </a:ext>
            </a:extLst>
          </p:cNvPr>
          <p:cNvSpPr txBox="1">
            <a:spLocks/>
          </p:cNvSpPr>
          <p:nvPr/>
        </p:nvSpPr>
        <p:spPr>
          <a:xfrm>
            <a:off x="3014232" y="1937643"/>
            <a:ext cx="776637" cy="369332"/>
          </a:xfrm>
          <a:prstGeom prst="roundRect">
            <a:avLst>
              <a:gd name="adj" fmla="val 0"/>
            </a:avLst>
          </a:prstGeom>
          <a:noFill/>
          <a:ln w="9525">
            <a:noFill/>
          </a:ln>
        </p:spPr>
        <p:txBody>
          <a:bodyPr vert="horz" wrap="square" lIns="0" tIns="0" rIns="0" bIns="0" rtlCol="0">
            <a:spAutoFit/>
          </a:bodyPr>
          <a:lstStyle/>
          <a:p>
            <a:pPr>
              <a:spcBef>
                <a:spcPts val="400"/>
              </a:spcBef>
              <a:buSzPct val="100000"/>
              <a:buFont typeface=""/>
            </a:pPr>
            <a:r>
              <a:rPr lang="en-US" sz="1200" b="0">
                <a:sym typeface="+mn-lt"/>
              </a:rPr>
              <a:t>Hydrogen leaders</a:t>
            </a:r>
            <a:endParaRPr lang="en-US" sz="1200">
              <a:sym typeface="+mn-lt"/>
            </a:endParaRPr>
          </a:p>
        </p:txBody>
      </p:sp>
      <p:sp>
        <p:nvSpPr>
          <p:cNvPr id="279" name="RBContent71">
            <a:extLst>
              <a:ext uri="{FF2B5EF4-FFF2-40B4-BE49-F238E27FC236}">
                <a16:creationId xmlns:a16="http://schemas.microsoft.com/office/drawing/2014/main" id="{753B323F-0599-0D05-BD9C-865E74739DAA}"/>
              </a:ext>
            </a:extLst>
          </p:cNvPr>
          <p:cNvSpPr txBox="1">
            <a:spLocks/>
          </p:cNvSpPr>
          <p:nvPr/>
        </p:nvSpPr>
        <p:spPr>
          <a:xfrm>
            <a:off x="4657172" y="2589725"/>
            <a:ext cx="253561" cy="374619"/>
          </a:xfrm>
          <a:prstGeom prst="roundRect">
            <a:avLst>
              <a:gd name="adj" fmla="val 0"/>
            </a:avLst>
          </a:prstGeom>
          <a:noFill/>
          <a:ln w="9525">
            <a:noFill/>
          </a:ln>
        </p:spPr>
        <p:txBody>
          <a:bodyPr vert="horz" wrap="square" lIns="0" tIns="0" rIns="0" bIns="0" rtlCol="0">
            <a:noAutofit/>
          </a:bodyPr>
          <a:lstStyle/>
          <a:p>
            <a:pPr algn="r">
              <a:spcBef>
                <a:spcPts val="400"/>
              </a:spcBef>
              <a:buSzPct val="100000"/>
              <a:buFont typeface=""/>
            </a:pPr>
            <a:r>
              <a:rPr lang="en-US" sz="1200" b="0">
                <a:sym typeface="+mn-lt"/>
              </a:rPr>
              <a:t>0.0</a:t>
            </a:r>
            <a:endParaRPr lang="en-US" sz="1200">
              <a:sym typeface="+mn-lt"/>
            </a:endParaRPr>
          </a:p>
        </p:txBody>
      </p:sp>
      <p:sp>
        <p:nvSpPr>
          <p:cNvPr id="280" name="RBContent71">
            <a:extLst>
              <a:ext uri="{FF2B5EF4-FFF2-40B4-BE49-F238E27FC236}">
                <a16:creationId xmlns:a16="http://schemas.microsoft.com/office/drawing/2014/main" id="{7040C727-16CC-4844-A1DD-8C605AA8EEAD}"/>
              </a:ext>
            </a:extLst>
          </p:cNvPr>
          <p:cNvSpPr txBox="1">
            <a:spLocks/>
          </p:cNvSpPr>
          <p:nvPr/>
        </p:nvSpPr>
        <p:spPr>
          <a:xfrm>
            <a:off x="5015741" y="2589725"/>
            <a:ext cx="295639" cy="374619"/>
          </a:xfrm>
          <a:prstGeom prst="roundRect">
            <a:avLst>
              <a:gd name="adj" fmla="val 0"/>
            </a:avLst>
          </a:prstGeom>
          <a:noFill/>
          <a:ln w="9525">
            <a:noFill/>
          </a:ln>
        </p:spPr>
        <p:txBody>
          <a:bodyPr vert="horz" wrap="square" lIns="0" tIns="0" rIns="0" bIns="0" rtlCol="0">
            <a:noAutofit/>
          </a:bodyPr>
          <a:lstStyle/>
          <a:p>
            <a:pPr algn="r">
              <a:spcBef>
                <a:spcPts val="400"/>
              </a:spcBef>
              <a:buSzPct val="100000"/>
              <a:buFont typeface=""/>
            </a:pPr>
            <a:r>
              <a:rPr lang="en-US" sz="1200" b="0">
                <a:sym typeface="+mn-lt"/>
              </a:rPr>
              <a:t>4.9</a:t>
            </a:r>
            <a:endParaRPr lang="en-US" sz="1200">
              <a:sym typeface="+mn-lt"/>
            </a:endParaRPr>
          </a:p>
        </p:txBody>
      </p:sp>
      <p:sp>
        <p:nvSpPr>
          <p:cNvPr id="281" name="RBContent71">
            <a:extLst>
              <a:ext uri="{FF2B5EF4-FFF2-40B4-BE49-F238E27FC236}">
                <a16:creationId xmlns:a16="http://schemas.microsoft.com/office/drawing/2014/main" id="{1BD419AA-29CD-FCAB-A18F-CA82F15F4E58}"/>
              </a:ext>
            </a:extLst>
          </p:cNvPr>
          <p:cNvSpPr txBox="1">
            <a:spLocks/>
          </p:cNvSpPr>
          <p:nvPr/>
        </p:nvSpPr>
        <p:spPr>
          <a:xfrm>
            <a:off x="5513077" y="2589725"/>
            <a:ext cx="253560" cy="374619"/>
          </a:xfrm>
          <a:prstGeom prst="roundRect">
            <a:avLst>
              <a:gd name="adj" fmla="val 0"/>
            </a:avLst>
          </a:prstGeom>
          <a:noFill/>
          <a:ln w="9525">
            <a:noFill/>
          </a:ln>
        </p:spPr>
        <p:txBody>
          <a:bodyPr vert="horz" wrap="square" lIns="0" tIns="0" rIns="0" bIns="0" rtlCol="0">
            <a:noAutofit/>
          </a:bodyPr>
          <a:lstStyle/>
          <a:p>
            <a:pPr algn="r">
              <a:spcBef>
                <a:spcPts val="400"/>
              </a:spcBef>
              <a:buSzPct val="100000"/>
              <a:buFont typeface=""/>
            </a:pPr>
            <a:r>
              <a:rPr lang="en-US" sz="1200" b="0">
                <a:sym typeface="+mn-lt"/>
              </a:rPr>
              <a:t>0.6</a:t>
            </a:r>
            <a:endParaRPr lang="en-US" sz="1200">
              <a:sym typeface="+mn-lt"/>
            </a:endParaRPr>
          </a:p>
        </p:txBody>
      </p:sp>
      <p:sp>
        <p:nvSpPr>
          <p:cNvPr id="282" name="RBContent71">
            <a:extLst>
              <a:ext uri="{FF2B5EF4-FFF2-40B4-BE49-F238E27FC236}">
                <a16:creationId xmlns:a16="http://schemas.microsoft.com/office/drawing/2014/main" id="{8996F438-790B-3DD1-0F64-C4D112C5EB84}"/>
              </a:ext>
            </a:extLst>
          </p:cNvPr>
          <p:cNvSpPr txBox="1">
            <a:spLocks/>
          </p:cNvSpPr>
          <p:nvPr/>
        </p:nvSpPr>
        <p:spPr>
          <a:xfrm>
            <a:off x="8312377" y="2589725"/>
            <a:ext cx="472886" cy="374619"/>
          </a:xfrm>
          <a:prstGeom prst="roundRect">
            <a:avLst>
              <a:gd name="adj" fmla="val 0"/>
            </a:avLst>
          </a:prstGeom>
          <a:noFill/>
          <a:ln w="9525">
            <a:noFill/>
          </a:ln>
        </p:spPr>
        <p:txBody>
          <a:bodyPr vert="horz" wrap="square" lIns="0" tIns="0" rIns="36000" bIns="0" rtlCol="0">
            <a:noAutofit/>
          </a:bodyPr>
          <a:lstStyle/>
          <a:p>
            <a:pPr algn="r">
              <a:spcBef>
                <a:spcPts val="400"/>
              </a:spcBef>
              <a:buSzPct val="100000"/>
              <a:buFont typeface=""/>
            </a:pPr>
            <a:r>
              <a:rPr lang="en-US" sz="1200" b="0">
                <a:sym typeface="+mn-lt"/>
              </a:rPr>
              <a:t>3.3</a:t>
            </a:r>
            <a:endParaRPr lang="en-US" sz="1200">
              <a:sym typeface="+mn-lt"/>
            </a:endParaRPr>
          </a:p>
        </p:txBody>
      </p:sp>
      <p:sp>
        <p:nvSpPr>
          <p:cNvPr id="283" name="RBContent71">
            <a:extLst>
              <a:ext uri="{FF2B5EF4-FFF2-40B4-BE49-F238E27FC236}">
                <a16:creationId xmlns:a16="http://schemas.microsoft.com/office/drawing/2014/main" id="{0A862323-60C1-0D8F-F8FF-11B060FCDB4F}"/>
              </a:ext>
            </a:extLst>
          </p:cNvPr>
          <p:cNvSpPr txBox="1">
            <a:spLocks/>
          </p:cNvSpPr>
          <p:nvPr/>
        </p:nvSpPr>
        <p:spPr>
          <a:xfrm>
            <a:off x="3014232" y="2592368"/>
            <a:ext cx="776637" cy="369332"/>
          </a:xfrm>
          <a:prstGeom prst="roundRect">
            <a:avLst>
              <a:gd name="adj" fmla="val 0"/>
            </a:avLst>
          </a:prstGeom>
          <a:noFill/>
          <a:ln w="9525">
            <a:noFill/>
          </a:ln>
        </p:spPr>
        <p:txBody>
          <a:bodyPr vert="horz" wrap="square" lIns="0" tIns="0" rIns="0" bIns="0" rtlCol="0">
            <a:spAutoFit/>
          </a:bodyPr>
          <a:lstStyle/>
          <a:p>
            <a:pPr>
              <a:spcBef>
                <a:spcPts val="400"/>
              </a:spcBef>
              <a:buSzPct val="100000"/>
              <a:buFont typeface=""/>
            </a:pPr>
            <a:r>
              <a:rPr lang="en-US" sz="1200" b="0">
                <a:sym typeface="+mn-lt"/>
              </a:rPr>
              <a:t>Early followers</a:t>
            </a:r>
            <a:endParaRPr lang="en-US" sz="1200">
              <a:sym typeface="+mn-lt"/>
            </a:endParaRPr>
          </a:p>
        </p:txBody>
      </p:sp>
      <p:sp>
        <p:nvSpPr>
          <p:cNvPr id="284" name="RBContent71">
            <a:extLst>
              <a:ext uri="{FF2B5EF4-FFF2-40B4-BE49-F238E27FC236}">
                <a16:creationId xmlns:a16="http://schemas.microsoft.com/office/drawing/2014/main" id="{9A791A05-A4EE-CEF1-0017-E1ABCC870504}"/>
              </a:ext>
            </a:extLst>
          </p:cNvPr>
          <p:cNvSpPr txBox="1">
            <a:spLocks/>
          </p:cNvSpPr>
          <p:nvPr/>
        </p:nvSpPr>
        <p:spPr>
          <a:xfrm>
            <a:off x="5943492" y="2500035"/>
            <a:ext cx="2278903" cy="553998"/>
          </a:xfrm>
          <a:prstGeom prst="roundRect">
            <a:avLst>
              <a:gd name="adj" fmla="val 0"/>
            </a:avLst>
          </a:prstGeom>
          <a:noFill/>
          <a:ln w="9525">
            <a:noFill/>
          </a:ln>
        </p:spPr>
        <p:txBody>
          <a:bodyPr vert="horz" wrap="square" lIns="0" tIns="0" rIns="0" bIns="0" rtlCol="0">
            <a:spAutoFit/>
          </a:bodyPr>
          <a:lstStyle/>
          <a:p>
            <a:pPr>
              <a:spcBef>
                <a:spcPts val="400"/>
              </a:spcBef>
              <a:buSzPct val="100000"/>
              <a:buFont typeface=""/>
            </a:pPr>
            <a:r>
              <a:rPr lang="en-US" sz="1200" b="0">
                <a:sym typeface="+mn-lt"/>
              </a:rPr>
              <a:t>Favorable H</a:t>
            </a:r>
            <a:r>
              <a:rPr lang="en-US" sz="1200" b="0" baseline="-25000">
                <a:sym typeface="+mn-lt"/>
              </a:rPr>
              <a:t>2</a:t>
            </a:r>
            <a:r>
              <a:rPr lang="en-US" sz="1200" b="0">
                <a:sym typeface="+mn-lt"/>
              </a:rPr>
              <a:t> production environment, low domestic need </a:t>
            </a:r>
            <a:br>
              <a:rPr lang="en-US" sz="1200" b="0">
                <a:sym typeface="+mn-lt"/>
              </a:rPr>
            </a:br>
            <a:r>
              <a:rPr lang="en-US" sz="1200" b="0">
                <a:sym typeface="+mn-lt"/>
              </a:rPr>
              <a:t>-&gt; export infrastructure likely</a:t>
            </a:r>
            <a:endParaRPr lang="en-US" sz="1200">
              <a:sym typeface="+mn-lt"/>
            </a:endParaRPr>
          </a:p>
        </p:txBody>
      </p:sp>
      <p:sp>
        <p:nvSpPr>
          <p:cNvPr id="285" name="RBContent71">
            <a:extLst>
              <a:ext uri="{FF2B5EF4-FFF2-40B4-BE49-F238E27FC236}">
                <a16:creationId xmlns:a16="http://schemas.microsoft.com/office/drawing/2014/main" id="{1147D714-34FB-A248-A7D0-049B20EC17E8}"/>
              </a:ext>
            </a:extLst>
          </p:cNvPr>
          <p:cNvSpPr txBox="1">
            <a:spLocks/>
          </p:cNvSpPr>
          <p:nvPr/>
        </p:nvSpPr>
        <p:spPr>
          <a:xfrm>
            <a:off x="4657172" y="3300764"/>
            <a:ext cx="253561" cy="374619"/>
          </a:xfrm>
          <a:prstGeom prst="roundRect">
            <a:avLst>
              <a:gd name="adj" fmla="val 0"/>
            </a:avLst>
          </a:prstGeom>
          <a:noFill/>
          <a:ln w="9525">
            <a:noFill/>
          </a:ln>
        </p:spPr>
        <p:txBody>
          <a:bodyPr vert="horz" wrap="square" lIns="0" tIns="0" rIns="0" bIns="0" rtlCol="0">
            <a:noAutofit/>
          </a:bodyPr>
          <a:lstStyle/>
          <a:p>
            <a:pPr algn="r">
              <a:spcBef>
                <a:spcPts val="400"/>
              </a:spcBef>
              <a:buSzPct val="100000"/>
              <a:buFont typeface=""/>
            </a:pPr>
            <a:r>
              <a:rPr lang="en-US" sz="1200" b="0">
                <a:sym typeface="+mn-lt"/>
              </a:rPr>
              <a:t>0.4</a:t>
            </a:r>
            <a:endParaRPr lang="en-US" sz="1200">
              <a:sym typeface="+mn-lt"/>
            </a:endParaRPr>
          </a:p>
        </p:txBody>
      </p:sp>
      <p:sp>
        <p:nvSpPr>
          <p:cNvPr id="286" name="RBContent71">
            <a:extLst>
              <a:ext uri="{FF2B5EF4-FFF2-40B4-BE49-F238E27FC236}">
                <a16:creationId xmlns:a16="http://schemas.microsoft.com/office/drawing/2014/main" id="{624E4745-601D-2613-31A0-54522FFB6F09}"/>
              </a:ext>
            </a:extLst>
          </p:cNvPr>
          <p:cNvSpPr txBox="1">
            <a:spLocks/>
          </p:cNvSpPr>
          <p:nvPr/>
        </p:nvSpPr>
        <p:spPr>
          <a:xfrm>
            <a:off x="5015741" y="3300764"/>
            <a:ext cx="295639" cy="374619"/>
          </a:xfrm>
          <a:prstGeom prst="roundRect">
            <a:avLst>
              <a:gd name="adj" fmla="val 0"/>
            </a:avLst>
          </a:prstGeom>
          <a:noFill/>
          <a:ln w="9525">
            <a:noFill/>
          </a:ln>
        </p:spPr>
        <p:txBody>
          <a:bodyPr vert="horz" wrap="square" lIns="0" tIns="0" rIns="0" bIns="0" rtlCol="0">
            <a:noAutofit/>
          </a:bodyPr>
          <a:lstStyle/>
          <a:p>
            <a:pPr algn="r">
              <a:spcBef>
                <a:spcPts val="400"/>
              </a:spcBef>
              <a:buSzPct val="100000"/>
              <a:buFont typeface=""/>
            </a:pPr>
            <a:r>
              <a:rPr lang="en-US" sz="1200" b="0">
                <a:sym typeface="+mn-lt"/>
              </a:rPr>
              <a:t>10.9</a:t>
            </a:r>
            <a:endParaRPr lang="en-US" sz="1200">
              <a:sym typeface="+mn-lt"/>
            </a:endParaRPr>
          </a:p>
        </p:txBody>
      </p:sp>
      <p:sp>
        <p:nvSpPr>
          <p:cNvPr id="287" name="RBContent71">
            <a:extLst>
              <a:ext uri="{FF2B5EF4-FFF2-40B4-BE49-F238E27FC236}">
                <a16:creationId xmlns:a16="http://schemas.microsoft.com/office/drawing/2014/main" id="{7218EBEF-4C53-38C5-CA95-3D7C012D3087}"/>
              </a:ext>
            </a:extLst>
          </p:cNvPr>
          <p:cNvSpPr txBox="1">
            <a:spLocks/>
          </p:cNvSpPr>
          <p:nvPr/>
        </p:nvSpPr>
        <p:spPr>
          <a:xfrm>
            <a:off x="5513077" y="3300764"/>
            <a:ext cx="253560" cy="374619"/>
          </a:xfrm>
          <a:prstGeom prst="roundRect">
            <a:avLst>
              <a:gd name="adj" fmla="val 0"/>
            </a:avLst>
          </a:prstGeom>
          <a:noFill/>
          <a:ln w="9525">
            <a:noFill/>
          </a:ln>
        </p:spPr>
        <p:txBody>
          <a:bodyPr vert="horz" wrap="square" lIns="0" tIns="0" rIns="0" bIns="0" rtlCol="0">
            <a:noAutofit/>
          </a:bodyPr>
          <a:lstStyle/>
          <a:p>
            <a:pPr algn="r">
              <a:spcBef>
                <a:spcPts val="400"/>
              </a:spcBef>
              <a:buSzPct val="100000"/>
              <a:buFont typeface=""/>
            </a:pPr>
            <a:r>
              <a:rPr lang="en-US" sz="1200" b="0">
                <a:sym typeface="+mn-lt"/>
              </a:rPr>
              <a:t>8.3</a:t>
            </a:r>
            <a:endParaRPr lang="en-US" sz="1200">
              <a:sym typeface="+mn-lt"/>
            </a:endParaRPr>
          </a:p>
        </p:txBody>
      </p:sp>
      <p:sp>
        <p:nvSpPr>
          <p:cNvPr id="288" name="RBContent71">
            <a:extLst>
              <a:ext uri="{FF2B5EF4-FFF2-40B4-BE49-F238E27FC236}">
                <a16:creationId xmlns:a16="http://schemas.microsoft.com/office/drawing/2014/main" id="{5021B2B3-3BF5-8F45-FF4E-268003EBC634}"/>
              </a:ext>
            </a:extLst>
          </p:cNvPr>
          <p:cNvSpPr txBox="1">
            <a:spLocks/>
          </p:cNvSpPr>
          <p:nvPr/>
        </p:nvSpPr>
        <p:spPr>
          <a:xfrm>
            <a:off x="8312377" y="3300764"/>
            <a:ext cx="472886" cy="374619"/>
          </a:xfrm>
          <a:prstGeom prst="roundRect">
            <a:avLst>
              <a:gd name="adj" fmla="val 0"/>
            </a:avLst>
          </a:prstGeom>
          <a:noFill/>
          <a:ln w="9525">
            <a:noFill/>
          </a:ln>
        </p:spPr>
        <p:txBody>
          <a:bodyPr vert="horz" wrap="square" lIns="0" tIns="0" rIns="36000" bIns="0" rtlCol="0">
            <a:noAutofit/>
          </a:bodyPr>
          <a:lstStyle/>
          <a:p>
            <a:pPr algn="r">
              <a:spcBef>
                <a:spcPts val="400"/>
              </a:spcBef>
              <a:buSzPct val="100000"/>
              <a:buFont typeface=""/>
            </a:pPr>
            <a:r>
              <a:rPr lang="en-US" sz="1200" b="0">
                <a:sym typeface="+mn-lt"/>
              </a:rPr>
              <a:t>10.8</a:t>
            </a:r>
            <a:endParaRPr lang="en-US" sz="1200">
              <a:sym typeface="+mn-lt"/>
            </a:endParaRPr>
          </a:p>
        </p:txBody>
      </p:sp>
      <p:sp>
        <p:nvSpPr>
          <p:cNvPr id="289" name="RBContent71">
            <a:extLst>
              <a:ext uri="{FF2B5EF4-FFF2-40B4-BE49-F238E27FC236}">
                <a16:creationId xmlns:a16="http://schemas.microsoft.com/office/drawing/2014/main" id="{CD52E96E-CBFD-0C7B-C497-CA08E4050DBC}"/>
              </a:ext>
            </a:extLst>
          </p:cNvPr>
          <p:cNvSpPr txBox="1">
            <a:spLocks/>
          </p:cNvSpPr>
          <p:nvPr/>
        </p:nvSpPr>
        <p:spPr>
          <a:xfrm>
            <a:off x="3014232" y="3395740"/>
            <a:ext cx="776637" cy="184666"/>
          </a:xfrm>
          <a:prstGeom prst="roundRect">
            <a:avLst>
              <a:gd name="adj" fmla="val 0"/>
            </a:avLst>
          </a:prstGeom>
          <a:noFill/>
          <a:ln w="9525">
            <a:noFill/>
          </a:ln>
        </p:spPr>
        <p:txBody>
          <a:bodyPr vert="horz" wrap="square" lIns="0" tIns="0" rIns="0" bIns="0" rtlCol="0">
            <a:spAutoFit/>
          </a:bodyPr>
          <a:lstStyle/>
          <a:p>
            <a:pPr>
              <a:spcBef>
                <a:spcPts val="400"/>
              </a:spcBef>
              <a:buSzPct val="100000"/>
              <a:buFont typeface=""/>
            </a:pPr>
            <a:r>
              <a:rPr lang="en-US" sz="1200" b="0">
                <a:sym typeface="+mn-lt"/>
              </a:rPr>
              <a:t>Followers</a:t>
            </a:r>
            <a:endParaRPr lang="en-US" sz="1200">
              <a:sym typeface="+mn-lt"/>
            </a:endParaRPr>
          </a:p>
        </p:txBody>
      </p:sp>
      <p:sp>
        <p:nvSpPr>
          <p:cNvPr id="290" name="RBContent71">
            <a:extLst>
              <a:ext uri="{FF2B5EF4-FFF2-40B4-BE49-F238E27FC236}">
                <a16:creationId xmlns:a16="http://schemas.microsoft.com/office/drawing/2014/main" id="{048FBB5D-8E08-EB30-3DD6-3E7FF0FA747B}"/>
              </a:ext>
            </a:extLst>
          </p:cNvPr>
          <p:cNvSpPr txBox="1">
            <a:spLocks/>
          </p:cNvSpPr>
          <p:nvPr/>
        </p:nvSpPr>
        <p:spPr>
          <a:xfrm>
            <a:off x="5943492" y="3211074"/>
            <a:ext cx="2278903" cy="553998"/>
          </a:xfrm>
          <a:prstGeom prst="roundRect">
            <a:avLst>
              <a:gd name="adj" fmla="val 0"/>
            </a:avLst>
          </a:prstGeom>
          <a:noFill/>
          <a:ln w="9525">
            <a:noFill/>
          </a:ln>
        </p:spPr>
        <p:txBody>
          <a:bodyPr vert="horz" wrap="square" lIns="0" tIns="0" rIns="0" bIns="0" rtlCol="0">
            <a:spAutoFit/>
          </a:bodyPr>
          <a:lstStyle/>
          <a:p>
            <a:pPr>
              <a:spcBef>
                <a:spcPts val="400"/>
              </a:spcBef>
              <a:buSzPct val="100000"/>
              <a:buFont typeface=""/>
            </a:pPr>
            <a:r>
              <a:rPr lang="en-US" sz="1200" b="0">
                <a:sym typeface="+mn-lt"/>
              </a:rPr>
              <a:t>Favorable H</a:t>
            </a:r>
            <a:r>
              <a:rPr lang="en-US" sz="1200" b="0" baseline="-25000">
                <a:sym typeface="+mn-lt"/>
              </a:rPr>
              <a:t>2</a:t>
            </a:r>
            <a:r>
              <a:rPr lang="en-US" sz="1200" b="0">
                <a:sym typeface="+mn-lt"/>
              </a:rPr>
              <a:t> production environ-ment with close domestic need -&gt; large transmission less likely</a:t>
            </a:r>
          </a:p>
        </p:txBody>
      </p:sp>
      <p:sp>
        <p:nvSpPr>
          <p:cNvPr id="291" name="RBContent71">
            <a:extLst>
              <a:ext uri="{FF2B5EF4-FFF2-40B4-BE49-F238E27FC236}">
                <a16:creationId xmlns:a16="http://schemas.microsoft.com/office/drawing/2014/main" id="{F2EA5466-C0F7-EEDF-998A-382CF9BBB22F}"/>
              </a:ext>
            </a:extLst>
          </p:cNvPr>
          <p:cNvSpPr txBox="1">
            <a:spLocks/>
          </p:cNvSpPr>
          <p:nvPr/>
        </p:nvSpPr>
        <p:spPr>
          <a:xfrm>
            <a:off x="4657172" y="3972632"/>
            <a:ext cx="253561" cy="374619"/>
          </a:xfrm>
          <a:prstGeom prst="roundRect">
            <a:avLst>
              <a:gd name="adj" fmla="val 0"/>
            </a:avLst>
          </a:prstGeom>
          <a:noFill/>
          <a:ln w="9525">
            <a:noFill/>
          </a:ln>
        </p:spPr>
        <p:txBody>
          <a:bodyPr vert="horz" wrap="square" lIns="0" tIns="0" rIns="0" bIns="0" rtlCol="0">
            <a:noAutofit/>
          </a:bodyPr>
          <a:lstStyle/>
          <a:p>
            <a:pPr algn="r">
              <a:spcBef>
                <a:spcPts val="400"/>
              </a:spcBef>
              <a:buSzPct val="100000"/>
              <a:buFont typeface=""/>
            </a:pPr>
            <a:r>
              <a:rPr lang="en-US" sz="1200" b="0">
                <a:sym typeface="+mn-lt"/>
              </a:rPr>
              <a:t>0.2</a:t>
            </a:r>
            <a:endParaRPr lang="en-US" sz="1200">
              <a:sym typeface="+mn-lt"/>
            </a:endParaRPr>
          </a:p>
        </p:txBody>
      </p:sp>
      <p:sp>
        <p:nvSpPr>
          <p:cNvPr id="292" name="RBContent71">
            <a:extLst>
              <a:ext uri="{FF2B5EF4-FFF2-40B4-BE49-F238E27FC236}">
                <a16:creationId xmlns:a16="http://schemas.microsoft.com/office/drawing/2014/main" id="{7D9BD518-4227-C3DF-F033-DB06C9D11DF9}"/>
              </a:ext>
            </a:extLst>
          </p:cNvPr>
          <p:cNvSpPr txBox="1">
            <a:spLocks/>
          </p:cNvSpPr>
          <p:nvPr/>
        </p:nvSpPr>
        <p:spPr>
          <a:xfrm>
            <a:off x="5015741" y="3972632"/>
            <a:ext cx="295639" cy="374619"/>
          </a:xfrm>
          <a:prstGeom prst="roundRect">
            <a:avLst>
              <a:gd name="adj" fmla="val 0"/>
            </a:avLst>
          </a:prstGeom>
          <a:noFill/>
          <a:ln w="9525">
            <a:noFill/>
          </a:ln>
        </p:spPr>
        <p:txBody>
          <a:bodyPr vert="horz" wrap="square" lIns="0" tIns="0" rIns="0" bIns="0" rtlCol="0">
            <a:noAutofit/>
          </a:bodyPr>
          <a:lstStyle/>
          <a:p>
            <a:pPr algn="r">
              <a:spcBef>
                <a:spcPts val="400"/>
              </a:spcBef>
              <a:buSzPct val="100000"/>
              <a:buFont typeface=""/>
            </a:pPr>
            <a:r>
              <a:rPr lang="en-US" sz="1200" b="0">
                <a:sym typeface="+mn-lt"/>
              </a:rPr>
              <a:t>9.7</a:t>
            </a:r>
            <a:endParaRPr lang="en-US" sz="1200">
              <a:sym typeface="+mn-lt"/>
            </a:endParaRPr>
          </a:p>
        </p:txBody>
      </p:sp>
      <p:sp>
        <p:nvSpPr>
          <p:cNvPr id="293" name="RBContent71">
            <a:extLst>
              <a:ext uri="{FF2B5EF4-FFF2-40B4-BE49-F238E27FC236}">
                <a16:creationId xmlns:a16="http://schemas.microsoft.com/office/drawing/2014/main" id="{F376669D-FE27-E06C-C15B-8D1A464E1AA8}"/>
              </a:ext>
            </a:extLst>
          </p:cNvPr>
          <p:cNvSpPr txBox="1">
            <a:spLocks/>
          </p:cNvSpPr>
          <p:nvPr/>
        </p:nvSpPr>
        <p:spPr>
          <a:xfrm>
            <a:off x="5513077" y="3972632"/>
            <a:ext cx="253560" cy="374619"/>
          </a:xfrm>
          <a:prstGeom prst="roundRect">
            <a:avLst>
              <a:gd name="adj" fmla="val 0"/>
            </a:avLst>
          </a:prstGeom>
          <a:noFill/>
          <a:ln w="9525">
            <a:noFill/>
          </a:ln>
        </p:spPr>
        <p:txBody>
          <a:bodyPr vert="horz" wrap="square" lIns="0" tIns="0" rIns="0" bIns="0" rtlCol="0">
            <a:noAutofit/>
          </a:bodyPr>
          <a:lstStyle/>
          <a:p>
            <a:pPr algn="r">
              <a:spcBef>
                <a:spcPts val="400"/>
              </a:spcBef>
              <a:buSzPct val="100000"/>
              <a:buFont typeface=""/>
            </a:pPr>
            <a:r>
              <a:rPr lang="en-US" sz="1200" b="0">
                <a:sym typeface="+mn-lt"/>
              </a:rPr>
              <a:t>2.4</a:t>
            </a:r>
            <a:endParaRPr lang="en-US" sz="1200">
              <a:sym typeface="+mn-lt"/>
            </a:endParaRPr>
          </a:p>
        </p:txBody>
      </p:sp>
      <p:sp>
        <p:nvSpPr>
          <p:cNvPr id="294" name="RBContent71">
            <a:extLst>
              <a:ext uri="{FF2B5EF4-FFF2-40B4-BE49-F238E27FC236}">
                <a16:creationId xmlns:a16="http://schemas.microsoft.com/office/drawing/2014/main" id="{2B1E3DC2-F1A9-BC76-8A15-5CDE3C5DD36D}"/>
              </a:ext>
            </a:extLst>
          </p:cNvPr>
          <p:cNvSpPr txBox="1">
            <a:spLocks/>
          </p:cNvSpPr>
          <p:nvPr/>
        </p:nvSpPr>
        <p:spPr>
          <a:xfrm>
            <a:off x="8312377" y="3972632"/>
            <a:ext cx="472886" cy="374619"/>
          </a:xfrm>
          <a:prstGeom prst="roundRect">
            <a:avLst>
              <a:gd name="adj" fmla="val 0"/>
            </a:avLst>
          </a:prstGeom>
          <a:noFill/>
          <a:ln w="9525">
            <a:noFill/>
          </a:ln>
        </p:spPr>
        <p:txBody>
          <a:bodyPr vert="horz" wrap="square" lIns="0" tIns="0" rIns="36000" bIns="0" rtlCol="0">
            <a:noAutofit/>
          </a:bodyPr>
          <a:lstStyle/>
          <a:p>
            <a:pPr algn="r">
              <a:spcBef>
                <a:spcPts val="400"/>
              </a:spcBef>
              <a:buSzPct val="100000"/>
              <a:buFont typeface=""/>
            </a:pPr>
            <a:r>
              <a:rPr lang="en-US" sz="1200" b="0">
                <a:sym typeface="+mn-lt"/>
              </a:rPr>
              <a:t>6.2</a:t>
            </a:r>
            <a:endParaRPr lang="en-US" sz="1200">
              <a:sym typeface="+mn-lt"/>
            </a:endParaRPr>
          </a:p>
        </p:txBody>
      </p:sp>
      <p:sp>
        <p:nvSpPr>
          <p:cNvPr id="295" name="RBContent71">
            <a:extLst>
              <a:ext uri="{FF2B5EF4-FFF2-40B4-BE49-F238E27FC236}">
                <a16:creationId xmlns:a16="http://schemas.microsoft.com/office/drawing/2014/main" id="{8594FC95-C709-6FB3-8F42-0065A2310303}"/>
              </a:ext>
            </a:extLst>
          </p:cNvPr>
          <p:cNvSpPr txBox="1">
            <a:spLocks/>
          </p:cNvSpPr>
          <p:nvPr/>
        </p:nvSpPr>
        <p:spPr>
          <a:xfrm>
            <a:off x="3014232" y="4067608"/>
            <a:ext cx="776637" cy="184666"/>
          </a:xfrm>
          <a:prstGeom prst="roundRect">
            <a:avLst>
              <a:gd name="adj" fmla="val 0"/>
            </a:avLst>
          </a:prstGeom>
          <a:noFill/>
          <a:ln w="9525">
            <a:noFill/>
          </a:ln>
        </p:spPr>
        <p:txBody>
          <a:bodyPr vert="horz" wrap="square" lIns="0" tIns="0" rIns="0" bIns="0" rtlCol="0">
            <a:spAutoFit/>
          </a:bodyPr>
          <a:lstStyle/>
          <a:p>
            <a:pPr>
              <a:spcBef>
                <a:spcPts val="400"/>
              </a:spcBef>
              <a:buSzPct val="100000"/>
              <a:buFont typeface=""/>
            </a:pPr>
            <a:r>
              <a:rPr lang="en-US" sz="1200" b="0">
                <a:sym typeface="+mn-lt"/>
              </a:rPr>
              <a:t>Others</a:t>
            </a:r>
            <a:endParaRPr lang="en-US" sz="1200">
              <a:sym typeface="+mn-lt"/>
            </a:endParaRPr>
          </a:p>
        </p:txBody>
      </p:sp>
      <p:sp>
        <p:nvSpPr>
          <p:cNvPr id="296" name="RBContent71">
            <a:extLst>
              <a:ext uri="{FF2B5EF4-FFF2-40B4-BE49-F238E27FC236}">
                <a16:creationId xmlns:a16="http://schemas.microsoft.com/office/drawing/2014/main" id="{42A21A8A-5847-28E9-6273-2E46F5AF1712}"/>
              </a:ext>
            </a:extLst>
          </p:cNvPr>
          <p:cNvSpPr txBox="1">
            <a:spLocks/>
          </p:cNvSpPr>
          <p:nvPr/>
        </p:nvSpPr>
        <p:spPr>
          <a:xfrm>
            <a:off x="5943492" y="3975275"/>
            <a:ext cx="2278903" cy="369332"/>
          </a:xfrm>
          <a:prstGeom prst="roundRect">
            <a:avLst>
              <a:gd name="adj" fmla="val 0"/>
            </a:avLst>
          </a:prstGeom>
          <a:noFill/>
          <a:ln w="9525">
            <a:noFill/>
          </a:ln>
        </p:spPr>
        <p:txBody>
          <a:bodyPr vert="horz" wrap="square" lIns="0" tIns="0" rIns="0" bIns="0" rtlCol="0">
            <a:spAutoFit/>
          </a:bodyPr>
          <a:lstStyle/>
          <a:p>
            <a:pPr>
              <a:spcBef>
                <a:spcPts val="400"/>
              </a:spcBef>
              <a:buSzPct val="100000"/>
            </a:pPr>
            <a:r>
              <a:rPr lang="en-US" sz="1200" b="0">
                <a:sym typeface="+mn-lt"/>
              </a:rPr>
              <a:t>Lacking financial means and/or lower political backing </a:t>
            </a:r>
          </a:p>
        </p:txBody>
      </p:sp>
      <p:pic>
        <p:nvPicPr>
          <p:cNvPr id="297" name="Graphic 60">
            <a:extLst>
              <a:ext uri="{FF2B5EF4-FFF2-40B4-BE49-F238E27FC236}">
                <a16:creationId xmlns:a16="http://schemas.microsoft.com/office/drawing/2014/main" id="{74715A3D-347F-0E06-44F9-738678F96E1E}"/>
              </a:ext>
            </a:extLst>
          </p:cNvPr>
          <p:cNvPicPr>
            <a:picLocks/>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4229910" y="3492718"/>
            <a:ext cx="198437" cy="198437"/>
          </a:xfrm>
          <a:prstGeom prst="rect">
            <a:avLst/>
          </a:prstGeom>
        </p:spPr>
      </p:pic>
      <p:pic>
        <p:nvPicPr>
          <p:cNvPr id="298" name="Graphic 61">
            <a:extLst>
              <a:ext uri="{FF2B5EF4-FFF2-40B4-BE49-F238E27FC236}">
                <a16:creationId xmlns:a16="http://schemas.microsoft.com/office/drawing/2014/main" id="{B9738A55-4EF3-150A-D3E4-5CB15B3169A4}"/>
              </a:ext>
            </a:extLst>
          </p:cNvPr>
          <p:cNvPicPr>
            <a:picLocks/>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3923633" y="3264062"/>
            <a:ext cx="198437" cy="198437"/>
          </a:xfrm>
          <a:prstGeom prst="rect">
            <a:avLst/>
          </a:prstGeom>
        </p:spPr>
      </p:pic>
      <p:pic>
        <p:nvPicPr>
          <p:cNvPr id="299" name="Graphic 62">
            <a:extLst>
              <a:ext uri="{FF2B5EF4-FFF2-40B4-BE49-F238E27FC236}">
                <a16:creationId xmlns:a16="http://schemas.microsoft.com/office/drawing/2014/main" id="{4D72921B-4E2A-D369-9E1E-D687AE44606B}"/>
              </a:ext>
            </a:extLst>
          </p:cNvPr>
          <p:cNvPicPr>
            <a:picLocks/>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236841" y="3264062"/>
            <a:ext cx="198437" cy="198437"/>
          </a:xfrm>
          <a:prstGeom prst="rect">
            <a:avLst/>
          </a:prstGeom>
        </p:spPr>
      </p:pic>
      <p:pic>
        <p:nvPicPr>
          <p:cNvPr id="300" name="Graphic 63">
            <a:extLst>
              <a:ext uri="{FF2B5EF4-FFF2-40B4-BE49-F238E27FC236}">
                <a16:creationId xmlns:a16="http://schemas.microsoft.com/office/drawing/2014/main" id="{BF587C09-2313-8FDF-D861-7E0D36D03ABB}"/>
              </a:ext>
            </a:extLst>
          </p:cNvPr>
          <p:cNvPicPr>
            <a:picLocks/>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220829" y="2821447"/>
            <a:ext cx="198437" cy="198437"/>
          </a:xfrm>
          <a:prstGeom prst="rect">
            <a:avLst/>
          </a:prstGeom>
        </p:spPr>
      </p:pic>
      <p:pic>
        <p:nvPicPr>
          <p:cNvPr id="301" name="Graphic 64">
            <a:extLst>
              <a:ext uri="{FF2B5EF4-FFF2-40B4-BE49-F238E27FC236}">
                <a16:creationId xmlns:a16="http://schemas.microsoft.com/office/drawing/2014/main" id="{DEE6537A-A0D0-54B7-055E-821A73095176}"/>
              </a:ext>
            </a:extLst>
          </p:cNvPr>
          <p:cNvPicPr>
            <a:picLocks/>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236841" y="2577807"/>
            <a:ext cx="198437" cy="198437"/>
          </a:xfrm>
          <a:prstGeom prst="rect">
            <a:avLst/>
          </a:prstGeom>
        </p:spPr>
      </p:pic>
      <p:pic>
        <p:nvPicPr>
          <p:cNvPr id="302" name="Graphic 65">
            <a:extLst>
              <a:ext uri="{FF2B5EF4-FFF2-40B4-BE49-F238E27FC236}">
                <a16:creationId xmlns:a16="http://schemas.microsoft.com/office/drawing/2014/main" id="{89A27195-08DA-597A-FE42-B4CC065A7FC8}"/>
              </a:ext>
            </a:extLst>
          </p:cNvPr>
          <p:cNvPicPr>
            <a:picLocks/>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923633" y="2814817"/>
            <a:ext cx="198437" cy="198437"/>
          </a:xfrm>
          <a:prstGeom prst="rect">
            <a:avLst/>
          </a:prstGeom>
        </p:spPr>
      </p:pic>
      <p:pic>
        <p:nvPicPr>
          <p:cNvPr id="303" name="Graphic 66">
            <a:extLst>
              <a:ext uri="{FF2B5EF4-FFF2-40B4-BE49-F238E27FC236}">
                <a16:creationId xmlns:a16="http://schemas.microsoft.com/office/drawing/2014/main" id="{6AC49C30-104C-2EAB-E25C-DD27A23B13B2}"/>
              </a:ext>
            </a:extLst>
          </p:cNvPr>
          <p:cNvPicPr>
            <a:picLocks/>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3923633" y="2577807"/>
            <a:ext cx="198437" cy="198437"/>
          </a:xfrm>
          <a:prstGeom prst="rect">
            <a:avLst/>
          </a:prstGeom>
        </p:spPr>
      </p:pic>
      <p:pic>
        <p:nvPicPr>
          <p:cNvPr id="304" name="Graphic 18">
            <a:extLst>
              <a:ext uri="{FF2B5EF4-FFF2-40B4-BE49-F238E27FC236}">
                <a16:creationId xmlns:a16="http://schemas.microsoft.com/office/drawing/2014/main" id="{EAD39A88-034C-28B0-44C9-50A8425B55C1}"/>
              </a:ext>
            </a:extLst>
          </p:cNvPr>
          <p:cNvPicPr>
            <a:picLocks/>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923633" y="3492718"/>
            <a:ext cx="198437" cy="198437"/>
          </a:xfrm>
          <a:prstGeom prst="rect">
            <a:avLst/>
          </a:prstGeom>
        </p:spPr>
      </p:pic>
      <p:sp>
        <p:nvSpPr>
          <p:cNvPr id="305" name="RBContent71">
            <a:extLst>
              <a:ext uri="{FF2B5EF4-FFF2-40B4-BE49-F238E27FC236}">
                <a16:creationId xmlns:a16="http://schemas.microsoft.com/office/drawing/2014/main" id="{E9E8B3A0-61F5-6CD5-0AED-720E82BE1D37}"/>
              </a:ext>
            </a:extLst>
          </p:cNvPr>
          <p:cNvSpPr txBox="1">
            <a:spLocks/>
          </p:cNvSpPr>
          <p:nvPr/>
        </p:nvSpPr>
        <p:spPr>
          <a:xfrm>
            <a:off x="3885533" y="4052219"/>
            <a:ext cx="708443" cy="215444"/>
          </a:xfrm>
          <a:prstGeom prst="roundRect">
            <a:avLst>
              <a:gd name="adj" fmla="val 0"/>
            </a:avLst>
          </a:prstGeom>
          <a:noFill/>
          <a:ln w="9525">
            <a:noFill/>
          </a:ln>
        </p:spPr>
        <p:txBody>
          <a:bodyPr vert="horz" wrap="square" lIns="0" tIns="0" rIns="0" bIns="0" rtlCol="0">
            <a:spAutoFit/>
          </a:bodyPr>
          <a:lstStyle/>
          <a:p>
            <a:pPr>
              <a:spcBef>
                <a:spcPts val="400"/>
              </a:spcBef>
              <a:buSzPct val="100000"/>
              <a:buFont typeface=""/>
            </a:pPr>
            <a:r>
              <a:rPr lang="en-US" sz="1400" b="0" err="1">
                <a:sym typeface="+mn-lt"/>
              </a:rPr>
              <a:t>RoE</a:t>
            </a:r>
            <a:endParaRPr lang="en-US" sz="1400">
              <a:sym typeface="+mn-lt"/>
            </a:endParaRPr>
          </a:p>
        </p:txBody>
      </p:sp>
      <p:sp>
        <p:nvSpPr>
          <p:cNvPr id="306" name="TextBox 69">
            <a:extLst>
              <a:ext uri="{FF2B5EF4-FFF2-40B4-BE49-F238E27FC236}">
                <a16:creationId xmlns:a16="http://schemas.microsoft.com/office/drawing/2014/main" id="{19DA1B6E-CAB3-0C3E-A8B3-5137632404E8}"/>
              </a:ext>
            </a:extLst>
          </p:cNvPr>
          <p:cNvSpPr txBox="1"/>
          <p:nvPr/>
        </p:nvSpPr>
        <p:spPr>
          <a:xfrm>
            <a:off x="232985" y="1271657"/>
            <a:ext cx="7579731" cy="246221"/>
          </a:xfrm>
          <a:prstGeom prst="rect">
            <a:avLst/>
          </a:prstGeom>
          <a:noFill/>
        </p:spPr>
        <p:txBody>
          <a:bodyPr wrap="square">
            <a:spAutoFit/>
          </a:bodyPr>
          <a:lstStyle/>
          <a:p>
            <a:r>
              <a:rPr lang="en-US" sz="1000" dirty="0">
                <a:solidFill>
                  <a:schemeClr val="tx2"/>
                </a:solidFill>
                <a:latin typeface="+mj-lt"/>
                <a:cs typeface="+mj-cs"/>
                <a:sym typeface="+mn-lt"/>
              </a:rPr>
              <a:t>New Hydrogen transmission pipelines per country in Europe, 2023-2040 ['000 km]</a:t>
            </a:r>
          </a:p>
        </p:txBody>
      </p:sp>
      <p:sp>
        <p:nvSpPr>
          <p:cNvPr id="307" name="Source">
            <a:extLst>
              <a:ext uri="{FF2B5EF4-FFF2-40B4-BE49-F238E27FC236}">
                <a16:creationId xmlns:a16="http://schemas.microsoft.com/office/drawing/2014/main" id="{590C6DAE-1410-1017-FCC1-5CA6B5A043AB}"/>
              </a:ext>
            </a:extLst>
          </p:cNvPr>
          <p:cNvSpPr txBox="1"/>
          <p:nvPr/>
        </p:nvSpPr>
        <p:spPr>
          <a:xfrm>
            <a:off x="259269" y="4504608"/>
            <a:ext cx="3520194"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dirty="0">
                <a:sym typeface="+mn-lt"/>
              </a:rPr>
              <a:t>Source: </a:t>
            </a:r>
            <a:r>
              <a:rPr lang="en-US" sz="600" dirty="0" err="1">
                <a:sym typeface="+mn-lt"/>
              </a:rPr>
              <a:t>ENTSOG</a:t>
            </a:r>
            <a:r>
              <a:rPr lang="en-US" sz="600" dirty="0">
                <a:sym typeface="+mn-lt"/>
              </a:rPr>
              <a:t>, national </a:t>
            </a:r>
            <a:r>
              <a:rPr lang="en-US" sz="600" dirty="0" err="1">
                <a:sym typeface="+mn-lt"/>
              </a:rPr>
              <a:t>TSOs</a:t>
            </a:r>
            <a:r>
              <a:rPr lang="en-US" sz="600" dirty="0">
                <a:sym typeface="+mn-lt"/>
              </a:rPr>
              <a:t>, interviews with market participants, national energy agencies, ACER</a:t>
            </a:r>
          </a:p>
        </p:txBody>
      </p:sp>
      <p:grpSp>
        <p:nvGrpSpPr>
          <p:cNvPr id="308" name="Group 77">
            <a:extLst>
              <a:ext uri="{FF2B5EF4-FFF2-40B4-BE49-F238E27FC236}">
                <a16:creationId xmlns:a16="http://schemas.microsoft.com/office/drawing/2014/main" id="{40538DB9-687C-3185-BD3F-37B6E30446AA}"/>
              </a:ext>
            </a:extLst>
          </p:cNvPr>
          <p:cNvGrpSpPr/>
          <p:nvPr/>
        </p:nvGrpSpPr>
        <p:grpSpPr>
          <a:xfrm>
            <a:off x="267604" y="-985"/>
            <a:ext cx="1821103" cy="246221"/>
            <a:chOff x="267604" y="3778"/>
            <a:chExt cx="1821103" cy="246221"/>
          </a:xfrm>
        </p:grpSpPr>
        <p:sp>
          <p:nvSpPr>
            <p:cNvPr id="309" name="Oval 78">
              <a:extLst>
                <a:ext uri="{FF2B5EF4-FFF2-40B4-BE49-F238E27FC236}">
                  <a16:creationId xmlns:a16="http://schemas.microsoft.com/office/drawing/2014/main" id="{F0CF4411-F4EE-E131-6057-BB6D5CFCAE31}"/>
                </a:ext>
              </a:extLst>
            </p:cNvPr>
            <p:cNvSpPr/>
            <p:nvPr/>
          </p:nvSpPr>
          <p:spPr>
            <a:xfrm>
              <a:off x="267604" y="45746"/>
              <a:ext cx="162285" cy="162285"/>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RB Office"/>
                  <a:ea typeface="Microsoft YaHei"/>
                  <a:cs typeface="Calibri"/>
                </a:rPr>
                <a:t>B</a:t>
              </a:r>
            </a:p>
          </p:txBody>
        </p:sp>
        <p:sp>
          <p:nvSpPr>
            <p:cNvPr id="310" name="TextBox 79">
              <a:extLst>
                <a:ext uri="{FF2B5EF4-FFF2-40B4-BE49-F238E27FC236}">
                  <a16:creationId xmlns:a16="http://schemas.microsoft.com/office/drawing/2014/main" id="{3708C887-8AD2-C4C3-2C19-76401D46A94C}"/>
                </a:ext>
              </a:extLst>
            </p:cNvPr>
            <p:cNvSpPr txBox="1"/>
            <p:nvPr/>
          </p:nvSpPr>
          <p:spPr>
            <a:xfrm>
              <a:off x="362201" y="3778"/>
              <a:ext cx="1726506" cy="246221"/>
            </a:xfrm>
            <a:prstGeom prst="rect">
              <a:avLst/>
            </a:prstGeom>
            <a:noFill/>
          </p:spPr>
          <p:txBody>
            <a:bodyPr wrap="square" rtlCol="0" anchor="ctr">
              <a:spAutoFit/>
            </a:bodyPr>
            <a:lstStyle/>
            <a:p>
              <a:r>
                <a:rPr lang="en-GB" sz="1000" dirty="0"/>
                <a:t>Hydrogen infrastructure</a:t>
              </a:r>
            </a:p>
          </p:txBody>
        </p:sp>
      </p:grpSp>
    </p:spTree>
    <p:extLst>
      <p:ext uri="{BB962C8B-B14F-4D97-AF65-F5344CB8AC3E}">
        <p14:creationId xmlns:p14="http://schemas.microsoft.com/office/powerpoint/2010/main" val="41420985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6AC6C-48E6-AFAD-3238-B4F372E89AEB}"/>
              </a:ext>
            </a:extLst>
          </p:cNvPr>
          <p:cNvSpPr txBox="1">
            <a:spLocks/>
          </p:cNvSpPr>
          <p:nvPr/>
        </p:nvSpPr>
        <p:spPr>
          <a:xfrm>
            <a:off x="250827" y="822421"/>
            <a:ext cx="8642348" cy="576000"/>
          </a:xfrm>
          <a:prstGeom prst="rect">
            <a:avLst/>
          </a:prstGeom>
        </p:spPr>
        <p:txBody>
          <a:bodyPr vert="horz"/>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r>
              <a:rPr lang="en-US" sz="1400" dirty="0"/>
              <a:t>Across the globe, CCS projects are multiplying, forecasts for 2030 are 150 MTPA in Europe and 270 MTPA in USA</a:t>
            </a:r>
          </a:p>
        </p:txBody>
      </p:sp>
      <p:grpSp>
        <p:nvGrpSpPr>
          <p:cNvPr id="3" name="Group 323">
            <a:extLst>
              <a:ext uri="{FF2B5EF4-FFF2-40B4-BE49-F238E27FC236}">
                <a16:creationId xmlns:a16="http://schemas.microsoft.com/office/drawing/2014/main" id="{96CA7857-A3E4-B1B3-E579-4C50AA0E7EE6}"/>
              </a:ext>
            </a:extLst>
          </p:cNvPr>
          <p:cNvGrpSpPr/>
          <p:nvPr/>
        </p:nvGrpSpPr>
        <p:grpSpPr>
          <a:xfrm>
            <a:off x="305886" y="4138624"/>
            <a:ext cx="2035175" cy="103188"/>
            <a:chOff x="407988" y="6169422"/>
            <a:chExt cx="2713110" cy="138500"/>
          </a:xfrm>
        </p:grpSpPr>
        <p:sp>
          <p:nvSpPr>
            <p:cNvPr id="4" name="LegendIcon">
              <a:extLst>
                <a:ext uri="{FF2B5EF4-FFF2-40B4-BE49-F238E27FC236}">
                  <a16:creationId xmlns:a16="http://schemas.microsoft.com/office/drawing/2014/main" id="{2991CFB7-E613-FB8B-C220-D5707A89EA12}"/>
                </a:ext>
              </a:extLst>
            </p:cNvPr>
            <p:cNvSpPr/>
            <p:nvPr/>
          </p:nvSpPr>
          <p:spPr>
            <a:xfrm>
              <a:off x="407988" y="6170271"/>
              <a:ext cx="136801" cy="136800"/>
            </a:xfrm>
            <a:prstGeom prst="ellipse">
              <a:avLst/>
            </a:prstGeom>
            <a:solidFill>
              <a:schemeClr val="accent6"/>
            </a:solidFill>
            <a:ln w="635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nSpc>
                  <a:spcPct val="90000"/>
                </a:lnSpc>
                <a:spcBef>
                  <a:spcPts val="300"/>
                </a:spcBef>
                <a:buSzPct val="100000"/>
              </a:pPr>
              <a:endParaRPr lang="en-US" sz="1350">
                <a:sym typeface="+mn-lt"/>
              </a:endParaRPr>
            </a:p>
          </p:txBody>
        </p:sp>
        <p:sp>
          <p:nvSpPr>
            <p:cNvPr id="5" name="LegendText">
              <a:extLst>
                <a:ext uri="{FF2B5EF4-FFF2-40B4-BE49-F238E27FC236}">
                  <a16:creationId xmlns:a16="http://schemas.microsoft.com/office/drawing/2014/main" id="{861754E1-1A56-F3E7-2E33-A06EBE83EEAA}"/>
                </a:ext>
              </a:extLst>
            </p:cNvPr>
            <p:cNvSpPr txBox="1"/>
            <p:nvPr/>
          </p:nvSpPr>
          <p:spPr>
            <a:xfrm>
              <a:off x="596903" y="6169422"/>
              <a:ext cx="2524195" cy="138500"/>
            </a:xfrm>
            <a:prstGeom prst="rect">
              <a:avLst/>
            </a:prstGeom>
            <a:noFill/>
            <a:ln w="9525">
              <a:noFill/>
            </a:ln>
          </p:spPr>
          <p:txBody>
            <a:bodyPr vert="horz" wrap="none" lIns="0" tIns="0" rIns="0" bIns="0" rtlCol="0" anchor="ctr" anchorCtr="0">
              <a:spAutoFit/>
            </a:bodyPr>
            <a:lstStyle>
              <a:defPPr>
                <a:defRPr lang="en-EN"/>
              </a:defPPr>
              <a:lvl1pPr marL="0" marR="0" lvl="0" indent="0" defTabSz="914400" eaLnBrk="1" fontAlgn="auto" latinLnBrk="0" hangingPunct="1">
                <a:lnSpc>
                  <a:spcPct val="90000"/>
                </a:lnSpc>
                <a:spcBef>
                  <a:spcPts val="0"/>
                </a:spcBef>
                <a:spcAft>
                  <a:spcPts val="0"/>
                </a:spcAft>
                <a:buClr>
                  <a:srgbClr val="000000"/>
                </a:buClr>
                <a:buSzPct val="100000"/>
                <a:buFontTx/>
                <a:buNone/>
                <a:tabLst/>
                <a:defRPr kumimoji="0" sz="800" b="0" i="0" u="none" strike="noStrike" kern="0" cap="none" spc="0" normalizeH="0" baseline="0">
                  <a:ln>
                    <a:noFill/>
                  </a:ln>
                  <a:effectLst/>
                  <a:uLnTx/>
                  <a:uFillTx/>
                  <a:latin typeface="+mn-lt"/>
                </a:defRPr>
              </a:lvl1pPr>
            </a:lstStyle>
            <a:p>
              <a:pPr lvl="0"/>
              <a:r>
                <a:rPr lang="en-US" sz="750" dirty="0">
                  <a:sym typeface="+mn-lt"/>
                </a:rPr>
                <a:t>CCUS facilities in operation and construction</a:t>
              </a:r>
            </a:p>
          </p:txBody>
        </p:sp>
      </p:grpSp>
      <p:grpSp>
        <p:nvGrpSpPr>
          <p:cNvPr id="6" name="Group 322">
            <a:extLst>
              <a:ext uri="{FF2B5EF4-FFF2-40B4-BE49-F238E27FC236}">
                <a16:creationId xmlns:a16="http://schemas.microsoft.com/office/drawing/2014/main" id="{3FFA887E-2431-F52D-9E36-347C801BCE55}"/>
              </a:ext>
            </a:extLst>
          </p:cNvPr>
          <p:cNvGrpSpPr/>
          <p:nvPr/>
        </p:nvGrpSpPr>
        <p:grpSpPr>
          <a:xfrm>
            <a:off x="2741111" y="4138624"/>
            <a:ext cx="1454150" cy="103188"/>
            <a:chOff x="3575420" y="6169422"/>
            <a:chExt cx="1939394" cy="138500"/>
          </a:xfrm>
        </p:grpSpPr>
        <p:sp>
          <p:nvSpPr>
            <p:cNvPr id="7" name="LegendIcon">
              <a:extLst>
                <a:ext uri="{FF2B5EF4-FFF2-40B4-BE49-F238E27FC236}">
                  <a16:creationId xmlns:a16="http://schemas.microsoft.com/office/drawing/2014/main" id="{1D85374D-223B-94AB-D730-CCECBB108CD0}"/>
                </a:ext>
              </a:extLst>
            </p:cNvPr>
            <p:cNvSpPr/>
            <p:nvPr/>
          </p:nvSpPr>
          <p:spPr>
            <a:xfrm>
              <a:off x="3575420" y="6170271"/>
              <a:ext cx="136801" cy="136800"/>
            </a:xfrm>
            <a:prstGeom prst="ellipse">
              <a:avLst/>
            </a:prstGeom>
            <a:solidFill>
              <a:schemeClr val="accent3"/>
            </a:solidFill>
            <a:ln w="635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nSpc>
                  <a:spcPct val="90000"/>
                </a:lnSpc>
                <a:spcBef>
                  <a:spcPts val="300"/>
                </a:spcBef>
                <a:buSzPct val="100000"/>
              </a:pPr>
              <a:endParaRPr lang="en-US" sz="1350">
                <a:sym typeface="+mn-lt"/>
              </a:endParaRPr>
            </a:p>
          </p:txBody>
        </p:sp>
        <p:sp>
          <p:nvSpPr>
            <p:cNvPr id="8" name="LegendText">
              <a:extLst>
                <a:ext uri="{FF2B5EF4-FFF2-40B4-BE49-F238E27FC236}">
                  <a16:creationId xmlns:a16="http://schemas.microsoft.com/office/drawing/2014/main" id="{7FF670EF-78BF-8749-B801-EEC2C80E531A}"/>
                </a:ext>
              </a:extLst>
            </p:cNvPr>
            <p:cNvSpPr txBox="1"/>
            <p:nvPr/>
          </p:nvSpPr>
          <p:spPr>
            <a:xfrm>
              <a:off x="3764335" y="6169422"/>
              <a:ext cx="1750479" cy="138500"/>
            </a:xfrm>
            <a:prstGeom prst="rect">
              <a:avLst/>
            </a:prstGeom>
            <a:noFill/>
            <a:ln w="9525">
              <a:noFill/>
            </a:ln>
          </p:spPr>
          <p:txBody>
            <a:bodyPr vert="horz" wrap="none" lIns="0" tIns="0" rIns="0" bIns="0" rtlCol="0" anchor="ctr" anchorCtr="0">
              <a:spAutoFit/>
            </a:bodyPr>
            <a:lstStyle>
              <a:defPPr>
                <a:defRPr lang="en-EN"/>
              </a:defPPr>
              <a:lvl1pPr marL="0" marR="0" lvl="0" indent="0" defTabSz="914400" eaLnBrk="1" fontAlgn="auto" latinLnBrk="0" hangingPunct="1">
                <a:lnSpc>
                  <a:spcPct val="90000"/>
                </a:lnSpc>
                <a:spcBef>
                  <a:spcPts val="0"/>
                </a:spcBef>
                <a:spcAft>
                  <a:spcPts val="0"/>
                </a:spcAft>
                <a:buClr>
                  <a:srgbClr val="000000"/>
                </a:buClr>
                <a:buSzPct val="100000"/>
                <a:buFontTx/>
                <a:buNone/>
                <a:tabLst/>
                <a:defRPr kumimoji="0" sz="800" b="0" i="0" u="none" strike="noStrike" kern="0" cap="none" spc="0" normalizeH="0" baseline="0">
                  <a:ln>
                    <a:noFill/>
                  </a:ln>
                  <a:effectLst/>
                  <a:uLnTx/>
                  <a:uFillTx/>
                  <a:latin typeface="+mn-lt"/>
                </a:defRPr>
              </a:lvl1pPr>
            </a:lstStyle>
            <a:p>
              <a:pPr lvl="0"/>
              <a:r>
                <a:rPr lang="en-US" sz="750" err="1">
                  <a:sym typeface="+mn-lt"/>
                </a:rPr>
                <a:t>CCUS</a:t>
              </a:r>
              <a:r>
                <a:rPr lang="en-US" sz="750">
                  <a:sym typeface="+mn-lt"/>
                </a:rPr>
                <a:t> facilities in development</a:t>
              </a:r>
            </a:p>
          </p:txBody>
        </p:sp>
      </p:grpSp>
      <p:sp>
        <p:nvSpPr>
          <p:cNvPr id="9" name="Freeform 124">
            <a:extLst>
              <a:ext uri="{FF2B5EF4-FFF2-40B4-BE49-F238E27FC236}">
                <a16:creationId xmlns:a16="http://schemas.microsoft.com/office/drawing/2014/main" id="{2A939152-40F5-78F3-53A4-407989FBC11E}"/>
              </a:ext>
            </a:extLst>
          </p:cNvPr>
          <p:cNvSpPr>
            <a:spLocks/>
          </p:cNvSpPr>
          <p:nvPr/>
        </p:nvSpPr>
        <p:spPr bwMode="auto">
          <a:xfrm>
            <a:off x="1854200" y="1460500"/>
            <a:ext cx="666750" cy="458788"/>
          </a:xfrm>
          <a:custGeom>
            <a:avLst/>
            <a:gdLst>
              <a:gd name="T0" fmla="*/ 49 w 594"/>
              <a:gd name="T1" fmla="*/ 70 h 376"/>
              <a:gd name="T2" fmla="*/ 92 w 594"/>
              <a:gd name="T3" fmla="*/ 54 h 376"/>
              <a:gd name="T4" fmla="*/ 114 w 594"/>
              <a:gd name="T5" fmla="*/ 38 h 376"/>
              <a:gd name="T6" fmla="*/ 158 w 594"/>
              <a:gd name="T7" fmla="*/ 27 h 376"/>
              <a:gd name="T8" fmla="*/ 207 w 594"/>
              <a:gd name="T9" fmla="*/ 32 h 376"/>
              <a:gd name="T10" fmla="*/ 250 w 594"/>
              <a:gd name="T11" fmla="*/ 27 h 376"/>
              <a:gd name="T12" fmla="*/ 267 w 594"/>
              <a:gd name="T13" fmla="*/ 16 h 376"/>
              <a:gd name="T14" fmla="*/ 332 w 594"/>
              <a:gd name="T15" fmla="*/ 5 h 376"/>
              <a:gd name="T16" fmla="*/ 398 w 594"/>
              <a:gd name="T17" fmla="*/ 0 h 376"/>
              <a:gd name="T18" fmla="*/ 474 w 594"/>
              <a:gd name="T19" fmla="*/ 5 h 376"/>
              <a:gd name="T20" fmla="*/ 490 w 594"/>
              <a:gd name="T21" fmla="*/ 27 h 376"/>
              <a:gd name="T22" fmla="*/ 523 w 594"/>
              <a:gd name="T23" fmla="*/ 32 h 376"/>
              <a:gd name="T24" fmla="*/ 594 w 594"/>
              <a:gd name="T25" fmla="*/ 32 h 376"/>
              <a:gd name="T26" fmla="*/ 550 w 594"/>
              <a:gd name="T27" fmla="*/ 49 h 376"/>
              <a:gd name="T28" fmla="*/ 512 w 594"/>
              <a:gd name="T29" fmla="*/ 65 h 376"/>
              <a:gd name="T30" fmla="*/ 496 w 594"/>
              <a:gd name="T31" fmla="*/ 81 h 376"/>
              <a:gd name="T32" fmla="*/ 518 w 594"/>
              <a:gd name="T33" fmla="*/ 103 h 376"/>
              <a:gd name="T34" fmla="*/ 507 w 594"/>
              <a:gd name="T35" fmla="*/ 125 h 376"/>
              <a:gd name="T36" fmla="*/ 496 w 594"/>
              <a:gd name="T37" fmla="*/ 141 h 376"/>
              <a:gd name="T38" fmla="*/ 490 w 594"/>
              <a:gd name="T39" fmla="*/ 158 h 376"/>
              <a:gd name="T40" fmla="*/ 469 w 594"/>
              <a:gd name="T41" fmla="*/ 169 h 376"/>
              <a:gd name="T42" fmla="*/ 458 w 594"/>
              <a:gd name="T43" fmla="*/ 180 h 376"/>
              <a:gd name="T44" fmla="*/ 463 w 594"/>
              <a:gd name="T45" fmla="*/ 196 h 376"/>
              <a:gd name="T46" fmla="*/ 458 w 594"/>
              <a:gd name="T47" fmla="*/ 201 h 376"/>
              <a:gd name="T48" fmla="*/ 441 w 594"/>
              <a:gd name="T49" fmla="*/ 201 h 376"/>
              <a:gd name="T50" fmla="*/ 403 w 594"/>
              <a:gd name="T51" fmla="*/ 201 h 376"/>
              <a:gd name="T52" fmla="*/ 430 w 594"/>
              <a:gd name="T53" fmla="*/ 207 h 376"/>
              <a:gd name="T54" fmla="*/ 452 w 594"/>
              <a:gd name="T55" fmla="*/ 218 h 376"/>
              <a:gd name="T56" fmla="*/ 430 w 594"/>
              <a:gd name="T57" fmla="*/ 229 h 376"/>
              <a:gd name="T58" fmla="*/ 387 w 594"/>
              <a:gd name="T59" fmla="*/ 240 h 376"/>
              <a:gd name="T60" fmla="*/ 349 w 594"/>
              <a:gd name="T61" fmla="*/ 245 h 376"/>
              <a:gd name="T62" fmla="*/ 321 w 594"/>
              <a:gd name="T63" fmla="*/ 267 h 376"/>
              <a:gd name="T64" fmla="*/ 294 w 594"/>
              <a:gd name="T65" fmla="*/ 278 h 376"/>
              <a:gd name="T66" fmla="*/ 272 w 594"/>
              <a:gd name="T67" fmla="*/ 283 h 376"/>
              <a:gd name="T68" fmla="*/ 250 w 594"/>
              <a:gd name="T69" fmla="*/ 289 h 376"/>
              <a:gd name="T70" fmla="*/ 240 w 594"/>
              <a:gd name="T71" fmla="*/ 305 h 376"/>
              <a:gd name="T72" fmla="*/ 212 w 594"/>
              <a:gd name="T73" fmla="*/ 327 h 376"/>
              <a:gd name="T74" fmla="*/ 196 w 594"/>
              <a:gd name="T75" fmla="*/ 349 h 376"/>
              <a:gd name="T76" fmla="*/ 185 w 594"/>
              <a:gd name="T77" fmla="*/ 370 h 376"/>
              <a:gd name="T78" fmla="*/ 163 w 594"/>
              <a:gd name="T79" fmla="*/ 370 h 376"/>
              <a:gd name="T80" fmla="*/ 136 w 594"/>
              <a:gd name="T81" fmla="*/ 360 h 376"/>
              <a:gd name="T82" fmla="*/ 120 w 594"/>
              <a:gd name="T83" fmla="*/ 354 h 376"/>
              <a:gd name="T84" fmla="*/ 114 w 594"/>
              <a:gd name="T85" fmla="*/ 338 h 376"/>
              <a:gd name="T86" fmla="*/ 109 w 594"/>
              <a:gd name="T87" fmla="*/ 310 h 376"/>
              <a:gd name="T88" fmla="*/ 103 w 594"/>
              <a:gd name="T89" fmla="*/ 294 h 376"/>
              <a:gd name="T90" fmla="*/ 103 w 594"/>
              <a:gd name="T91" fmla="*/ 267 h 376"/>
              <a:gd name="T92" fmla="*/ 120 w 594"/>
              <a:gd name="T93" fmla="*/ 240 h 376"/>
              <a:gd name="T94" fmla="*/ 147 w 594"/>
              <a:gd name="T95" fmla="*/ 229 h 376"/>
              <a:gd name="T96" fmla="*/ 141 w 594"/>
              <a:gd name="T97" fmla="*/ 223 h 376"/>
              <a:gd name="T98" fmla="*/ 125 w 594"/>
              <a:gd name="T99" fmla="*/ 207 h 376"/>
              <a:gd name="T100" fmla="*/ 147 w 594"/>
              <a:gd name="T101" fmla="*/ 196 h 376"/>
              <a:gd name="T102" fmla="*/ 114 w 594"/>
              <a:gd name="T103" fmla="*/ 190 h 376"/>
              <a:gd name="T104" fmla="*/ 120 w 594"/>
              <a:gd name="T105" fmla="*/ 163 h 376"/>
              <a:gd name="T106" fmla="*/ 120 w 594"/>
              <a:gd name="T107" fmla="*/ 152 h 376"/>
              <a:gd name="T108" fmla="*/ 114 w 594"/>
              <a:gd name="T109" fmla="*/ 136 h 376"/>
              <a:gd name="T110" fmla="*/ 87 w 594"/>
              <a:gd name="T111" fmla="*/ 114 h 376"/>
              <a:gd name="T112" fmla="*/ 49 w 594"/>
              <a:gd name="T113" fmla="*/ 114 h 376"/>
              <a:gd name="T114" fmla="*/ 21 w 594"/>
              <a:gd name="T115" fmla="*/ 114 h 376"/>
              <a:gd name="T116" fmla="*/ 11 w 594"/>
              <a:gd name="T117" fmla="*/ 103 h 376"/>
              <a:gd name="T118" fmla="*/ 0 w 594"/>
              <a:gd name="T119" fmla="*/ 87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4" h="376">
                <a:moveTo>
                  <a:pt x="0" y="87"/>
                </a:moveTo>
                <a:lnTo>
                  <a:pt x="5" y="81"/>
                </a:lnTo>
                <a:lnTo>
                  <a:pt x="21" y="76"/>
                </a:lnTo>
                <a:lnTo>
                  <a:pt x="27" y="76"/>
                </a:lnTo>
                <a:lnTo>
                  <a:pt x="43" y="76"/>
                </a:lnTo>
                <a:lnTo>
                  <a:pt x="49" y="70"/>
                </a:lnTo>
                <a:lnTo>
                  <a:pt x="65" y="70"/>
                </a:lnTo>
                <a:lnTo>
                  <a:pt x="76" y="70"/>
                </a:lnTo>
                <a:lnTo>
                  <a:pt x="81" y="65"/>
                </a:lnTo>
                <a:lnTo>
                  <a:pt x="87" y="65"/>
                </a:lnTo>
                <a:lnTo>
                  <a:pt x="87" y="60"/>
                </a:lnTo>
                <a:lnTo>
                  <a:pt x="92" y="54"/>
                </a:lnTo>
                <a:lnTo>
                  <a:pt x="70" y="54"/>
                </a:lnTo>
                <a:lnTo>
                  <a:pt x="70" y="49"/>
                </a:lnTo>
                <a:lnTo>
                  <a:pt x="81" y="49"/>
                </a:lnTo>
                <a:lnTo>
                  <a:pt x="98" y="43"/>
                </a:lnTo>
                <a:lnTo>
                  <a:pt x="103" y="43"/>
                </a:lnTo>
                <a:lnTo>
                  <a:pt x="114" y="38"/>
                </a:lnTo>
                <a:lnTo>
                  <a:pt x="130" y="38"/>
                </a:lnTo>
                <a:lnTo>
                  <a:pt x="136" y="38"/>
                </a:lnTo>
                <a:lnTo>
                  <a:pt x="141" y="32"/>
                </a:lnTo>
                <a:lnTo>
                  <a:pt x="141" y="27"/>
                </a:lnTo>
                <a:lnTo>
                  <a:pt x="147" y="27"/>
                </a:lnTo>
                <a:lnTo>
                  <a:pt x="158" y="27"/>
                </a:lnTo>
                <a:lnTo>
                  <a:pt x="169" y="21"/>
                </a:lnTo>
                <a:lnTo>
                  <a:pt x="190" y="21"/>
                </a:lnTo>
                <a:lnTo>
                  <a:pt x="207" y="21"/>
                </a:lnTo>
                <a:lnTo>
                  <a:pt x="212" y="21"/>
                </a:lnTo>
                <a:lnTo>
                  <a:pt x="212" y="27"/>
                </a:lnTo>
                <a:lnTo>
                  <a:pt x="207" y="32"/>
                </a:lnTo>
                <a:lnTo>
                  <a:pt x="218" y="27"/>
                </a:lnTo>
                <a:lnTo>
                  <a:pt x="218" y="21"/>
                </a:lnTo>
                <a:lnTo>
                  <a:pt x="223" y="21"/>
                </a:lnTo>
                <a:lnTo>
                  <a:pt x="234" y="27"/>
                </a:lnTo>
                <a:lnTo>
                  <a:pt x="245" y="27"/>
                </a:lnTo>
                <a:lnTo>
                  <a:pt x="250" y="27"/>
                </a:lnTo>
                <a:lnTo>
                  <a:pt x="240" y="21"/>
                </a:lnTo>
                <a:lnTo>
                  <a:pt x="240" y="16"/>
                </a:lnTo>
                <a:lnTo>
                  <a:pt x="250" y="16"/>
                </a:lnTo>
                <a:lnTo>
                  <a:pt x="261" y="21"/>
                </a:lnTo>
                <a:lnTo>
                  <a:pt x="272" y="21"/>
                </a:lnTo>
                <a:lnTo>
                  <a:pt x="267" y="16"/>
                </a:lnTo>
                <a:lnTo>
                  <a:pt x="278" y="16"/>
                </a:lnTo>
                <a:lnTo>
                  <a:pt x="283" y="10"/>
                </a:lnTo>
                <a:lnTo>
                  <a:pt x="305" y="5"/>
                </a:lnTo>
                <a:lnTo>
                  <a:pt x="316" y="5"/>
                </a:lnTo>
                <a:lnTo>
                  <a:pt x="327" y="5"/>
                </a:lnTo>
                <a:lnTo>
                  <a:pt x="332" y="5"/>
                </a:lnTo>
                <a:lnTo>
                  <a:pt x="338" y="5"/>
                </a:lnTo>
                <a:lnTo>
                  <a:pt x="343" y="5"/>
                </a:lnTo>
                <a:lnTo>
                  <a:pt x="349" y="5"/>
                </a:lnTo>
                <a:lnTo>
                  <a:pt x="370" y="0"/>
                </a:lnTo>
                <a:lnTo>
                  <a:pt x="387" y="0"/>
                </a:lnTo>
                <a:lnTo>
                  <a:pt x="398" y="0"/>
                </a:lnTo>
                <a:lnTo>
                  <a:pt x="409" y="0"/>
                </a:lnTo>
                <a:lnTo>
                  <a:pt x="430" y="0"/>
                </a:lnTo>
                <a:lnTo>
                  <a:pt x="447" y="0"/>
                </a:lnTo>
                <a:lnTo>
                  <a:pt x="458" y="0"/>
                </a:lnTo>
                <a:lnTo>
                  <a:pt x="463" y="5"/>
                </a:lnTo>
                <a:lnTo>
                  <a:pt x="474" y="5"/>
                </a:lnTo>
                <a:lnTo>
                  <a:pt x="474" y="10"/>
                </a:lnTo>
                <a:lnTo>
                  <a:pt x="485" y="10"/>
                </a:lnTo>
                <a:lnTo>
                  <a:pt x="496" y="10"/>
                </a:lnTo>
                <a:lnTo>
                  <a:pt x="507" y="16"/>
                </a:lnTo>
                <a:lnTo>
                  <a:pt x="496" y="16"/>
                </a:lnTo>
                <a:lnTo>
                  <a:pt x="490" y="27"/>
                </a:lnTo>
                <a:lnTo>
                  <a:pt x="507" y="27"/>
                </a:lnTo>
                <a:lnTo>
                  <a:pt x="507" y="32"/>
                </a:lnTo>
                <a:lnTo>
                  <a:pt x="501" y="38"/>
                </a:lnTo>
                <a:lnTo>
                  <a:pt x="507" y="38"/>
                </a:lnTo>
                <a:lnTo>
                  <a:pt x="518" y="32"/>
                </a:lnTo>
                <a:lnTo>
                  <a:pt x="523" y="32"/>
                </a:lnTo>
                <a:lnTo>
                  <a:pt x="539" y="32"/>
                </a:lnTo>
                <a:lnTo>
                  <a:pt x="545" y="32"/>
                </a:lnTo>
                <a:lnTo>
                  <a:pt x="556" y="27"/>
                </a:lnTo>
                <a:lnTo>
                  <a:pt x="572" y="27"/>
                </a:lnTo>
                <a:lnTo>
                  <a:pt x="588" y="32"/>
                </a:lnTo>
                <a:lnTo>
                  <a:pt x="594" y="32"/>
                </a:lnTo>
                <a:lnTo>
                  <a:pt x="578" y="38"/>
                </a:lnTo>
                <a:lnTo>
                  <a:pt x="572" y="38"/>
                </a:lnTo>
                <a:lnTo>
                  <a:pt x="561" y="43"/>
                </a:lnTo>
                <a:lnTo>
                  <a:pt x="567" y="43"/>
                </a:lnTo>
                <a:lnTo>
                  <a:pt x="556" y="43"/>
                </a:lnTo>
                <a:lnTo>
                  <a:pt x="550" y="49"/>
                </a:lnTo>
                <a:lnTo>
                  <a:pt x="545" y="54"/>
                </a:lnTo>
                <a:lnTo>
                  <a:pt x="534" y="54"/>
                </a:lnTo>
                <a:lnTo>
                  <a:pt x="539" y="54"/>
                </a:lnTo>
                <a:lnTo>
                  <a:pt x="528" y="60"/>
                </a:lnTo>
                <a:lnTo>
                  <a:pt x="518" y="60"/>
                </a:lnTo>
                <a:lnTo>
                  <a:pt x="512" y="65"/>
                </a:lnTo>
                <a:lnTo>
                  <a:pt x="518" y="70"/>
                </a:lnTo>
                <a:lnTo>
                  <a:pt x="507" y="70"/>
                </a:lnTo>
                <a:lnTo>
                  <a:pt x="507" y="76"/>
                </a:lnTo>
                <a:lnTo>
                  <a:pt x="501" y="76"/>
                </a:lnTo>
                <a:lnTo>
                  <a:pt x="501" y="81"/>
                </a:lnTo>
                <a:lnTo>
                  <a:pt x="496" y="81"/>
                </a:lnTo>
                <a:lnTo>
                  <a:pt x="496" y="87"/>
                </a:lnTo>
                <a:lnTo>
                  <a:pt x="507" y="87"/>
                </a:lnTo>
                <a:lnTo>
                  <a:pt x="512" y="92"/>
                </a:lnTo>
                <a:lnTo>
                  <a:pt x="501" y="98"/>
                </a:lnTo>
                <a:lnTo>
                  <a:pt x="507" y="103"/>
                </a:lnTo>
                <a:lnTo>
                  <a:pt x="518" y="103"/>
                </a:lnTo>
                <a:lnTo>
                  <a:pt x="518" y="109"/>
                </a:lnTo>
                <a:lnTo>
                  <a:pt x="507" y="103"/>
                </a:lnTo>
                <a:lnTo>
                  <a:pt x="496" y="109"/>
                </a:lnTo>
                <a:lnTo>
                  <a:pt x="501" y="114"/>
                </a:lnTo>
                <a:lnTo>
                  <a:pt x="501" y="120"/>
                </a:lnTo>
                <a:lnTo>
                  <a:pt x="507" y="125"/>
                </a:lnTo>
                <a:lnTo>
                  <a:pt x="501" y="125"/>
                </a:lnTo>
                <a:lnTo>
                  <a:pt x="507" y="130"/>
                </a:lnTo>
                <a:lnTo>
                  <a:pt x="501" y="130"/>
                </a:lnTo>
                <a:lnTo>
                  <a:pt x="496" y="130"/>
                </a:lnTo>
                <a:lnTo>
                  <a:pt x="501" y="136"/>
                </a:lnTo>
                <a:lnTo>
                  <a:pt x="496" y="141"/>
                </a:lnTo>
                <a:lnTo>
                  <a:pt x="507" y="141"/>
                </a:lnTo>
                <a:lnTo>
                  <a:pt x="501" y="147"/>
                </a:lnTo>
                <a:lnTo>
                  <a:pt x="496" y="147"/>
                </a:lnTo>
                <a:lnTo>
                  <a:pt x="485" y="152"/>
                </a:lnTo>
                <a:lnTo>
                  <a:pt x="490" y="152"/>
                </a:lnTo>
                <a:lnTo>
                  <a:pt x="490" y="158"/>
                </a:lnTo>
                <a:lnTo>
                  <a:pt x="485" y="158"/>
                </a:lnTo>
                <a:lnTo>
                  <a:pt x="479" y="158"/>
                </a:lnTo>
                <a:lnTo>
                  <a:pt x="469" y="163"/>
                </a:lnTo>
                <a:lnTo>
                  <a:pt x="458" y="163"/>
                </a:lnTo>
                <a:lnTo>
                  <a:pt x="463" y="163"/>
                </a:lnTo>
                <a:lnTo>
                  <a:pt x="469" y="169"/>
                </a:lnTo>
                <a:lnTo>
                  <a:pt x="474" y="169"/>
                </a:lnTo>
                <a:lnTo>
                  <a:pt x="469" y="169"/>
                </a:lnTo>
                <a:lnTo>
                  <a:pt x="474" y="174"/>
                </a:lnTo>
                <a:lnTo>
                  <a:pt x="469" y="174"/>
                </a:lnTo>
                <a:lnTo>
                  <a:pt x="469" y="180"/>
                </a:lnTo>
                <a:lnTo>
                  <a:pt x="458" y="180"/>
                </a:lnTo>
                <a:lnTo>
                  <a:pt x="463" y="185"/>
                </a:lnTo>
                <a:lnTo>
                  <a:pt x="458" y="190"/>
                </a:lnTo>
                <a:lnTo>
                  <a:pt x="463" y="185"/>
                </a:lnTo>
                <a:lnTo>
                  <a:pt x="469" y="185"/>
                </a:lnTo>
                <a:lnTo>
                  <a:pt x="463" y="190"/>
                </a:lnTo>
                <a:lnTo>
                  <a:pt x="463" y="196"/>
                </a:lnTo>
                <a:lnTo>
                  <a:pt x="469" y="190"/>
                </a:lnTo>
                <a:lnTo>
                  <a:pt x="469" y="196"/>
                </a:lnTo>
                <a:lnTo>
                  <a:pt x="469" y="201"/>
                </a:lnTo>
                <a:lnTo>
                  <a:pt x="469" y="207"/>
                </a:lnTo>
                <a:lnTo>
                  <a:pt x="458" y="207"/>
                </a:lnTo>
                <a:lnTo>
                  <a:pt x="458" y="201"/>
                </a:lnTo>
                <a:lnTo>
                  <a:pt x="463" y="201"/>
                </a:lnTo>
                <a:lnTo>
                  <a:pt x="458" y="201"/>
                </a:lnTo>
                <a:lnTo>
                  <a:pt x="458" y="207"/>
                </a:lnTo>
                <a:lnTo>
                  <a:pt x="447" y="207"/>
                </a:lnTo>
                <a:lnTo>
                  <a:pt x="441" y="207"/>
                </a:lnTo>
                <a:lnTo>
                  <a:pt x="441" y="201"/>
                </a:lnTo>
                <a:lnTo>
                  <a:pt x="441" y="196"/>
                </a:lnTo>
                <a:lnTo>
                  <a:pt x="436" y="196"/>
                </a:lnTo>
                <a:lnTo>
                  <a:pt x="430" y="196"/>
                </a:lnTo>
                <a:lnTo>
                  <a:pt x="419" y="201"/>
                </a:lnTo>
                <a:lnTo>
                  <a:pt x="409" y="201"/>
                </a:lnTo>
                <a:lnTo>
                  <a:pt x="403" y="201"/>
                </a:lnTo>
                <a:lnTo>
                  <a:pt x="398" y="207"/>
                </a:lnTo>
                <a:lnTo>
                  <a:pt x="409" y="207"/>
                </a:lnTo>
                <a:lnTo>
                  <a:pt x="414" y="207"/>
                </a:lnTo>
                <a:lnTo>
                  <a:pt x="419" y="212"/>
                </a:lnTo>
                <a:lnTo>
                  <a:pt x="425" y="207"/>
                </a:lnTo>
                <a:lnTo>
                  <a:pt x="430" y="207"/>
                </a:lnTo>
                <a:lnTo>
                  <a:pt x="436" y="212"/>
                </a:lnTo>
                <a:lnTo>
                  <a:pt x="447" y="212"/>
                </a:lnTo>
                <a:lnTo>
                  <a:pt x="452" y="212"/>
                </a:lnTo>
                <a:lnTo>
                  <a:pt x="463" y="212"/>
                </a:lnTo>
                <a:lnTo>
                  <a:pt x="458" y="218"/>
                </a:lnTo>
                <a:lnTo>
                  <a:pt x="452" y="218"/>
                </a:lnTo>
                <a:lnTo>
                  <a:pt x="447" y="218"/>
                </a:lnTo>
                <a:lnTo>
                  <a:pt x="447" y="223"/>
                </a:lnTo>
                <a:lnTo>
                  <a:pt x="447" y="218"/>
                </a:lnTo>
                <a:lnTo>
                  <a:pt x="441" y="223"/>
                </a:lnTo>
                <a:lnTo>
                  <a:pt x="436" y="223"/>
                </a:lnTo>
                <a:lnTo>
                  <a:pt x="430" y="229"/>
                </a:lnTo>
                <a:lnTo>
                  <a:pt x="425" y="234"/>
                </a:lnTo>
                <a:lnTo>
                  <a:pt x="419" y="234"/>
                </a:lnTo>
                <a:lnTo>
                  <a:pt x="409" y="234"/>
                </a:lnTo>
                <a:lnTo>
                  <a:pt x="403" y="240"/>
                </a:lnTo>
                <a:lnTo>
                  <a:pt x="392" y="240"/>
                </a:lnTo>
                <a:lnTo>
                  <a:pt x="387" y="240"/>
                </a:lnTo>
                <a:lnTo>
                  <a:pt x="381" y="240"/>
                </a:lnTo>
                <a:lnTo>
                  <a:pt x="376" y="245"/>
                </a:lnTo>
                <a:lnTo>
                  <a:pt x="370" y="245"/>
                </a:lnTo>
                <a:lnTo>
                  <a:pt x="365" y="245"/>
                </a:lnTo>
                <a:lnTo>
                  <a:pt x="354" y="245"/>
                </a:lnTo>
                <a:lnTo>
                  <a:pt x="349" y="245"/>
                </a:lnTo>
                <a:lnTo>
                  <a:pt x="343" y="250"/>
                </a:lnTo>
                <a:lnTo>
                  <a:pt x="338" y="250"/>
                </a:lnTo>
                <a:lnTo>
                  <a:pt x="332" y="250"/>
                </a:lnTo>
                <a:lnTo>
                  <a:pt x="332" y="256"/>
                </a:lnTo>
                <a:lnTo>
                  <a:pt x="327" y="261"/>
                </a:lnTo>
                <a:lnTo>
                  <a:pt x="321" y="267"/>
                </a:lnTo>
                <a:lnTo>
                  <a:pt x="316" y="267"/>
                </a:lnTo>
                <a:lnTo>
                  <a:pt x="316" y="272"/>
                </a:lnTo>
                <a:lnTo>
                  <a:pt x="310" y="272"/>
                </a:lnTo>
                <a:lnTo>
                  <a:pt x="305" y="272"/>
                </a:lnTo>
                <a:lnTo>
                  <a:pt x="299" y="278"/>
                </a:lnTo>
                <a:lnTo>
                  <a:pt x="294" y="278"/>
                </a:lnTo>
                <a:lnTo>
                  <a:pt x="289" y="278"/>
                </a:lnTo>
                <a:lnTo>
                  <a:pt x="283" y="283"/>
                </a:lnTo>
                <a:lnTo>
                  <a:pt x="278" y="283"/>
                </a:lnTo>
                <a:lnTo>
                  <a:pt x="272" y="283"/>
                </a:lnTo>
                <a:lnTo>
                  <a:pt x="272" y="278"/>
                </a:lnTo>
                <a:lnTo>
                  <a:pt x="272" y="283"/>
                </a:lnTo>
                <a:lnTo>
                  <a:pt x="267" y="283"/>
                </a:lnTo>
                <a:lnTo>
                  <a:pt x="261" y="289"/>
                </a:lnTo>
                <a:lnTo>
                  <a:pt x="256" y="283"/>
                </a:lnTo>
                <a:lnTo>
                  <a:pt x="256" y="289"/>
                </a:lnTo>
                <a:lnTo>
                  <a:pt x="245" y="289"/>
                </a:lnTo>
                <a:lnTo>
                  <a:pt x="250" y="289"/>
                </a:lnTo>
                <a:lnTo>
                  <a:pt x="245" y="294"/>
                </a:lnTo>
                <a:lnTo>
                  <a:pt x="240" y="294"/>
                </a:lnTo>
                <a:lnTo>
                  <a:pt x="234" y="294"/>
                </a:lnTo>
                <a:lnTo>
                  <a:pt x="240" y="294"/>
                </a:lnTo>
                <a:lnTo>
                  <a:pt x="240" y="300"/>
                </a:lnTo>
                <a:lnTo>
                  <a:pt x="240" y="305"/>
                </a:lnTo>
                <a:lnTo>
                  <a:pt x="234" y="305"/>
                </a:lnTo>
                <a:lnTo>
                  <a:pt x="234" y="310"/>
                </a:lnTo>
                <a:lnTo>
                  <a:pt x="234" y="316"/>
                </a:lnTo>
                <a:lnTo>
                  <a:pt x="223" y="321"/>
                </a:lnTo>
                <a:lnTo>
                  <a:pt x="218" y="327"/>
                </a:lnTo>
                <a:lnTo>
                  <a:pt x="212" y="327"/>
                </a:lnTo>
                <a:lnTo>
                  <a:pt x="207" y="332"/>
                </a:lnTo>
                <a:lnTo>
                  <a:pt x="201" y="338"/>
                </a:lnTo>
                <a:lnTo>
                  <a:pt x="201" y="343"/>
                </a:lnTo>
                <a:lnTo>
                  <a:pt x="207" y="343"/>
                </a:lnTo>
                <a:lnTo>
                  <a:pt x="201" y="349"/>
                </a:lnTo>
                <a:lnTo>
                  <a:pt x="196" y="349"/>
                </a:lnTo>
                <a:lnTo>
                  <a:pt x="201" y="354"/>
                </a:lnTo>
                <a:lnTo>
                  <a:pt x="196" y="354"/>
                </a:lnTo>
                <a:lnTo>
                  <a:pt x="196" y="360"/>
                </a:lnTo>
                <a:lnTo>
                  <a:pt x="190" y="365"/>
                </a:lnTo>
                <a:lnTo>
                  <a:pt x="185" y="365"/>
                </a:lnTo>
                <a:lnTo>
                  <a:pt x="185" y="370"/>
                </a:lnTo>
                <a:lnTo>
                  <a:pt x="185" y="376"/>
                </a:lnTo>
                <a:lnTo>
                  <a:pt x="180" y="376"/>
                </a:lnTo>
                <a:lnTo>
                  <a:pt x="174" y="376"/>
                </a:lnTo>
                <a:lnTo>
                  <a:pt x="169" y="376"/>
                </a:lnTo>
                <a:lnTo>
                  <a:pt x="163" y="376"/>
                </a:lnTo>
                <a:lnTo>
                  <a:pt x="163" y="370"/>
                </a:lnTo>
                <a:lnTo>
                  <a:pt x="158" y="370"/>
                </a:lnTo>
                <a:lnTo>
                  <a:pt x="158" y="365"/>
                </a:lnTo>
                <a:lnTo>
                  <a:pt x="152" y="365"/>
                </a:lnTo>
                <a:lnTo>
                  <a:pt x="141" y="365"/>
                </a:lnTo>
                <a:lnTo>
                  <a:pt x="141" y="360"/>
                </a:lnTo>
                <a:lnTo>
                  <a:pt x="136" y="360"/>
                </a:lnTo>
                <a:lnTo>
                  <a:pt x="130" y="365"/>
                </a:lnTo>
                <a:lnTo>
                  <a:pt x="125" y="365"/>
                </a:lnTo>
                <a:lnTo>
                  <a:pt x="130" y="360"/>
                </a:lnTo>
                <a:lnTo>
                  <a:pt x="125" y="360"/>
                </a:lnTo>
                <a:lnTo>
                  <a:pt x="125" y="354"/>
                </a:lnTo>
                <a:lnTo>
                  <a:pt x="120" y="354"/>
                </a:lnTo>
                <a:lnTo>
                  <a:pt x="125" y="354"/>
                </a:lnTo>
                <a:lnTo>
                  <a:pt x="120" y="354"/>
                </a:lnTo>
                <a:lnTo>
                  <a:pt x="120" y="349"/>
                </a:lnTo>
                <a:lnTo>
                  <a:pt x="120" y="343"/>
                </a:lnTo>
                <a:lnTo>
                  <a:pt x="120" y="338"/>
                </a:lnTo>
                <a:lnTo>
                  <a:pt x="114" y="338"/>
                </a:lnTo>
                <a:lnTo>
                  <a:pt x="114" y="332"/>
                </a:lnTo>
                <a:lnTo>
                  <a:pt x="114" y="327"/>
                </a:lnTo>
                <a:lnTo>
                  <a:pt x="109" y="327"/>
                </a:lnTo>
                <a:lnTo>
                  <a:pt x="109" y="321"/>
                </a:lnTo>
                <a:lnTo>
                  <a:pt x="109" y="316"/>
                </a:lnTo>
                <a:lnTo>
                  <a:pt x="109" y="310"/>
                </a:lnTo>
                <a:lnTo>
                  <a:pt x="103" y="310"/>
                </a:lnTo>
                <a:lnTo>
                  <a:pt x="103" y="305"/>
                </a:lnTo>
                <a:lnTo>
                  <a:pt x="103" y="300"/>
                </a:lnTo>
                <a:lnTo>
                  <a:pt x="109" y="300"/>
                </a:lnTo>
                <a:lnTo>
                  <a:pt x="109" y="294"/>
                </a:lnTo>
                <a:lnTo>
                  <a:pt x="103" y="294"/>
                </a:lnTo>
                <a:lnTo>
                  <a:pt x="103" y="289"/>
                </a:lnTo>
                <a:lnTo>
                  <a:pt x="98" y="283"/>
                </a:lnTo>
                <a:lnTo>
                  <a:pt x="103" y="283"/>
                </a:lnTo>
                <a:lnTo>
                  <a:pt x="98" y="278"/>
                </a:lnTo>
                <a:lnTo>
                  <a:pt x="103" y="272"/>
                </a:lnTo>
                <a:lnTo>
                  <a:pt x="103" y="267"/>
                </a:lnTo>
                <a:lnTo>
                  <a:pt x="103" y="261"/>
                </a:lnTo>
                <a:lnTo>
                  <a:pt x="109" y="256"/>
                </a:lnTo>
                <a:lnTo>
                  <a:pt x="109" y="250"/>
                </a:lnTo>
                <a:lnTo>
                  <a:pt x="114" y="250"/>
                </a:lnTo>
                <a:lnTo>
                  <a:pt x="114" y="245"/>
                </a:lnTo>
                <a:lnTo>
                  <a:pt x="120" y="240"/>
                </a:lnTo>
                <a:lnTo>
                  <a:pt x="130" y="234"/>
                </a:lnTo>
                <a:lnTo>
                  <a:pt x="136" y="240"/>
                </a:lnTo>
                <a:lnTo>
                  <a:pt x="141" y="240"/>
                </a:lnTo>
                <a:lnTo>
                  <a:pt x="141" y="234"/>
                </a:lnTo>
                <a:lnTo>
                  <a:pt x="147" y="234"/>
                </a:lnTo>
                <a:lnTo>
                  <a:pt x="147" y="229"/>
                </a:lnTo>
                <a:lnTo>
                  <a:pt x="152" y="223"/>
                </a:lnTo>
                <a:lnTo>
                  <a:pt x="147" y="223"/>
                </a:lnTo>
                <a:lnTo>
                  <a:pt x="147" y="218"/>
                </a:lnTo>
                <a:lnTo>
                  <a:pt x="147" y="212"/>
                </a:lnTo>
                <a:lnTo>
                  <a:pt x="141" y="218"/>
                </a:lnTo>
                <a:lnTo>
                  <a:pt x="141" y="223"/>
                </a:lnTo>
                <a:lnTo>
                  <a:pt x="136" y="223"/>
                </a:lnTo>
                <a:lnTo>
                  <a:pt x="120" y="229"/>
                </a:lnTo>
                <a:lnTo>
                  <a:pt x="114" y="223"/>
                </a:lnTo>
                <a:lnTo>
                  <a:pt x="109" y="218"/>
                </a:lnTo>
                <a:lnTo>
                  <a:pt x="114" y="212"/>
                </a:lnTo>
                <a:lnTo>
                  <a:pt x="125" y="207"/>
                </a:lnTo>
                <a:lnTo>
                  <a:pt x="120" y="201"/>
                </a:lnTo>
                <a:lnTo>
                  <a:pt x="125" y="201"/>
                </a:lnTo>
                <a:lnTo>
                  <a:pt x="136" y="201"/>
                </a:lnTo>
                <a:lnTo>
                  <a:pt x="147" y="207"/>
                </a:lnTo>
                <a:lnTo>
                  <a:pt x="147" y="201"/>
                </a:lnTo>
                <a:lnTo>
                  <a:pt x="147" y="196"/>
                </a:lnTo>
                <a:lnTo>
                  <a:pt x="141" y="196"/>
                </a:lnTo>
                <a:lnTo>
                  <a:pt x="141" y="190"/>
                </a:lnTo>
                <a:lnTo>
                  <a:pt x="136" y="185"/>
                </a:lnTo>
                <a:lnTo>
                  <a:pt x="130" y="190"/>
                </a:lnTo>
                <a:lnTo>
                  <a:pt x="125" y="196"/>
                </a:lnTo>
                <a:lnTo>
                  <a:pt x="114" y="190"/>
                </a:lnTo>
                <a:lnTo>
                  <a:pt x="114" y="185"/>
                </a:lnTo>
                <a:lnTo>
                  <a:pt x="120" y="180"/>
                </a:lnTo>
                <a:lnTo>
                  <a:pt x="125" y="180"/>
                </a:lnTo>
                <a:lnTo>
                  <a:pt x="120" y="174"/>
                </a:lnTo>
                <a:lnTo>
                  <a:pt x="120" y="169"/>
                </a:lnTo>
                <a:lnTo>
                  <a:pt x="120" y="163"/>
                </a:lnTo>
                <a:lnTo>
                  <a:pt x="125" y="158"/>
                </a:lnTo>
                <a:lnTo>
                  <a:pt x="120" y="158"/>
                </a:lnTo>
                <a:lnTo>
                  <a:pt x="120" y="152"/>
                </a:lnTo>
                <a:lnTo>
                  <a:pt x="130" y="152"/>
                </a:lnTo>
                <a:lnTo>
                  <a:pt x="130" y="147"/>
                </a:lnTo>
                <a:lnTo>
                  <a:pt x="120" y="152"/>
                </a:lnTo>
                <a:lnTo>
                  <a:pt x="125" y="147"/>
                </a:lnTo>
                <a:lnTo>
                  <a:pt x="120" y="141"/>
                </a:lnTo>
                <a:lnTo>
                  <a:pt x="130" y="141"/>
                </a:lnTo>
                <a:lnTo>
                  <a:pt x="125" y="141"/>
                </a:lnTo>
                <a:lnTo>
                  <a:pt x="125" y="136"/>
                </a:lnTo>
                <a:lnTo>
                  <a:pt x="114" y="136"/>
                </a:lnTo>
                <a:lnTo>
                  <a:pt x="114" y="130"/>
                </a:lnTo>
                <a:lnTo>
                  <a:pt x="120" y="125"/>
                </a:lnTo>
                <a:lnTo>
                  <a:pt x="109" y="125"/>
                </a:lnTo>
                <a:lnTo>
                  <a:pt x="109" y="120"/>
                </a:lnTo>
                <a:lnTo>
                  <a:pt x="98" y="120"/>
                </a:lnTo>
                <a:lnTo>
                  <a:pt x="87" y="114"/>
                </a:lnTo>
                <a:lnTo>
                  <a:pt x="81" y="120"/>
                </a:lnTo>
                <a:lnTo>
                  <a:pt x="76" y="114"/>
                </a:lnTo>
                <a:lnTo>
                  <a:pt x="65" y="120"/>
                </a:lnTo>
                <a:lnTo>
                  <a:pt x="65" y="114"/>
                </a:lnTo>
                <a:lnTo>
                  <a:pt x="54" y="120"/>
                </a:lnTo>
                <a:lnTo>
                  <a:pt x="49" y="114"/>
                </a:lnTo>
                <a:lnTo>
                  <a:pt x="38" y="120"/>
                </a:lnTo>
                <a:lnTo>
                  <a:pt x="43" y="120"/>
                </a:lnTo>
                <a:lnTo>
                  <a:pt x="38" y="120"/>
                </a:lnTo>
                <a:lnTo>
                  <a:pt x="27" y="120"/>
                </a:lnTo>
                <a:lnTo>
                  <a:pt x="21" y="120"/>
                </a:lnTo>
                <a:lnTo>
                  <a:pt x="21" y="114"/>
                </a:lnTo>
                <a:lnTo>
                  <a:pt x="16" y="114"/>
                </a:lnTo>
                <a:lnTo>
                  <a:pt x="21" y="109"/>
                </a:lnTo>
                <a:lnTo>
                  <a:pt x="16" y="109"/>
                </a:lnTo>
                <a:lnTo>
                  <a:pt x="11" y="109"/>
                </a:lnTo>
                <a:lnTo>
                  <a:pt x="5" y="103"/>
                </a:lnTo>
                <a:lnTo>
                  <a:pt x="11" y="103"/>
                </a:lnTo>
                <a:lnTo>
                  <a:pt x="21" y="98"/>
                </a:lnTo>
                <a:lnTo>
                  <a:pt x="27" y="98"/>
                </a:lnTo>
                <a:lnTo>
                  <a:pt x="21" y="92"/>
                </a:lnTo>
                <a:lnTo>
                  <a:pt x="11" y="92"/>
                </a:lnTo>
                <a:lnTo>
                  <a:pt x="5" y="87"/>
                </a:lnTo>
                <a:lnTo>
                  <a:pt x="0" y="87"/>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grpSp>
        <p:nvGrpSpPr>
          <p:cNvPr id="10" name="Gruppieren 856">
            <a:extLst>
              <a:ext uri="{FF2B5EF4-FFF2-40B4-BE49-F238E27FC236}">
                <a16:creationId xmlns:a16="http://schemas.microsoft.com/office/drawing/2014/main" id="{CF67C54D-F62A-6683-5E3C-D6FD519014B4}"/>
              </a:ext>
            </a:extLst>
          </p:cNvPr>
          <p:cNvGrpSpPr/>
          <p:nvPr/>
        </p:nvGrpSpPr>
        <p:grpSpPr>
          <a:xfrm>
            <a:off x="757238" y="1466851"/>
            <a:ext cx="1262063" cy="798513"/>
            <a:chOff x="2049606" y="2192828"/>
            <a:chExt cx="1782763" cy="1039813"/>
          </a:xfrm>
          <a:solidFill>
            <a:schemeClr val="tx2"/>
          </a:solidFill>
        </p:grpSpPr>
        <p:sp>
          <p:nvSpPr>
            <p:cNvPr id="11" name="Freeform 82">
              <a:extLst>
                <a:ext uri="{FF2B5EF4-FFF2-40B4-BE49-F238E27FC236}">
                  <a16:creationId xmlns:a16="http://schemas.microsoft.com/office/drawing/2014/main" id="{29EBB1AA-9188-F1B6-151B-C2BBC535EC9C}"/>
                </a:ext>
              </a:extLst>
            </p:cNvPr>
            <p:cNvSpPr>
              <a:spLocks/>
            </p:cNvSpPr>
            <p:nvPr/>
          </p:nvSpPr>
          <p:spPr bwMode="auto">
            <a:xfrm>
              <a:off x="2629044" y="2408728"/>
              <a:ext cx="207963" cy="87313"/>
            </a:xfrm>
            <a:custGeom>
              <a:avLst/>
              <a:gdLst>
                <a:gd name="T0" fmla="*/ 0 w 131"/>
                <a:gd name="T1" fmla="*/ 44 h 55"/>
                <a:gd name="T2" fmla="*/ 5 w 131"/>
                <a:gd name="T3" fmla="*/ 39 h 55"/>
                <a:gd name="T4" fmla="*/ 16 w 131"/>
                <a:gd name="T5" fmla="*/ 33 h 55"/>
                <a:gd name="T6" fmla="*/ 22 w 131"/>
                <a:gd name="T7" fmla="*/ 33 h 55"/>
                <a:gd name="T8" fmla="*/ 22 w 131"/>
                <a:gd name="T9" fmla="*/ 28 h 55"/>
                <a:gd name="T10" fmla="*/ 33 w 131"/>
                <a:gd name="T11" fmla="*/ 28 h 55"/>
                <a:gd name="T12" fmla="*/ 27 w 131"/>
                <a:gd name="T13" fmla="*/ 28 h 55"/>
                <a:gd name="T14" fmla="*/ 33 w 131"/>
                <a:gd name="T15" fmla="*/ 22 h 55"/>
                <a:gd name="T16" fmla="*/ 38 w 131"/>
                <a:gd name="T17" fmla="*/ 17 h 55"/>
                <a:gd name="T18" fmla="*/ 44 w 131"/>
                <a:gd name="T19" fmla="*/ 17 h 55"/>
                <a:gd name="T20" fmla="*/ 49 w 131"/>
                <a:gd name="T21" fmla="*/ 17 h 55"/>
                <a:gd name="T22" fmla="*/ 49 w 131"/>
                <a:gd name="T23" fmla="*/ 11 h 55"/>
                <a:gd name="T24" fmla="*/ 49 w 131"/>
                <a:gd name="T25" fmla="*/ 6 h 55"/>
                <a:gd name="T26" fmla="*/ 60 w 131"/>
                <a:gd name="T27" fmla="*/ 6 h 55"/>
                <a:gd name="T28" fmla="*/ 76 w 131"/>
                <a:gd name="T29" fmla="*/ 6 h 55"/>
                <a:gd name="T30" fmla="*/ 87 w 131"/>
                <a:gd name="T31" fmla="*/ 0 h 55"/>
                <a:gd name="T32" fmla="*/ 93 w 131"/>
                <a:gd name="T33" fmla="*/ 0 h 55"/>
                <a:gd name="T34" fmla="*/ 93 w 131"/>
                <a:gd name="T35" fmla="*/ 6 h 55"/>
                <a:gd name="T36" fmla="*/ 98 w 131"/>
                <a:gd name="T37" fmla="*/ 6 h 55"/>
                <a:gd name="T38" fmla="*/ 98 w 131"/>
                <a:gd name="T39" fmla="*/ 11 h 55"/>
                <a:gd name="T40" fmla="*/ 104 w 131"/>
                <a:gd name="T41" fmla="*/ 6 h 55"/>
                <a:gd name="T42" fmla="*/ 104 w 131"/>
                <a:gd name="T43" fmla="*/ 11 h 55"/>
                <a:gd name="T44" fmla="*/ 109 w 131"/>
                <a:gd name="T45" fmla="*/ 6 h 55"/>
                <a:gd name="T46" fmla="*/ 125 w 131"/>
                <a:gd name="T47" fmla="*/ 6 h 55"/>
                <a:gd name="T48" fmla="*/ 125 w 131"/>
                <a:gd name="T49" fmla="*/ 11 h 55"/>
                <a:gd name="T50" fmla="*/ 131 w 131"/>
                <a:gd name="T51" fmla="*/ 11 h 55"/>
                <a:gd name="T52" fmla="*/ 131 w 131"/>
                <a:gd name="T53" fmla="*/ 17 h 55"/>
                <a:gd name="T54" fmla="*/ 125 w 131"/>
                <a:gd name="T55" fmla="*/ 22 h 55"/>
                <a:gd name="T56" fmla="*/ 114 w 131"/>
                <a:gd name="T57" fmla="*/ 22 h 55"/>
                <a:gd name="T58" fmla="*/ 109 w 131"/>
                <a:gd name="T59" fmla="*/ 28 h 55"/>
                <a:gd name="T60" fmla="*/ 104 w 131"/>
                <a:gd name="T61" fmla="*/ 28 h 55"/>
                <a:gd name="T62" fmla="*/ 98 w 131"/>
                <a:gd name="T63" fmla="*/ 28 h 55"/>
                <a:gd name="T64" fmla="*/ 87 w 131"/>
                <a:gd name="T65" fmla="*/ 28 h 55"/>
                <a:gd name="T66" fmla="*/ 87 w 131"/>
                <a:gd name="T67" fmla="*/ 33 h 55"/>
                <a:gd name="T68" fmla="*/ 82 w 131"/>
                <a:gd name="T69" fmla="*/ 33 h 55"/>
                <a:gd name="T70" fmla="*/ 76 w 131"/>
                <a:gd name="T71" fmla="*/ 39 h 55"/>
                <a:gd name="T72" fmla="*/ 60 w 131"/>
                <a:gd name="T73" fmla="*/ 39 h 55"/>
                <a:gd name="T74" fmla="*/ 54 w 131"/>
                <a:gd name="T75" fmla="*/ 44 h 55"/>
                <a:gd name="T76" fmla="*/ 54 w 131"/>
                <a:gd name="T77" fmla="*/ 49 h 55"/>
                <a:gd name="T78" fmla="*/ 49 w 131"/>
                <a:gd name="T79" fmla="*/ 49 h 55"/>
                <a:gd name="T80" fmla="*/ 38 w 131"/>
                <a:gd name="T81" fmla="*/ 55 h 55"/>
                <a:gd name="T82" fmla="*/ 33 w 131"/>
                <a:gd name="T83" fmla="*/ 49 h 55"/>
                <a:gd name="T84" fmla="*/ 27 w 131"/>
                <a:gd name="T85" fmla="*/ 55 h 55"/>
                <a:gd name="T86" fmla="*/ 16 w 131"/>
                <a:gd name="T87" fmla="*/ 55 h 55"/>
                <a:gd name="T88" fmla="*/ 11 w 131"/>
                <a:gd name="T89" fmla="*/ 55 h 55"/>
                <a:gd name="T90" fmla="*/ 16 w 131"/>
                <a:gd name="T91" fmla="*/ 49 h 55"/>
                <a:gd name="T92" fmla="*/ 11 w 131"/>
                <a:gd name="T93" fmla="*/ 44 h 55"/>
                <a:gd name="T94" fmla="*/ 5 w 131"/>
                <a:gd name="T95" fmla="*/ 44 h 55"/>
                <a:gd name="T96" fmla="*/ 0 w 131"/>
                <a:gd name="T97" fmla="*/ 4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1" h="55">
                  <a:moveTo>
                    <a:pt x="0" y="44"/>
                  </a:moveTo>
                  <a:lnTo>
                    <a:pt x="5" y="39"/>
                  </a:lnTo>
                  <a:lnTo>
                    <a:pt x="16" y="33"/>
                  </a:lnTo>
                  <a:lnTo>
                    <a:pt x="22" y="33"/>
                  </a:lnTo>
                  <a:lnTo>
                    <a:pt x="22" y="28"/>
                  </a:lnTo>
                  <a:lnTo>
                    <a:pt x="33" y="28"/>
                  </a:lnTo>
                  <a:lnTo>
                    <a:pt x="27" y="28"/>
                  </a:lnTo>
                  <a:lnTo>
                    <a:pt x="33" y="22"/>
                  </a:lnTo>
                  <a:lnTo>
                    <a:pt x="38" y="17"/>
                  </a:lnTo>
                  <a:lnTo>
                    <a:pt x="44" y="17"/>
                  </a:lnTo>
                  <a:lnTo>
                    <a:pt x="49" y="17"/>
                  </a:lnTo>
                  <a:lnTo>
                    <a:pt x="49" y="11"/>
                  </a:lnTo>
                  <a:lnTo>
                    <a:pt x="49" y="6"/>
                  </a:lnTo>
                  <a:lnTo>
                    <a:pt x="60" y="6"/>
                  </a:lnTo>
                  <a:lnTo>
                    <a:pt x="76" y="6"/>
                  </a:lnTo>
                  <a:lnTo>
                    <a:pt x="87" y="0"/>
                  </a:lnTo>
                  <a:lnTo>
                    <a:pt x="93" y="0"/>
                  </a:lnTo>
                  <a:lnTo>
                    <a:pt x="93" y="6"/>
                  </a:lnTo>
                  <a:lnTo>
                    <a:pt x="98" y="6"/>
                  </a:lnTo>
                  <a:lnTo>
                    <a:pt x="98" y="11"/>
                  </a:lnTo>
                  <a:lnTo>
                    <a:pt x="104" y="6"/>
                  </a:lnTo>
                  <a:lnTo>
                    <a:pt x="104" y="11"/>
                  </a:lnTo>
                  <a:lnTo>
                    <a:pt x="109" y="6"/>
                  </a:lnTo>
                  <a:lnTo>
                    <a:pt x="125" y="6"/>
                  </a:lnTo>
                  <a:lnTo>
                    <a:pt x="125" y="11"/>
                  </a:lnTo>
                  <a:lnTo>
                    <a:pt x="131" y="11"/>
                  </a:lnTo>
                  <a:lnTo>
                    <a:pt x="131" y="17"/>
                  </a:lnTo>
                  <a:lnTo>
                    <a:pt x="125" y="22"/>
                  </a:lnTo>
                  <a:lnTo>
                    <a:pt x="114" y="22"/>
                  </a:lnTo>
                  <a:lnTo>
                    <a:pt x="109" y="28"/>
                  </a:lnTo>
                  <a:lnTo>
                    <a:pt x="104" y="28"/>
                  </a:lnTo>
                  <a:lnTo>
                    <a:pt x="98" y="28"/>
                  </a:lnTo>
                  <a:lnTo>
                    <a:pt x="87" y="28"/>
                  </a:lnTo>
                  <a:lnTo>
                    <a:pt x="87" y="33"/>
                  </a:lnTo>
                  <a:lnTo>
                    <a:pt x="82" y="33"/>
                  </a:lnTo>
                  <a:lnTo>
                    <a:pt x="76" y="39"/>
                  </a:lnTo>
                  <a:lnTo>
                    <a:pt x="60" y="39"/>
                  </a:lnTo>
                  <a:lnTo>
                    <a:pt x="54" y="44"/>
                  </a:lnTo>
                  <a:lnTo>
                    <a:pt x="54" y="49"/>
                  </a:lnTo>
                  <a:lnTo>
                    <a:pt x="49" y="49"/>
                  </a:lnTo>
                  <a:lnTo>
                    <a:pt x="38" y="55"/>
                  </a:lnTo>
                  <a:lnTo>
                    <a:pt x="33" y="49"/>
                  </a:lnTo>
                  <a:lnTo>
                    <a:pt x="27" y="55"/>
                  </a:lnTo>
                  <a:lnTo>
                    <a:pt x="16" y="55"/>
                  </a:lnTo>
                  <a:lnTo>
                    <a:pt x="11" y="55"/>
                  </a:lnTo>
                  <a:lnTo>
                    <a:pt x="16" y="49"/>
                  </a:lnTo>
                  <a:lnTo>
                    <a:pt x="11" y="44"/>
                  </a:lnTo>
                  <a:lnTo>
                    <a:pt x="5" y="44"/>
                  </a:lnTo>
                  <a:lnTo>
                    <a:pt x="0" y="44"/>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 name="Freeform 83">
              <a:extLst>
                <a:ext uri="{FF2B5EF4-FFF2-40B4-BE49-F238E27FC236}">
                  <a16:creationId xmlns:a16="http://schemas.microsoft.com/office/drawing/2014/main" id="{2D7ECD7C-1C85-E9FC-0D2E-68DC1A6D9300}"/>
                </a:ext>
              </a:extLst>
            </p:cNvPr>
            <p:cNvSpPr>
              <a:spLocks/>
            </p:cNvSpPr>
            <p:nvPr/>
          </p:nvSpPr>
          <p:spPr bwMode="auto">
            <a:xfrm>
              <a:off x="2049606" y="2478578"/>
              <a:ext cx="1531938" cy="754063"/>
            </a:xfrm>
            <a:custGeom>
              <a:avLst/>
              <a:gdLst>
                <a:gd name="T0" fmla="*/ 54 w 965"/>
                <a:gd name="T1" fmla="*/ 229 h 475"/>
                <a:gd name="T2" fmla="*/ 43 w 965"/>
                <a:gd name="T3" fmla="*/ 196 h 475"/>
                <a:gd name="T4" fmla="*/ 11 w 965"/>
                <a:gd name="T5" fmla="*/ 185 h 475"/>
                <a:gd name="T6" fmla="*/ 218 w 965"/>
                <a:gd name="T7" fmla="*/ 44 h 475"/>
                <a:gd name="T8" fmla="*/ 305 w 965"/>
                <a:gd name="T9" fmla="*/ 33 h 475"/>
                <a:gd name="T10" fmla="*/ 349 w 965"/>
                <a:gd name="T11" fmla="*/ 38 h 475"/>
                <a:gd name="T12" fmla="*/ 430 w 965"/>
                <a:gd name="T13" fmla="*/ 49 h 475"/>
                <a:gd name="T14" fmla="*/ 469 w 965"/>
                <a:gd name="T15" fmla="*/ 60 h 475"/>
                <a:gd name="T16" fmla="*/ 496 w 965"/>
                <a:gd name="T17" fmla="*/ 60 h 475"/>
                <a:gd name="T18" fmla="*/ 545 w 965"/>
                <a:gd name="T19" fmla="*/ 65 h 475"/>
                <a:gd name="T20" fmla="*/ 621 w 965"/>
                <a:gd name="T21" fmla="*/ 60 h 475"/>
                <a:gd name="T22" fmla="*/ 648 w 965"/>
                <a:gd name="T23" fmla="*/ 60 h 475"/>
                <a:gd name="T24" fmla="*/ 654 w 965"/>
                <a:gd name="T25" fmla="*/ 33 h 475"/>
                <a:gd name="T26" fmla="*/ 698 w 965"/>
                <a:gd name="T27" fmla="*/ 5 h 475"/>
                <a:gd name="T28" fmla="*/ 703 w 965"/>
                <a:gd name="T29" fmla="*/ 38 h 475"/>
                <a:gd name="T30" fmla="*/ 714 w 965"/>
                <a:gd name="T31" fmla="*/ 60 h 475"/>
                <a:gd name="T32" fmla="*/ 758 w 965"/>
                <a:gd name="T33" fmla="*/ 44 h 475"/>
                <a:gd name="T34" fmla="*/ 790 w 965"/>
                <a:gd name="T35" fmla="*/ 49 h 475"/>
                <a:gd name="T36" fmla="*/ 741 w 965"/>
                <a:gd name="T37" fmla="*/ 87 h 475"/>
                <a:gd name="T38" fmla="*/ 708 w 965"/>
                <a:gd name="T39" fmla="*/ 93 h 475"/>
                <a:gd name="T40" fmla="*/ 638 w 965"/>
                <a:gd name="T41" fmla="*/ 131 h 475"/>
                <a:gd name="T42" fmla="*/ 588 w 965"/>
                <a:gd name="T43" fmla="*/ 153 h 475"/>
                <a:gd name="T44" fmla="*/ 539 w 965"/>
                <a:gd name="T45" fmla="*/ 191 h 475"/>
                <a:gd name="T46" fmla="*/ 545 w 965"/>
                <a:gd name="T47" fmla="*/ 235 h 475"/>
                <a:gd name="T48" fmla="*/ 616 w 965"/>
                <a:gd name="T49" fmla="*/ 267 h 475"/>
                <a:gd name="T50" fmla="*/ 632 w 965"/>
                <a:gd name="T51" fmla="*/ 289 h 475"/>
                <a:gd name="T52" fmla="*/ 659 w 965"/>
                <a:gd name="T53" fmla="*/ 316 h 475"/>
                <a:gd name="T54" fmla="*/ 687 w 965"/>
                <a:gd name="T55" fmla="*/ 267 h 475"/>
                <a:gd name="T56" fmla="*/ 730 w 965"/>
                <a:gd name="T57" fmla="*/ 218 h 475"/>
                <a:gd name="T58" fmla="*/ 747 w 965"/>
                <a:gd name="T59" fmla="*/ 175 h 475"/>
                <a:gd name="T60" fmla="*/ 807 w 965"/>
                <a:gd name="T61" fmla="*/ 153 h 475"/>
                <a:gd name="T62" fmla="*/ 845 w 965"/>
                <a:gd name="T63" fmla="*/ 169 h 475"/>
                <a:gd name="T64" fmla="*/ 839 w 965"/>
                <a:gd name="T65" fmla="*/ 207 h 475"/>
                <a:gd name="T66" fmla="*/ 883 w 965"/>
                <a:gd name="T67" fmla="*/ 202 h 475"/>
                <a:gd name="T68" fmla="*/ 916 w 965"/>
                <a:gd name="T69" fmla="*/ 213 h 475"/>
                <a:gd name="T70" fmla="*/ 910 w 965"/>
                <a:gd name="T71" fmla="*/ 240 h 475"/>
                <a:gd name="T72" fmla="*/ 921 w 965"/>
                <a:gd name="T73" fmla="*/ 262 h 475"/>
                <a:gd name="T74" fmla="*/ 954 w 965"/>
                <a:gd name="T75" fmla="*/ 273 h 475"/>
                <a:gd name="T76" fmla="*/ 959 w 965"/>
                <a:gd name="T77" fmla="*/ 300 h 475"/>
                <a:gd name="T78" fmla="*/ 937 w 965"/>
                <a:gd name="T79" fmla="*/ 322 h 475"/>
                <a:gd name="T80" fmla="*/ 877 w 965"/>
                <a:gd name="T81" fmla="*/ 344 h 475"/>
                <a:gd name="T82" fmla="*/ 796 w 965"/>
                <a:gd name="T83" fmla="*/ 349 h 475"/>
                <a:gd name="T84" fmla="*/ 812 w 965"/>
                <a:gd name="T85" fmla="*/ 360 h 475"/>
                <a:gd name="T86" fmla="*/ 801 w 965"/>
                <a:gd name="T87" fmla="*/ 382 h 475"/>
                <a:gd name="T88" fmla="*/ 812 w 965"/>
                <a:gd name="T89" fmla="*/ 415 h 475"/>
                <a:gd name="T90" fmla="*/ 823 w 965"/>
                <a:gd name="T91" fmla="*/ 431 h 475"/>
                <a:gd name="T92" fmla="*/ 768 w 965"/>
                <a:gd name="T93" fmla="*/ 442 h 475"/>
                <a:gd name="T94" fmla="*/ 801 w 965"/>
                <a:gd name="T95" fmla="*/ 420 h 475"/>
                <a:gd name="T96" fmla="*/ 763 w 965"/>
                <a:gd name="T97" fmla="*/ 415 h 475"/>
                <a:gd name="T98" fmla="*/ 719 w 965"/>
                <a:gd name="T99" fmla="*/ 420 h 475"/>
                <a:gd name="T100" fmla="*/ 621 w 965"/>
                <a:gd name="T101" fmla="*/ 442 h 475"/>
                <a:gd name="T102" fmla="*/ 550 w 965"/>
                <a:gd name="T103" fmla="*/ 464 h 475"/>
                <a:gd name="T104" fmla="*/ 567 w 965"/>
                <a:gd name="T105" fmla="*/ 431 h 475"/>
                <a:gd name="T106" fmla="*/ 583 w 965"/>
                <a:gd name="T107" fmla="*/ 415 h 475"/>
                <a:gd name="T108" fmla="*/ 545 w 965"/>
                <a:gd name="T109" fmla="*/ 382 h 475"/>
                <a:gd name="T110" fmla="*/ 507 w 965"/>
                <a:gd name="T111" fmla="*/ 365 h 475"/>
                <a:gd name="T112" fmla="*/ 458 w 965"/>
                <a:gd name="T113" fmla="*/ 376 h 475"/>
                <a:gd name="T114" fmla="*/ 54 w 965"/>
                <a:gd name="T115" fmla="*/ 365 h 475"/>
                <a:gd name="T116" fmla="*/ 38 w 965"/>
                <a:gd name="T117" fmla="*/ 338 h 475"/>
                <a:gd name="T118" fmla="*/ 43 w 965"/>
                <a:gd name="T119" fmla="*/ 311 h 475"/>
                <a:gd name="T120" fmla="*/ 32 w 965"/>
                <a:gd name="T121" fmla="*/ 284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5" h="475">
                  <a:moveTo>
                    <a:pt x="43" y="273"/>
                  </a:moveTo>
                  <a:lnTo>
                    <a:pt x="43" y="267"/>
                  </a:lnTo>
                  <a:lnTo>
                    <a:pt x="49" y="267"/>
                  </a:lnTo>
                  <a:lnTo>
                    <a:pt x="54" y="262"/>
                  </a:lnTo>
                  <a:lnTo>
                    <a:pt x="60" y="256"/>
                  </a:lnTo>
                  <a:lnTo>
                    <a:pt x="65" y="251"/>
                  </a:lnTo>
                  <a:lnTo>
                    <a:pt x="60" y="251"/>
                  </a:lnTo>
                  <a:lnTo>
                    <a:pt x="60" y="245"/>
                  </a:lnTo>
                  <a:lnTo>
                    <a:pt x="54" y="245"/>
                  </a:lnTo>
                  <a:lnTo>
                    <a:pt x="49" y="245"/>
                  </a:lnTo>
                  <a:lnTo>
                    <a:pt x="49" y="240"/>
                  </a:lnTo>
                  <a:lnTo>
                    <a:pt x="54" y="235"/>
                  </a:lnTo>
                  <a:lnTo>
                    <a:pt x="54" y="229"/>
                  </a:lnTo>
                  <a:lnTo>
                    <a:pt x="54" y="224"/>
                  </a:lnTo>
                  <a:lnTo>
                    <a:pt x="60" y="224"/>
                  </a:lnTo>
                  <a:lnTo>
                    <a:pt x="54" y="218"/>
                  </a:lnTo>
                  <a:lnTo>
                    <a:pt x="60" y="218"/>
                  </a:lnTo>
                  <a:lnTo>
                    <a:pt x="60" y="213"/>
                  </a:lnTo>
                  <a:lnTo>
                    <a:pt x="60" y="207"/>
                  </a:lnTo>
                  <a:lnTo>
                    <a:pt x="54" y="207"/>
                  </a:lnTo>
                  <a:lnTo>
                    <a:pt x="60" y="202"/>
                  </a:lnTo>
                  <a:lnTo>
                    <a:pt x="54" y="202"/>
                  </a:lnTo>
                  <a:lnTo>
                    <a:pt x="60" y="196"/>
                  </a:lnTo>
                  <a:lnTo>
                    <a:pt x="54" y="191"/>
                  </a:lnTo>
                  <a:lnTo>
                    <a:pt x="49" y="196"/>
                  </a:lnTo>
                  <a:lnTo>
                    <a:pt x="43" y="196"/>
                  </a:lnTo>
                  <a:lnTo>
                    <a:pt x="38" y="196"/>
                  </a:lnTo>
                  <a:lnTo>
                    <a:pt x="32" y="202"/>
                  </a:lnTo>
                  <a:lnTo>
                    <a:pt x="27" y="202"/>
                  </a:lnTo>
                  <a:lnTo>
                    <a:pt x="16" y="207"/>
                  </a:lnTo>
                  <a:lnTo>
                    <a:pt x="21" y="202"/>
                  </a:lnTo>
                  <a:lnTo>
                    <a:pt x="21" y="196"/>
                  </a:lnTo>
                  <a:lnTo>
                    <a:pt x="21" y="191"/>
                  </a:lnTo>
                  <a:lnTo>
                    <a:pt x="16" y="191"/>
                  </a:lnTo>
                  <a:lnTo>
                    <a:pt x="21" y="191"/>
                  </a:lnTo>
                  <a:lnTo>
                    <a:pt x="16" y="185"/>
                  </a:lnTo>
                  <a:lnTo>
                    <a:pt x="21" y="185"/>
                  </a:lnTo>
                  <a:lnTo>
                    <a:pt x="16" y="185"/>
                  </a:lnTo>
                  <a:lnTo>
                    <a:pt x="11" y="185"/>
                  </a:lnTo>
                  <a:lnTo>
                    <a:pt x="5" y="185"/>
                  </a:lnTo>
                  <a:lnTo>
                    <a:pt x="0" y="185"/>
                  </a:lnTo>
                  <a:lnTo>
                    <a:pt x="81" y="109"/>
                  </a:lnTo>
                  <a:lnTo>
                    <a:pt x="163" y="38"/>
                  </a:lnTo>
                  <a:lnTo>
                    <a:pt x="169" y="38"/>
                  </a:lnTo>
                  <a:lnTo>
                    <a:pt x="174" y="38"/>
                  </a:lnTo>
                  <a:lnTo>
                    <a:pt x="180" y="38"/>
                  </a:lnTo>
                  <a:lnTo>
                    <a:pt x="185" y="44"/>
                  </a:lnTo>
                  <a:lnTo>
                    <a:pt x="190" y="49"/>
                  </a:lnTo>
                  <a:lnTo>
                    <a:pt x="196" y="49"/>
                  </a:lnTo>
                  <a:lnTo>
                    <a:pt x="201" y="49"/>
                  </a:lnTo>
                  <a:lnTo>
                    <a:pt x="212" y="44"/>
                  </a:lnTo>
                  <a:lnTo>
                    <a:pt x="218" y="44"/>
                  </a:lnTo>
                  <a:lnTo>
                    <a:pt x="223" y="38"/>
                  </a:lnTo>
                  <a:lnTo>
                    <a:pt x="234" y="38"/>
                  </a:lnTo>
                  <a:lnTo>
                    <a:pt x="234" y="33"/>
                  </a:lnTo>
                  <a:lnTo>
                    <a:pt x="240" y="38"/>
                  </a:lnTo>
                  <a:lnTo>
                    <a:pt x="245" y="38"/>
                  </a:lnTo>
                  <a:lnTo>
                    <a:pt x="250" y="38"/>
                  </a:lnTo>
                  <a:lnTo>
                    <a:pt x="261" y="33"/>
                  </a:lnTo>
                  <a:lnTo>
                    <a:pt x="272" y="33"/>
                  </a:lnTo>
                  <a:lnTo>
                    <a:pt x="283" y="27"/>
                  </a:lnTo>
                  <a:lnTo>
                    <a:pt x="289" y="27"/>
                  </a:lnTo>
                  <a:lnTo>
                    <a:pt x="294" y="27"/>
                  </a:lnTo>
                  <a:lnTo>
                    <a:pt x="300" y="33"/>
                  </a:lnTo>
                  <a:lnTo>
                    <a:pt x="305" y="33"/>
                  </a:lnTo>
                  <a:lnTo>
                    <a:pt x="305" y="27"/>
                  </a:lnTo>
                  <a:lnTo>
                    <a:pt x="316" y="27"/>
                  </a:lnTo>
                  <a:lnTo>
                    <a:pt x="321" y="22"/>
                  </a:lnTo>
                  <a:lnTo>
                    <a:pt x="321" y="27"/>
                  </a:lnTo>
                  <a:lnTo>
                    <a:pt x="321" y="33"/>
                  </a:lnTo>
                  <a:lnTo>
                    <a:pt x="321" y="38"/>
                  </a:lnTo>
                  <a:lnTo>
                    <a:pt x="332" y="33"/>
                  </a:lnTo>
                  <a:lnTo>
                    <a:pt x="338" y="33"/>
                  </a:lnTo>
                  <a:lnTo>
                    <a:pt x="349" y="27"/>
                  </a:lnTo>
                  <a:lnTo>
                    <a:pt x="343" y="33"/>
                  </a:lnTo>
                  <a:lnTo>
                    <a:pt x="349" y="33"/>
                  </a:lnTo>
                  <a:lnTo>
                    <a:pt x="338" y="38"/>
                  </a:lnTo>
                  <a:lnTo>
                    <a:pt x="349" y="38"/>
                  </a:lnTo>
                  <a:lnTo>
                    <a:pt x="354" y="38"/>
                  </a:lnTo>
                  <a:lnTo>
                    <a:pt x="359" y="33"/>
                  </a:lnTo>
                  <a:lnTo>
                    <a:pt x="370" y="33"/>
                  </a:lnTo>
                  <a:lnTo>
                    <a:pt x="376" y="33"/>
                  </a:lnTo>
                  <a:lnTo>
                    <a:pt x="381" y="38"/>
                  </a:lnTo>
                  <a:lnTo>
                    <a:pt x="387" y="38"/>
                  </a:lnTo>
                  <a:lnTo>
                    <a:pt x="398" y="44"/>
                  </a:lnTo>
                  <a:lnTo>
                    <a:pt x="403" y="44"/>
                  </a:lnTo>
                  <a:lnTo>
                    <a:pt x="409" y="49"/>
                  </a:lnTo>
                  <a:lnTo>
                    <a:pt x="414" y="49"/>
                  </a:lnTo>
                  <a:lnTo>
                    <a:pt x="419" y="49"/>
                  </a:lnTo>
                  <a:lnTo>
                    <a:pt x="425" y="44"/>
                  </a:lnTo>
                  <a:lnTo>
                    <a:pt x="430" y="49"/>
                  </a:lnTo>
                  <a:lnTo>
                    <a:pt x="436" y="49"/>
                  </a:lnTo>
                  <a:lnTo>
                    <a:pt x="436" y="55"/>
                  </a:lnTo>
                  <a:lnTo>
                    <a:pt x="430" y="60"/>
                  </a:lnTo>
                  <a:lnTo>
                    <a:pt x="425" y="60"/>
                  </a:lnTo>
                  <a:lnTo>
                    <a:pt x="419" y="60"/>
                  </a:lnTo>
                  <a:lnTo>
                    <a:pt x="414" y="65"/>
                  </a:lnTo>
                  <a:lnTo>
                    <a:pt x="419" y="65"/>
                  </a:lnTo>
                  <a:lnTo>
                    <a:pt x="425" y="65"/>
                  </a:lnTo>
                  <a:lnTo>
                    <a:pt x="430" y="65"/>
                  </a:lnTo>
                  <a:lnTo>
                    <a:pt x="436" y="65"/>
                  </a:lnTo>
                  <a:lnTo>
                    <a:pt x="447" y="65"/>
                  </a:lnTo>
                  <a:lnTo>
                    <a:pt x="458" y="65"/>
                  </a:lnTo>
                  <a:lnTo>
                    <a:pt x="469" y="60"/>
                  </a:lnTo>
                  <a:lnTo>
                    <a:pt x="474" y="60"/>
                  </a:lnTo>
                  <a:lnTo>
                    <a:pt x="474" y="65"/>
                  </a:lnTo>
                  <a:lnTo>
                    <a:pt x="479" y="65"/>
                  </a:lnTo>
                  <a:lnTo>
                    <a:pt x="474" y="71"/>
                  </a:lnTo>
                  <a:lnTo>
                    <a:pt x="485" y="65"/>
                  </a:lnTo>
                  <a:lnTo>
                    <a:pt x="479" y="71"/>
                  </a:lnTo>
                  <a:lnTo>
                    <a:pt x="485" y="71"/>
                  </a:lnTo>
                  <a:lnTo>
                    <a:pt x="485" y="76"/>
                  </a:lnTo>
                  <a:lnTo>
                    <a:pt x="490" y="82"/>
                  </a:lnTo>
                  <a:lnTo>
                    <a:pt x="490" y="76"/>
                  </a:lnTo>
                  <a:lnTo>
                    <a:pt x="490" y="71"/>
                  </a:lnTo>
                  <a:lnTo>
                    <a:pt x="490" y="65"/>
                  </a:lnTo>
                  <a:lnTo>
                    <a:pt x="496" y="60"/>
                  </a:lnTo>
                  <a:lnTo>
                    <a:pt x="490" y="60"/>
                  </a:lnTo>
                  <a:lnTo>
                    <a:pt x="496" y="55"/>
                  </a:lnTo>
                  <a:lnTo>
                    <a:pt x="490" y="60"/>
                  </a:lnTo>
                  <a:lnTo>
                    <a:pt x="496" y="55"/>
                  </a:lnTo>
                  <a:lnTo>
                    <a:pt x="501" y="55"/>
                  </a:lnTo>
                  <a:lnTo>
                    <a:pt x="507" y="49"/>
                  </a:lnTo>
                  <a:lnTo>
                    <a:pt x="529" y="49"/>
                  </a:lnTo>
                  <a:lnTo>
                    <a:pt x="534" y="49"/>
                  </a:lnTo>
                  <a:lnTo>
                    <a:pt x="529" y="55"/>
                  </a:lnTo>
                  <a:lnTo>
                    <a:pt x="534" y="60"/>
                  </a:lnTo>
                  <a:lnTo>
                    <a:pt x="539" y="60"/>
                  </a:lnTo>
                  <a:lnTo>
                    <a:pt x="545" y="60"/>
                  </a:lnTo>
                  <a:lnTo>
                    <a:pt x="545" y="65"/>
                  </a:lnTo>
                  <a:lnTo>
                    <a:pt x="556" y="65"/>
                  </a:lnTo>
                  <a:lnTo>
                    <a:pt x="561" y="65"/>
                  </a:lnTo>
                  <a:lnTo>
                    <a:pt x="572" y="65"/>
                  </a:lnTo>
                  <a:lnTo>
                    <a:pt x="583" y="65"/>
                  </a:lnTo>
                  <a:lnTo>
                    <a:pt x="588" y="65"/>
                  </a:lnTo>
                  <a:lnTo>
                    <a:pt x="599" y="65"/>
                  </a:lnTo>
                  <a:lnTo>
                    <a:pt x="594" y="60"/>
                  </a:lnTo>
                  <a:lnTo>
                    <a:pt x="599" y="60"/>
                  </a:lnTo>
                  <a:lnTo>
                    <a:pt x="599" y="55"/>
                  </a:lnTo>
                  <a:lnTo>
                    <a:pt x="610" y="55"/>
                  </a:lnTo>
                  <a:lnTo>
                    <a:pt x="616" y="55"/>
                  </a:lnTo>
                  <a:lnTo>
                    <a:pt x="616" y="60"/>
                  </a:lnTo>
                  <a:lnTo>
                    <a:pt x="621" y="60"/>
                  </a:lnTo>
                  <a:lnTo>
                    <a:pt x="632" y="55"/>
                  </a:lnTo>
                  <a:lnTo>
                    <a:pt x="627" y="60"/>
                  </a:lnTo>
                  <a:lnTo>
                    <a:pt x="621" y="65"/>
                  </a:lnTo>
                  <a:lnTo>
                    <a:pt x="616" y="71"/>
                  </a:lnTo>
                  <a:lnTo>
                    <a:pt x="616" y="76"/>
                  </a:lnTo>
                  <a:lnTo>
                    <a:pt x="621" y="71"/>
                  </a:lnTo>
                  <a:lnTo>
                    <a:pt x="621" y="76"/>
                  </a:lnTo>
                  <a:lnTo>
                    <a:pt x="627" y="76"/>
                  </a:lnTo>
                  <a:lnTo>
                    <a:pt x="627" y="71"/>
                  </a:lnTo>
                  <a:lnTo>
                    <a:pt x="627" y="65"/>
                  </a:lnTo>
                  <a:lnTo>
                    <a:pt x="632" y="60"/>
                  </a:lnTo>
                  <a:lnTo>
                    <a:pt x="638" y="60"/>
                  </a:lnTo>
                  <a:lnTo>
                    <a:pt x="648" y="60"/>
                  </a:lnTo>
                  <a:lnTo>
                    <a:pt x="654" y="55"/>
                  </a:lnTo>
                  <a:lnTo>
                    <a:pt x="659" y="55"/>
                  </a:lnTo>
                  <a:lnTo>
                    <a:pt x="665" y="49"/>
                  </a:lnTo>
                  <a:lnTo>
                    <a:pt x="665" y="44"/>
                  </a:lnTo>
                  <a:lnTo>
                    <a:pt x="654" y="49"/>
                  </a:lnTo>
                  <a:lnTo>
                    <a:pt x="648" y="49"/>
                  </a:lnTo>
                  <a:lnTo>
                    <a:pt x="654" y="44"/>
                  </a:lnTo>
                  <a:lnTo>
                    <a:pt x="659" y="44"/>
                  </a:lnTo>
                  <a:lnTo>
                    <a:pt x="659" y="38"/>
                  </a:lnTo>
                  <a:lnTo>
                    <a:pt x="665" y="38"/>
                  </a:lnTo>
                  <a:lnTo>
                    <a:pt x="659" y="33"/>
                  </a:lnTo>
                  <a:lnTo>
                    <a:pt x="659" y="38"/>
                  </a:lnTo>
                  <a:lnTo>
                    <a:pt x="654" y="33"/>
                  </a:lnTo>
                  <a:lnTo>
                    <a:pt x="648" y="33"/>
                  </a:lnTo>
                  <a:lnTo>
                    <a:pt x="648" y="27"/>
                  </a:lnTo>
                  <a:lnTo>
                    <a:pt x="659" y="22"/>
                  </a:lnTo>
                  <a:lnTo>
                    <a:pt x="654" y="16"/>
                  </a:lnTo>
                  <a:lnTo>
                    <a:pt x="659" y="11"/>
                  </a:lnTo>
                  <a:lnTo>
                    <a:pt x="670" y="11"/>
                  </a:lnTo>
                  <a:lnTo>
                    <a:pt x="670" y="5"/>
                  </a:lnTo>
                  <a:lnTo>
                    <a:pt x="681" y="0"/>
                  </a:lnTo>
                  <a:lnTo>
                    <a:pt x="692" y="0"/>
                  </a:lnTo>
                  <a:lnTo>
                    <a:pt x="687" y="5"/>
                  </a:lnTo>
                  <a:lnTo>
                    <a:pt x="698" y="0"/>
                  </a:lnTo>
                  <a:lnTo>
                    <a:pt x="692" y="5"/>
                  </a:lnTo>
                  <a:lnTo>
                    <a:pt x="698" y="5"/>
                  </a:lnTo>
                  <a:lnTo>
                    <a:pt x="698" y="11"/>
                  </a:lnTo>
                  <a:lnTo>
                    <a:pt x="692" y="16"/>
                  </a:lnTo>
                  <a:lnTo>
                    <a:pt x="698" y="22"/>
                  </a:lnTo>
                  <a:lnTo>
                    <a:pt x="703" y="22"/>
                  </a:lnTo>
                  <a:lnTo>
                    <a:pt x="703" y="27"/>
                  </a:lnTo>
                  <a:lnTo>
                    <a:pt x="692" y="27"/>
                  </a:lnTo>
                  <a:lnTo>
                    <a:pt x="687" y="33"/>
                  </a:lnTo>
                  <a:lnTo>
                    <a:pt x="681" y="33"/>
                  </a:lnTo>
                  <a:lnTo>
                    <a:pt x="687" y="33"/>
                  </a:lnTo>
                  <a:lnTo>
                    <a:pt x="687" y="38"/>
                  </a:lnTo>
                  <a:lnTo>
                    <a:pt x="692" y="33"/>
                  </a:lnTo>
                  <a:lnTo>
                    <a:pt x="698" y="38"/>
                  </a:lnTo>
                  <a:lnTo>
                    <a:pt x="703" y="38"/>
                  </a:lnTo>
                  <a:lnTo>
                    <a:pt x="692" y="44"/>
                  </a:lnTo>
                  <a:lnTo>
                    <a:pt x="698" y="44"/>
                  </a:lnTo>
                  <a:lnTo>
                    <a:pt x="698" y="49"/>
                  </a:lnTo>
                  <a:lnTo>
                    <a:pt x="692" y="55"/>
                  </a:lnTo>
                  <a:lnTo>
                    <a:pt x="692" y="60"/>
                  </a:lnTo>
                  <a:lnTo>
                    <a:pt x="698" y="55"/>
                  </a:lnTo>
                  <a:lnTo>
                    <a:pt x="703" y="49"/>
                  </a:lnTo>
                  <a:lnTo>
                    <a:pt x="708" y="44"/>
                  </a:lnTo>
                  <a:lnTo>
                    <a:pt x="714" y="44"/>
                  </a:lnTo>
                  <a:lnTo>
                    <a:pt x="719" y="44"/>
                  </a:lnTo>
                  <a:lnTo>
                    <a:pt x="719" y="49"/>
                  </a:lnTo>
                  <a:lnTo>
                    <a:pt x="719" y="55"/>
                  </a:lnTo>
                  <a:lnTo>
                    <a:pt x="714" y="60"/>
                  </a:lnTo>
                  <a:lnTo>
                    <a:pt x="708" y="60"/>
                  </a:lnTo>
                  <a:lnTo>
                    <a:pt x="708" y="65"/>
                  </a:lnTo>
                  <a:lnTo>
                    <a:pt x="714" y="71"/>
                  </a:lnTo>
                  <a:lnTo>
                    <a:pt x="708" y="76"/>
                  </a:lnTo>
                  <a:lnTo>
                    <a:pt x="719" y="71"/>
                  </a:lnTo>
                  <a:lnTo>
                    <a:pt x="725" y="65"/>
                  </a:lnTo>
                  <a:lnTo>
                    <a:pt x="736" y="60"/>
                  </a:lnTo>
                  <a:lnTo>
                    <a:pt x="741" y="60"/>
                  </a:lnTo>
                  <a:lnTo>
                    <a:pt x="741" y="55"/>
                  </a:lnTo>
                  <a:lnTo>
                    <a:pt x="747" y="49"/>
                  </a:lnTo>
                  <a:lnTo>
                    <a:pt x="752" y="49"/>
                  </a:lnTo>
                  <a:lnTo>
                    <a:pt x="758" y="49"/>
                  </a:lnTo>
                  <a:lnTo>
                    <a:pt x="758" y="44"/>
                  </a:lnTo>
                  <a:lnTo>
                    <a:pt x="758" y="38"/>
                  </a:lnTo>
                  <a:lnTo>
                    <a:pt x="758" y="33"/>
                  </a:lnTo>
                  <a:lnTo>
                    <a:pt x="763" y="33"/>
                  </a:lnTo>
                  <a:lnTo>
                    <a:pt x="758" y="33"/>
                  </a:lnTo>
                  <a:lnTo>
                    <a:pt x="768" y="33"/>
                  </a:lnTo>
                  <a:lnTo>
                    <a:pt x="774" y="33"/>
                  </a:lnTo>
                  <a:lnTo>
                    <a:pt x="779" y="33"/>
                  </a:lnTo>
                  <a:lnTo>
                    <a:pt x="790" y="33"/>
                  </a:lnTo>
                  <a:lnTo>
                    <a:pt x="796" y="38"/>
                  </a:lnTo>
                  <a:lnTo>
                    <a:pt x="790" y="38"/>
                  </a:lnTo>
                  <a:lnTo>
                    <a:pt x="790" y="44"/>
                  </a:lnTo>
                  <a:lnTo>
                    <a:pt x="796" y="44"/>
                  </a:lnTo>
                  <a:lnTo>
                    <a:pt x="790" y="49"/>
                  </a:lnTo>
                  <a:lnTo>
                    <a:pt x="796" y="49"/>
                  </a:lnTo>
                  <a:lnTo>
                    <a:pt x="785" y="55"/>
                  </a:lnTo>
                  <a:lnTo>
                    <a:pt x="779" y="55"/>
                  </a:lnTo>
                  <a:lnTo>
                    <a:pt x="774" y="60"/>
                  </a:lnTo>
                  <a:lnTo>
                    <a:pt x="774" y="65"/>
                  </a:lnTo>
                  <a:lnTo>
                    <a:pt x="779" y="65"/>
                  </a:lnTo>
                  <a:lnTo>
                    <a:pt x="779" y="71"/>
                  </a:lnTo>
                  <a:lnTo>
                    <a:pt x="774" y="76"/>
                  </a:lnTo>
                  <a:lnTo>
                    <a:pt x="768" y="76"/>
                  </a:lnTo>
                  <a:lnTo>
                    <a:pt x="763" y="82"/>
                  </a:lnTo>
                  <a:lnTo>
                    <a:pt x="752" y="87"/>
                  </a:lnTo>
                  <a:lnTo>
                    <a:pt x="747" y="87"/>
                  </a:lnTo>
                  <a:lnTo>
                    <a:pt x="741" y="87"/>
                  </a:lnTo>
                  <a:lnTo>
                    <a:pt x="747" y="87"/>
                  </a:lnTo>
                  <a:lnTo>
                    <a:pt x="741" y="82"/>
                  </a:lnTo>
                  <a:lnTo>
                    <a:pt x="741" y="87"/>
                  </a:lnTo>
                  <a:lnTo>
                    <a:pt x="741" y="93"/>
                  </a:lnTo>
                  <a:lnTo>
                    <a:pt x="736" y="87"/>
                  </a:lnTo>
                  <a:lnTo>
                    <a:pt x="730" y="93"/>
                  </a:lnTo>
                  <a:lnTo>
                    <a:pt x="730" y="87"/>
                  </a:lnTo>
                  <a:lnTo>
                    <a:pt x="725" y="87"/>
                  </a:lnTo>
                  <a:lnTo>
                    <a:pt x="725" y="82"/>
                  </a:lnTo>
                  <a:lnTo>
                    <a:pt x="719" y="87"/>
                  </a:lnTo>
                  <a:lnTo>
                    <a:pt x="708" y="87"/>
                  </a:lnTo>
                  <a:lnTo>
                    <a:pt x="714" y="93"/>
                  </a:lnTo>
                  <a:lnTo>
                    <a:pt x="708" y="93"/>
                  </a:lnTo>
                  <a:lnTo>
                    <a:pt x="703" y="98"/>
                  </a:lnTo>
                  <a:lnTo>
                    <a:pt x="698" y="104"/>
                  </a:lnTo>
                  <a:lnTo>
                    <a:pt x="692" y="109"/>
                  </a:lnTo>
                  <a:lnTo>
                    <a:pt x="687" y="109"/>
                  </a:lnTo>
                  <a:lnTo>
                    <a:pt x="687" y="115"/>
                  </a:lnTo>
                  <a:lnTo>
                    <a:pt x="681" y="115"/>
                  </a:lnTo>
                  <a:lnTo>
                    <a:pt x="676" y="120"/>
                  </a:lnTo>
                  <a:lnTo>
                    <a:pt x="670" y="120"/>
                  </a:lnTo>
                  <a:lnTo>
                    <a:pt x="659" y="125"/>
                  </a:lnTo>
                  <a:lnTo>
                    <a:pt x="654" y="125"/>
                  </a:lnTo>
                  <a:lnTo>
                    <a:pt x="648" y="125"/>
                  </a:lnTo>
                  <a:lnTo>
                    <a:pt x="643" y="125"/>
                  </a:lnTo>
                  <a:lnTo>
                    <a:pt x="638" y="131"/>
                  </a:lnTo>
                  <a:lnTo>
                    <a:pt x="632" y="131"/>
                  </a:lnTo>
                  <a:lnTo>
                    <a:pt x="632" y="136"/>
                  </a:lnTo>
                  <a:lnTo>
                    <a:pt x="627" y="136"/>
                  </a:lnTo>
                  <a:lnTo>
                    <a:pt x="627" y="142"/>
                  </a:lnTo>
                  <a:lnTo>
                    <a:pt x="616" y="142"/>
                  </a:lnTo>
                  <a:lnTo>
                    <a:pt x="605" y="147"/>
                  </a:lnTo>
                  <a:lnTo>
                    <a:pt x="605" y="142"/>
                  </a:lnTo>
                  <a:lnTo>
                    <a:pt x="610" y="147"/>
                  </a:lnTo>
                  <a:lnTo>
                    <a:pt x="599" y="147"/>
                  </a:lnTo>
                  <a:lnTo>
                    <a:pt x="605" y="153"/>
                  </a:lnTo>
                  <a:lnTo>
                    <a:pt x="599" y="147"/>
                  </a:lnTo>
                  <a:lnTo>
                    <a:pt x="594" y="153"/>
                  </a:lnTo>
                  <a:lnTo>
                    <a:pt x="588" y="153"/>
                  </a:lnTo>
                  <a:lnTo>
                    <a:pt x="583" y="158"/>
                  </a:lnTo>
                  <a:lnTo>
                    <a:pt x="578" y="158"/>
                  </a:lnTo>
                  <a:lnTo>
                    <a:pt x="583" y="164"/>
                  </a:lnTo>
                  <a:lnTo>
                    <a:pt x="578" y="164"/>
                  </a:lnTo>
                  <a:lnTo>
                    <a:pt x="572" y="164"/>
                  </a:lnTo>
                  <a:lnTo>
                    <a:pt x="572" y="169"/>
                  </a:lnTo>
                  <a:lnTo>
                    <a:pt x="567" y="169"/>
                  </a:lnTo>
                  <a:lnTo>
                    <a:pt x="561" y="175"/>
                  </a:lnTo>
                  <a:lnTo>
                    <a:pt x="556" y="180"/>
                  </a:lnTo>
                  <a:lnTo>
                    <a:pt x="550" y="180"/>
                  </a:lnTo>
                  <a:lnTo>
                    <a:pt x="545" y="185"/>
                  </a:lnTo>
                  <a:lnTo>
                    <a:pt x="545" y="191"/>
                  </a:lnTo>
                  <a:lnTo>
                    <a:pt x="539" y="191"/>
                  </a:lnTo>
                  <a:lnTo>
                    <a:pt x="539" y="196"/>
                  </a:lnTo>
                  <a:lnTo>
                    <a:pt x="539" y="202"/>
                  </a:lnTo>
                  <a:lnTo>
                    <a:pt x="534" y="202"/>
                  </a:lnTo>
                  <a:lnTo>
                    <a:pt x="534" y="207"/>
                  </a:lnTo>
                  <a:lnTo>
                    <a:pt x="534" y="213"/>
                  </a:lnTo>
                  <a:lnTo>
                    <a:pt x="545" y="207"/>
                  </a:lnTo>
                  <a:lnTo>
                    <a:pt x="550" y="207"/>
                  </a:lnTo>
                  <a:lnTo>
                    <a:pt x="545" y="213"/>
                  </a:lnTo>
                  <a:lnTo>
                    <a:pt x="545" y="218"/>
                  </a:lnTo>
                  <a:lnTo>
                    <a:pt x="545" y="224"/>
                  </a:lnTo>
                  <a:lnTo>
                    <a:pt x="545" y="229"/>
                  </a:lnTo>
                  <a:lnTo>
                    <a:pt x="539" y="235"/>
                  </a:lnTo>
                  <a:lnTo>
                    <a:pt x="545" y="235"/>
                  </a:lnTo>
                  <a:lnTo>
                    <a:pt x="561" y="235"/>
                  </a:lnTo>
                  <a:lnTo>
                    <a:pt x="567" y="235"/>
                  </a:lnTo>
                  <a:lnTo>
                    <a:pt x="572" y="235"/>
                  </a:lnTo>
                  <a:lnTo>
                    <a:pt x="578" y="240"/>
                  </a:lnTo>
                  <a:lnTo>
                    <a:pt x="583" y="240"/>
                  </a:lnTo>
                  <a:lnTo>
                    <a:pt x="588" y="245"/>
                  </a:lnTo>
                  <a:lnTo>
                    <a:pt x="588" y="251"/>
                  </a:lnTo>
                  <a:lnTo>
                    <a:pt x="594" y="251"/>
                  </a:lnTo>
                  <a:lnTo>
                    <a:pt x="594" y="256"/>
                  </a:lnTo>
                  <a:lnTo>
                    <a:pt x="599" y="256"/>
                  </a:lnTo>
                  <a:lnTo>
                    <a:pt x="605" y="256"/>
                  </a:lnTo>
                  <a:lnTo>
                    <a:pt x="610" y="262"/>
                  </a:lnTo>
                  <a:lnTo>
                    <a:pt x="616" y="267"/>
                  </a:lnTo>
                  <a:lnTo>
                    <a:pt x="621" y="262"/>
                  </a:lnTo>
                  <a:lnTo>
                    <a:pt x="627" y="262"/>
                  </a:lnTo>
                  <a:lnTo>
                    <a:pt x="632" y="267"/>
                  </a:lnTo>
                  <a:lnTo>
                    <a:pt x="632" y="262"/>
                  </a:lnTo>
                  <a:lnTo>
                    <a:pt x="632" y="267"/>
                  </a:lnTo>
                  <a:lnTo>
                    <a:pt x="638" y="267"/>
                  </a:lnTo>
                  <a:lnTo>
                    <a:pt x="643" y="267"/>
                  </a:lnTo>
                  <a:lnTo>
                    <a:pt x="648" y="267"/>
                  </a:lnTo>
                  <a:lnTo>
                    <a:pt x="643" y="273"/>
                  </a:lnTo>
                  <a:lnTo>
                    <a:pt x="638" y="278"/>
                  </a:lnTo>
                  <a:lnTo>
                    <a:pt x="638" y="284"/>
                  </a:lnTo>
                  <a:lnTo>
                    <a:pt x="638" y="289"/>
                  </a:lnTo>
                  <a:lnTo>
                    <a:pt x="632" y="289"/>
                  </a:lnTo>
                  <a:lnTo>
                    <a:pt x="632" y="295"/>
                  </a:lnTo>
                  <a:lnTo>
                    <a:pt x="627" y="300"/>
                  </a:lnTo>
                  <a:lnTo>
                    <a:pt x="627" y="305"/>
                  </a:lnTo>
                  <a:lnTo>
                    <a:pt x="632" y="311"/>
                  </a:lnTo>
                  <a:lnTo>
                    <a:pt x="632" y="316"/>
                  </a:lnTo>
                  <a:lnTo>
                    <a:pt x="638" y="322"/>
                  </a:lnTo>
                  <a:lnTo>
                    <a:pt x="638" y="327"/>
                  </a:lnTo>
                  <a:lnTo>
                    <a:pt x="643" y="327"/>
                  </a:lnTo>
                  <a:lnTo>
                    <a:pt x="648" y="322"/>
                  </a:lnTo>
                  <a:lnTo>
                    <a:pt x="654" y="322"/>
                  </a:lnTo>
                  <a:lnTo>
                    <a:pt x="654" y="327"/>
                  </a:lnTo>
                  <a:lnTo>
                    <a:pt x="659" y="322"/>
                  </a:lnTo>
                  <a:lnTo>
                    <a:pt x="659" y="316"/>
                  </a:lnTo>
                  <a:lnTo>
                    <a:pt x="665" y="311"/>
                  </a:lnTo>
                  <a:lnTo>
                    <a:pt x="670" y="311"/>
                  </a:lnTo>
                  <a:lnTo>
                    <a:pt x="670" y="305"/>
                  </a:lnTo>
                  <a:lnTo>
                    <a:pt x="670" y="300"/>
                  </a:lnTo>
                  <a:lnTo>
                    <a:pt x="670" y="295"/>
                  </a:lnTo>
                  <a:lnTo>
                    <a:pt x="676" y="289"/>
                  </a:lnTo>
                  <a:lnTo>
                    <a:pt x="670" y="289"/>
                  </a:lnTo>
                  <a:lnTo>
                    <a:pt x="676" y="289"/>
                  </a:lnTo>
                  <a:lnTo>
                    <a:pt x="676" y="284"/>
                  </a:lnTo>
                  <a:lnTo>
                    <a:pt x="676" y="278"/>
                  </a:lnTo>
                  <a:lnTo>
                    <a:pt x="676" y="273"/>
                  </a:lnTo>
                  <a:lnTo>
                    <a:pt x="687" y="273"/>
                  </a:lnTo>
                  <a:lnTo>
                    <a:pt x="687" y="267"/>
                  </a:lnTo>
                  <a:lnTo>
                    <a:pt x="698" y="267"/>
                  </a:lnTo>
                  <a:lnTo>
                    <a:pt x="703" y="262"/>
                  </a:lnTo>
                  <a:lnTo>
                    <a:pt x="708" y="262"/>
                  </a:lnTo>
                  <a:lnTo>
                    <a:pt x="714" y="256"/>
                  </a:lnTo>
                  <a:lnTo>
                    <a:pt x="719" y="251"/>
                  </a:lnTo>
                  <a:lnTo>
                    <a:pt x="725" y="251"/>
                  </a:lnTo>
                  <a:lnTo>
                    <a:pt x="730" y="245"/>
                  </a:lnTo>
                  <a:lnTo>
                    <a:pt x="730" y="240"/>
                  </a:lnTo>
                  <a:lnTo>
                    <a:pt x="736" y="235"/>
                  </a:lnTo>
                  <a:lnTo>
                    <a:pt x="736" y="229"/>
                  </a:lnTo>
                  <a:lnTo>
                    <a:pt x="736" y="224"/>
                  </a:lnTo>
                  <a:lnTo>
                    <a:pt x="736" y="218"/>
                  </a:lnTo>
                  <a:lnTo>
                    <a:pt x="730" y="218"/>
                  </a:lnTo>
                  <a:lnTo>
                    <a:pt x="736" y="218"/>
                  </a:lnTo>
                  <a:lnTo>
                    <a:pt x="730" y="213"/>
                  </a:lnTo>
                  <a:lnTo>
                    <a:pt x="725" y="207"/>
                  </a:lnTo>
                  <a:lnTo>
                    <a:pt x="730" y="207"/>
                  </a:lnTo>
                  <a:lnTo>
                    <a:pt x="736" y="202"/>
                  </a:lnTo>
                  <a:lnTo>
                    <a:pt x="741" y="196"/>
                  </a:lnTo>
                  <a:lnTo>
                    <a:pt x="741" y="191"/>
                  </a:lnTo>
                  <a:lnTo>
                    <a:pt x="752" y="191"/>
                  </a:lnTo>
                  <a:lnTo>
                    <a:pt x="747" y="191"/>
                  </a:lnTo>
                  <a:lnTo>
                    <a:pt x="752" y="185"/>
                  </a:lnTo>
                  <a:lnTo>
                    <a:pt x="758" y="180"/>
                  </a:lnTo>
                  <a:lnTo>
                    <a:pt x="758" y="175"/>
                  </a:lnTo>
                  <a:lnTo>
                    <a:pt x="747" y="175"/>
                  </a:lnTo>
                  <a:lnTo>
                    <a:pt x="758" y="175"/>
                  </a:lnTo>
                  <a:lnTo>
                    <a:pt x="758" y="169"/>
                  </a:lnTo>
                  <a:lnTo>
                    <a:pt x="758" y="164"/>
                  </a:lnTo>
                  <a:lnTo>
                    <a:pt x="763" y="164"/>
                  </a:lnTo>
                  <a:lnTo>
                    <a:pt x="758" y="164"/>
                  </a:lnTo>
                  <a:lnTo>
                    <a:pt x="763" y="158"/>
                  </a:lnTo>
                  <a:lnTo>
                    <a:pt x="763" y="153"/>
                  </a:lnTo>
                  <a:lnTo>
                    <a:pt x="774" y="147"/>
                  </a:lnTo>
                  <a:lnTo>
                    <a:pt x="785" y="147"/>
                  </a:lnTo>
                  <a:lnTo>
                    <a:pt x="790" y="153"/>
                  </a:lnTo>
                  <a:lnTo>
                    <a:pt x="796" y="153"/>
                  </a:lnTo>
                  <a:lnTo>
                    <a:pt x="801" y="153"/>
                  </a:lnTo>
                  <a:lnTo>
                    <a:pt x="807" y="153"/>
                  </a:lnTo>
                  <a:lnTo>
                    <a:pt x="801" y="153"/>
                  </a:lnTo>
                  <a:lnTo>
                    <a:pt x="807" y="153"/>
                  </a:lnTo>
                  <a:lnTo>
                    <a:pt x="817" y="147"/>
                  </a:lnTo>
                  <a:lnTo>
                    <a:pt x="823" y="153"/>
                  </a:lnTo>
                  <a:lnTo>
                    <a:pt x="828" y="153"/>
                  </a:lnTo>
                  <a:lnTo>
                    <a:pt x="828" y="158"/>
                  </a:lnTo>
                  <a:lnTo>
                    <a:pt x="828" y="164"/>
                  </a:lnTo>
                  <a:lnTo>
                    <a:pt x="834" y="164"/>
                  </a:lnTo>
                  <a:lnTo>
                    <a:pt x="828" y="169"/>
                  </a:lnTo>
                  <a:lnTo>
                    <a:pt x="834" y="169"/>
                  </a:lnTo>
                  <a:lnTo>
                    <a:pt x="839" y="169"/>
                  </a:lnTo>
                  <a:lnTo>
                    <a:pt x="839" y="175"/>
                  </a:lnTo>
                  <a:lnTo>
                    <a:pt x="845" y="169"/>
                  </a:lnTo>
                  <a:lnTo>
                    <a:pt x="845" y="175"/>
                  </a:lnTo>
                  <a:lnTo>
                    <a:pt x="856" y="175"/>
                  </a:lnTo>
                  <a:lnTo>
                    <a:pt x="850" y="180"/>
                  </a:lnTo>
                  <a:lnTo>
                    <a:pt x="845" y="180"/>
                  </a:lnTo>
                  <a:lnTo>
                    <a:pt x="845" y="185"/>
                  </a:lnTo>
                  <a:lnTo>
                    <a:pt x="839" y="191"/>
                  </a:lnTo>
                  <a:lnTo>
                    <a:pt x="845" y="191"/>
                  </a:lnTo>
                  <a:lnTo>
                    <a:pt x="845" y="196"/>
                  </a:lnTo>
                  <a:lnTo>
                    <a:pt x="839" y="196"/>
                  </a:lnTo>
                  <a:lnTo>
                    <a:pt x="834" y="202"/>
                  </a:lnTo>
                  <a:lnTo>
                    <a:pt x="845" y="202"/>
                  </a:lnTo>
                  <a:lnTo>
                    <a:pt x="839" y="202"/>
                  </a:lnTo>
                  <a:lnTo>
                    <a:pt x="839" y="207"/>
                  </a:lnTo>
                  <a:lnTo>
                    <a:pt x="845" y="207"/>
                  </a:lnTo>
                  <a:lnTo>
                    <a:pt x="850" y="207"/>
                  </a:lnTo>
                  <a:lnTo>
                    <a:pt x="850" y="213"/>
                  </a:lnTo>
                  <a:lnTo>
                    <a:pt x="850" y="218"/>
                  </a:lnTo>
                  <a:lnTo>
                    <a:pt x="856" y="213"/>
                  </a:lnTo>
                  <a:lnTo>
                    <a:pt x="850" y="218"/>
                  </a:lnTo>
                  <a:lnTo>
                    <a:pt x="856" y="218"/>
                  </a:lnTo>
                  <a:lnTo>
                    <a:pt x="861" y="213"/>
                  </a:lnTo>
                  <a:lnTo>
                    <a:pt x="867" y="213"/>
                  </a:lnTo>
                  <a:lnTo>
                    <a:pt x="872" y="207"/>
                  </a:lnTo>
                  <a:lnTo>
                    <a:pt x="877" y="213"/>
                  </a:lnTo>
                  <a:lnTo>
                    <a:pt x="877" y="207"/>
                  </a:lnTo>
                  <a:lnTo>
                    <a:pt x="883" y="202"/>
                  </a:lnTo>
                  <a:lnTo>
                    <a:pt x="888" y="196"/>
                  </a:lnTo>
                  <a:lnTo>
                    <a:pt x="888" y="191"/>
                  </a:lnTo>
                  <a:lnTo>
                    <a:pt x="894" y="191"/>
                  </a:lnTo>
                  <a:lnTo>
                    <a:pt x="899" y="191"/>
                  </a:lnTo>
                  <a:lnTo>
                    <a:pt x="905" y="185"/>
                  </a:lnTo>
                  <a:lnTo>
                    <a:pt x="910" y="185"/>
                  </a:lnTo>
                  <a:lnTo>
                    <a:pt x="905" y="191"/>
                  </a:lnTo>
                  <a:lnTo>
                    <a:pt x="910" y="191"/>
                  </a:lnTo>
                  <a:lnTo>
                    <a:pt x="910" y="196"/>
                  </a:lnTo>
                  <a:lnTo>
                    <a:pt x="910" y="202"/>
                  </a:lnTo>
                  <a:lnTo>
                    <a:pt x="916" y="202"/>
                  </a:lnTo>
                  <a:lnTo>
                    <a:pt x="916" y="207"/>
                  </a:lnTo>
                  <a:lnTo>
                    <a:pt x="916" y="213"/>
                  </a:lnTo>
                  <a:lnTo>
                    <a:pt x="905" y="213"/>
                  </a:lnTo>
                  <a:lnTo>
                    <a:pt x="910" y="213"/>
                  </a:lnTo>
                  <a:lnTo>
                    <a:pt x="916" y="213"/>
                  </a:lnTo>
                  <a:lnTo>
                    <a:pt x="916" y="218"/>
                  </a:lnTo>
                  <a:lnTo>
                    <a:pt x="916" y="224"/>
                  </a:lnTo>
                  <a:lnTo>
                    <a:pt x="921" y="224"/>
                  </a:lnTo>
                  <a:lnTo>
                    <a:pt x="916" y="229"/>
                  </a:lnTo>
                  <a:lnTo>
                    <a:pt x="910" y="229"/>
                  </a:lnTo>
                  <a:lnTo>
                    <a:pt x="916" y="229"/>
                  </a:lnTo>
                  <a:lnTo>
                    <a:pt x="916" y="235"/>
                  </a:lnTo>
                  <a:lnTo>
                    <a:pt x="921" y="235"/>
                  </a:lnTo>
                  <a:lnTo>
                    <a:pt x="921" y="240"/>
                  </a:lnTo>
                  <a:lnTo>
                    <a:pt x="910" y="240"/>
                  </a:lnTo>
                  <a:lnTo>
                    <a:pt x="916" y="245"/>
                  </a:lnTo>
                  <a:lnTo>
                    <a:pt x="910" y="245"/>
                  </a:lnTo>
                  <a:lnTo>
                    <a:pt x="905" y="251"/>
                  </a:lnTo>
                  <a:lnTo>
                    <a:pt x="916" y="251"/>
                  </a:lnTo>
                  <a:lnTo>
                    <a:pt x="910" y="251"/>
                  </a:lnTo>
                  <a:lnTo>
                    <a:pt x="916" y="256"/>
                  </a:lnTo>
                  <a:lnTo>
                    <a:pt x="921" y="256"/>
                  </a:lnTo>
                  <a:lnTo>
                    <a:pt x="921" y="262"/>
                  </a:lnTo>
                  <a:lnTo>
                    <a:pt x="927" y="256"/>
                  </a:lnTo>
                  <a:lnTo>
                    <a:pt x="927" y="262"/>
                  </a:lnTo>
                  <a:lnTo>
                    <a:pt x="921" y="262"/>
                  </a:lnTo>
                  <a:lnTo>
                    <a:pt x="916" y="267"/>
                  </a:lnTo>
                  <a:lnTo>
                    <a:pt x="921" y="262"/>
                  </a:lnTo>
                  <a:lnTo>
                    <a:pt x="927" y="262"/>
                  </a:lnTo>
                  <a:lnTo>
                    <a:pt x="921" y="267"/>
                  </a:lnTo>
                  <a:lnTo>
                    <a:pt x="927" y="267"/>
                  </a:lnTo>
                  <a:lnTo>
                    <a:pt x="927" y="262"/>
                  </a:lnTo>
                  <a:lnTo>
                    <a:pt x="927" y="267"/>
                  </a:lnTo>
                  <a:lnTo>
                    <a:pt x="932" y="267"/>
                  </a:lnTo>
                  <a:lnTo>
                    <a:pt x="937" y="267"/>
                  </a:lnTo>
                  <a:lnTo>
                    <a:pt x="937" y="273"/>
                  </a:lnTo>
                  <a:lnTo>
                    <a:pt x="943" y="273"/>
                  </a:lnTo>
                  <a:lnTo>
                    <a:pt x="948" y="267"/>
                  </a:lnTo>
                  <a:lnTo>
                    <a:pt x="943" y="273"/>
                  </a:lnTo>
                  <a:lnTo>
                    <a:pt x="948" y="273"/>
                  </a:lnTo>
                  <a:lnTo>
                    <a:pt x="954" y="273"/>
                  </a:lnTo>
                  <a:lnTo>
                    <a:pt x="954" y="278"/>
                  </a:lnTo>
                  <a:lnTo>
                    <a:pt x="948" y="278"/>
                  </a:lnTo>
                  <a:lnTo>
                    <a:pt x="943" y="278"/>
                  </a:lnTo>
                  <a:lnTo>
                    <a:pt x="937" y="284"/>
                  </a:lnTo>
                  <a:lnTo>
                    <a:pt x="943" y="278"/>
                  </a:lnTo>
                  <a:lnTo>
                    <a:pt x="948" y="284"/>
                  </a:lnTo>
                  <a:lnTo>
                    <a:pt x="954" y="284"/>
                  </a:lnTo>
                  <a:lnTo>
                    <a:pt x="954" y="289"/>
                  </a:lnTo>
                  <a:lnTo>
                    <a:pt x="959" y="289"/>
                  </a:lnTo>
                  <a:lnTo>
                    <a:pt x="965" y="289"/>
                  </a:lnTo>
                  <a:lnTo>
                    <a:pt x="959" y="289"/>
                  </a:lnTo>
                  <a:lnTo>
                    <a:pt x="965" y="295"/>
                  </a:lnTo>
                  <a:lnTo>
                    <a:pt x="959" y="300"/>
                  </a:lnTo>
                  <a:lnTo>
                    <a:pt x="965" y="305"/>
                  </a:lnTo>
                  <a:lnTo>
                    <a:pt x="959" y="305"/>
                  </a:lnTo>
                  <a:lnTo>
                    <a:pt x="954" y="305"/>
                  </a:lnTo>
                  <a:lnTo>
                    <a:pt x="959" y="305"/>
                  </a:lnTo>
                  <a:lnTo>
                    <a:pt x="965" y="311"/>
                  </a:lnTo>
                  <a:lnTo>
                    <a:pt x="954" y="311"/>
                  </a:lnTo>
                  <a:lnTo>
                    <a:pt x="959" y="311"/>
                  </a:lnTo>
                  <a:lnTo>
                    <a:pt x="959" y="316"/>
                  </a:lnTo>
                  <a:lnTo>
                    <a:pt x="954" y="316"/>
                  </a:lnTo>
                  <a:lnTo>
                    <a:pt x="954" y="322"/>
                  </a:lnTo>
                  <a:lnTo>
                    <a:pt x="943" y="322"/>
                  </a:lnTo>
                  <a:lnTo>
                    <a:pt x="937" y="327"/>
                  </a:lnTo>
                  <a:lnTo>
                    <a:pt x="937" y="322"/>
                  </a:lnTo>
                  <a:lnTo>
                    <a:pt x="932" y="327"/>
                  </a:lnTo>
                  <a:lnTo>
                    <a:pt x="932" y="322"/>
                  </a:lnTo>
                  <a:lnTo>
                    <a:pt x="927" y="327"/>
                  </a:lnTo>
                  <a:lnTo>
                    <a:pt x="921" y="327"/>
                  </a:lnTo>
                  <a:lnTo>
                    <a:pt x="916" y="327"/>
                  </a:lnTo>
                  <a:lnTo>
                    <a:pt x="910" y="333"/>
                  </a:lnTo>
                  <a:lnTo>
                    <a:pt x="910" y="338"/>
                  </a:lnTo>
                  <a:lnTo>
                    <a:pt x="905" y="338"/>
                  </a:lnTo>
                  <a:lnTo>
                    <a:pt x="899" y="338"/>
                  </a:lnTo>
                  <a:lnTo>
                    <a:pt x="894" y="344"/>
                  </a:lnTo>
                  <a:lnTo>
                    <a:pt x="888" y="344"/>
                  </a:lnTo>
                  <a:lnTo>
                    <a:pt x="883" y="344"/>
                  </a:lnTo>
                  <a:lnTo>
                    <a:pt x="877" y="344"/>
                  </a:lnTo>
                  <a:lnTo>
                    <a:pt x="867" y="349"/>
                  </a:lnTo>
                  <a:lnTo>
                    <a:pt x="867" y="344"/>
                  </a:lnTo>
                  <a:lnTo>
                    <a:pt x="861" y="344"/>
                  </a:lnTo>
                  <a:lnTo>
                    <a:pt x="856" y="344"/>
                  </a:lnTo>
                  <a:lnTo>
                    <a:pt x="850" y="344"/>
                  </a:lnTo>
                  <a:lnTo>
                    <a:pt x="845" y="344"/>
                  </a:lnTo>
                  <a:lnTo>
                    <a:pt x="839" y="344"/>
                  </a:lnTo>
                  <a:lnTo>
                    <a:pt x="834" y="344"/>
                  </a:lnTo>
                  <a:lnTo>
                    <a:pt x="823" y="344"/>
                  </a:lnTo>
                  <a:lnTo>
                    <a:pt x="812" y="344"/>
                  </a:lnTo>
                  <a:lnTo>
                    <a:pt x="807" y="344"/>
                  </a:lnTo>
                  <a:lnTo>
                    <a:pt x="801" y="349"/>
                  </a:lnTo>
                  <a:lnTo>
                    <a:pt x="796" y="349"/>
                  </a:lnTo>
                  <a:lnTo>
                    <a:pt x="790" y="355"/>
                  </a:lnTo>
                  <a:lnTo>
                    <a:pt x="790" y="360"/>
                  </a:lnTo>
                  <a:lnTo>
                    <a:pt x="785" y="360"/>
                  </a:lnTo>
                  <a:lnTo>
                    <a:pt x="779" y="360"/>
                  </a:lnTo>
                  <a:lnTo>
                    <a:pt x="774" y="365"/>
                  </a:lnTo>
                  <a:lnTo>
                    <a:pt x="768" y="365"/>
                  </a:lnTo>
                  <a:lnTo>
                    <a:pt x="763" y="365"/>
                  </a:lnTo>
                  <a:lnTo>
                    <a:pt x="758" y="371"/>
                  </a:lnTo>
                  <a:lnTo>
                    <a:pt x="758" y="376"/>
                  </a:lnTo>
                  <a:lnTo>
                    <a:pt x="763" y="376"/>
                  </a:lnTo>
                  <a:lnTo>
                    <a:pt x="774" y="371"/>
                  </a:lnTo>
                  <a:lnTo>
                    <a:pt x="801" y="360"/>
                  </a:lnTo>
                  <a:lnTo>
                    <a:pt x="812" y="360"/>
                  </a:lnTo>
                  <a:lnTo>
                    <a:pt x="823" y="360"/>
                  </a:lnTo>
                  <a:lnTo>
                    <a:pt x="828" y="365"/>
                  </a:lnTo>
                  <a:lnTo>
                    <a:pt x="823" y="365"/>
                  </a:lnTo>
                  <a:lnTo>
                    <a:pt x="828" y="371"/>
                  </a:lnTo>
                  <a:lnTo>
                    <a:pt x="823" y="371"/>
                  </a:lnTo>
                  <a:lnTo>
                    <a:pt x="817" y="376"/>
                  </a:lnTo>
                  <a:lnTo>
                    <a:pt x="807" y="376"/>
                  </a:lnTo>
                  <a:lnTo>
                    <a:pt x="801" y="376"/>
                  </a:lnTo>
                  <a:lnTo>
                    <a:pt x="796" y="376"/>
                  </a:lnTo>
                  <a:lnTo>
                    <a:pt x="785" y="382"/>
                  </a:lnTo>
                  <a:lnTo>
                    <a:pt x="790" y="382"/>
                  </a:lnTo>
                  <a:lnTo>
                    <a:pt x="796" y="382"/>
                  </a:lnTo>
                  <a:lnTo>
                    <a:pt x="801" y="382"/>
                  </a:lnTo>
                  <a:lnTo>
                    <a:pt x="801" y="387"/>
                  </a:lnTo>
                  <a:lnTo>
                    <a:pt x="807" y="382"/>
                  </a:lnTo>
                  <a:lnTo>
                    <a:pt x="812" y="382"/>
                  </a:lnTo>
                  <a:lnTo>
                    <a:pt x="812" y="387"/>
                  </a:lnTo>
                  <a:lnTo>
                    <a:pt x="807" y="393"/>
                  </a:lnTo>
                  <a:lnTo>
                    <a:pt x="801" y="393"/>
                  </a:lnTo>
                  <a:lnTo>
                    <a:pt x="807" y="393"/>
                  </a:lnTo>
                  <a:lnTo>
                    <a:pt x="807" y="398"/>
                  </a:lnTo>
                  <a:lnTo>
                    <a:pt x="807" y="404"/>
                  </a:lnTo>
                  <a:lnTo>
                    <a:pt x="807" y="409"/>
                  </a:lnTo>
                  <a:lnTo>
                    <a:pt x="812" y="409"/>
                  </a:lnTo>
                  <a:lnTo>
                    <a:pt x="817" y="409"/>
                  </a:lnTo>
                  <a:lnTo>
                    <a:pt x="812" y="415"/>
                  </a:lnTo>
                  <a:lnTo>
                    <a:pt x="817" y="415"/>
                  </a:lnTo>
                  <a:lnTo>
                    <a:pt x="823" y="415"/>
                  </a:lnTo>
                  <a:lnTo>
                    <a:pt x="828" y="415"/>
                  </a:lnTo>
                  <a:lnTo>
                    <a:pt x="834" y="415"/>
                  </a:lnTo>
                  <a:lnTo>
                    <a:pt x="839" y="415"/>
                  </a:lnTo>
                  <a:lnTo>
                    <a:pt x="845" y="415"/>
                  </a:lnTo>
                  <a:lnTo>
                    <a:pt x="845" y="420"/>
                  </a:lnTo>
                  <a:lnTo>
                    <a:pt x="850" y="420"/>
                  </a:lnTo>
                  <a:lnTo>
                    <a:pt x="845" y="425"/>
                  </a:lnTo>
                  <a:lnTo>
                    <a:pt x="839" y="425"/>
                  </a:lnTo>
                  <a:lnTo>
                    <a:pt x="834" y="425"/>
                  </a:lnTo>
                  <a:lnTo>
                    <a:pt x="828" y="431"/>
                  </a:lnTo>
                  <a:lnTo>
                    <a:pt x="823" y="431"/>
                  </a:lnTo>
                  <a:lnTo>
                    <a:pt x="817" y="431"/>
                  </a:lnTo>
                  <a:lnTo>
                    <a:pt x="812" y="436"/>
                  </a:lnTo>
                  <a:lnTo>
                    <a:pt x="812" y="431"/>
                  </a:lnTo>
                  <a:lnTo>
                    <a:pt x="807" y="436"/>
                  </a:lnTo>
                  <a:lnTo>
                    <a:pt x="801" y="436"/>
                  </a:lnTo>
                  <a:lnTo>
                    <a:pt x="796" y="436"/>
                  </a:lnTo>
                  <a:lnTo>
                    <a:pt x="790" y="442"/>
                  </a:lnTo>
                  <a:lnTo>
                    <a:pt x="785" y="447"/>
                  </a:lnTo>
                  <a:lnTo>
                    <a:pt x="779" y="447"/>
                  </a:lnTo>
                  <a:lnTo>
                    <a:pt x="774" y="453"/>
                  </a:lnTo>
                  <a:lnTo>
                    <a:pt x="774" y="447"/>
                  </a:lnTo>
                  <a:lnTo>
                    <a:pt x="768" y="447"/>
                  </a:lnTo>
                  <a:lnTo>
                    <a:pt x="768" y="442"/>
                  </a:lnTo>
                  <a:lnTo>
                    <a:pt x="774" y="436"/>
                  </a:lnTo>
                  <a:lnTo>
                    <a:pt x="779" y="436"/>
                  </a:lnTo>
                  <a:lnTo>
                    <a:pt x="774" y="436"/>
                  </a:lnTo>
                  <a:lnTo>
                    <a:pt x="779" y="431"/>
                  </a:lnTo>
                  <a:lnTo>
                    <a:pt x="796" y="425"/>
                  </a:lnTo>
                  <a:lnTo>
                    <a:pt x="801" y="420"/>
                  </a:lnTo>
                  <a:lnTo>
                    <a:pt x="807" y="425"/>
                  </a:lnTo>
                  <a:lnTo>
                    <a:pt x="817" y="420"/>
                  </a:lnTo>
                  <a:lnTo>
                    <a:pt x="812" y="420"/>
                  </a:lnTo>
                  <a:lnTo>
                    <a:pt x="807" y="420"/>
                  </a:lnTo>
                  <a:lnTo>
                    <a:pt x="801" y="420"/>
                  </a:lnTo>
                  <a:lnTo>
                    <a:pt x="796" y="420"/>
                  </a:lnTo>
                  <a:lnTo>
                    <a:pt x="801" y="420"/>
                  </a:lnTo>
                  <a:lnTo>
                    <a:pt x="807" y="415"/>
                  </a:lnTo>
                  <a:lnTo>
                    <a:pt x="801" y="420"/>
                  </a:lnTo>
                  <a:lnTo>
                    <a:pt x="796" y="420"/>
                  </a:lnTo>
                  <a:lnTo>
                    <a:pt x="790" y="420"/>
                  </a:lnTo>
                  <a:lnTo>
                    <a:pt x="785" y="420"/>
                  </a:lnTo>
                  <a:lnTo>
                    <a:pt x="779" y="425"/>
                  </a:lnTo>
                  <a:lnTo>
                    <a:pt x="779" y="420"/>
                  </a:lnTo>
                  <a:lnTo>
                    <a:pt x="774" y="425"/>
                  </a:lnTo>
                  <a:lnTo>
                    <a:pt x="768" y="425"/>
                  </a:lnTo>
                  <a:lnTo>
                    <a:pt x="763" y="425"/>
                  </a:lnTo>
                  <a:lnTo>
                    <a:pt x="763" y="420"/>
                  </a:lnTo>
                  <a:lnTo>
                    <a:pt x="758" y="415"/>
                  </a:lnTo>
                  <a:lnTo>
                    <a:pt x="763" y="415"/>
                  </a:lnTo>
                  <a:lnTo>
                    <a:pt x="768" y="393"/>
                  </a:lnTo>
                  <a:lnTo>
                    <a:pt x="763" y="393"/>
                  </a:lnTo>
                  <a:lnTo>
                    <a:pt x="763" y="387"/>
                  </a:lnTo>
                  <a:lnTo>
                    <a:pt x="763" y="393"/>
                  </a:lnTo>
                  <a:lnTo>
                    <a:pt x="758" y="393"/>
                  </a:lnTo>
                  <a:lnTo>
                    <a:pt x="752" y="393"/>
                  </a:lnTo>
                  <a:lnTo>
                    <a:pt x="752" y="387"/>
                  </a:lnTo>
                  <a:lnTo>
                    <a:pt x="736" y="398"/>
                  </a:lnTo>
                  <a:lnTo>
                    <a:pt x="736" y="404"/>
                  </a:lnTo>
                  <a:lnTo>
                    <a:pt x="730" y="409"/>
                  </a:lnTo>
                  <a:lnTo>
                    <a:pt x="730" y="415"/>
                  </a:lnTo>
                  <a:lnTo>
                    <a:pt x="725" y="415"/>
                  </a:lnTo>
                  <a:lnTo>
                    <a:pt x="719" y="420"/>
                  </a:lnTo>
                  <a:lnTo>
                    <a:pt x="714" y="420"/>
                  </a:lnTo>
                  <a:lnTo>
                    <a:pt x="714" y="425"/>
                  </a:lnTo>
                  <a:lnTo>
                    <a:pt x="708" y="420"/>
                  </a:lnTo>
                  <a:lnTo>
                    <a:pt x="703" y="425"/>
                  </a:lnTo>
                  <a:lnTo>
                    <a:pt x="681" y="425"/>
                  </a:lnTo>
                  <a:lnTo>
                    <a:pt x="659" y="425"/>
                  </a:lnTo>
                  <a:lnTo>
                    <a:pt x="654" y="425"/>
                  </a:lnTo>
                  <a:lnTo>
                    <a:pt x="648" y="431"/>
                  </a:lnTo>
                  <a:lnTo>
                    <a:pt x="638" y="436"/>
                  </a:lnTo>
                  <a:lnTo>
                    <a:pt x="632" y="436"/>
                  </a:lnTo>
                  <a:lnTo>
                    <a:pt x="627" y="442"/>
                  </a:lnTo>
                  <a:lnTo>
                    <a:pt x="627" y="436"/>
                  </a:lnTo>
                  <a:lnTo>
                    <a:pt x="621" y="442"/>
                  </a:lnTo>
                  <a:lnTo>
                    <a:pt x="610" y="442"/>
                  </a:lnTo>
                  <a:lnTo>
                    <a:pt x="599" y="442"/>
                  </a:lnTo>
                  <a:lnTo>
                    <a:pt x="594" y="447"/>
                  </a:lnTo>
                  <a:lnTo>
                    <a:pt x="588" y="447"/>
                  </a:lnTo>
                  <a:lnTo>
                    <a:pt x="583" y="447"/>
                  </a:lnTo>
                  <a:lnTo>
                    <a:pt x="583" y="453"/>
                  </a:lnTo>
                  <a:lnTo>
                    <a:pt x="588" y="453"/>
                  </a:lnTo>
                  <a:lnTo>
                    <a:pt x="588" y="458"/>
                  </a:lnTo>
                  <a:lnTo>
                    <a:pt x="583" y="458"/>
                  </a:lnTo>
                  <a:lnTo>
                    <a:pt x="578" y="464"/>
                  </a:lnTo>
                  <a:lnTo>
                    <a:pt x="567" y="464"/>
                  </a:lnTo>
                  <a:lnTo>
                    <a:pt x="561" y="464"/>
                  </a:lnTo>
                  <a:lnTo>
                    <a:pt x="550" y="464"/>
                  </a:lnTo>
                  <a:lnTo>
                    <a:pt x="545" y="469"/>
                  </a:lnTo>
                  <a:lnTo>
                    <a:pt x="534" y="475"/>
                  </a:lnTo>
                  <a:lnTo>
                    <a:pt x="529" y="475"/>
                  </a:lnTo>
                  <a:lnTo>
                    <a:pt x="523" y="475"/>
                  </a:lnTo>
                  <a:lnTo>
                    <a:pt x="529" y="469"/>
                  </a:lnTo>
                  <a:lnTo>
                    <a:pt x="534" y="469"/>
                  </a:lnTo>
                  <a:lnTo>
                    <a:pt x="534" y="464"/>
                  </a:lnTo>
                  <a:lnTo>
                    <a:pt x="539" y="458"/>
                  </a:lnTo>
                  <a:lnTo>
                    <a:pt x="545" y="458"/>
                  </a:lnTo>
                  <a:lnTo>
                    <a:pt x="556" y="453"/>
                  </a:lnTo>
                  <a:lnTo>
                    <a:pt x="556" y="442"/>
                  </a:lnTo>
                  <a:lnTo>
                    <a:pt x="561" y="436"/>
                  </a:lnTo>
                  <a:lnTo>
                    <a:pt x="567" y="431"/>
                  </a:lnTo>
                  <a:lnTo>
                    <a:pt x="572" y="425"/>
                  </a:lnTo>
                  <a:lnTo>
                    <a:pt x="567" y="425"/>
                  </a:lnTo>
                  <a:lnTo>
                    <a:pt x="572" y="425"/>
                  </a:lnTo>
                  <a:lnTo>
                    <a:pt x="572" y="431"/>
                  </a:lnTo>
                  <a:lnTo>
                    <a:pt x="578" y="431"/>
                  </a:lnTo>
                  <a:lnTo>
                    <a:pt x="578" y="436"/>
                  </a:lnTo>
                  <a:lnTo>
                    <a:pt x="583" y="436"/>
                  </a:lnTo>
                  <a:lnTo>
                    <a:pt x="588" y="431"/>
                  </a:lnTo>
                  <a:lnTo>
                    <a:pt x="588" y="425"/>
                  </a:lnTo>
                  <a:lnTo>
                    <a:pt x="594" y="420"/>
                  </a:lnTo>
                  <a:lnTo>
                    <a:pt x="588" y="420"/>
                  </a:lnTo>
                  <a:lnTo>
                    <a:pt x="588" y="415"/>
                  </a:lnTo>
                  <a:lnTo>
                    <a:pt x="583" y="415"/>
                  </a:lnTo>
                  <a:lnTo>
                    <a:pt x="578" y="409"/>
                  </a:lnTo>
                  <a:lnTo>
                    <a:pt x="572" y="409"/>
                  </a:lnTo>
                  <a:lnTo>
                    <a:pt x="567" y="409"/>
                  </a:lnTo>
                  <a:lnTo>
                    <a:pt x="561" y="409"/>
                  </a:lnTo>
                  <a:lnTo>
                    <a:pt x="556" y="409"/>
                  </a:lnTo>
                  <a:lnTo>
                    <a:pt x="550" y="404"/>
                  </a:lnTo>
                  <a:lnTo>
                    <a:pt x="545" y="404"/>
                  </a:lnTo>
                  <a:lnTo>
                    <a:pt x="539" y="404"/>
                  </a:lnTo>
                  <a:lnTo>
                    <a:pt x="545" y="398"/>
                  </a:lnTo>
                  <a:lnTo>
                    <a:pt x="539" y="398"/>
                  </a:lnTo>
                  <a:lnTo>
                    <a:pt x="545" y="393"/>
                  </a:lnTo>
                  <a:lnTo>
                    <a:pt x="545" y="387"/>
                  </a:lnTo>
                  <a:lnTo>
                    <a:pt x="545" y="382"/>
                  </a:lnTo>
                  <a:lnTo>
                    <a:pt x="550" y="382"/>
                  </a:lnTo>
                  <a:lnTo>
                    <a:pt x="545" y="382"/>
                  </a:lnTo>
                  <a:lnTo>
                    <a:pt x="539" y="382"/>
                  </a:lnTo>
                  <a:lnTo>
                    <a:pt x="534" y="376"/>
                  </a:lnTo>
                  <a:lnTo>
                    <a:pt x="534" y="371"/>
                  </a:lnTo>
                  <a:lnTo>
                    <a:pt x="534" y="365"/>
                  </a:lnTo>
                  <a:lnTo>
                    <a:pt x="529" y="365"/>
                  </a:lnTo>
                  <a:lnTo>
                    <a:pt x="523" y="365"/>
                  </a:lnTo>
                  <a:lnTo>
                    <a:pt x="518" y="365"/>
                  </a:lnTo>
                  <a:lnTo>
                    <a:pt x="512" y="365"/>
                  </a:lnTo>
                  <a:lnTo>
                    <a:pt x="512" y="371"/>
                  </a:lnTo>
                  <a:lnTo>
                    <a:pt x="507" y="371"/>
                  </a:lnTo>
                  <a:lnTo>
                    <a:pt x="507" y="365"/>
                  </a:lnTo>
                  <a:lnTo>
                    <a:pt x="507" y="371"/>
                  </a:lnTo>
                  <a:lnTo>
                    <a:pt x="501" y="371"/>
                  </a:lnTo>
                  <a:lnTo>
                    <a:pt x="496" y="371"/>
                  </a:lnTo>
                  <a:lnTo>
                    <a:pt x="490" y="376"/>
                  </a:lnTo>
                  <a:lnTo>
                    <a:pt x="485" y="382"/>
                  </a:lnTo>
                  <a:lnTo>
                    <a:pt x="479" y="382"/>
                  </a:lnTo>
                  <a:lnTo>
                    <a:pt x="479" y="376"/>
                  </a:lnTo>
                  <a:lnTo>
                    <a:pt x="474" y="376"/>
                  </a:lnTo>
                  <a:lnTo>
                    <a:pt x="469" y="376"/>
                  </a:lnTo>
                  <a:lnTo>
                    <a:pt x="463" y="376"/>
                  </a:lnTo>
                  <a:lnTo>
                    <a:pt x="458" y="376"/>
                  </a:lnTo>
                  <a:lnTo>
                    <a:pt x="463" y="376"/>
                  </a:lnTo>
                  <a:lnTo>
                    <a:pt x="458" y="376"/>
                  </a:lnTo>
                  <a:lnTo>
                    <a:pt x="452" y="376"/>
                  </a:lnTo>
                  <a:lnTo>
                    <a:pt x="447" y="371"/>
                  </a:lnTo>
                  <a:lnTo>
                    <a:pt x="452" y="371"/>
                  </a:lnTo>
                  <a:lnTo>
                    <a:pt x="447" y="371"/>
                  </a:lnTo>
                  <a:lnTo>
                    <a:pt x="441" y="371"/>
                  </a:lnTo>
                  <a:lnTo>
                    <a:pt x="436" y="371"/>
                  </a:lnTo>
                  <a:lnTo>
                    <a:pt x="430" y="371"/>
                  </a:lnTo>
                  <a:lnTo>
                    <a:pt x="425" y="365"/>
                  </a:lnTo>
                  <a:lnTo>
                    <a:pt x="430" y="360"/>
                  </a:lnTo>
                  <a:lnTo>
                    <a:pt x="425" y="360"/>
                  </a:lnTo>
                  <a:lnTo>
                    <a:pt x="425" y="365"/>
                  </a:lnTo>
                  <a:lnTo>
                    <a:pt x="60" y="365"/>
                  </a:lnTo>
                  <a:lnTo>
                    <a:pt x="54" y="365"/>
                  </a:lnTo>
                  <a:lnTo>
                    <a:pt x="54" y="360"/>
                  </a:lnTo>
                  <a:lnTo>
                    <a:pt x="54" y="355"/>
                  </a:lnTo>
                  <a:lnTo>
                    <a:pt x="49" y="355"/>
                  </a:lnTo>
                  <a:lnTo>
                    <a:pt x="49" y="349"/>
                  </a:lnTo>
                  <a:lnTo>
                    <a:pt x="43" y="349"/>
                  </a:lnTo>
                  <a:lnTo>
                    <a:pt x="49" y="344"/>
                  </a:lnTo>
                  <a:lnTo>
                    <a:pt x="49" y="338"/>
                  </a:lnTo>
                  <a:lnTo>
                    <a:pt x="49" y="344"/>
                  </a:lnTo>
                  <a:lnTo>
                    <a:pt x="43" y="338"/>
                  </a:lnTo>
                  <a:lnTo>
                    <a:pt x="38" y="344"/>
                  </a:lnTo>
                  <a:lnTo>
                    <a:pt x="38" y="338"/>
                  </a:lnTo>
                  <a:lnTo>
                    <a:pt x="32" y="338"/>
                  </a:lnTo>
                  <a:lnTo>
                    <a:pt x="38" y="338"/>
                  </a:lnTo>
                  <a:lnTo>
                    <a:pt x="32" y="338"/>
                  </a:lnTo>
                  <a:lnTo>
                    <a:pt x="38" y="333"/>
                  </a:lnTo>
                  <a:lnTo>
                    <a:pt x="32" y="333"/>
                  </a:lnTo>
                  <a:lnTo>
                    <a:pt x="27" y="333"/>
                  </a:lnTo>
                  <a:lnTo>
                    <a:pt x="21" y="333"/>
                  </a:lnTo>
                  <a:lnTo>
                    <a:pt x="21" y="327"/>
                  </a:lnTo>
                  <a:lnTo>
                    <a:pt x="27" y="327"/>
                  </a:lnTo>
                  <a:lnTo>
                    <a:pt x="32" y="322"/>
                  </a:lnTo>
                  <a:lnTo>
                    <a:pt x="27" y="322"/>
                  </a:lnTo>
                  <a:lnTo>
                    <a:pt x="32" y="322"/>
                  </a:lnTo>
                  <a:lnTo>
                    <a:pt x="32" y="316"/>
                  </a:lnTo>
                  <a:lnTo>
                    <a:pt x="38" y="316"/>
                  </a:lnTo>
                  <a:lnTo>
                    <a:pt x="43" y="311"/>
                  </a:lnTo>
                  <a:lnTo>
                    <a:pt x="38" y="316"/>
                  </a:lnTo>
                  <a:lnTo>
                    <a:pt x="32" y="316"/>
                  </a:lnTo>
                  <a:lnTo>
                    <a:pt x="38" y="316"/>
                  </a:lnTo>
                  <a:lnTo>
                    <a:pt x="38" y="311"/>
                  </a:lnTo>
                  <a:lnTo>
                    <a:pt x="38" y="305"/>
                  </a:lnTo>
                  <a:lnTo>
                    <a:pt x="32" y="311"/>
                  </a:lnTo>
                  <a:lnTo>
                    <a:pt x="38" y="305"/>
                  </a:lnTo>
                  <a:lnTo>
                    <a:pt x="43" y="300"/>
                  </a:lnTo>
                  <a:lnTo>
                    <a:pt x="38" y="305"/>
                  </a:lnTo>
                  <a:lnTo>
                    <a:pt x="38" y="300"/>
                  </a:lnTo>
                  <a:lnTo>
                    <a:pt x="38" y="295"/>
                  </a:lnTo>
                  <a:lnTo>
                    <a:pt x="32" y="289"/>
                  </a:lnTo>
                  <a:lnTo>
                    <a:pt x="32" y="284"/>
                  </a:lnTo>
                  <a:lnTo>
                    <a:pt x="38" y="284"/>
                  </a:lnTo>
                  <a:lnTo>
                    <a:pt x="32" y="278"/>
                  </a:lnTo>
                  <a:lnTo>
                    <a:pt x="38" y="278"/>
                  </a:lnTo>
                  <a:lnTo>
                    <a:pt x="38" y="273"/>
                  </a:lnTo>
                  <a:lnTo>
                    <a:pt x="43" y="273"/>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 name="Rectangle 84">
              <a:extLst>
                <a:ext uri="{FF2B5EF4-FFF2-40B4-BE49-F238E27FC236}">
                  <a16:creationId xmlns:a16="http://schemas.microsoft.com/office/drawing/2014/main" id="{B68399B8-E1F3-9CDF-6F70-5DEC98742B95}"/>
                </a:ext>
              </a:extLst>
            </p:cNvPr>
            <p:cNvSpPr>
              <a:spLocks noChangeArrowheads="1"/>
            </p:cNvSpPr>
            <p:nvPr/>
          </p:nvSpPr>
          <p:spPr bwMode="auto">
            <a:xfrm>
              <a:off x="2802081" y="2375391"/>
              <a:ext cx="7938" cy="7938"/>
            </a:xfrm>
            <a:prstGeom prst="rect">
              <a:avLst/>
            </a:prstGeom>
            <a:grp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14" name="Freeform 85">
              <a:extLst>
                <a:ext uri="{FF2B5EF4-FFF2-40B4-BE49-F238E27FC236}">
                  <a16:creationId xmlns:a16="http://schemas.microsoft.com/office/drawing/2014/main" id="{114D9B0A-F1FC-A9BE-AAF3-301AB779EDCC}"/>
                </a:ext>
              </a:extLst>
            </p:cNvPr>
            <p:cNvSpPr>
              <a:spLocks/>
            </p:cNvSpPr>
            <p:nvPr/>
          </p:nvSpPr>
          <p:spPr bwMode="auto">
            <a:xfrm>
              <a:off x="2776681" y="2565891"/>
              <a:ext cx="7938" cy="7938"/>
            </a:xfrm>
            <a:custGeom>
              <a:avLst/>
              <a:gdLst>
                <a:gd name="T0" fmla="*/ 0 w 5"/>
                <a:gd name="T1" fmla="*/ 0 h 5"/>
                <a:gd name="T2" fmla="*/ 5 w 5"/>
                <a:gd name="T3" fmla="*/ 0 h 5"/>
                <a:gd name="T4" fmla="*/ 0 w 5"/>
                <a:gd name="T5" fmla="*/ 5 h 5"/>
                <a:gd name="T6" fmla="*/ 0 w 5"/>
                <a:gd name="T7" fmla="*/ 0 h 5"/>
              </a:gdLst>
              <a:ahLst/>
              <a:cxnLst>
                <a:cxn ang="0">
                  <a:pos x="T0" y="T1"/>
                </a:cxn>
                <a:cxn ang="0">
                  <a:pos x="T2" y="T3"/>
                </a:cxn>
                <a:cxn ang="0">
                  <a:pos x="T4" y="T5"/>
                </a:cxn>
                <a:cxn ang="0">
                  <a:pos x="T6" y="T7"/>
                </a:cxn>
              </a:cxnLst>
              <a:rect l="0" t="0" r="r" b="b"/>
              <a:pathLst>
                <a:path w="5" h="5">
                  <a:moveTo>
                    <a:pt x="0" y="0"/>
                  </a:moveTo>
                  <a:lnTo>
                    <a:pt x="5" y="0"/>
                  </a:lnTo>
                  <a:lnTo>
                    <a:pt x="0" y="5"/>
                  </a:lnTo>
                  <a:lnTo>
                    <a:pt x="0" y="0"/>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 name="Freeform 86">
              <a:extLst>
                <a:ext uri="{FF2B5EF4-FFF2-40B4-BE49-F238E27FC236}">
                  <a16:creationId xmlns:a16="http://schemas.microsoft.com/office/drawing/2014/main" id="{0BBFBB33-D147-95D2-5A9E-C272846294C8}"/>
                </a:ext>
              </a:extLst>
            </p:cNvPr>
            <p:cNvSpPr>
              <a:spLocks/>
            </p:cNvSpPr>
            <p:nvPr/>
          </p:nvSpPr>
          <p:spPr bwMode="auto">
            <a:xfrm>
              <a:off x="2827481" y="2375391"/>
              <a:ext cx="44450" cy="7938"/>
            </a:xfrm>
            <a:custGeom>
              <a:avLst/>
              <a:gdLst>
                <a:gd name="T0" fmla="*/ 0 w 28"/>
                <a:gd name="T1" fmla="*/ 5 h 5"/>
                <a:gd name="T2" fmla="*/ 11 w 28"/>
                <a:gd name="T3" fmla="*/ 0 h 5"/>
                <a:gd name="T4" fmla="*/ 28 w 28"/>
                <a:gd name="T5" fmla="*/ 0 h 5"/>
                <a:gd name="T6" fmla="*/ 17 w 28"/>
                <a:gd name="T7" fmla="*/ 0 h 5"/>
                <a:gd name="T8" fmla="*/ 17 w 28"/>
                <a:gd name="T9" fmla="*/ 5 h 5"/>
                <a:gd name="T10" fmla="*/ 11 w 28"/>
                <a:gd name="T11" fmla="*/ 5 h 5"/>
                <a:gd name="T12" fmla="*/ 0 w 2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8" h="5">
                  <a:moveTo>
                    <a:pt x="0" y="5"/>
                  </a:moveTo>
                  <a:lnTo>
                    <a:pt x="11" y="0"/>
                  </a:lnTo>
                  <a:lnTo>
                    <a:pt x="28" y="0"/>
                  </a:lnTo>
                  <a:lnTo>
                    <a:pt x="17" y="0"/>
                  </a:lnTo>
                  <a:lnTo>
                    <a:pt x="17" y="5"/>
                  </a:lnTo>
                  <a:lnTo>
                    <a:pt x="11" y="5"/>
                  </a:lnTo>
                  <a:lnTo>
                    <a:pt x="0" y="5"/>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 name="Freeform 87">
              <a:extLst>
                <a:ext uri="{FF2B5EF4-FFF2-40B4-BE49-F238E27FC236}">
                  <a16:creationId xmlns:a16="http://schemas.microsoft.com/office/drawing/2014/main" id="{76A76B6C-5384-2774-50AF-34D252B49B9E}"/>
                </a:ext>
              </a:extLst>
            </p:cNvPr>
            <p:cNvSpPr>
              <a:spLocks/>
            </p:cNvSpPr>
            <p:nvPr/>
          </p:nvSpPr>
          <p:spPr bwMode="auto">
            <a:xfrm>
              <a:off x="2784619" y="2340466"/>
              <a:ext cx="147638" cy="42863"/>
            </a:xfrm>
            <a:custGeom>
              <a:avLst/>
              <a:gdLst>
                <a:gd name="T0" fmla="*/ 0 w 93"/>
                <a:gd name="T1" fmla="*/ 22 h 27"/>
                <a:gd name="T2" fmla="*/ 11 w 93"/>
                <a:gd name="T3" fmla="*/ 16 h 27"/>
                <a:gd name="T4" fmla="*/ 22 w 93"/>
                <a:gd name="T5" fmla="*/ 16 h 27"/>
                <a:gd name="T6" fmla="*/ 27 w 93"/>
                <a:gd name="T7" fmla="*/ 11 h 27"/>
                <a:gd name="T8" fmla="*/ 38 w 93"/>
                <a:gd name="T9" fmla="*/ 11 h 27"/>
                <a:gd name="T10" fmla="*/ 49 w 93"/>
                <a:gd name="T11" fmla="*/ 5 h 27"/>
                <a:gd name="T12" fmla="*/ 55 w 93"/>
                <a:gd name="T13" fmla="*/ 5 h 27"/>
                <a:gd name="T14" fmla="*/ 55 w 93"/>
                <a:gd name="T15" fmla="*/ 0 h 27"/>
                <a:gd name="T16" fmla="*/ 71 w 93"/>
                <a:gd name="T17" fmla="*/ 0 h 27"/>
                <a:gd name="T18" fmla="*/ 76 w 93"/>
                <a:gd name="T19" fmla="*/ 0 h 27"/>
                <a:gd name="T20" fmla="*/ 87 w 93"/>
                <a:gd name="T21" fmla="*/ 0 h 27"/>
                <a:gd name="T22" fmla="*/ 93 w 93"/>
                <a:gd name="T23" fmla="*/ 0 h 27"/>
                <a:gd name="T24" fmla="*/ 82 w 93"/>
                <a:gd name="T25" fmla="*/ 5 h 27"/>
                <a:gd name="T26" fmla="*/ 76 w 93"/>
                <a:gd name="T27" fmla="*/ 11 h 27"/>
                <a:gd name="T28" fmla="*/ 66 w 93"/>
                <a:gd name="T29" fmla="*/ 11 h 27"/>
                <a:gd name="T30" fmla="*/ 60 w 93"/>
                <a:gd name="T31" fmla="*/ 16 h 27"/>
                <a:gd name="T32" fmla="*/ 55 w 93"/>
                <a:gd name="T33" fmla="*/ 16 h 27"/>
                <a:gd name="T34" fmla="*/ 60 w 93"/>
                <a:gd name="T35" fmla="*/ 11 h 27"/>
                <a:gd name="T36" fmla="*/ 49 w 93"/>
                <a:gd name="T37" fmla="*/ 16 h 27"/>
                <a:gd name="T38" fmla="*/ 44 w 93"/>
                <a:gd name="T39" fmla="*/ 16 h 27"/>
                <a:gd name="T40" fmla="*/ 49 w 93"/>
                <a:gd name="T41" fmla="*/ 16 h 27"/>
                <a:gd name="T42" fmla="*/ 38 w 93"/>
                <a:gd name="T43" fmla="*/ 22 h 27"/>
                <a:gd name="T44" fmla="*/ 33 w 93"/>
                <a:gd name="T45" fmla="*/ 16 h 27"/>
                <a:gd name="T46" fmla="*/ 33 w 93"/>
                <a:gd name="T47" fmla="*/ 22 h 27"/>
                <a:gd name="T48" fmla="*/ 22 w 93"/>
                <a:gd name="T49" fmla="*/ 27 h 27"/>
                <a:gd name="T50" fmla="*/ 22 w 93"/>
                <a:gd name="T51" fmla="*/ 22 h 27"/>
                <a:gd name="T52" fmla="*/ 16 w 93"/>
                <a:gd name="T53" fmla="*/ 22 h 27"/>
                <a:gd name="T54" fmla="*/ 0 w 93"/>
                <a:gd name="T55"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3" h="27">
                  <a:moveTo>
                    <a:pt x="0" y="22"/>
                  </a:moveTo>
                  <a:lnTo>
                    <a:pt x="11" y="16"/>
                  </a:lnTo>
                  <a:lnTo>
                    <a:pt x="22" y="16"/>
                  </a:lnTo>
                  <a:lnTo>
                    <a:pt x="27" y="11"/>
                  </a:lnTo>
                  <a:lnTo>
                    <a:pt x="38" y="11"/>
                  </a:lnTo>
                  <a:lnTo>
                    <a:pt x="49" y="5"/>
                  </a:lnTo>
                  <a:lnTo>
                    <a:pt x="55" y="5"/>
                  </a:lnTo>
                  <a:lnTo>
                    <a:pt x="55" y="0"/>
                  </a:lnTo>
                  <a:lnTo>
                    <a:pt x="71" y="0"/>
                  </a:lnTo>
                  <a:lnTo>
                    <a:pt x="76" y="0"/>
                  </a:lnTo>
                  <a:lnTo>
                    <a:pt x="87" y="0"/>
                  </a:lnTo>
                  <a:lnTo>
                    <a:pt x="93" y="0"/>
                  </a:lnTo>
                  <a:lnTo>
                    <a:pt x="82" y="5"/>
                  </a:lnTo>
                  <a:lnTo>
                    <a:pt x="76" y="11"/>
                  </a:lnTo>
                  <a:lnTo>
                    <a:pt x="66" y="11"/>
                  </a:lnTo>
                  <a:lnTo>
                    <a:pt x="60" y="16"/>
                  </a:lnTo>
                  <a:lnTo>
                    <a:pt x="55" y="16"/>
                  </a:lnTo>
                  <a:lnTo>
                    <a:pt x="60" y="11"/>
                  </a:lnTo>
                  <a:lnTo>
                    <a:pt x="49" y="16"/>
                  </a:lnTo>
                  <a:lnTo>
                    <a:pt x="44" y="16"/>
                  </a:lnTo>
                  <a:lnTo>
                    <a:pt x="49" y="16"/>
                  </a:lnTo>
                  <a:lnTo>
                    <a:pt x="38" y="22"/>
                  </a:lnTo>
                  <a:lnTo>
                    <a:pt x="33" y="16"/>
                  </a:lnTo>
                  <a:lnTo>
                    <a:pt x="33" y="22"/>
                  </a:lnTo>
                  <a:lnTo>
                    <a:pt x="22" y="27"/>
                  </a:lnTo>
                  <a:lnTo>
                    <a:pt x="22" y="22"/>
                  </a:lnTo>
                  <a:lnTo>
                    <a:pt x="16" y="22"/>
                  </a:lnTo>
                  <a:lnTo>
                    <a:pt x="0" y="22"/>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 name="Freeform 88">
              <a:extLst>
                <a:ext uri="{FF2B5EF4-FFF2-40B4-BE49-F238E27FC236}">
                  <a16:creationId xmlns:a16="http://schemas.microsoft.com/office/drawing/2014/main" id="{1655DDFC-362D-B9F7-C376-492C79F57F0A}"/>
                </a:ext>
              </a:extLst>
            </p:cNvPr>
            <p:cNvSpPr>
              <a:spLocks/>
            </p:cNvSpPr>
            <p:nvPr/>
          </p:nvSpPr>
          <p:spPr bwMode="auto">
            <a:xfrm>
              <a:off x="2714769" y="2443653"/>
              <a:ext cx="285750" cy="122238"/>
            </a:xfrm>
            <a:custGeom>
              <a:avLst/>
              <a:gdLst>
                <a:gd name="T0" fmla="*/ 6 w 180"/>
                <a:gd name="T1" fmla="*/ 49 h 77"/>
                <a:gd name="T2" fmla="*/ 60 w 180"/>
                <a:gd name="T3" fmla="*/ 49 h 77"/>
                <a:gd name="T4" fmla="*/ 55 w 180"/>
                <a:gd name="T5" fmla="*/ 44 h 77"/>
                <a:gd name="T6" fmla="*/ 17 w 180"/>
                <a:gd name="T7" fmla="*/ 44 h 77"/>
                <a:gd name="T8" fmla="*/ 11 w 180"/>
                <a:gd name="T9" fmla="*/ 38 h 77"/>
                <a:gd name="T10" fmla="*/ 17 w 180"/>
                <a:gd name="T11" fmla="*/ 33 h 77"/>
                <a:gd name="T12" fmla="*/ 22 w 180"/>
                <a:gd name="T13" fmla="*/ 33 h 77"/>
                <a:gd name="T14" fmla="*/ 17 w 180"/>
                <a:gd name="T15" fmla="*/ 27 h 77"/>
                <a:gd name="T16" fmla="*/ 17 w 180"/>
                <a:gd name="T17" fmla="*/ 22 h 77"/>
                <a:gd name="T18" fmla="*/ 28 w 180"/>
                <a:gd name="T19" fmla="*/ 11 h 77"/>
                <a:gd name="T20" fmla="*/ 44 w 180"/>
                <a:gd name="T21" fmla="*/ 6 h 77"/>
                <a:gd name="T22" fmla="*/ 55 w 180"/>
                <a:gd name="T23" fmla="*/ 6 h 77"/>
                <a:gd name="T24" fmla="*/ 71 w 180"/>
                <a:gd name="T25" fmla="*/ 0 h 77"/>
                <a:gd name="T26" fmla="*/ 88 w 180"/>
                <a:gd name="T27" fmla="*/ 0 h 77"/>
                <a:gd name="T28" fmla="*/ 93 w 180"/>
                <a:gd name="T29" fmla="*/ 6 h 77"/>
                <a:gd name="T30" fmla="*/ 110 w 180"/>
                <a:gd name="T31" fmla="*/ 11 h 77"/>
                <a:gd name="T32" fmla="*/ 120 w 180"/>
                <a:gd name="T33" fmla="*/ 6 h 77"/>
                <a:gd name="T34" fmla="*/ 148 w 180"/>
                <a:gd name="T35" fmla="*/ 6 h 77"/>
                <a:gd name="T36" fmla="*/ 159 w 180"/>
                <a:gd name="T37" fmla="*/ 0 h 77"/>
                <a:gd name="T38" fmla="*/ 169 w 180"/>
                <a:gd name="T39" fmla="*/ 6 h 77"/>
                <a:gd name="T40" fmla="*/ 164 w 180"/>
                <a:gd name="T41" fmla="*/ 11 h 77"/>
                <a:gd name="T42" fmla="*/ 164 w 180"/>
                <a:gd name="T43" fmla="*/ 22 h 77"/>
                <a:gd name="T44" fmla="*/ 164 w 180"/>
                <a:gd name="T45" fmla="*/ 33 h 77"/>
                <a:gd name="T46" fmla="*/ 159 w 180"/>
                <a:gd name="T47" fmla="*/ 38 h 77"/>
                <a:gd name="T48" fmla="*/ 164 w 180"/>
                <a:gd name="T49" fmla="*/ 44 h 77"/>
                <a:gd name="T50" fmla="*/ 169 w 180"/>
                <a:gd name="T51" fmla="*/ 49 h 77"/>
                <a:gd name="T52" fmla="*/ 180 w 180"/>
                <a:gd name="T53" fmla="*/ 49 h 77"/>
                <a:gd name="T54" fmla="*/ 175 w 180"/>
                <a:gd name="T55" fmla="*/ 55 h 77"/>
                <a:gd name="T56" fmla="*/ 164 w 180"/>
                <a:gd name="T57" fmla="*/ 55 h 77"/>
                <a:gd name="T58" fmla="*/ 159 w 180"/>
                <a:gd name="T59" fmla="*/ 60 h 77"/>
                <a:gd name="T60" fmla="*/ 148 w 180"/>
                <a:gd name="T61" fmla="*/ 71 h 77"/>
                <a:gd name="T62" fmla="*/ 137 w 180"/>
                <a:gd name="T63" fmla="*/ 71 h 77"/>
                <a:gd name="T64" fmla="*/ 126 w 180"/>
                <a:gd name="T65" fmla="*/ 71 h 77"/>
                <a:gd name="T66" fmla="*/ 126 w 180"/>
                <a:gd name="T67" fmla="*/ 66 h 77"/>
                <a:gd name="T68" fmla="*/ 115 w 180"/>
                <a:gd name="T69" fmla="*/ 66 h 77"/>
                <a:gd name="T70" fmla="*/ 110 w 180"/>
                <a:gd name="T71" fmla="*/ 60 h 77"/>
                <a:gd name="T72" fmla="*/ 99 w 180"/>
                <a:gd name="T73" fmla="*/ 66 h 77"/>
                <a:gd name="T74" fmla="*/ 82 w 180"/>
                <a:gd name="T75" fmla="*/ 71 h 77"/>
                <a:gd name="T76" fmla="*/ 66 w 180"/>
                <a:gd name="T77" fmla="*/ 71 h 77"/>
                <a:gd name="T78" fmla="*/ 60 w 180"/>
                <a:gd name="T79" fmla="*/ 77 h 77"/>
                <a:gd name="T80" fmla="*/ 50 w 180"/>
                <a:gd name="T81" fmla="*/ 77 h 77"/>
                <a:gd name="T82" fmla="*/ 39 w 180"/>
                <a:gd name="T83" fmla="*/ 77 h 77"/>
                <a:gd name="T84" fmla="*/ 22 w 180"/>
                <a:gd name="T85" fmla="*/ 77 h 77"/>
                <a:gd name="T86" fmla="*/ 28 w 180"/>
                <a:gd name="T87" fmla="*/ 71 h 77"/>
                <a:gd name="T88" fmla="*/ 28 w 180"/>
                <a:gd name="T89" fmla="*/ 66 h 77"/>
                <a:gd name="T90" fmla="*/ 6 w 180"/>
                <a:gd name="T91" fmla="*/ 66 h 77"/>
                <a:gd name="T92" fmla="*/ 0 w 180"/>
                <a:gd name="T93" fmla="*/ 6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0" h="77">
                  <a:moveTo>
                    <a:pt x="0" y="55"/>
                  </a:moveTo>
                  <a:lnTo>
                    <a:pt x="6" y="49"/>
                  </a:lnTo>
                  <a:lnTo>
                    <a:pt x="28" y="49"/>
                  </a:lnTo>
                  <a:lnTo>
                    <a:pt x="60" y="49"/>
                  </a:lnTo>
                  <a:lnTo>
                    <a:pt x="66" y="44"/>
                  </a:lnTo>
                  <a:lnTo>
                    <a:pt x="55" y="44"/>
                  </a:lnTo>
                  <a:lnTo>
                    <a:pt x="33" y="44"/>
                  </a:lnTo>
                  <a:lnTo>
                    <a:pt x="17" y="44"/>
                  </a:lnTo>
                  <a:lnTo>
                    <a:pt x="11" y="44"/>
                  </a:lnTo>
                  <a:lnTo>
                    <a:pt x="11" y="38"/>
                  </a:lnTo>
                  <a:lnTo>
                    <a:pt x="6" y="38"/>
                  </a:lnTo>
                  <a:lnTo>
                    <a:pt x="17" y="33"/>
                  </a:lnTo>
                  <a:lnTo>
                    <a:pt x="28" y="33"/>
                  </a:lnTo>
                  <a:lnTo>
                    <a:pt x="22" y="33"/>
                  </a:lnTo>
                  <a:lnTo>
                    <a:pt x="17" y="33"/>
                  </a:lnTo>
                  <a:lnTo>
                    <a:pt x="17" y="27"/>
                  </a:lnTo>
                  <a:lnTo>
                    <a:pt x="11" y="27"/>
                  </a:lnTo>
                  <a:lnTo>
                    <a:pt x="17" y="22"/>
                  </a:lnTo>
                  <a:lnTo>
                    <a:pt x="28" y="17"/>
                  </a:lnTo>
                  <a:lnTo>
                    <a:pt x="28" y="11"/>
                  </a:lnTo>
                  <a:lnTo>
                    <a:pt x="39" y="11"/>
                  </a:lnTo>
                  <a:lnTo>
                    <a:pt x="44" y="6"/>
                  </a:lnTo>
                  <a:lnTo>
                    <a:pt x="50" y="6"/>
                  </a:lnTo>
                  <a:lnTo>
                    <a:pt x="55" y="6"/>
                  </a:lnTo>
                  <a:lnTo>
                    <a:pt x="60" y="6"/>
                  </a:lnTo>
                  <a:lnTo>
                    <a:pt x="71" y="0"/>
                  </a:lnTo>
                  <a:lnTo>
                    <a:pt x="82" y="0"/>
                  </a:lnTo>
                  <a:lnTo>
                    <a:pt x="88" y="0"/>
                  </a:lnTo>
                  <a:lnTo>
                    <a:pt x="88" y="6"/>
                  </a:lnTo>
                  <a:lnTo>
                    <a:pt x="93" y="6"/>
                  </a:lnTo>
                  <a:lnTo>
                    <a:pt x="104" y="6"/>
                  </a:lnTo>
                  <a:lnTo>
                    <a:pt x="110" y="11"/>
                  </a:lnTo>
                  <a:lnTo>
                    <a:pt x="115" y="11"/>
                  </a:lnTo>
                  <a:lnTo>
                    <a:pt x="120" y="6"/>
                  </a:lnTo>
                  <a:lnTo>
                    <a:pt x="126" y="6"/>
                  </a:lnTo>
                  <a:lnTo>
                    <a:pt x="148" y="6"/>
                  </a:lnTo>
                  <a:lnTo>
                    <a:pt x="153" y="0"/>
                  </a:lnTo>
                  <a:lnTo>
                    <a:pt x="159" y="0"/>
                  </a:lnTo>
                  <a:lnTo>
                    <a:pt x="164" y="0"/>
                  </a:lnTo>
                  <a:lnTo>
                    <a:pt x="169" y="6"/>
                  </a:lnTo>
                  <a:lnTo>
                    <a:pt x="169" y="11"/>
                  </a:lnTo>
                  <a:lnTo>
                    <a:pt x="164" y="11"/>
                  </a:lnTo>
                  <a:lnTo>
                    <a:pt x="164" y="17"/>
                  </a:lnTo>
                  <a:lnTo>
                    <a:pt x="164" y="22"/>
                  </a:lnTo>
                  <a:lnTo>
                    <a:pt x="164" y="27"/>
                  </a:lnTo>
                  <a:lnTo>
                    <a:pt x="164" y="33"/>
                  </a:lnTo>
                  <a:lnTo>
                    <a:pt x="153" y="33"/>
                  </a:lnTo>
                  <a:lnTo>
                    <a:pt x="159" y="38"/>
                  </a:lnTo>
                  <a:lnTo>
                    <a:pt x="159" y="44"/>
                  </a:lnTo>
                  <a:lnTo>
                    <a:pt x="164" y="44"/>
                  </a:lnTo>
                  <a:lnTo>
                    <a:pt x="169" y="44"/>
                  </a:lnTo>
                  <a:lnTo>
                    <a:pt x="169" y="49"/>
                  </a:lnTo>
                  <a:lnTo>
                    <a:pt x="175" y="49"/>
                  </a:lnTo>
                  <a:lnTo>
                    <a:pt x="180" y="49"/>
                  </a:lnTo>
                  <a:lnTo>
                    <a:pt x="180" y="55"/>
                  </a:lnTo>
                  <a:lnTo>
                    <a:pt x="175" y="55"/>
                  </a:lnTo>
                  <a:lnTo>
                    <a:pt x="164" y="60"/>
                  </a:lnTo>
                  <a:lnTo>
                    <a:pt x="164" y="55"/>
                  </a:lnTo>
                  <a:lnTo>
                    <a:pt x="159" y="55"/>
                  </a:lnTo>
                  <a:lnTo>
                    <a:pt x="159" y="60"/>
                  </a:lnTo>
                  <a:lnTo>
                    <a:pt x="159" y="66"/>
                  </a:lnTo>
                  <a:lnTo>
                    <a:pt x="148" y="71"/>
                  </a:lnTo>
                  <a:lnTo>
                    <a:pt x="142" y="71"/>
                  </a:lnTo>
                  <a:lnTo>
                    <a:pt x="137" y="71"/>
                  </a:lnTo>
                  <a:lnTo>
                    <a:pt x="131" y="71"/>
                  </a:lnTo>
                  <a:lnTo>
                    <a:pt x="126" y="71"/>
                  </a:lnTo>
                  <a:lnTo>
                    <a:pt x="120" y="71"/>
                  </a:lnTo>
                  <a:lnTo>
                    <a:pt x="126" y="66"/>
                  </a:lnTo>
                  <a:lnTo>
                    <a:pt x="120" y="66"/>
                  </a:lnTo>
                  <a:lnTo>
                    <a:pt x="115" y="66"/>
                  </a:lnTo>
                  <a:lnTo>
                    <a:pt x="110" y="66"/>
                  </a:lnTo>
                  <a:lnTo>
                    <a:pt x="110" y="60"/>
                  </a:lnTo>
                  <a:lnTo>
                    <a:pt x="104" y="60"/>
                  </a:lnTo>
                  <a:lnTo>
                    <a:pt x="99" y="66"/>
                  </a:lnTo>
                  <a:lnTo>
                    <a:pt x="88" y="71"/>
                  </a:lnTo>
                  <a:lnTo>
                    <a:pt x="82" y="71"/>
                  </a:lnTo>
                  <a:lnTo>
                    <a:pt x="71" y="71"/>
                  </a:lnTo>
                  <a:lnTo>
                    <a:pt x="66" y="71"/>
                  </a:lnTo>
                  <a:lnTo>
                    <a:pt x="60" y="71"/>
                  </a:lnTo>
                  <a:lnTo>
                    <a:pt x="60" y="77"/>
                  </a:lnTo>
                  <a:lnTo>
                    <a:pt x="60" y="71"/>
                  </a:lnTo>
                  <a:lnTo>
                    <a:pt x="50" y="77"/>
                  </a:lnTo>
                  <a:lnTo>
                    <a:pt x="44" y="77"/>
                  </a:lnTo>
                  <a:lnTo>
                    <a:pt x="39" y="77"/>
                  </a:lnTo>
                  <a:lnTo>
                    <a:pt x="28" y="77"/>
                  </a:lnTo>
                  <a:lnTo>
                    <a:pt x="22" y="77"/>
                  </a:lnTo>
                  <a:lnTo>
                    <a:pt x="28" y="77"/>
                  </a:lnTo>
                  <a:lnTo>
                    <a:pt x="28" y="71"/>
                  </a:lnTo>
                  <a:lnTo>
                    <a:pt x="33" y="66"/>
                  </a:lnTo>
                  <a:lnTo>
                    <a:pt x="28" y="66"/>
                  </a:lnTo>
                  <a:lnTo>
                    <a:pt x="17" y="66"/>
                  </a:lnTo>
                  <a:lnTo>
                    <a:pt x="6" y="66"/>
                  </a:lnTo>
                  <a:lnTo>
                    <a:pt x="6" y="60"/>
                  </a:lnTo>
                  <a:lnTo>
                    <a:pt x="0" y="60"/>
                  </a:lnTo>
                  <a:lnTo>
                    <a:pt x="0" y="55"/>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 name="Freeform 89">
              <a:extLst>
                <a:ext uri="{FF2B5EF4-FFF2-40B4-BE49-F238E27FC236}">
                  <a16:creationId xmlns:a16="http://schemas.microsoft.com/office/drawing/2014/main" id="{17A1B524-A40A-51C0-C2C5-45631D734695}"/>
                </a:ext>
              </a:extLst>
            </p:cNvPr>
            <p:cNvSpPr>
              <a:spLocks/>
            </p:cNvSpPr>
            <p:nvPr/>
          </p:nvSpPr>
          <p:spPr bwMode="auto">
            <a:xfrm>
              <a:off x="2844944" y="2357928"/>
              <a:ext cx="207963" cy="60325"/>
            </a:xfrm>
            <a:custGeom>
              <a:avLst/>
              <a:gdLst>
                <a:gd name="T0" fmla="*/ 0 w 131"/>
                <a:gd name="T1" fmla="*/ 21 h 38"/>
                <a:gd name="T2" fmla="*/ 11 w 131"/>
                <a:gd name="T3" fmla="*/ 21 h 38"/>
                <a:gd name="T4" fmla="*/ 11 w 131"/>
                <a:gd name="T5" fmla="*/ 16 h 38"/>
                <a:gd name="T6" fmla="*/ 22 w 131"/>
                <a:gd name="T7" fmla="*/ 11 h 38"/>
                <a:gd name="T8" fmla="*/ 33 w 131"/>
                <a:gd name="T9" fmla="*/ 5 h 38"/>
                <a:gd name="T10" fmla="*/ 49 w 131"/>
                <a:gd name="T11" fmla="*/ 5 h 38"/>
                <a:gd name="T12" fmla="*/ 55 w 131"/>
                <a:gd name="T13" fmla="*/ 5 h 38"/>
                <a:gd name="T14" fmla="*/ 49 w 131"/>
                <a:gd name="T15" fmla="*/ 5 h 38"/>
                <a:gd name="T16" fmla="*/ 60 w 131"/>
                <a:gd name="T17" fmla="*/ 5 h 38"/>
                <a:gd name="T18" fmla="*/ 66 w 131"/>
                <a:gd name="T19" fmla="*/ 11 h 38"/>
                <a:gd name="T20" fmla="*/ 71 w 131"/>
                <a:gd name="T21" fmla="*/ 16 h 38"/>
                <a:gd name="T22" fmla="*/ 77 w 131"/>
                <a:gd name="T23" fmla="*/ 16 h 38"/>
                <a:gd name="T24" fmla="*/ 87 w 131"/>
                <a:gd name="T25" fmla="*/ 16 h 38"/>
                <a:gd name="T26" fmla="*/ 93 w 131"/>
                <a:gd name="T27" fmla="*/ 21 h 38"/>
                <a:gd name="T28" fmla="*/ 93 w 131"/>
                <a:gd name="T29" fmla="*/ 16 h 38"/>
                <a:gd name="T30" fmla="*/ 87 w 131"/>
                <a:gd name="T31" fmla="*/ 11 h 38"/>
                <a:gd name="T32" fmla="*/ 98 w 131"/>
                <a:gd name="T33" fmla="*/ 11 h 38"/>
                <a:gd name="T34" fmla="*/ 87 w 131"/>
                <a:gd name="T35" fmla="*/ 5 h 38"/>
                <a:gd name="T36" fmla="*/ 98 w 131"/>
                <a:gd name="T37" fmla="*/ 5 h 38"/>
                <a:gd name="T38" fmla="*/ 104 w 131"/>
                <a:gd name="T39" fmla="*/ 0 h 38"/>
                <a:gd name="T40" fmla="*/ 115 w 131"/>
                <a:gd name="T41" fmla="*/ 0 h 38"/>
                <a:gd name="T42" fmla="*/ 109 w 131"/>
                <a:gd name="T43" fmla="*/ 5 h 38"/>
                <a:gd name="T44" fmla="*/ 104 w 131"/>
                <a:gd name="T45" fmla="*/ 11 h 38"/>
                <a:gd name="T46" fmla="*/ 109 w 131"/>
                <a:gd name="T47" fmla="*/ 11 h 38"/>
                <a:gd name="T48" fmla="*/ 115 w 131"/>
                <a:gd name="T49" fmla="*/ 11 h 38"/>
                <a:gd name="T50" fmla="*/ 115 w 131"/>
                <a:gd name="T51" fmla="*/ 16 h 38"/>
                <a:gd name="T52" fmla="*/ 126 w 131"/>
                <a:gd name="T53" fmla="*/ 11 h 38"/>
                <a:gd name="T54" fmla="*/ 131 w 131"/>
                <a:gd name="T55" fmla="*/ 11 h 38"/>
                <a:gd name="T56" fmla="*/ 131 w 131"/>
                <a:gd name="T57" fmla="*/ 16 h 38"/>
                <a:gd name="T58" fmla="*/ 126 w 131"/>
                <a:gd name="T59" fmla="*/ 21 h 38"/>
                <a:gd name="T60" fmla="*/ 120 w 131"/>
                <a:gd name="T61" fmla="*/ 21 h 38"/>
                <a:gd name="T62" fmla="*/ 115 w 131"/>
                <a:gd name="T63" fmla="*/ 21 h 38"/>
                <a:gd name="T64" fmla="*/ 115 w 131"/>
                <a:gd name="T65" fmla="*/ 27 h 38"/>
                <a:gd name="T66" fmla="*/ 98 w 131"/>
                <a:gd name="T67" fmla="*/ 27 h 38"/>
                <a:gd name="T68" fmla="*/ 87 w 131"/>
                <a:gd name="T69" fmla="*/ 27 h 38"/>
                <a:gd name="T70" fmla="*/ 77 w 131"/>
                <a:gd name="T71" fmla="*/ 27 h 38"/>
                <a:gd name="T72" fmla="*/ 66 w 131"/>
                <a:gd name="T73" fmla="*/ 27 h 38"/>
                <a:gd name="T74" fmla="*/ 60 w 131"/>
                <a:gd name="T75" fmla="*/ 32 h 38"/>
                <a:gd name="T76" fmla="*/ 49 w 131"/>
                <a:gd name="T77" fmla="*/ 32 h 38"/>
                <a:gd name="T78" fmla="*/ 38 w 131"/>
                <a:gd name="T79" fmla="*/ 38 h 38"/>
                <a:gd name="T80" fmla="*/ 33 w 131"/>
                <a:gd name="T81" fmla="*/ 38 h 38"/>
                <a:gd name="T82" fmla="*/ 28 w 131"/>
                <a:gd name="T83" fmla="*/ 32 h 38"/>
                <a:gd name="T84" fmla="*/ 22 w 131"/>
                <a:gd name="T85" fmla="*/ 32 h 38"/>
                <a:gd name="T86" fmla="*/ 22 w 131"/>
                <a:gd name="T87" fmla="*/ 27 h 38"/>
                <a:gd name="T88" fmla="*/ 17 w 131"/>
                <a:gd name="T89" fmla="*/ 27 h 38"/>
                <a:gd name="T90" fmla="*/ 11 w 131"/>
                <a:gd name="T91" fmla="*/ 21 h 38"/>
                <a:gd name="T92" fmla="*/ 0 w 131"/>
                <a:gd name="T93"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1" h="38">
                  <a:moveTo>
                    <a:pt x="0" y="21"/>
                  </a:moveTo>
                  <a:lnTo>
                    <a:pt x="11" y="21"/>
                  </a:lnTo>
                  <a:lnTo>
                    <a:pt x="11" y="16"/>
                  </a:lnTo>
                  <a:lnTo>
                    <a:pt x="22" y="11"/>
                  </a:lnTo>
                  <a:lnTo>
                    <a:pt x="33" y="5"/>
                  </a:lnTo>
                  <a:lnTo>
                    <a:pt x="49" y="5"/>
                  </a:lnTo>
                  <a:lnTo>
                    <a:pt x="55" y="5"/>
                  </a:lnTo>
                  <a:lnTo>
                    <a:pt x="49" y="5"/>
                  </a:lnTo>
                  <a:lnTo>
                    <a:pt x="60" y="5"/>
                  </a:lnTo>
                  <a:lnTo>
                    <a:pt x="66" y="11"/>
                  </a:lnTo>
                  <a:lnTo>
                    <a:pt x="71" y="16"/>
                  </a:lnTo>
                  <a:lnTo>
                    <a:pt x="77" y="16"/>
                  </a:lnTo>
                  <a:lnTo>
                    <a:pt x="87" y="16"/>
                  </a:lnTo>
                  <a:lnTo>
                    <a:pt x="93" y="21"/>
                  </a:lnTo>
                  <a:lnTo>
                    <a:pt x="93" y="16"/>
                  </a:lnTo>
                  <a:lnTo>
                    <a:pt x="87" y="11"/>
                  </a:lnTo>
                  <a:lnTo>
                    <a:pt x="98" y="11"/>
                  </a:lnTo>
                  <a:lnTo>
                    <a:pt x="87" y="5"/>
                  </a:lnTo>
                  <a:lnTo>
                    <a:pt x="98" y="5"/>
                  </a:lnTo>
                  <a:lnTo>
                    <a:pt x="104" y="0"/>
                  </a:lnTo>
                  <a:lnTo>
                    <a:pt x="115" y="0"/>
                  </a:lnTo>
                  <a:lnTo>
                    <a:pt x="109" y="5"/>
                  </a:lnTo>
                  <a:lnTo>
                    <a:pt x="104" y="11"/>
                  </a:lnTo>
                  <a:lnTo>
                    <a:pt x="109" y="11"/>
                  </a:lnTo>
                  <a:lnTo>
                    <a:pt x="115" y="11"/>
                  </a:lnTo>
                  <a:lnTo>
                    <a:pt x="115" y="16"/>
                  </a:lnTo>
                  <a:lnTo>
                    <a:pt x="126" y="11"/>
                  </a:lnTo>
                  <a:lnTo>
                    <a:pt x="131" y="11"/>
                  </a:lnTo>
                  <a:lnTo>
                    <a:pt x="131" y="16"/>
                  </a:lnTo>
                  <a:lnTo>
                    <a:pt x="126" y="21"/>
                  </a:lnTo>
                  <a:lnTo>
                    <a:pt x="120" y="21"/>
                  </a:lnTo>
                  <a:lnTo>
                    <a:pt x="115" y="21"/>
                  </a:lnTo>
                  <a:lnTo>
                    <a:pt x="115" y="27"/>
                  </a:lnTo>
                  <a:lnTo>
                    <a:pt x="98" y="27"/>
                  </a:lnTo>
                  <a:lnTo>
                    <a:pt x="87" y="27"/>
                  </a:lnTo>
                  <a:lnTo>
                    <a:pt x="77" y="27"/>
                  </a:lnTo>
                  <a:lnTo>
                    <a:pt x="66" y="27"/>
                  </a:lnTo>
                  <a:lnTo>
                    <a:pt x="60" y="32"/>
                  </a:lnTo>
                  <a:lnTo>
                    <a:pt x="49" y="32"/>
                  </a:lnTo>
                  <a:lnTo>
                    <a:pt x="38" y="38"/>
                  </a:lnTo>
                  <a:lnTo>
                    <a:pt x="33" y="38"/>
                  </a:lnTo>
                  <a:lnTo>
                    <a:pt x="28" y="32"/>
                  </a:lnTo>
                  <a:lnTo>
                    <a:pt x="22" y="32"/>
                  </a:lnTo>
                  <a:lnTo>
                    <a:pt x="22" y="27"/>
                  </a:lnTo>
                  <a:lnTo>
                    <a:pt x="17" y="27"/>
                  </a:lnTo>
                  <a:lnTo>
                    <a:pt x="11" y="21"/>
                  </a:lnTo>
                  <a:lnTo>
                    <a:pt x="0" y="21"/>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 name="Freeform 95">
              <a:extLst>
                <a:ext uri="{FF2B5EF4-FFF2-40B4-BE49-F238E27FC236}">
                  <a16:creationId xmlns:a16="http://schemas.microsoft.com/office/drawing/2014/main" id="{46DA9579-E4BA-1D34-0249-910BEBAFF6F0}"/>
                </a:ext>
              </a:extLst>
            </p:cNvPr>
            <p:cNvSpPr>
              <a:spLocks/>
            </p:cNvSpPr>
            <p:nvPr/>
          </p:nvSpPr>
          <p:spPr bwMode="auto">
            <a:xfrm>
              <a:off x="3000519" y="2530966"/>
              <a:ext cx="69850" cy="34925"/>
            </a:xfrm>
            <a:custGeom>
              <a:avLst/>
              <a:gdLst>
                <a:gd name="T0" fmla="*/ 0 w 44"/>
                <a:gd name="T1" fmla="*/ 11 h 22"/>
                <a:gd name="T2" fmla="*/ 6 w 44"/>
                <a:gd name="T3" fmla="*/ 11 h 22"/>
                <a:gd name="T4" fmla="*/ 17 w 44"/>
                <a:gd name="T5" fmla="*/ 11 h 22"/>
                <a:gd name="T6" fmla="*/ 17 w 44"/>
                <a:gd name="T7" fmla="*/ 5 h 22"/>
                <a:gd name="T8" fmla="*/ 22 w 44"/>
                <a:gd name="T9" fmla="*/ 5 h 22"/>
                <a:gd name="T10" fmla="*/ 22 w 44"/>
                <a:gd name="T11" fmla="*/ 0 h 22"/>
                <a:gd name="T12" fmla="*/ 28 w 44"/>
                <a:gd name="T13" fmla="*/ 0 h 22"/>
                <a:gd name="T14" fmla="*/ 33 w 44"/>
                <a:gd name="T15" fmla="*/ 0 h 22"/>
                <a:gd name="T16" fmla="*/ 33 w 44"/>
                <a:gd name="T17" fmla="*/ 5 h 22"/>
                <a:gd name="T18" fmla="*/ 39 w 44"/>
                <a:gd name="T19" fmla="*/ 5 h 22"/>
                <a:gd name="T20" fmla="*/ 39 w 44"/>
                <a:gd name="T21" fmla="*/ 11 h 22"/>
                <a:gd name="T22" fmla="*/ 44 w 44"/>
                <a:gd name="T23" fmla="*/ 11 h 22"/>
                <a:gd name="T24" fmla="*/ 39 w 44"/>
                <a:gd name="T25" fmla="*/ 11 h 22"/>
                <a:gd name="T26" fmla="*/ 39 w 44"/>
                <a:gd name="T27" fmla="*/ 16 h 22"/>
                <a:gd name="T28" fmla="*/ 44 w 44"/>
                <a:gd name="T29" fmla="*/ 16 h 22"/>
                <a:gd name="T30" fmla="*/ 39 w 44"/>
                <a:gd name="T31" fmla="*/ 16 h 22"/>
                <a:gd name="T32" fmla="*/ 33 w 44"/>
                <a:gd name="T33" fmla="*/ 22 h 22"/>
                <a:gd name="T34" fmla="*/ 28 w 44"/>
                <a:gd name="T35" fmla="*/ 22 h 22"/>
                <a:gd name="T36" fmla="*/ 22 w 44"/>
                <a:gd name="T37" fmla="*/ 22 h 22"/>
                <a:gd name="T38" fmla="*/ 17 w 44"/>
                <a:gd name="T39" fmla="*/ 16 h 22"/>
                <a:gd name="T40" fmla="*/ 11 w 44"/>
                <a:gd name="T41" fmla="*/ 16 h 22"/>
                <a:gd name="T42" fmla="*/ 6 w 44"/>
                <a:gd name="T43" fmla="*/ 11 h 22"/>
                <a:gd name="T44" fmla="*/ 0 w 44"/>
                <a:gd name="T45" fmla="*/ 16 h 22"/>
                <a:gd name="T46" fmla="*/ 0 w 44"/>
                <a:gd name="T4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22">
                  <a:moveTo>
                    <a:pt x="0" y="11"/>
                  </a:moveTo>
                  <a:lnTo>
                    <a:pt x="6" y="11"/>
                  </a:lnTo>
                  <a:lnTo>
                    <a:pt x="17" y="11"/>
                  </a:lnTo>
                  <a:lnTo>
                    <a:pt x="17" y="5"/>
                  </a:lnTo>
                  <a:lnTo>
                    <a:pt x="22" y="5"/>
                  </a:lnTo>
                  <a:lnTo>
                    <a:pt x="22" y="0"/>
                  </a:lnTo>
                  <a:lnTo>
                    <a:pt x="28" y="0"/>
                  </a:lnTo>
                  <a:lnTo>
                    <a:pt x="33" y="0"/>
                  </a:lnTo>
                  <a:lnTo>
                    <a:pt x="33" y="5"/>
                  </a:lnTo>
                  <a:lnTo>
                    <a:pt x="39" y="5"/>
                  </a:lnTo>
                  <a:lnTo>
                    <a:pt x="39" y="11"/>
                  </a:lnTo>
                  <a:lnTo>
                    <a:pt x="44" y="11"/>
                  </a:lnTo>
                  <a:lnTo>
                    <a:pt x="39" y="11"/>
                  </a:lnTo>
                  <a:lnTo>
                    <a:pt x="39" y="16"/>
                  </a:lnTo>
                  <a:lnTo>
                    <a:pt x="44" y="16"/>
                  </a:lnTo>
                  <a:lnTo>
                    <a:pt x="39" y="16"/>
                  </a:lnTo>
                  <a:lnTo>
                    <a:pt x="33" y="22"/>
                  </a:lnTo>
                  <a:lnTo>
                    <a:pt x="28" y="22"/>
                  </a:lnTo>
                  <a:lnTo>
                    <a:pt x="22" y="22"/>
                  </a:lnTo>
                  <a:lnTo>
                    <a:pt x="17" y="16"/>
                  </a:lnTo>
                  <a:lnTo>
                    <a:pt x="11" y="16"/>
                  </a:lnTo>
                  <a:lnTo>
                    <a:pt x="6" y="11"/>
                  </a:lnTo>
                  <a:lnTo>
                    <a:pt x="0" y="16"/>
                  </a:lnTo>
                  <a:lnTo>
                    <a:pt x="0" y="11"/>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 name="Freeform 96">
              <a:extLst>
                <a:ext uri="{FF2B5EF4-FFF2-40B4-BE49-F238E27FC236}">
                  <a16:creationId xmlns:a16="http://schemas.microsoft.com/office/drawing/2014/main" id="{69E6DAD4-C92E-6508-BBB7-7614F7C81C00}"/>
                </a:ext>
              </a:extLst>
            </p:cNvPr>
            <p:cNvSpPr>
              <a:spLocks/>
            </p:cNvSpPr>
            <p:nvPr/>
          </p:nvSpPr>
          <p:spPr bwMode="auto">
            <a:xfrm>
              <a:off x="3078306" y="2330941"/>
              <a:ext cx="17463" cy="17463"/>
            </a:xfrm>
            <a:custGeom>
              <a:avLst/>
              <a:gdLst>
                <a:gd name="T0" fmla="*/ 6 w 11"/>
                <a:gd name="T1" fmla="*/ 6 h 11"/>
                <a:gd name="T2" fmla="*/ 11 w 11"/>
                <a:gd name="T3" fmla="*/ 0 h 11"/>
                <a:gd name="T4" fmla="*/ 11 w 11"/>
                <a:gd name="T5" fmla="*/ 6 h 11"/>
                <a:gd name="T6" fmla="*/ 11 w 11"/>
                <a:gd name="T7" fmla="*/ 11 h 11"/>
                <a:gd name="T8" fmla="*/ 0 w 11"/>
                <a:gd name="T9" fmla="*/ 11 h 11"/>
                <a:gd name="T10" fmla="*/ 6 w 11"/>
                <a:gd name="T11" fmla="*/ 6 h 11"/>
              </a:gdLst>
              <a:ahLst/>
              <a:cxnLst>
                <a:cxn ang="0">
                  <a:pos x="T0" y="T1"/>
                </a:cxn>
                <a:cxn ang="0">
                  <a:pos x="T2" y="T3"/>
                </a:cxn>
                <a:cxn ang="0">
                  <a:pos x="T4" y="T5"/>
                </a:cxn>
                <a:cxn ang="0">
                  <a:pos x="T6" y="T7"/>
                </a:cxn>
                <a:cxn ang="0">
                  <a:pos x="T8" y="T9"/>
                </a:cxn>
                <a:cxn ang="0">
                  <a:pos x="T10" y="T11"/>
                </a:cxn>
              </a:cxnLst>
              <a:rect l="0" t="0" r="r" b="b"/>
              <a:pathLst>
                <a:path w="11" h="11">
                  <a:moveTo>
                    <a:pt x="6" y="6"/>
                  </a:moveTo>
                  <a:lnTo>
                    <a:pt x="11" y="0"/>
                  </a:lnTo>
                  <a:lnTo>
                    <a:pt x="11" y="6"/>
                  </a:lnTo>
                  <a:lnTo>
                    <a:pt x="11" y="11"/>
                  </a:lnTo>
                  <a:lnTo>
                    <a:pt x="0" y="11"/>
                  </a:lnTo>
                  <a:lnTo>
                    <a:pt x="6" y="6"/>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 name="Freeform 97">
              <a:extLst>
                <a:ext uri="{FF2B5EF4-FFF2-40B4-BE49-F238E27FC236}">
                  <a16:creationId xmlns:a16="http://schemas.microsoft.com/office/drawing/2014/main" id="{C52EF0B1-8E61-CF53-B909-2DE7161D0999}"/>
                </a:ext>
              </a:extLst>
            </p:cNvPr>
            <p:cNvSpPr>
              <a:spLocks/>
            </p:cNvSpPr>
            <p:nvPr/>
          </p:nvSpPr>
          <p:spPr bwMode="auto">
            <a:xfrm>
              <a:off x="3070369" y="2365866"/>
              <a:ext cx="34925" cy="9525"/>
            </a:xfrm>
            <a:custGeom>
              <a:avLst/>
              <a:gdLst>
                <a:gd name="T0" fmla="*/ 0 w 22"/>
                <a:gd name="T1" fmla="*/ 6 h 6"/>
                <a:gd name="T2" fmla="*/ 5 w 22"/>
                <a:gd name="T3" fmla="*/ 0 h 6"/>
                <a:gd name="T4" fmla="*/ 16 w 22"/>
                <a:gd name="T5" fmla="*/ 0 h 6"/>
                <a:gd name="T6" fmla="*/ 22 w 22"/>
                <a:gd name="T7" fmla="*/ 0 h 6"/>
                <a:gd name="T8" fmla="*/ 11 w 22"/>
                <a:gd name="T9" fmla="*/ 6 h 6"/>
                <a:gd name="T10" fmla="*/ 0 w 22"/>
                <a:gd name="T11" fmla="*/ 6 h 6"/>
              </a:gdLst>
              <a:ahLst/>
              <a:cxnLst>
                <a:cxn ang="0">
                  <a:pos x="T0" y="T1"/>
                </a:cxn>
                <a:cxn ang="0">
                  <a:pos x="T2" y="T3"/>
                </a:cxn>
                <a:cxn ang="0">
                  <a:pos x="T4" y="T5"/>
                </a:cxn>
                <a:cxn ang="0">
                  <a:pos x="T6" y="T7"/>
                </a:cxn>
                <a:cxn ang="0">
                  <a:pos x="T8" y="T9"/>
                </a:cxn>
                <a:cxn ang="0">
                  <a:pos x="T10" y="T11"/>
                </a:cxn>
              </a:cxnLst>
              <a:rect l="0" t="0" r="r" b="b"/>
              <a:pathLst>
                <a:path w="22" h="6">
                  <a:moveTo>
                    <a:pt x="0" y="6"/>
                  </a:moveTo>
                  <a:lnTo>
                    <a:pt x="5" y="0"/>
                  </a:lnTo>
                  <a:lnTo>
                    <a:pt x="16" y="0"/>
                  </a:lnTo>
                  <a:lnTo>
                    <a:pt x="22" y="0"/>
                  </a:lnTo>
                  <a:lnTo>
                    <a:pt x="11" y="6"/>
                  </a:lnTo>
                  <a:lnTo>
                    <a:pt x="0" y="6"/>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2" name="Freeform 98">
              <a:extLst>
                <a:ext uri="{FF2B5EF4-FFF2-40B4-BE49-F238E27FC236}">
                  <a16:creationId xmlns:a16="http://schemas.microsoft.com/office/drawing/2014/main" id="{B639631A-8C1A-ECC4-76F1-5FD417373C0E}"/>
                </a:ext>
              </a:extLst>
            </p:cNvPr>
            <p:cNvSpPr>
              <a:spLocks/>
            </p:cNvSpPr>
            <p:nvPr/>
          </p:nvSpPr>
          <p:spPr bwMode="auto">
            <a:xfrm>
              <a:off x="3078306" y="2357928"/>
              <a:ext cx="26988" cy="7938"/>
            </a:xfrm>
            <a:custGeom>
              <a:avLst/>
              <a:gdLst>
                <a:gd name="T0" fmla="*/ 0 w 17"/>
                <a:gd name="T1" fmla="*/ 5 h 5"/>
                <a:gd name="T2" fmla="*/ 11 w 17"/>
                <a:gd name="T3" fmla="*/ 0 h 5"/>
                <a:gd name="T4" fmla="*/ 17 w 17"/>
                <a:gd name="T5" fmla="*/ 5 h 5"/>
                <a:gd name="T6" fmla="*/ 0 w 17"/>
                <a:gd name="T7" fmla="*/ 5 h 5"/>
              </a:gdLst>
              <a:ahLst/>
              <a:cxnLst>
                <a:cxn ang="0">
                  <a:pos x="T0" y="T1"/>
                </a:cxn>
                <a:cxn ang="0">
                  <a:pos x="T2" y="T3"/>
                </a:cxn>
                <a:cxn ang="0">
                  <a:pos x="T4" y="T5"/>
                </a:cxn>
                <a:cxn ang="0">
                  <a:pos x="T6" y="T7"/>
                </a:cxn>
              </a:cxnLst>
              <a:rect l="0" t="0" r="r" b="b"/>
              <a:pathLst>
                <a:path w="17" h="5">
                  <a:moveTo>
                    <a:pt x="0" y="5"/>
                  </a:moveTo>
                  <a:lnTo>
                    <a:pt x="11" y="0"/>
                  </a:lnTo>
                  <a:lnTo>
                    <a:pt x="17" y="5"/>
                  </a:lnTo>
                  <a:lnTo>
                    <a:pt x="0" y="5"/>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3" name="Freeform 510">
              <a:extLst>
                <a:ext uri="{FF2B5EF4-FFF2-40B4-BE49-F238E27FC236}">
                  <a16:creationId xmlns:a16="http://schemas.microsoft.com/office/drawing/2014/main" id="{F911B177-6BDB-2F0E-2B46-61AFF486C2D9}"/>
                </a:ext>
              </a:extLst>
            </p:cNvPr>
            <p:cNvSpPr>
              <a:spLocks/>
            </p:cNvSpPr>
            <p:nvPr/>
          </p:nvSpPr>
          <p:spPr bwMode="auto">
            <a:xfrm>
              <a:off x="3078306" y="2375391"/>
              <a:ext cx="26988" cy="7938"/>
            </a:xfrm>
            <a:custGeom>
              <a:avLst/>
              <a:gdLst>
                <a:gd name="T0" fmla="*/ 0 w 17"/>
                <a:gd name="T1" fmla="*/ 5 h 5"/>
                <a:gd name="T2" fmla="*/ 6 w 17"/>
                <a:gd name="T3" fmla="*/ 0 h 5"/>
                <a:gd name="T4" fmla="*/ 17 w 17"/>
                <a:gd name="T5" fmla="*/ 0 h 5"/>
                <a:gd name="T6" fmla="*/ 11 w 17"/>
                <a:gd name="T7" fmla="*/ 5 h 5"/>
                <a:gd name="T8" fmla="*/ 0 w 17"/>
                <a:gd name="T9" fmla="*/ 5 h 5"/>
              </a:gdLst>
              <a:ahLst/>
              <a:cxnLst>
                <a:cxn ang="0">
                  <a:pos x="T0" y="T1"/>
                </a:cxn>
                <a:cxn ang="0">
                  <a:pos x="T2" y="T3"/>
                </a:cxn>
                <a:cxn ang="0">
                  <a:pos x="T4" y="T5"/>
                </a:cxn>
                <a:cxn ang="0">
                  <a:pos x="T6" y="T7"/>
                </a:cxn>
                <a:cxn ang="0">
                  <a:pos x="T8" y="T9"/>
                </a:cxn>
              </a:cxnLst>
              <a:rect l="0" t="0" r="r" b="b"/>
              <a:pathLst>
                <a:path w="17" h="5">
                  <a:moveTo>
                    <a:pt x="0" y="5"/>
                  </a:moveTo>
                  <a:lnTo>
                    <a:pt x="6" y="0"/>
                  </a:lnTo>
                  <a:lnTo>
                    <a:pt x="17" y="0"/>
                  </a:lnTo>
                  <a:lnTo>
                    <a:pt x="11" y="5"/>
                  </a:lnTo>
                  <a:lnTo>
                    <a:pt x="0" y="5"/>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4" name="Freeform 511">
              <a:extLst>
                <a:ext uri="{FF2B5EF4-FFF2-40B4-BE49-F238E27FC236}">
                  <a16:creationId xmlns:a16="http://schemas.microsoft.com/office/drawing/2014/main" id="{8FF09BA6-FF71-51C9-ED6F-2FA31392DB31}"/>
                </a:ext>
              </a:extLst>
            </p:cNvPr>
            <p:cNvSpPr>
              <a:spLocks/>
            </p:cNvSpPr>
            <p:nvPr/>
          </p:nvSpPr>
          <p:spPr bwMode="auto">
            <a:xfrm>
              <a:off x="3027506" y="2426191"/>
              <a:ext cx="112713" cy="69850"/>
            </a:xfrm>
            <a:custGeom>
              <a:avLst/>
              <a:gdLst>
                <a:gd name="T0" fmla="*/ 0 w 71"/>
                <a:gd name="T1" fmla="*/ 22 h 44"/>
                <a:gd name="T2" fmla="*/ 5 w 71"/>
                <a:gd name="T3" fmla="*/ 17 h 44"/>
                <a:gd name="T4" fmla="*/ 11 w 71"/>
                <a:gd name="T5" fmla="*/ 17 h 44"/>
                <a:gd name="T6" fmla="*/ 16 w 71"/>
                <a:gd name="T7" fmla="*/ 17 h 44"/>
                <a:gd name="T8" fmla="*/ 16 w 71"/>
                <a:gd name="T9" fmla="*/ 22 h 44"/>
                <a:gd name="T10" fmla="*/ 22 w 71"/>
                <a:gd name="T11" fmla="*/ 22 h 44"/>
                <a:gd name="T12" fmla="*/ 27 w 71"/>
                <a:gd name="T13" fmla="*/ 17 h 44"/>
                <a:gd name="T14" fmla="*/ 27 w 71"/>
                <a:gd name="T15" fmla="*/ 11 h 44"/>
                <a:gd name="T16" fmla="*/ 22 w 71"/>
                <a:gd name="T17" fmla="*/ 6 h 44"/>
                <a:gd name="T18" fmla="*/ 32 w 71"/>
                <a:gd name="T19" fmla="*/ 6 h 44"/>
                <a:gd name="T20" fmla="*/ 32 w 71"/>
                <a:gd name="T21" fmla="*/ 0 h 44"/>
                <a:gd name="T22" fmla="*/ 43 w 71"/>
                <a:gd name="T23" fmla="*/ 0 h 44"/>
                <a:gd name="T24" fmla="*/ 49 w 71"/>
                <a:gd name="T25" fmla="*/ 6 h 44"/>
                <a:gd name="T26" fmla="*/ 60 w 71"/>
                <a:gd name="T27" fmla="*/ 0 h 44"/>
                <a:gd name="T28" fmla="*/ 65 w 71"/>
                <a:gd name="T29" fmla="*/ 0 h 44"/>
                <a:gd name="T30" fmla="*/ 71 w 71"/>
                <a:gd name="T31" fmla="*/ 0 h 44"/>
                <a:gd name="T32" fmla="*/ 65 w 71"/>
                <a:gd name="T33" fmla="*/ 6 h 44"/>
                <a:gd name="T34" fmla="*/ 65 w 71"/>
                <a:gd name="T35" fmla="*/ 11 h 44"/>
                <a:gd name="T36" fmla="*/ 54 w 71"/>
                <a:gd name="T37" fmla="*/ 11 h 44"/>
                <a:gd name="T38" fmla="*/ 49 w 71"/>
                <a:gd name="T39" fmla="*/ 17 h 44"/>
                <a:gd name="T40" fmla="*/ 60 w 71"/>
                <a:gd name="T41" fmla="*/ 17 h 44"/>
                <a:gd name="T42" fmla="*/ 60 w 71"/>
                <a:gd name="T43" fmla="*/ 22 h 44"/>
                <a:gd name="T44" fmla="*/ 54 w 71"/>
                <a:gd name="T45" fmla="*/ 22 h 44"/>
                <a:gd name="T46" fmla="*/ 65 w 71"/>
                <a:gd name="T47" fmla="*/ 22 h 44"/>
                <a:gd name="T48" fmla="*/ 60 w 71"/>
                <a:gd name="T49" fmla="*/ 22 h 44"/>
                <a:gd name="T50" fmla="*/ 54 w 71"/>
                <a:gd name="T51" fmla="*/ 28 h 44"/>
                <a:gd name="T52" fmla="*/ 60 w 71"/>
                <a:gd name="T53" fmla="*/ 28 h 44"/>
                <a:gd name="T54" fmla="*/ 54 w 71"/>
                <a:gd name="T55" fmla="*/ 33 h 44"/>
                <a:gd name="T56" fmla="*/ 49 w 71"/>
                <a:gd name="T57" fmla="*/ 33 h 44"/>
                <a:gd name="T58" fmla="*/ 38 w 71"/>
                <a:gd name="T59" fmla="*/ 38 h 44"/>
                <a:gd name="T60" fmla="*/ 32 w 71"/>
                <a:gd name="T61" fmla="*/ 38 h 44"/>
                <a:gd name="T62" fmla="*/ 27 w 71"/>
                <a:gd name="T63" fmla="*/ 44 h 44"/>
                <a:gd name="T64" fmla="*/ 16 w 71"/>
                <a:gd name="T65" fmla="*/ 44 h 44"/>
                <a:gd name="T66" fmla="*/ 22 w 71"/>
                <a:gd name="T67" fmla="*/ 38 h 44"/>
                <a:gd name="T68" fmla="*/ 16 w 71"/>
                <a:gd name="T69" fmla="*/ 33 h 44"/>
                <a:gd name="T70" fmla="*/ 16 w 71"/>
                <a:gd name="T71" fmla="*/ 28 h 44"/>
                <a:gd name="T72" fmla="*/ 11 w 71"/>
                <a:gd name="T73" fmla="*/ 28 h 44"/>
                <a:gd name="T74" fmla="*/ 5 w 71"/>
                <a:gd name="T75" fmla="*/ 28 h 44"/>
                <a:gd name="T76" fmla="*/ 5 w 71"/>
                <a:gd name="T77" fmla="*/ 22 h 44"/>
                <a:gd name="T78" fmla="*/ 0 w 71"/>
                <a:gd name="T79"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 h="44">
                  <a:moveTo>
                    <a:pt x="0" y="22"/>
                  </a:moveTo>
                  <a:lnTo>
                    <a:pt x="5" y="17"/>
                  </a:lnTo>
                  <a:lnTo>
                    <a:pt x="11" y="17"/>
                  </a:lnTo>
                  <a:lnTo>
                    <a:pt x="16" y="17"/>
                  </a:lnTo>
                  <a:lnTo>
                    <a:pt x="16" y="22"/>
                  </a:lnTo>
                  <a:lnTo>
                    <a:pt x="22" y="22"/>
                  </a:lnTo>
                  <a:lnTo>
                    <a:pt x="27" y="17"/>
                  </a:lnTo>
                  <a:lnTo>
                    <a:pt x="27" y="11"/>
                  </a:lnTo>
                  <a:lnTo>
                    <a:pt x="22" y="6"/>
                  </a:lnTo>
                  <a:lnTo>
                    <a:pt x="32" y="6"/>
                  </a:lnTo>
                  <a:lnTo>
                    <a:pt x="32" y="0"/>
                  </a:lnTo>
                  <a:lnTo>
                    <a:pt x="43" y="0"/>
                  </a:lnTo>
                  <a:lnTo>
                    <a:pt x="49" y="6"/>
                  </a:lnTo>
                  <a:lnTo>
                    <a:pt x="60" y="0"/>
                  </a:lnTo>
                  <a:lnTo>
                    <a:pt x="65" y="0"/>
                  </a:lnTo>
                  <a:lnTo>
                    <a:pt x="71" y="0"/>
                  </a:lnTo>
                  <a:lnTo>
                    <a:pt x="65" y="6"/>
                  </a:lnTo>
                  <a:lnTo>
                    <a:pt x="65" y="11"/>
                  </a:lnTo>
                  <a:lnTo>
                    <a:pt x="54" y="11"/>
                  </a:lnTo>
                  <a:lnTo>
                    <a:pt x="49" y="17"/>
                  </a:lnTo>
                  <a:lnTo>
                    <a:pt x="60" y="17"/>
                  </a:lnTo>
                  <a:lnTo>
                    <a:pt x="60" y="22"/>
                  </a:lnTo>
                  <a:lnTo>
                    <a:pt x="54" y="22"/>
                  </a:lnTo>
                  <a:lnTo>
                    <a:pt x="65" y="22"/>
                  </a:lnTo>
                  <a:lnTo>
                    <a:pt x="60" y="22"/>
                  </a:lnTo>
                  <a:lnTo>
                    <a:pt x="54" y="28"/>
                  </a:lnTo>
                  <a:lnTo>
                    <a:pt x="60" y="28"/>
                  </a:lnTo>
                  <a:lnTo>
                    <a:pt x="54" y="33"/>
                  </a:lnTo>
                  <a:lnTo>
                    <a:pt x="49" y="33"/>
                  </a:lnTo>
                  <a:lnTo>
                    <a:pt x="38" y="38"/>
                  </a:lnTo>
                  <a:lnTo>
                    <a:pt x="32" y="38"/>
                  </a:lnTo>
                  <a:lnTo>
                    <a:pt x="27" y="44"/>
                  </a:lnTo>
                  <a:lnTo>
                    <a:pt x="16" y="44"/>
                  </a:lnTo>
                  <a:lnTo>
                    <a:pt x="22" y="38"/>
                  </a:lnTo>
                  <a:lnTo>
                    <a:pt x="16" y="33"/>
                  </a:lnTo>
                  <a:lnTo>
                    <a:pt x="16" y="28"/>
                  </a:lnTo>
                  <a:lnTo>
                    <a:pt x="11" y="28"/>
                  </a:lnTo>
                  <a:lnTo>
                    <a:pt x="5" y="28"/>
                  </a:lnTo>
                  <a:lnTo>
                    <a:pt x="5" y="22"/>
                  </a:lnTo>
                  <a:lnTo>
                    <a:pt x="0" y="22"/>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5" name="Freeform 512">
              <a:extLst>
                <a:ext uri="{FF2B5EF4-FFF2-40B4-BE49-F238E27FC236}">
                  <a16:creationId xmlns:a16="http://schemas.microsoft.com/office/drawing/2014/main" id="{5746F06B-6CEE-A09A-B0B6-E165F4FF6851}"/>
                </a:ext>
              </a:extLst>
            </p:cNvPr>
            <p:cNvSpPr>
              <a:spLocks/>
            </p:cNvSpPr>
            <p:nvPr/>
          </p:nvSpPr>
          <p:spPr bwMode="auto">
            <a:xfrm>
              <a:off x="3087831" y="2357928"/>
              <a:ext cx="95250" cy="42863"/>
            </a:xfrm>
            <a:custGeom>
              <a:avLst/>
              <a:gdLst>
                <a:gd name="T0" fmla="*/ 0 w 60"/>
                <a:gd name="T1" fmla="*/ 16 h 27"/>
                <a:gd name="T2" fmla="*/ 11 w 60"/>
                <a:gd name="T3" fmla="*/ 11 h 27"/>
                <a:gd name="T4" fmla="*/ 22 w 60"/>
                <a:gd name="T5" fmla="*/ 11 h 27"/>
                <a:gd name="T6" fmla="*/ 16 w 60"/>
                <a:gd name="T7" fmla="*/ 5 h 27"/>
                <a:gd name="T8" fmla="*/ 22 w 60"/>
                <a:gd name="T9" fmla="*/ 5 h 27"/>
                <a:gd name="T10" fmla="*/ 27 w 60"/>
                <a:gd name="T11" fmla="*/ 5 h 27"/>
                <a:gd name="T12" fmla="*/ 38 w 60"/>
                <a:gd name="T13" fmla="*/ 0 h 27"/>
                <a:gd name="T14" fmla="*/ 44 w 60"/>
                <a:gd name="T15" fmla="*/ 0 h 27"/>
                <a:gd name="T16" fmla="*/ 49 w 60"/>
                <a:gd name="T17" fmla="*/ 5 h 27"/>
                <a:gd name="T18" fmla="*/ 54 w 60"/>
                <a:gd name="T19" fmla="*/ 0 h 27"/>
                <a:gd name="T20" fmla="*/ 60 w 60"/>
                <a:gd name="T21" fmla="*/ 5 h 27"/>
                <a:gd name="T22" fmla="*/ 60 w 60"/>
                <a:gd name="T23" fmla="*/ 11 h 27"/>
                <a:gd name="T24" fmla="*/ 54 w 60"/>
                <a:gd name="T25" fmla="*/ 11 h 27"/>
                <a:gd name="T26" fmla="*/ 49 w 60"/>
                <a:gd name="T27" fmla="*/ 16 h 27"/>
                <a:gd name="T28" fmla="*/ 54 w 60"/>
                <a:gd name="T29" fmla="*/ 16 h 27"/>
                <a:gd name="T30" fmla="*/ 54 w 60"/>
                <a:gd name="T31" fmla="*/ 21 h 27"/>
                <a:gd name="T32" fmla="*/ 44 w 60"/>
                <a:gd name="T33" fmla="*/ 21 h 27"/>
                <a:gd name="T34" fmla="*/ 44 w 60"/>
                <a:gd name="T35" fmla="*/ 27 h 27"/>
                <a:gd name="T36" fmla="*/ 38 w 60"/>
                <a:gd name="T37" fmla="*/ 27 h 27"/>
                <a:gd name="T38" fmla="*/ 33 w 60"/>
                <a:gd name="T39" fmla="*/ 27 h 27"/>
                <a:gd name="T40" fmla="*/ 22 w 60"/>
                <a:gd name="T41" fmla="*/ 27 h 27"/>
                <a:gd name="T42" fmla="*/ 16 w 60"/>
                <a:gd name="T43" fmla="*/ 27 h 27"/>
                <a:gd name="T44" fmla="*/ 22 w 60"/>
                <a:gd name="T45" fmla="*/ 21 h 27"/>
                <a:gd name="T46" fmla="*/ 16 w 60"/>
                <a:gd name="T47" fmla="*/ 21 h 27"/>
                <a:gd name="T48" fmla="*/ 16 w 60"/>
                <a:gd name="T49" fmla="*/ 16 h 27"/>
                <a:gd name="T50" fmla="*/ 5 w 60"/>
                <a:gd name="T51" fmla="*/ 16 h 27"/>
                <a:gd name="T52" fmla="*/ 0 w 60"/>
                <a:gd name="T53" fmla="*/ 21 h 27"/>
                <a:gd name="T54" fmla="*/ 0 w 60"/>
                <a:gd name="T55"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0" h="27">
                  <a:moveTo>
                    <a:pt x="0" y="16"/>
                  </a:moveTo>
                  <a:lnTo>
                    <a:pt x="11" y="11"/>
                  </a:lnTo>
                  <a:lnTo>
                    <a:pt x="22" y="11"/>
                  </a:lnTo>
                  <a:lnTo>
                    <a:pt x="16" y="5"/>
                  </a:lnTo>
                  <a:lnTo>
                    <a:pt x="22" y="5"/>
                  </a:lnTo>
                  <a:lnTo>
                    <a:pt x="27" y="5"/>
                  </a:lnTo>
                  <a:lnTo>
                    <a:pt x="38" y="0"/>
                  </a:lnTo>
                  <a:lnTo>
                    <a:pt x="44" y="0"/>
                  </a:lnTo>
                  <a:lnTo>
                    <a:pt x="49" y="5"/>
                  </a:lnTo>
                  <a:lnTo>
                    <a:pt x="54" y="0"/>
                  </a:lnTo>
                  <a:lnTo>
                    <a:pt x="60" y="5"/>
                  </a:lnTo>
                  <a:lnTo>
                    <a:pt x="60" y="11"/>
                  </a:lnTo>
                  <a:lnTo>
                    <a:pt x="54" y="11"/>
                  </a:lnTo>
                  <a:lnTo>
                    <a:pt x="49" y="16"/>
                  </a:lnTo>
                  <a:lnTo>
                    <a:pt x="54" y="16"/>
                  </a:lnTo>
                  <a:lnTo>
                    <a:pt x="54" y="21"/>
                  </a:lnTo>
                  <a:lnTo>
                    <a:pt x="44" y="21"/>
                  </a:lnTo>
                  <a:lnTo>
                    <a:pt x="44" y="27"/>
                  </a:lnTo>
                  <a:lnTo>
                    <a:pt x="38" y="27"/>
                  </a:lnTo>
                  <a:lnTo>
                    <a:pt x="33" y="27"/>
                  </a:lnTo>
                  <a:lnTo>
                    <a:pt x="22" y="27"/>
                  </a:lnTo>
                  <a:lnTo>
                    <a:pt x="16" y="27"/>
                  </a:lnTo>
                  <a:lnTo>
                    <a:pt x="22" y="21"/>
                  </a:lnTo>
                  <a:lnTo>
                    <a:pt x="16" y="21"/>
                  </a:lnTo>
                  <a:lnTo>
                    <a:pt x="16" y="16"/>
                  </a:lnTo>
                  <a:lnTo>
                    <a:pt x="5" y="16"/>
                  </a:lnTo>
                  <a:lnTo>
                    <a:pt x="0" y="21"/>
                  </a:lnTo>
                  <a:lnTo>
                    <a:pt x="0" y="16"/>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6" name="Freeform 513">
              <a:extLst>
                <a:ext uri="{FF2B5EF4-FFF2-40B4-BE49-F238E27FC236}">
                  <a16:creationId xmlns:a16="http://schemas.microsoft.com/office/drawing/2014/main" id="{170653AE-2D09-929C-A497-F2471A025F24}"/>
                </a:ext>
              </a:extLst>
            </p:cNvPr>
            <p:cNvSpPr>
              <a:spLocks/>
            </p:cNvSpPr>
            <p:nvPr/>
          </p:nvSpPr>
          <p:spPr bwMode="auto">
            <a:xfrm>
              <a:off x="3122756" y="2288078"/>
              <a:ext cx="77788" cy="42863"/>
            </a:xfrm>
            <a:custGeom>
              <a:avLst/>
              <a:gdLst>
                <a:gd name="T0" fmla="*/ 0 w 49"/>
                <a:gd name="T1" fmla="*/ 16 h 27"/>
                <a:gd name="T2" fmla="*/ 0 w 49"/>
                <a:gd name="T3" fmla="*/ 11 h 27"/>
                <a:gd name="T4" fmla="*/ 0 w 49"/>
                <a:gd name="T5" fmla="*/ 5 h 27"/>
                <a:gd name="T6" fmla="*/ 5 w 49"/>
                <a:gd name="T7" fmla="*/ 5 h 27"/>
                <a:gd name="T8" fmla="*/ 5 w 49"/>
                <a:gd name="T9" fmla="*/ 0 h 27"/>
                <a:gd name="T10" fmla="*/ 22 w 49"/>
                <a:gd name="T11" fmla="*/ 0 h 27"/>
                <a:gd name="T12" fmla="*/ 27 w 49"/>
                <a:gd name="T13" fmla="*/ 5 h 27"/>
                <a:gd name="T14" fmla="*/ 27 w 49"/>
                <a:gd name="T15" fmla="*/ 11 h 27"/>
                <a:gd name="T16" fmla="*/ 38 w 49"/>
                <a:gd name="T17" fmla="*/ 5 h 27"/>
                <a:gd name="T18" fmla="*/ 38 w 49"/>
                <a:gd name="T19" fmla="*/ 11 h 27"/>
                <a:gd name="T20" fmla="*/ 43 w 49"/>
                <a:gd name="T21" fmla="*/ 11 h 27"/>
                <a:gd name="T22" fmla="*/ 49 w 49"/>
                <a:gd name="T23" fmla="*/ 16 h 27"/>
                <a:gd name="T24" fmla="*/ 43 w 49"/>
                <a:gd name="T25" fmla="*/ 16 h 27"/>
                <a:gd name="T26" fmla="*/ 49 w 49"/>
                <a:gd name="T27" fmla="*/ 22 h 27"/>
                <a:gd name="T28" fmla="*/ 49 w 49"/>
                <a:gd name="T29" fmla="*/ 27 h 27"/>
                <a:gd name="T30" fmla="*/ 38 w 49"/>
                <a:gd name="T31" fmla="*/ 27 h 27"/>
                <a:gd name="T32" fmla="*/ 32 w 49"/>
                <a:gd name="T33" fmla="*/ 27 h 27"/>
                <a:gd name="T34" fmla="*/ 32 w 49"/>
                <a:gd name="T35" fmla="*/ 22 h 27"/>
                <a:gd name="T36" fmla="*/ 16 w 49"/>
                <a:gd name="T37" fmla="*/ 22 h 27"/>
                <a:gd name="T38" fmla="*/ 16 w 49"/>
                <a:gd name="T39" fmla="*/ 16 h 27"/>
                <a:gd name="T40" fmla="*/ 5 w 49"/>
                <a:gd name="T41" fmla="*/ 22 h 27"/>
                <a:gd name="T42" fmla="*/ 0 w 49"/>
                <a:gd name="T43"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27">
                  <a:moveTo>
                    <a:pt x="0" y="16"/>
                  </a:moveTo>
                  <a:lnTo>
                    <a:pt x="0" y="11"/>
                  </a:lnTo>
                  <a:lnTo>
                    <a:pt x="0" y="5"/>
                  </a:lnTo>
                  <a:lnTo>
                    <a:pt x="5" y="5"/>
                  </a:lnTo>
                  <a:lnTo>
                    <a:pt x="5" y="0"/>
                  </a:lnTo>
                  <a:lnTo>
                    <a:pt x="22" y="0"/>
                  </a:lnTo>
                  <a:lnTo>
                    <a:pt x="27" y="5"/>
                  </a:lnTo>
                  <a:lnTo>
                    <a:pt x="27" y="11"/>
                  </a:lnTo>
                  <a:lnTo>
                    <a:pt x="38" y="5"/>
                  </a:lnTo>
                  <a:lnTo>
                    <a:pt x="38" y="11"/>
                  </a:lnTo>
                  <a:lnTo>
                    <a:pt x="43" y="11"/>
                  </a:lnTo>
                  <a:lnTo>
                    <a:pt x="49" y="16"/>
                  </a:lnTo>
                  <a:lnTo>
                    <a:pt x="43" y="16"/>
                  </a:lnTo>
                  <a:lnTo>
                    <a:pt x="49" y="22"/>
                  </a:lnTo>
                  <a:lnTo>
                    <a:pt x="49" y="27"/>
                  </a:lnTo>
                  <a:lnTo>
                    <a:pt x="38" y="27"/>
                  </a:lnTo>
                  <a:lnTo>
                    <a:pt x="32" y="27"/>
                  </a:lnTo>
                  <a:lnTo>
                    <a:pt x="32" y="22"/>
                  </a:lnTo>
                  <a:lnTo>
                    <a:pt x="16" y="22"/>
                  </a:lnTo>
                  <a:lnTo>
                    <a:pt x="16" y="16"/>
                  </a:lnTo>
                  <a:lnTo>
                    <a:pt x="5" y="22"/>
                  </a:lnTo>
                  <a:lnTo>
                    <a:pt x="0" y="16"/>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 name="Freeform 514">
              <a:extLst>
                <a:ext uri="{FF2B5EF4-FFF2-40B4-BE49-F238E27FC236}">
                  <a16:creationId xmlns:a16="http://schemas.microsoft.com/office/drawing/2014/main" id="{1AAE747C-4E93-43E7-F120-B34F496DC5FE}"/>
                </a:ext>
              </a:extLst>
            </p:cNvPr>
            <p:cNvSpPr>
              <a:spLocks/>
            </p:cNvSpPr>
            <p:nvPr/>
          </p:nvSpPr>
          <p:spPr bwMode="auto">
            <a:xfrm>
              <a:off x="3173556" y="2383328"/>
              <a:ext cx="52388" cy="25400"/>
            </a:xfrm>
            <a:custGeom>
              <a:avLst/>
              <a:gdLst>
                <a:gd name="T0" fmla="*/ 0 w 33"/>
                <a:gd name="T1" fmla="*/ 11 h 16"/>
                <a:gd name="T2" fmla="*/ 6 w 33"/>
                <a:gd name="T3" fmla="*/ 5 h 16"/>
                <a:gd name="T4" fmla="*/ 11 w 33"/>
                <a:gd name="T5" fmla="*/ 5 h 16"/>
                <a:gd name="T6" fmla="*/ 22 w 33"/>
                <a:gd name="T7" fmla="*/ 0 h 16"/>
                <a:gd name="T8" fmla="*/ 28 w 33"/>
                <a:gd name="T9" fmla="*/ 0 h 16"/>
                <a:gd name="T10" fmla="*/ 33 w 33"/>
                <a:gd name="T11" fmla="*/ 5 h 16"/>
                <a:gd name="T12" fmla="*/ 33 w 33"/>
                <a:gd name="T13" fmla="*/ 11 h 16"/>
                <a:gd name="T14" fmla="*/ 28 w 33"/>
                <a:gd name="T15" fmla="*/ 16 h 16"/>
                <a:gd name="T16" fmla="*/ 17 w 33"/>
                <a:gd name="T17" fmla="*/ 16 h 16"/>
                <a:gd name="T18" fmla="*/ 6 w 33"/>
                <a:gd name="T19" fmla="*/ 16 h 16"/>
                <a:gd name="T20" fmla="*/ 6 w 33"/>
                <a:gd name="T21" fmla="*/ 11 h 16"/>
                <a:gd name="T22" fmla="*/ 0 w 33"/>
                <a:gd name="T23"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16">
                  <a:moveTo>
                    <a:pt x="0" y="11"/>
                  </a:moveTo>
                  <a:lnTo>
                    <a:pt x="6" y="5"/>
                  </a:lnTo>
                  <a:lnTo>
                    <a:pt x="11" y="5"/>
                  </a:lnTo>
                  <a:lnTo>
                    <a:pt x="22" y="0"/>
                  </a:lnTo>
                  <a:lnTo>
                    <a:pt x="28" y="0"/>
                  </a:lnTo>
                  <a:lnTo>
                    <a:pt x="33" y="5"/>
                  </a:lnTo>
                  <a:lnTo>
                    <a:pt x="33" y="11"/>
                  </a:lnTo>
                  <a:lnTo>
                    <a:pt x="28" y="16"/>
                  </a:lnTo>
                  <a:lnTo>
                    <a:pt x="17" y="16"/>
                  </a:lnTo>
                  <a:lnTo>
                    <a:pt x="6" y="16"/>
                  </a:lnTo>
                  <a:lnTo>
                    <a:pt x="6" y="11"/>
                  </a:lnTo>
                  <a:lnTo>
                    <a:pt x="0" y="11"/>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 name="Freeform 516">
              <a:extLst>
                <a:ext uri="{FF2B5EF4-FFF2-40B4-BE49-F238E27FC236}">
                  <a16:creationId xmlns:a16="http://schemas.microsoft.com/office/drawing/2014/main" id="{4B20D94B-6BED-2951-3EDD-A0FA69117AD4}"/>
                </a:ext>
              </a:extLst>
            </p:cNvPr>
            <p:cNvSpPr>
              <a:spLocks/>
            </p:cNvSpPr>
            <p:nvPr/>
          </p:nvSpPr>
          <p:spPr bwMode="auto">
            <a:xfrm>
              <a:off x="3130694" y="2418253"/>
              <a:ext cx="122238" cy="60325"/>
            </a:xfrm>
            <a:custGeom>
              <a:avLst/>
              <a:gdLst>
                <a:gd name="T0" fmla="*/ 6 w 77"/>
                <a:gd name="T1" fmla="*/ 38 h 38"/>
                <a:gd name="T2" fmla="*/ 0 w 77"/>
                <a:gd name="T3" fmla="*/ 38 h 38"/>
                <a:gd name="T4" fmla="*/ 6 w 77"/>
                <a:gd name="T5" fmla="*/ 33 h 38"/>
                <a:gd name="T6" fmla="*/ 6 w 77"/>
                <a:gd name="T7" fmla="*/ 27 h 38"/>
                <a:gd name="T8" fmla="*/ 11 w 77"/>
                <a:gd name="T9" fmla="*/ 27 h 38"/>
                <a:gd name="T10" fmla="*/ 11 w 77"/>
                <a:gd name="T11" fmla="*/ 22 h 38"/>
                <a:gd name="T12" fmla="*/ 6 w 77"/>
                <a:gd name="T13" fmla="*/ 22 h 38"/>
                <a:gd name="T14" fmla="*/ 11 w 77"/>
                <a:gd name="T15" fmla="*/ 16 h 38"/>
                <a:gd name="T16" fmla="*/ 17 w 77"/>
                <a:gd name="T17" fmla="*/ 16 h 38"/>
                <a:gd name="T18" fmla="*/ 17 w 77"/>
                <a:gd name="T19" fmla="*/ 11 h 38"/>
                <a:gd name="T20" fmla="*/ 22 w 77"/>
                <a:gd name="T21" fmla="*/ 11 h 38"/>
                <a:gd name="T22" fmla="*/ 17 w 77"/>
                <a:gd name="T23" fmla="*/ 11 h 38"/>
                <a:gd name="T24" fmla="*/ 27 w 77"/>
                <a:gd name="T25" fmla="*/ 5 h 38"/>
                <a:gd name="T26" fmla="*/ 33 w 77"/>
                <a:gd name="T27" fmla="*/ 5 h 38"/>
                <a:gd name="T28" fmla="*/ 49 w 77"/>
                <a:gd name="T29" fmla="*/ 0 h 38"/>
                <a:gd name="T30" fmla="*/ 55 w 77"/>
                <a:gd name="T31" fmla="*/ 5 h 38"/>
                <a:gd name="T32" fmla="*/ 60 w 77"/>
                <a:gd name="T33" fmla="*/ 5 h 38"/>
                <a:gd name="T34" fmla="*/ 71 w 77"/>
                <a:gd name="T35" fmla="*/ 5 h 38"/>
                <a:gd name="T36" fmla="*/ 77 w 77"/>
                <a:gd name="T37" fmla="*/ 5 h 38"/>
                <a:gd name="T38" fmla="*/ 71 w 77"/>
                <a:gd name="T39" fmla="*/ 11 h 38"/>
                <a:gd name="T40" fmla="*/ 66 w 77"/>
                <a:gd name="T41" fmla="*/ 11 h 38"/>
                <a:gd name="T42" fmla="*/ 66 w 77"/>
                <a:gd name="T43" fmla="*/ 16 h 38"/>
                <a:gd name="T44" fmla="*/ 60 w 77"/>
                <a:gd name="T45" fmla="*/ 16 h 38"/>
                <a:gd name="T46" fmla="*/ 49 w 77"/>
                <a:gd name="T47" fmla="*/ 22 h 38"/>
                <a:gd name="T48" fmla="*/ 44 w 77"/>
                <a:gd name="T49" fmla="*/ 27 h 38"/>
                <a:gd name="T50" fmla="*/ 33 w 77"/>
                <a:gd name="T51" fmla="*/ 22 h 38"/>
                <a:gd name="T52" fmla="*/ 22 w 77"/>
                <a:gd name="T53" fmla="*/ 22 h 38"/>
                <a:gd name="T54" fmla="*/ 27 w 77"/>
                <a:gd name="T55" fmla="*/ 27 h 38"/>
                <a:gd name="T56" fmla="*/ 17 w 77"/>
                <a:gd name="T57" fmla="*/ 33 h 38"/>
                <a:gd name="T58" fmla="*/ 17 w 77"/>
                <a:gd name="T59" fmla="*/ 38 h 38"/>
                <a:gd name="T60" fmla="*/ 6 w 77"/>
                <a:gd name="T6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 h="38">
                  <a:moveTo>
                    <a:pt x="6" y="38"/>
                  </a:moveTo>
                  <a:lnTo>
                    <a:pt x="0" y="38"/>
                  </a:lnTo>
                  <a:lnTo>
                    <a:pt x="6" y="33"/>
                  </a:lnTo>
                  <a:lnTo>
                    <a:pt x="6" y="27"/>
                  </a:lnTo>
                  <a:lnTo>
                    <a:pt x="11" y="27"/>
                  </a:lnTo>
                  <a:lnTo>
                    <a:pt x="11" y="22"/>
                  </a:lnTo>
                  <a:lnTo>
                    <a:pt x="6" y="22"/>
                  </a:lnTo>
                  <a:lnTo>
                    <a:pt x="11" y="16"/>
                  </a:lnTo>
                  <a:lnTo>
                    <a:pt x="17" y="16"/>
                  </a:lnTo>
                  <a:lnTo>
                    <a:pt x="17" y="11"/>
                  </a:lnTo>
                  <a:lnTo>
                    <a:pt x="22" y="11"/>
                  </a:lnTo>
                  <a:lnTo>
                    <a:pt x="17" y="11"/>
                  </a:lnTo>
                  <a:lnTo>
                    <a:pt x="27" y="5"/>
                  </a:lnTo>
                  <a:lnTo>
                    <a:pt x="33" y="5"/>
                  </a:lnTo>
                  <a:lnTo>
                    <a:pt x="49" y="0"/>
                  </a:lnTo>
                  <a:lnTo>
                    <a:pt x="55" y="5"/>
                  </a:lnTo>
                  <a:lnTo>
                    <a:pt x="60" y="5"/>
                  </a:lnTo>
                  <a:lnTo>
                    <a:pt x="71" y="5"/>
                  </a:lnTo>
                  <a:lnTo>
                    <a:pt x="77" y="5"/>
                  </a:lnTo>
                  <a:lnTo>
                    <a:pt x="71" y="11"/>
                  </a:lnTo>
                  <a:lnTo>
                    <a:pt x="66" y="11"/>
                  </a:lnTo>
                  <a:lnTo>
                    <a:pt x="66" y="16"/>
                  </a:lnTo>
                  <a:lnTo>
                    <a:pt x="60" y="16"/>
                  </a:lnTo>
                  <a:lnTo>
                    <a:pt x="49" y="22"/>
                  </a:lnTo>
                  <a:lnTo>
                    <a:pt x="44" y="27"/>
                  </a:lnTo>
                  <a:lnTo>
                    <a:pt x="33" y="22"/>
                  </a:lnTo>
                  <a:lnTo>
                    <a:pt x="22" y="22"/>
                  </a:lnTo>
                  <a:lnTo>
                    <a:pt x="27" y="27"/>
                  </a:lnTo>
                  <a:lnTo>
                    <a:pt x="17" y="33"/>
                  </a:lnTo>
                  <a:lnTo>
                    <a:pt x="17" y="38"/>
                  </a:lnTo>
                  <a:lnTo>
                    <a:pt x="6" y="38"/>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9" name="Freeform 517">
              <a:extLst>
                <a:ext uri="{FF2B5EF4-FFF2-40B4-BE49-F238E27FC236}">
                  <a16:creationId xmlns:a16="http://schemas.microsoft.com/office/drawing/2014/main" id="{C0830A47-D12A-5DA6-F3C1-46C241BF3B67}"/>
                </a:ext>
              </a:extLst>
            </p:cNvPr>
            <p:cNvSpPr>
              <a:spLocks/>
            </p:cNvSpPr>
            <p:nvPr/>
          </p:nvSpPr>
          <p:spPr bwMode="auto">
            <a:xfrm>
              <a:off x="3225944" y="2270616"/>
              <a:ext cx="17463" cy="9525"/>
            </a:xfrm>
            <a:custGeom>
              <a:avLst/>
              <a:gdLst>
                <a:gd name="T0" fmla="*/ 0 w 11"/>
                <a:gd name="T1" fmla="*/ 6 h 6"/>
                <a:gd name="T2" fmla="*/ 11 w 11"/>
                <a:gd name="T3" fmla="*/ 0 h 6"/>
                <a:gd name="T4" fmla="*/ 11 w 11"/>
                <a:gd name="T5" fmla="*/ 6 h 6"/>
                <a:gd name="T6" fmla="*/ 6 w 11"/>
                <a:gd name="T7" fmla="*/ 6 h 6"/>
                <a:gd name="T8" fmla="*/ 0 w 11"/>
                <a:gd name="T9" fmla="*/ 6 h 6"/>
              </a:gdLst>
              <a:ahLst/>
              <a:cxnLst>
                <a:cxn ang="0">
                  <a:pos x="T0" y="T1"/>
                </a:cxn>
                <a:cxn ang="0">
                  <a:pos x="T2" y="T3"/>
                </a:cxn>
                <a:cxn ang="0">
                  <a:pos x="T4" y="T5"/>
                </a:cxn>
                <a:cxn ang="0">
                  <a:pos x="T6" y="T7"/>
                </a:cxn>
                <a:cxn ang="0">
                  <a:pos x="T8" y="T9"/>
                </a:cxn>
              </a:cxnLst>
              <a:rect l="0" t="0" r="r" b="b"/>
              <a:pathLst>
                <a:path w="11" h="6">
                  <a:moveTo>
                    <a:pt x="0" y="6"/>
                  </a:moveTo>
                  <a:lnTo>
                    <a:pt x="11" y="0"/>
                  </a:lnTo>
                  <a:lnTo>
                    <a:pt x="11" y="6"/>
                  </a:lnTo>
                  <a:lnTo>
                    <a:pt x="6" y="6"/>
                  </a:lnTo>
                  <a:lnTo>
                    <a:pt x="0" y="6"/>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0" name="Freeform 518">
              <a:extLst>
                <a:ext uri="{FF2B5EF4-FFF2-40B4-BE49-F238E27FC236}">
                  <a16:creationId xmlns:a16="http://schemas.microsoft.com/office/drawing/2014/main" id="{E46F1DE4-7231-36B0-5A5A-36CA7CBFCFBF}"/>
                </a:ext>
              </a:extLst>
            </p:cNvPr>
            <p:cNvSpPr>
              <a:spLocks/>
            </p:cNvSpPr>
            <p:nvPr/>
          </p:nvSpPr>
          <p:spPr bwMode="auto">
            <a:xfrm>
              <a:off x="3218006" y="2305541"/>
              <a:ext cx="50800" cy="25400"/>
            </a:xfrm>
            <a:custGeom>
              <a:avLst/>
              <a:gdLst>
                <a:gd name="T0" fmla="*/ 0 w 32"/>
                <a:gd name="T1" fmla="*/ 5 h 16"/>
                <a:gd name="T2" fmla="*/ 5 w 32"/>
                <a:gd name="T3" fmla="*/ 0 h 16"/>
                <a:gd name="T4" fmla="*/ 22 w 32"/>
                <a:gd name="T5" fmla="*/ 0 h 16"/>
                <a:gd name="T6" fmla="*/ 22 w 32"/>
                <a:gd name="T7" fmla="*/ 5 h 16"/>
                <a:gd name="T8" fmla="*/ 32 w 32"/>
                <a:gd name="T9" fmla="*/ 5 h 16"/>
                <a:gd name="T10" fmla="*/ 27 w 32"/>
                <a:gd name="T11" fmla="*/ 11 h 16"/>
                <a:gd name="T12" fmla="*/ 11 w 32"/>
                <a:gd name="T13" fmla="*/ 16 h 16"/>
                <a:gd name="T14" fmla="*/ 5 w 32"/>
                <a:gd name="T15" fmla="*/ 16 h 16"/>
                <a:gd name="T16" fmla="*/ 11 w 32"/>
                <a:gd name="T17" fmla="*/ 11 h 16"/>
                <a:gd name="T18" fmla="*/ 0 w 32"/>
                <a:gd name="T19" fmla="*/ 11 h 16"/>
                <a:gd name="T20" fmla="*/ 0 w 32"/>
                <a:gd name="T21"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6">
                  <a:moveTo>
                    <a:pt x="0" y="5"/>
                  </a:moveTo>
                  <a:lnTo>
                    <a:pt x="5" y="0"/>
                  </a:lnTo>
                  <a:lnTo>
                    <a:pt x="22" y="0"/>
                  </a:lnTo>
                  <a:lnTo>
                    <a:pt x="22" y="5"/>
                  </a:lnTo>
                  <a:lnTo>
                    <a:pt x="32" y="5"/>
                  </a:lnTo>
                  <a:lnTo>
                    <a:pt x="27" y="11"/>
                  </a:lnTo>
                  <a:lnTo>
                    <a:pt x="11" y="16"/>
                  </a:lnTo>
                  <a:lnTo>
                    <a:pt x="5" y="16"/>
                  </a:lnTo>
                  <a:lnTo>
                    <a:pt x="11" y="11"/>
                  </a:lnTo>
                  <a:lnTo>
                    <a:pt x="0" y="11"/>
                  </a:lnTo>
                  <a:lnTo>
                    <a:pt x="0" y="5"/>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1" name="Freeform 519">
              <a:extLst>
                <a:ext uri="{FF2B5EF4-FFF2-40B4-BE49-F238E27FC236}">
                  <a16:creationId xmlns:a16="http://schemas.microsoft.com/office/drawing/2014/main" id="{1E76E21C-3E7A-1C89-CF25-4A72A1301D8D}"/>
                </a:ext>
              </a:extLst>
            </p:cNvPr>
            <p:cNvSpPr>
              <a:spLocks/>
            </p:cNvSpPr>
            <p:nvPr/>
          </p:nvSpPr>
          <p:spPr bwMode="auto">
            <a:xfrm>
              <a:off x="3191019" y="2565891"/>
              <a:ext cx="26988" cy="15875"/>
            </a:xfrm>
            <a:custGeom>
              <a:avLst/>
              <a:gdLst>
                <a:gd name="T0" fmla="*/ 6 w 17"/>
                <a:gd name="T1" fmla="*/ 0 h 10"/>
                <a:gd name="T2" fmla="*/ 17 w 17"/>
                <a:gd name="T3" fmla="*/ 0 h 10"/>
                <a:gd name="T4" fmla="*/ 11 w 17"/>
                <a:gd name="T5" fmla="*/ 10 h 10"/>
                <a:gd name="T6" fmla="*/ 0 w 17"/>
                <a:gd name="T7" fmla="*/ 10 h 10"/>
                <a:gd name="T8" fmla="*/ 6 w 17"/>
                <a:gd name="T9" fmla="*/ 0 h 10"/>
              </a:gdLst>
              <a:ahLst/>
              <a:cxnLst>
                <a:cxn ang="0">
                  <a:pos x="T0" y="T1"/>
                </a:cxn>
                <a:cxn ang="0">
                  <a:pos x="T2" y="T3"/>
                </a:cxn>
                <a:cxn ang="0">
                  <a:pos x="T4" y="T5"/>
                </a:cxn>
                <a:cxn ang="0">
                  <a:pos x="T6" y="T7"/>
                </a:cxn>
                <a:cxn ang="0">
                  <a:pos x="T8" y="T9"/>
                </a:cxn>
              </a:cxnLst>
              <a:rect l="0" t="0" r="r" b="b"/>
              <a:pathLst>
                <a:path w="17" h="10">
                  <a:moveTo>
                    <a:pt x="6" y="0"/>
                  </a:moveTo>
                  <a:lnTo>
                    <a:pt x="17" y="0"/>
                  </a:lnTo>
                  <a:lnTo>
                    <a:pt x="11" y="10"/>
                  </a:lnTo>
                  <a:lnTo>
                    <a:pt x="0" y="10"/>
                  </a:lnTo>
                  <a:lnTo>
                    <a:pt x="6" y="0"/>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2" name="Freeform 520">
              <a:extLst>
                <a:ext uri="{FF2B5EF4-FFF2-40B4-BE49-F238E27FC236}">
                  <a16:creationId xmlns:a16="http://schemas.microsoft.com/office/drawing/2014/main" id="{C57745FD-A9D4-340A-03B2-57F3F7562FA8}"/>
                </a:ext>
              </a:extLst>
            </p:cNvPr>
            <p:cNvSpPr>
              <a:spLocks/>
            </p:cNvSpPr>
            <p:nvPr/>
          </p:nvSpPr>
          <p:spPr bwMode="auto">
            <a:xfrm>
              <a:off x="3122756" y="2626216"/>
              <a:ext cx="130175" cy="77788"/>
            </a:xfrm>
            <a:custGeom>
              <a:avLst/>
              <a:gdLst>
                <a:gd name="T0" fmla="*/ 0 w 82"/>
                <a:gd name="T1" fmla="*/ 38 h 49"/>
                <a:gd name="T2" fmla="*/ 5 w 82"/>
                <a:gd name="T3" fmla="*/ 32 h 49"/>
                <a:gd name="T4" fmla="*/ 16 w 82"/>
                <a:gd name="T5" fmla="*/ 32 h 49"/>
                <a:gd name="T6" fmla="*/ 16 w 82"/>
                <a:gd name="T7" fmla="*/ 27 h 49"/>
                <a:gd name="T8" fmla="*/ 16 w 82"/>
                <a:gd name="T9" fmla="*/ 22 h 49"/>
                <a:gd name="T10" fmla="*/ 22 w 82"/>
                <a:gd name="T11" fmla="*/ 16 h 49"/>
                <a:gd name="T12" fmla="*/ 27 w 82"/>
                <a:gd name="T13" fmla="*/ 11 h 49"/>
                <a:gd name="T14" fmla="*/ 32 w 82"/>
                <a:gd name="T15" fmla="*/ 5 h 49"/>
                <a:gd name="T16" fmla="*/ 43 w 82"/>
                <a:gd name="T17" fmla="*/ 0 h 49"/>
                <a:gd name="T18" fmla="*/ 43 w 82"/>
                <a:gd name="T19" fmla="*/ 5 h 49"/>
                <a:gd name="T20" fmla="*/ 38 w 82"/>
                <a:gd name="T21" fmla="*/ 11 h 49"/>
                <a:gd name="T22" fmla="*/ 49 w 82"/>
                <a:gd name="T23" fmla="*/ 11 h 49"/>
                <a:gd name="T24" fmla="*/ 54 w 82"/>
                <a:gd name="T25" fmla="*/ 16 h 49"/>
                <a:gd name="T26" fmla="*/ 60 w 82"/>
                <a:gd name="T27" fmla="*/ 22 h 49"/>
                <a:gd name="T28" fmla="*/ 65 w 82"/>
                <a:gd name="T29" fmla="*/ 22 h 49"/>
                <a:gd name="T30" fmla="*/ 71 w 82"/>
                <a:gd name="T31" fmla="*/ 27 h 49"/>
                <a:gd name="T32" fmla="*/ 65 w 82"/>
                <a:gd name="T33" fmla="*/ 27 h 49"/>
                <a:gd name="T34" fmla="*/ 65 w 82"/>
                <a:gd name="T35" fmla="*/ 32 h 49"/>
                <a:gd name="T36" fmla="*/ 76 w 82"/>
                <a:gd name="T37" fmla="*/ 32 h 49"/>
                <a:gd name="T38" fmla="*/ 82 w 82"/>
                <a:gd name="T39" fmla="*/ 38 h 49"/>
                <a:gd name="T40" fmla="*/ 76 w 82"/>
                <a:gd name="T41" fmla="*/ 38 h 49"/>
                <a:gd name="T42" fmla="*/ 71 w 82"/>
                <a:gd name="T43" fmla="*/ 38 h 49"/>
                <a:gd name="T44" fmla="*/ 65 w 82"/>
                <a:gd name="T45" fmla="*/ 43 h 49"/>
                <a:gd name="T46" fmla="*/ 60 w 82"/>
                <a:gd name="T47" fmla="*/ 38 h 49"/>
                <a:gd name="T48" fmla="*/ 54 w 82"/>
                <a:gd name="T49" fmla="*/ 38 h 49"/>
                <a:gd name="T50" fmla="*/ 49 w 82"/>
                <a:gd name="T51" fmla="*/ 38 h 49"/>
                <a:gd name="T52" fmla="*/ 54 w 82"/>
                <a:gd name="T53" fmla="*/ 32 h 49"/>
                <a:gd name="T54" fmla="*/ 49 w 82"/>
                <a:gd name="T55" fmla="*/ 32 h 49"/>
                <a:gd name="T56" fmla="*/ 43 w 82"/>
                <a:gd name="T57" fmla="*/ 32 h 49"/>
                <a:gd name="T58" fmla="*/ 38 w 82"/>
                <a:gd name="T59" fmla="*/ 38 h 49"/>
                <a:gd name="T60" fmla="*/ 32 w 82"/>
                <a:gd name="T61" fmla="*/ 38 h 49"/>
                <a:gd name="T62" fmla="*/ 22 w 82"/>
                <a:gd name="T63" fmla="*/ 43 h 49"/>
                <a:gd name="T64" fmla="*/ 16 w 82"/>
                <a:gd name="T65" fmla="*/ 49 h 49"/>
                <a:gd name="T66" fmla="*/ 11 w 82"/>
                <a:gd name="T67" fmla="*/ 43 h 49"/>
                <a:gd name="T68" fmla="*/ 16 w 82"/>
                <a:gd name="T69" fmla="*/ 38 h 49"/>
                <a:gd name="T70" fmla="*/ 11 w 82"/>
                <a:gd name="T71" fmla="*/ 38 h 49"/>
                <a:gd name="T72" fmla="*/ 5 w 82"/>
                <a:gd name="T73" fmla="*/ 38 h 49"/>
                <a:gd name="T74" fmla="*/ 0 w 82"/>
                <a:gd name="T75" fmla="*/ 3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 h="49">
                  <a:moveTo>
                    <a:pt x="0" y="38"/>
                  </a:moveTo>
                  <a:lnTo>
                    <a:pt x="5" y="32"/>
                  </a:lnTo>
                  <a:lnTo>
                    <a:pt x="16" y="32"/>
                  </a:lnTo>
                  <a:lnTo>
                    <a:pt x="16" y="27"/>
                  </a:lnTo>
                  <a:lnTo>
                    <a:pt x="16" y="22"/>
                  </a:lnTo>
                  <a:lnTo>
                    <a:pt x="22" y="16"/>
                  </a:lnTo>
                  <a:lnTo>
                    <a:pt x="27" y="11"/>
                  </a:lnTo>
                  <a:lnTo>
                    <a:pt x="32" y="5"/>
                  </a:lnTo>
                  <a:lnTo>
                    <a:pt x="43" y="0"/>
                  </a:lnTo>
                  <a:lnTo>
                    <a:pt x="43" y="5"/>
                  </a:lnTo>
                  <a:lnTo>
                    <a:pt x="38" y="11"/>
                  </a:lnTo>
                  <a:lnTo>
                    <a:pt x="49" y="11"/>
                  </a:lnTo>
                  <a:lnTo>
                    <a:pt x="54" y="16"/>
                  </a:lnTo>
                  <a:lnTo>
                    <a:pt x="60" y="22"/>
                  </a:lnTo>
                  <a:lnTo>
                    <a:pt x="65" y="22"/>
                  </a:lnTo>
                  <a:lnTo>
                    <a:pt x="71" y="27"/>
                  </a:lnTo>
                  <a:lnTo>
                    <a:pt x="65" y="27"/>
                  </a:lnTo>
                  <a:lnTo>
                    <a:pt x="65" y="32"/>
                  </a:lnTo>
                  <a:lnTo>
                    <a:pt x="76" y="32"/>
                  </a:lnTo>
                  <a:lnTo>
                    <a:pt x="82" y="38"/>
                  </a:lnTo>
                  <a:lnTo>
                    <a:pt x="76" y="38"/>
                  </a:lnTo>
                  <a:lnTo>
                    <a:pt x="71" y="38"/>
                  </a:lnTo>
                  <a:lnTo>
                    <a:pt x="65" y="43"/>
                  </a:lnTo>
                  <a:lnTo>
                    <a:pt x="60" y="38"/>
                  </a:lnTo>
                  <a:lnTo>
                    <a:pt x="54" y="38"/>
                  </a:lnTo>
                  <a:lnTo>
                    <a:pt x="49" y="38"/>
                  </a:lnTo>
                  <a:lnTo>
                    <a:pt x="54" y="32"/>
                  </a:lnTo>
                  <a:lnTo>
                    <a:pt x="49" y="32"/>
                  </a:lnTo>
                  <a:lnTo>
                    <a:pt x="43" y="32"/>
                  </a:lnTo>
                  <a:lnTo>
                    <a:pt x="38" y="38"/>
                  </a:lnTo>
                  <a:lnTo>
                    <a:pt x="32" y="38"/>
                  </a:lnTo>
                  <a:lnTo>
                    <a:pt x="22" y="43"/>
                  </a:lnTo>
                  <a:lnTo>
                    <a:pt x="16" y="49"/>
                  </a:lnTo>
                  <a:lnTo>
                    <a:pt x="11" y="43"/>
                  </a:lnTo>
                  <a:lnTo>
                    <a:pt x="16" y="38"/>
                  </a:lnTo>
                  <a:lnTo>
                    <a:pt x="11" y="38"/>
                  </a:lnTo>
                  <a:lnTo>
                    <a:pt x="5" y="38"/>
                  </a:lnTo>
                  <a:lnTo>
                    <a:pt x="0" y="38"/>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3" name="Freeform 521">
              <a:extLst>
                <a:ext uri="{FF2B5EF4-FFF2-40B4-BE49-F238E27FC236}">
                  <a16:creationId xmlns:a16="http://schemas.microsoft.com/office/drawing/2014/main" id="{D275E65D-B999-7A53-B08A-34596B245AD1}"/>
                </a:ext>
              </a:extLst>
            </p:cNvPr>
            <p:cNvSpPr>
              <a:spLocks/>
            </p:cNvSpPr>
            <p:nvPr/>
          </p:nvSpPr>
          <p:spPr bwMode="auto">
            <a:xfrm>
              <a:off x="3191019" y="2626216"/>
              <a:ext cx="17463" cy="7938"/>
            </a:xfrm>
            <a:custGeom>
              <a:avLst/>
              <a:gdLst>
                <a:gd name="T0" fmla="*/ 6 w 11"/>
                <a:gd name="T1" fmla="*/ 0 h 5"/>
                <a:gd name="T2" fmla="*/ 11 w 11"/>
                <a:gd name="T3" fmla="*/ 0 h 5"/>
                <a:gd name="T4" fmla="*/ 6 w 11"/>
                <a:gd name="T5" fmla="*/ 5 h 5"/>
                <a:gd name="T6" fmla="*/ 0 w 11"/>
                <a:gd name="T7" fmla="*/ 5 h 5"/>
                <a:gd name="T8" fmla="*/ 6 w 11"/>
                <a:gd name="T9" fmla="*/ 0 h 5"/>
              </a:gdLst>
              <a:ahLst/>
              <a:cxnLst>
                <a:cxn ang="0">
                  <a:pos x="T0" y="T1"/>
                </a:cxn>
                <a:cxn ang="0">
                  <a:pos x="T2" y="T3"/>
                </a:cxn>
                <a:cxn ang="0">
                  <a:pos x="T4" y="T5"/>
                </a:cxn>
                <a:cxn ang="0">
                  <a:pos x="T6" y="T7"/>
                </a:cxn>
                <a:cxn ang="0">
                  <a:pos x="T8" y="T9"/>
                </a:cxn>
              </a:cxnLst>
              <a:rect l="0" t="0" r="r" b="b"/>
              <a:pathLst>
                <a:path w="11" h="5">
                  <a:moveTo>
                    <a:pt x="6" y="0"/>
                  </a:moveTo>
                  <a:lnTo>
                    <a:pt x="11" y="0"/>
                  </a:lnTo>
                  <a:lnTo>
                    <a:pt x="6" y="5"/>
                  </a:lnTo>
                  <a:lnTo>
                    <a:pt x="0" y="5"/>
                  </a:lnTo>
                  <a:lnTo>
                    <a:pt x="6" y="0"/>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4" name="Freeform 522">
              <a:extLst>
                <a:ext uri="{FF2B5EF4-FFF2-40B4-BE49-F238E27FC236}">
                  <a16:creationId xmlns:a16="http://schemas.microsoft.com/office/drawing/2014/main" id="{914C4CB9-8B14-66FF-390B-169B624010FD}"/>
                </a:ext>
              </a:extLst>
            </p:cNvPr>
            <p:cNvSpPr>
              <a:spLocks/>
            </p:cNvSpPr>
            <p:nvPr/>
          </p:nvSpPr>
          <p:spPr bwMode="auto">
            <a:xfrm>
              <a:off x="3235469" y="2330941"/>
              <a:ext cx="42863" cy="9525"/>
            </a:xfrm>
            <a:custGeom>
              <a:avLst/>
              <a:gdLst>
                <a:gd name="T0" fmla="*/ 0 w 27"/>
                <a:gd name="T1" fmla="*/ 0 h 6"/>
                <a:gd name="T2" fmla="*/ 11 w 27"/>
                <a:gd name="T3" fmla="*/ 0 h 6"/>
                <a:gd name="T4" fmla="*/ 21 w 27"/>
                <a:gd name="T5" fmla="*/ 0 h 6"/>
                <a:gd name="T6" fmla="*/ 27 w 27"/>
                <a:gd name="T7" fmla="*/ 0 h 6"/>
                <a:gd name="T8" fmla="*/ 16 w 27"/>
                <a:gd name="T9" fmla="*/ 6 h 6"/>
                <a:gd name="T10" fmla="*/ 11 w 27"/>
                <a:gd name="T11" fmla="*/ 6 h 6"/>
                <a:gd name="T12" fmla="*/ 0 w 27"/>
                <a:gd name="T13" fmla="*/ 6 h 6"/>
                <a:gd name="T14" fmla="*/ 0 w 27"/>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6">
                  <a:moveTo>
                    <a:pt x="0" y="0"/>
                  </a:moveTo>
                  <a:lnTo>
                    <a:pt x="11" y="0"/>
                  </a:lnTo>
                  <a:lnTo>
                    <a:pt x="21" y="0"/>
                  </a:lnTo>
                  <a:lnTo>
                    <a:pt x="27" y="0"/>
                  </a:lnTo>
                  <a:lnTo>
                    <a:pt x="16" y="6"/>
                  </a:lnTo>
                  <a:lnTo>
                    <a:pt x="11" y="6"/>
                  </a:lnTo>
                  <a:lnTo>
                    <a:pt x="0" y="6"/>
                  </a:lnTo>
                  <a:lnTo>
                    <a:pt x="0" y="0"/>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5" name="Freeform 525">
              <a:extLst>
                <a:ext uri="{FF2B5EF4-FFF2-40B4-BE49-F238E27FC236}">
                  <a16:creationId xmlns:a16="http://schemas.microsoft.com/office/drawing/2014/main" id="{72EF2AA1-9D6B-ABBA-E9E6-DB993F4E893C}"/>
                </a:ext>
              </a:extLst>
            </p:cNvPr>
            <p:cNvSpPr>
              <a:spLocks/>
            </p:cNvSpPr>
            <p:nvPr/>
          </p:nvSpPr>
          <p:spPr bwMode="auto">
            <a:xfrm>
              <a:off x="3208481" y="2626216"/>
              <a:ext cx="17463" cy="7938"/>
            </a:xfrm>
            <a:custGeom>
              <a:avLst/>
              <a:gdLst>
                <a:gd name="T0" fmla="*/ 0 w 11"/>
                <a:gd name="T1" fmla="*/ 0 h 5"/>
                <a:gd name="T2" fmla="*/ 6 w 11"/>
                <a:gd name="T3" fmla="*/ 0 h 5"/>
                <a:gd name="T4" fmla="*/ 6 w 11"/>
                <a:gd name="T5" fmla="*/ 5 h 5"/>
                <a:gd name="T6" fmla="*/ 11 w 11"/>
                <a:gd name="T7" fmla="*/ 5 h 5"/>
                <a:gd name="T8" fmla="*/ 6 w 11"/>
                <a:gd name="T9" fmla="*/ 5 h 5"/>
                <a:gd name="T10" fmla="*/ 0 w 11"/>
                <a:gd name="T11" fmla="*/ 5 h 5"/>
                <a:gd name="T12" fmla="*/ 0 w 11"/>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1" h="5">
                  <a:moveTo>
                    <a:pt x="0" y="0"/>
                  </a:moveTo>
                  <a:lnTo>
                    <a:pt x="6" y="0"/>
                  </a:lnTo>
                  <a:lnTo>
                    <a:pt x="6" y="5"/>
                  </a:lnTo>
                  <a:lnTo>
                    <a:pt x="11" y="5"/>
                  </a:lnTo>
                  <a:lnTo>
                    <a:pt x="6" y="5"/>
                  </a:lnTo>
                  <a:lnTo>
                    <a:pt x="0" y="5"/>
                  </a:lnTo>
                  <a:lnTo>
                    <a:pt x="0" y="0"/>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6" name="Freeform 527">
              <a:extLst>
                <a:ext uri="{FF2B5EF4-FFF2-40B4-BE49-F238E27FC236}">
                  <a16:creationId xmlns:a16="http://schemas.microsoft.com/office/drawing/2014/main" id="{EF064031-9CC1-5F97-84C1-04E4A51340A9}"/>
                </a:ext>
              </a:extLst>
            </p:cNvPr>
            <p:cNvSpPr>
              <a:spLocks/>
            </p:cNvSpPr>
            <p:nvPr/>
          </p:nvSpPr>
          <p:spPr bwMode="auto">
            <a:xfrm>
              <a:off x="3303731" y="2357928"/>
              <a:ext cx="9525" cy="7938"/>
            </a:xfrm>
            <a:custGeom>
              <a:avLst/>
              <a:gdLst>
                <a:gd name="T0" fmla="*/ 0 w 6"/>
                <a:gd name="T1" fmla="*/ 0 h 5"/>
                <a:gd name="T2" fmla="*/ 6 w 6"/>
                <a:gd name="T3" fmla="*/ 0 h 5"/>
                <a:gd name="T4" fmla="*/ 6 w 6"/>
                <a:gd name="T5" fmla="*/ 5 h 5"/>
                <a:gd name="T6" fmla="*/ 0 w 6"/>
                <a:gd name="T7" fmla="*/ 0 h 5"/>
              </a:gdLst>
              <a:ahLst/>
              <a:cxnLst>
                <a:cxn ang="0">
                  <a:pos x="T0" y="T1"/>
                </a:cxn>
                <a:cxn ang="0">
                  <a:pos x="T2" y="T3"/>
                </a:cxn>
                <a:cxn ang="0">
                  <a:pos x="T4" y="T5"/>
                </a:cxn>
                <a:cxn ang="0">
                  <a:pos x="T6" y="T7"/>
                </a:cxn>
              </a:cxnLst>
              <a:rect l="0" t="0" r="r" b="b"/>
              <a:pathLst>
                <a:path w="6" h="5">
                  <a:moveTo>
                    <a:pt x="0" y="0"/>
                  </a:moveTo>
                  <a:lnTo>
                    <a:pt x="6" y="0"/>
                  </a:lnTo>
                  <a:lnTo>
                    <a:pt x="6" y="5"/>
                  </a:lnTo>
                  <a:lnTo>
                    <a:pt x="0" y="0"/>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7" name="Freeform 528">
              <a:extLst>
                <a:ext uri="{FF2B5EF4-FFF2-40B4-BE49-F238E27FC236}">
                  <a16:creationId xmlns:a16="http://schemas.microsoft.com/office/drawing/2014/main" id="{42EE67DF-E89E-62CE-7FEA-04B3E033C793}"/>
                </a:ext>
              </a:extLst>
            </p:cNvPr>
            <p:cNvSpPr>
              <a:spLocks/>
            </p:cNvSpPr>
            <p:nvPr/>
          </p:nvSpPr>
          <p:spPr bwMode="auto">
            <a:xfrm>
              <a:off x="3303731" y="2330941"/>
              <a:ext cx="26988" cy="9525"/>
            </a:xfrm>
            <a:custGeom>
              <a:avLst/>
              <a:gdLst>
                <a:gd name="T0" fmla="*/ 0 w 17"/>
                <a:gd name="T1" fmla="*/ 6 h 6"/>
                <a:gd name="T2" fmla="*/ 6 w 17"/>
                <a:gd name="T3" fmla="*/ 0 h 6"/>
                <a:gd name="T4" fmla="*/ 11 w 17"/>
                <a:gd name="T5" fmla="*/ 0 h 6"/>
                <a:gd name="T6" fmla="*/ 17 w 17"/>
                <a:gd name="T7" fmla="*/ 6 h 6"/>
                <a:gd name="T8" fmla="*/ 0 w 17"/>
                <a:gd name="T9" fmla="*/ 6 h 6"/>
              </a:gdLst>
              <a:ahLst/>
              <a:cxnLst>
                <a:cxn ang="0">
                  <a:pos x="T0" y="T1"/>
                </a:cxn>
                <a:cxn ang="0">
                  <a:pos x="T2" y="T3"/>
                </a:cxn>
                <a:cxn ang="0">
                  <a:pos x="T4" y="T5"/>
                </a:cxn>
                <a:cxn ang="0">
                  <a:pos x="T6" y="T7"/>
                </a:cxn>
                <a:cxn ang="0">
                  <a:pos x="T8" y="T9"/>
                </a:cxn>
              </a:cxnLst>
              <a:rect l="0" t="0" r="r" b="b"/>
              <a:pathLst>
                <a:path w="17" h="6">
                  <a:moveTo>
                    <a:pt x="0" y="6"/>
                  </a:moveTo>
                  <a:lnTo>
                    <a:pt x="6" y="0"/>
                  </a:lnTo>
                  <a:lnTo>
                    <a:pt x="11" y="0"/>
                  </a:lnTo>
                  <a:lnTo>
                    <a:pt x="17" y="6"/>
                  </a:lnTo>
                  <a:lnTo>
                    <a:pt x="0" y="6"/>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8" name="Freeform 529">
              <a:extLst>
                <a:ext uri="{FF2B5EF4-FFF2-40B4-BE49-F238E27FC236}">
                  <a16:creationId xmlns:a16="http://schemas.microsoft.com/office/drawing/2014/main" id="{5DDA5524-0A41-1019-6334-EE42EC38D1AF}"/>
                </a:ext>
              </a:extLst>
            </p:cNvPr>
            <p:cNvSpPr>
              <a:spLocks/>
            </p:cNvSpPr>
            <p:nvPr/>
          </p:nvSpPr>
          <p:spPr bwMode="auto">
            <a:xfrm>
              <a:off x="3200544" y="2348403"/>
              <a:ext cx="250825" cy="69850"/>
            </a:xfrm>
            <a:custGeom>
              <a:avLst/>
              <a:gdLst>
                <a:gd name="T0" fmla="*/ 5 w 158"/>
                <a:gd name="T1" fmla="*/ 0 h 44"/>
                <a:gd name="T2" fmla="*/ 27 w 158"/>
                <a:gd name="T3" fmla="*/ 0 h 44"/>
                <a:gd name="T4" fmla="*/ 38 w 158"/>
                <a:gd name="T5" fmla="*/ 0 h 44"/>
                <a:gd name="T6" fmla="*/ 49 w 158"/>
                <a:gd name="T7" fmla="*/ 6 h 44"/>
                <a:gd name="T8" fmla="*/ 60 w 158"/>
                <a:gd name="T9" fmla="*/ 6 h 44"/>
                <a:gd name="T10" fmla="*/ 71 w 158"/>
                <a:gd name="T11" fmla="*/ 11 h 44"/>
                <a:gd name="T12" fmla="*/ 54 w 158"/>
                <a:gd name="T13" fmla="*/ 17 h 44"/>
                <a:gd name="T14" fmla="*/ 49 w 158"/>
                <a:gd name="T15" fmla="*/ 17 h 44"/>
                <a:gd name="T16" fmla="*/ 60 w 158"/>
                <a:gd name="T17" fmla="*/ 22 h 44"/>
                <a:gd name="T18" fmla="*/ 65 w 158"/>
                <a:gd name="T19" fmla="*/ 27 h 44"/>
                <a:gd name="T20" fmla="*/ 71 w 158"/>
                <a:gd name="T21" fmla="*/ 27 h 44"/>
                <a:gd name="T22" fmla="*/ 87 w 158"/>
                <a:gd name="T23" fmla="*/ 27 h 44"/>
                <a:gd name="T24" fmla="*/ 109 w 158"/>
                <a:gd name="T25" fmla="*/ 22 h 44"/>
                <a:gd name="T26" fmla="*/ 125 w 158"/>
                <a:gd name="T27" fmla="*/ 22 h 44"/>
                <a:gd name="T28" fmla="*/ 142 w 158"/>
                <a:gd name="T29" fmla="*/ 22 h 44"/>
                <a:gd name="T30" fmla="*/ 158 w 158"/>
                <a:gd name="T31" fmla="*/ 27 h 44"/>
                <a:gd name="T32" fmla="*/ 152 w 158"/>
                <a:gd name="T33" fmla="*/ 33 h 44"/>
                <a:gd name="T34" fmla="*/ 142 w 158"/>
                <a:gd name="T35" fmla="*/ 38 h 44"/>
                <a:gd name="T36" fmla="*/ 125 w 158"/>
                <a:gd name="T37" fmla="*/ 44 h 44"/>
                <a:gd name="T38" fmla="*/ 109 w 158"/>
                <a:gd name="T39" fmla="*/ 38 h 44"/>
                <a:gd name="T40" fmla="*/ 92 w 158"/>
                <a:gd name="T41" fmla="*/ 38 h 44"/>
                <a:gd name="T42" fmla="*/ 82 w 158"/>
                <a:gd name="T43" fmla="*/ 38 h 44"/>
                <a:gd name="T44" fmla="*/ 71 w 158"/>
                <a:gd name="T45" fmla="*/ 38 h 44"/>
                <a:gd name="T46" fmla="*/ 60 w 158"/>
                <a:gd name="T47" fmla="*/ 38 h 44"/>
                <a:gd name="T48" fmla="*/ 54 w 158"/>
                <a:gd name="T49" fmla="*/ 38 h 44"/>
                <a:gd name="T50" fmla="*/ 38 w 158"/>
                <a:gd name="T51" fmla="*/ 38 h 44"/>
                <a:gd name="T52" fmla="*/ 27 w 158"/>
                <a:gd name="T53" fmla="*/ 38 h 44"/>
                <a:gd name="T54" fmla="*/ 27 w 158"/>
                <a:gd name="T55" fmla="*/ 27 h 44"/>
                <a:gd name="T56" fmla="*/ 38 w 158"/>
                <a:gd name="T57" fmla="*/ 17 h 44"/>
                <a:gd name="T58" fmla="*/ 38 w 158"/>
                <a:gd name="T59" fmla="*/ 17 h 44"/>
                <a:gd name="T60" fmla="*/ 27 w 158"/>
                <a:gd name="T61" fmla="*/ 11 h 44"/>
                <a:gd name="T62" fmla="*/ 11 w 158"/>
                <a:gd name="T63" fmla="*/ 11 h 44"/>
                <a:gd name="T64" fmla="*/ 5 w 158"/>
                <a:gd name="T65" fmla="*/ 11 h 44"/>
                <a:gd name="T66" fmla="*/ 0 w 158"/>
                <a:gd name="T67"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8" h="44">
                  <a:moveTo>
                    <a:pt x="0" y="6"/>
                  </a:moveTo>
                  <a:lnTo>
                    <a:pt x="5" y="0"/>
                  </a:lnTo>
                  <a:lnTo>
                    <a:pt x="16" y="0"/>
                  </a:lnTo>
                  <a:lnTo>
                    <a:pt x="27" y="0"/>
                  </a:lnTo>
                  <a:lnTo>
                    <a:pt x="33" y="0"/>
                  </a:lnTo>
                  <a:lnTo>
                    <a:pt x="38" y="0"/>
                  </a:lnTo>
                  <a:lnTo>
                    <a:pt x="38" y="6"/>
                  </a:lnTo>
                  <a:lnTo>
                    <a:pt x="49" y="6"/>
                  </a:lnTo>
                  <a:lnTo>
                    <a:pt x="54" y="6"/>
                  </a:lnTo>
                  <a:lnTo>
                    <a:pt x="60" y="6"/>
                  </a:lnTo>
                  <a:lnTo>
                    <a:pt x="60" y="11"/>
                  </a:lnTo>
                  <a:lnTo>
                    <a:pt x="71" y="11"/>
                  </a:lnTo>
                  <a:lnTo>
                    <a:pt x="65" y="17"/>
                  </a:lnTo>
                  <a:lnTo>
                    <a:pt x="54" y="17"/>
                  </a:lnTo>
                  <a:lnTo>
                    <a:pt x="49" y="11"/>
                  </a:lnTo>
                  <a:lnTo>
                    <a:pt x="49" y="17"/>
                  </a:lnTo>
                  <a:lnTo>
                    <a:pt x="60" y="17"/>
                  </a:lnTo>
                  <a:lnTo>
                    <a:pt x="60" y="22"/>
                  </a:lnTo>
                  <a:lnTo>
                    <a:pt x="65" y="22"/>
                  </a:lnTo>
                  <a:lnTo>
                    <a:pt x="65" y="27"/>
                  </a:lnTo>
                  <a:lnTo>
                    <a:pt x="71" y="22"/>
                  </a:lnTo>
                  <a:lnTo>
                    <a:pt x="71" y="27"/>
                  </a:lnTo>
                  <a:lnTo>
                    <a:pt x="82" y="22"/>
                  </a:lnTo>
                  <a:lnTo>
                    <a:pt x="87" y="27"/>
                  </a:lnTo>
                  <a:lnTo>
                    <a:pt x="103" y="22"/>
                  </a:lnTo>
                  <a:lnTo>
                    <a:pt x="109" y="22"/>
                  </a:lnTo>
                  <a:lnTo>
                    <a:pt x="120" y="22"/>
                  </a:lnTo>
                  <a:lnTo>
                    <a:pt x="125" y="22"/>
                  </a:lnTo>
                  <a:lnTo>
                    <a:pt x="136" y="22"/>
                  </a:lnTo>
                  <a:lnTo>
                    <a:pt x="142" y="22"/>
                  </a:lnTo>
                  <a:lnTo>
                    <a:pt x="152" y="22"/>
                  </a:lnTo>
                  <a:lnTo>
                    <a:pt x="158" y="27"/>
                  </a:lnTo>
                  <a:lnTo>
                    <a:pt x="147" y="33"/>
                  </a:lnTo>
                  <a:lnTo>
                    <a:pt x="152" y="33"/>
                  </a:lnTo>
                  <a:lnTo>
                    <a:pt x="147" y="33"/>
                  </a:lnTo>
                  <a:lnTo>
                    <a:pt x="142" y="38"/>
                  </a:lnTo>
                  <a:lnTo>
                    <a:pt x="131" y="38"/>
                  </a:lnTo>
                  <a:lnTo>
                    <a:pt x="125" y="44"/>
                  </a:lnTo>
                  <a:lnTo>
                    <a:pt x="114" y="38"/>
                  </a:lnTo>
                  <a:lnTo>
                    <a:pt x="109" y="38"/>
                  </a:lnTo>
                  <a:lnTo>
                    <a:pt x="98" y="38"/>
                  </a:lnTo>
                  <a:lnTo>
                    <a:pt x="92" y="38"/>
                  </a:lnTo>
                  <a:lnTo>
                    <a:pt x="87" y="38"/>
                  </a:lnTo>
                  <a:lnTo>
                    <a:pt x="82" y="38"/>
                  </a:lnTo>
                  <a:lnTo>
                    <a:pt x="76" y="44"/>
                  </a:lnTo>
                  <a:lnTo>
                    <a:pt x="71" y="38"/>
                  </a:lnTo>
                  <a:lnTo>
                    <a:pt x="65" y="44"/>
                  </a:lnTo>
                  <a:lnTo>
                    <a:pt x="60" y="38"/>
                  </a:lnTo>
                  <a:lnTo>
                    <a:pt x="60" y="33"/>
                  </a:lnTo>
                  <a:lnTo>
                    <a:pt x="54" y="38"/>
                  </a:lnTo>
                  <a:lnTo>
                    <a:pt x="49" y="38"/>
                  </a:lnTo>
                  <a:lnTo>
                    <a:pt x="38" y="38"/>
                  </a:lnTo>
                  <a:lnTo>
                    <a:pt x="33" y="38"/>
                  </a:lnTo>
                  <a:lnTo>
                    <a:pt x="27" y="38"/>
                  </a:lnTo>
                  <a:lnTo>
                    <a:pt x="33" y="33"/>
                  </a:lnTo>
                  <a:lnTo>
                    <a:pt x="27" y="27"/>
                  </a:lnTo>
                  <a:lnTo>
                    <a:pt x="38" y="22"/>
                  </a:lnTo>
                  <a:lnTo>
                    <a:pt x="38" y="17"/>
                  </a:lnTo>
                  <a:lnTo>
                    <a:pt x="33" y="17"/>
                  </a:lnTo>
                  <a:lnTo>
                    <a:pt x="38" y="17"/>
                  </a:lnTo>
                  <a:lnTo>
                    <a:pt x="33" y="11"/>
                  </a:lnTo>
                  <a:lnTo>
                    <a:pt x="27" y="11"/>
                  </a:lnTo>
                  <a:lnTo>
                    <a:pt x="16" y="11"/>
                  </a:lnTo>
                  <a:lnTo>
                    <a:pt x="11" y="11"/>
                  </a:lnTo>
                  <a:lnTo>
                    <a:pt x="16" y="11"/>
                  </a:lnTo>
                  <a:lnTo>
                    <a:pt x="5" y="11"/>
                  </a:lnTo>
                  <a:lnTo>
                    <a:pt x="11" y="6"/>
                  </a:lnTo>
                  <a:lnTo>
                    <a:pt x="0" y="6"/>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9" name="Freeform 531">
              <a:extLst>
                <a:ext uri="{FF2B5EF4-FFF2-40B4-BE49-F238E27FC236}">
                  <a16:creationId xmlns:a16="http://schemas.microsoft.com/office/drawing/2014/main" id="{44464D14-7A52-26A8-D201-801DCC2D826E}"/>
                </a:ext>
              </a:extLst>
            </p:cNvPr>
            <p:cNvSpPr>
              <a:spLocks/>
            </p:cNvSpPr>
            <p:nvPr/>
          </p:nvSpPr>
          <p:spPr bwMode="auto">
            <a:xfrm>
              <a:off x="3278331" y="2235691"/>
              <a:ext cx="155575" cy="87313"/>
            </a:xfrm>
            <a:custGeom>
              <a:avLst/>
              <a:gdLst>
                <a:gd name="T0" fmla="*/ 0 w 98"/>
                <a:gd name="T1" fmla="*/ 28 h 55"/>
                <a:gd name="T2" fmla="*/ 0 w 98"/>
                <a:gd name="T3" fmla="*/ 22 h 55"/>
                <a:gd name="T4" fmla="*/ 16 w 98"/>
                <a:gd name="T5" fmla="*/ 22 h 55"/>
                <a:gd name="T6" fmla="*/ 5 w 98"/>
                <a:gd name="T7" fmla="*/ 22 h 55"/>
                <a:gd name="T8" fmla="*/ 0 w 98"/>
                <a:gd name="T9" fmla="*/ 17 h 55"/>
                <a:gd name="T10" fmla="*/ 16 w 98"/>
                <a:gd name="T11" fmla="*/ 17 h 55"/>
                <a:gd name="T12" fmla="*/ 11 w 98"/>
                <a:gd name="T13" fmla="*/ 17 h 55"/>
                <a:gd name="T14" fmla="*/ 22 w 98"/>
                <a:gd name="T15" fmla="*/ 17 h 55"/>
                <a:gd name="T16" fmla="*/ 33 w 98"/>
                <a:gd name="T17" fmla="*/ 17 h 55"/>
                <a:gd name="T18" fmla="*/ 22 w 98"/>
                <a:gd name="T19" fmla="*/ 11 h 55"/>
                <a:gd name="T20" fmla="*/ 27 w 98"/>
                <a:gd name="T21" fmla="*/ 6 h 55"/>
                <a:gd name="T22" fmla="*/ 43 w 98"/>
                <a:gd name="T23" fmla="*/ 6 h 55"/>
                <a:gd name="T24" fmla="*/ 38 w 98"/>
                <a:gd name="T25" fmla="*/ 0 h 55"/>
                <a:gd name="T26" fmla="*/ 54 w 98"/>
                <a:gd name="T27" fmla="*/ 6 h 55"/>
                <a:gd name="T28" fmla="*/ 60 w 98"/>
                <a:gd name="T29" fmla="*/ 11 h 55"/>
                <a:gd name="T30" fmla="*/ 65 w 98"/>
                <a:gd name="T31" fmla="*/ 11 h 55"/>
                <a:gd name="T32" fmla="*/ 60 w 98"/>
                <a:gd name="T33" fmla="*/ 17 h 55"/>
                <a:gd name="T34" fmla="*/ 71 w 98"/>
                <a:gd name="T35" fmla="*/ 17 h 55"/>
                <a:gd name="T36" fmla="*/ 71 w 98"/>
                <a:gd name="T37" fmla="*/ 22 h 55"/>
                <a:gd name="T38" fmla="*/ 87 w 98"/>
                <a:gd name="T39" fmla="*/ 17 h 55"/>
                <a:gd name="T40" fmla="*/ 87 w 98"/>
                <a:gd name="T41" fmla="*/ 22 h 55"/>
                <a:gd name="T42" fmla="*/ 87 w 98"/>
                <a:gd name="T43" fmla="*/ 28 h 55"/>
                <a:gd name="T44" fmla="*/ 82 w 98"/>
                <a:gd name="T45" fmla="*/ 28 h 55"/>
                <a:gd name="T46" fmla="*/ 98 w 98"/>
                <a:gd name="T47" fmla="*/ 33 h 55"/>
                <a:gd name="T48" fmla="*/ 98 w 98"/>
                <a:gd name="T49" fmla="*/ 38 h 55"/>
                <a:gd name="T50" fmla="*/ 82 w 98"/>
                <a:gd name="T51" fmla="*/ 38 h 55"/>
                <a:gd name="T52" fmla="*/ 76 w 98"/>
                <a:gd name="T53" fmla="*/ 38 h 55"/>
                <a:gd name="T54" fmla="*/ 65 w 98"/>
                <a:gd name="T55" fmla="*/ 44 h 55"/>
                <a:gd name="T56" fmla="*/ 60 w 98"/>
                <a:gd name="T57" fmla="*/ 49 h 55"/>
                <a:gd name="T58" fmla="*/ 54 w 98"/>
                <a:gd name="T59" fmla="*/ 44 h 55"/>
                <a:gd name="T60" fmla="*/ 54 w 98"/>
                <a:gd name="T61" fmla="*/ 49 h 55"/>
                <a:gd name="T62" fmla="*/ 49 w 98"/>
                <a:gd name="T63" fmla="*/ 55 h 55"/>
                <a:gd name="T64" fmla="*/ 43 w 98"/>
                <a:gd name="T65" fmla="*/ 49 h 55"/>
                <a:gd name="T66" fmla="*/ 43 w 98"/>
                <a:gd name="T67" fmla="*/ 44 h 55"/>
                <a:gd name="T68" fmla="*/ 43 w 98"/>
                <a:gd name="T69" fmla="*/ 49 h 55"/>
                <a:gd name="T70" fmla="*/ 43 w 98"/>
                <a:gd name="T71" fmla="*/ 55 h 55"/>
                <a:gd name="T72" fmla="*/ 38 w 98"/>
                <a:gd name="T73" fmla="*/ 49 h 55"/>
                <a:gd name="T74" fmla="*/ 33 w 98"/>
                <a:gd name="T75" fmla="*/ 55 h 55"/>
                <a:gd name="T76" fmla="*/ 16 w 98"/>
                <a:gd name="T77" fmla="*/ 55 h 55"/>
                <a:gd name="T78" fmla="*/ 16 w 98"/>
                <a:gd name="T79" fmla="*/ 49 h 55"/>
                <a:gd name="T80" fmla="*/ 27 w 98"/>
                <a:gd name="T81" fmla="*/ 49 h 55"/>
                <a:gd name="T82" fmla="*/ 11 w 98"/>
                <a:gd name="T83" fmla="*/ 49 h 55"/>
                <a:gd name="T84" fmla="*/ 16 w 98"/>
                <a:gd name="T85" fmla="*/ 44 h 55"/>
                <a:gd name="T86" fmla="*/ 5 w 98"/>
                <a:gd name="T87" fmla="*/ 38 h 55"/>
                <a:gd name="T88" fmla="*/ 22 w 98"/>
                <a:gd name="T89" fmla="*/ 38 h 55"/>
                <a:gd name="T90" fmla="*/ 27 w 98"/>
                <a:gd name="T91" fmla="*/ 33 h 55"/>
                <a:gd name="T92" fmla="*/ 11 w 98"/>
                <a:gd name="T93" fmla="*/ 33 h 55"/>
                <a:gd name="T94" fmla="*/ 5 w 98"/>
                <a:gd name="T95" fmla="*/ 38 h 55"/>
                <a:gd name="T96" fmla="*/ 0 w 98"/>
                <a:gd name="T97" fmla="*/ 33 h 55"/>
                <a:gd name="T98" fmla="*/ 0 w 98"/>
                <a:gd name="T99"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8" h="55">
                  <a:moveTo>
                    <a:pt x="0" y="28"/>
                  </a:moveTo>
                  <a:lnTo>
                    <a:pt x="0" y="22"/>
                  </a:lnTo>
                  <a:lnTo>
                    <a:pt x="16" y="22"/>
                  </a:lnTo>
                  <a:lnTo>
                    <a:pt x="5" y="22"/>
                  </a:lnTo>
                  <a:lnTo>
                    <a:pt x="0" y="17"/>
                  </a:lnTo>
                  <a:lnTo>
                    <a:pt x="16" y="17"/>
                  </a:lnTo>
                  <a:lnTo>
                    <a:pt x="11" y="17"/>
                  </a:lnTo>
                  <a:lnTo>
                    <a:pt x="22" y="17"/>
                  </a:lnTo>
                  <a:lnTo>
                    <a:pt x="33" y="17"/>
                  </a:lnTo>
                  <a:lnTo>
                    <a:pt x="22" y="11"/>
                  </a:lnTo>
                  <a:lnTo>
                    <a:pt x="27" y="6"/>
                  </a:lnTo>
                  <a:lnTo>
                    <a:pt x="43" y="6"/>
                  </a:lnTo>
                  <a:lnTo>
                    <a:pt x="38" y="0"/>
                  </a:lnTo>
                  <a:lnTo>
                    <a:pt x="54" y="6"/>
                  </a:lnTo>
                  <a:lnTo>
                    <a:pt x="60" y="11"/>
                  </a:lnTo>
                  <a:lnTo>
                    <a:pt x="65" y="11"/>
                  </a:lnTo>
                  <a:lnTo>
                    <a:pt x="60" y="17"/>
                  </a:lnTo>
                  <a:lnTo>
                    <a:pt x="71" y="17"/>
                  </a:lnTo>
                  <a:lnTo>
                    <a:pt x="71" y="22"/>
                  </a:lnTo>
                  <a:lnTo>
                    <a:pt x="87" y="17"/>
                  </a:lnTo>
                  <a:lnTo>
                    <a:pt x="87" y="22"/>
                  </a:lnTo>
                  <a:lnTo>
                    <a:pt x="87" y="28"/>
                  </a:lnTo>
                  <a:lnTo>
                    <a:pt x="82" y="28"/>
                  </a:lnTo>
                  <a:lnTo>
                    <a:pt x="98" y="33"/>
                  </a:lnTo>
                  <a:lnTo>
                    <a:pt x="98" y="38"/>
                  </a:lnTo>
                  <a:lnTo>
                    <a:pt x="82" y="38"/>
                  </a:lnTo>
                  <a:lnTo>
                    <a:pt x="76" y="38"/>
                  </a:lnTo>
                  <a:lnTo>
                    <a:pt x="65" y="44"/>
                  </a:lnTo>
                  <a:lnTo>
                    <a:pt x="60" y="49"/>
                  </a:lnTo>
                  <a:lnTo>
                    <a:pt x="54" y="44"/>
                  </a:lnTo>
                  <a:lnTo>
                    <a:pt x="54" y="49"/>
                  </a:lnTo>
                  <a:lnTo>
                    <a:pt x="49" y="55"/>
                  </a:lnTo>
                  <a:lnTo>
                    <a:pt x="43" y="49"/>
                  </a:lnTo>
                  <a:lnTo>
                    <a:pt x="43" y="44"/>
                  </a:lnTo>
                  <a:lnTo>
                    <a:pt x="43" y="49"/>
                  </a:lnTo>
                  <a:lnTo>
                    <a:pt x="43" y="55"/>
                  </a:lnTo>
                  <a:lnTo>
                    <a:pt x="38" y="49"/>
                  </a:lnTo>
                  <a:lnTo>
                    <a:pt x="33" y="55"/>
                  </a:lnTo>
                  <a:lnTo>
                    <a:pt x="16" y="55"/>
                  </a:lnTo>
                  <a:lnTo>
                    <a:pt x="16" y="49"/>
                  </a:lnTo>
                  <a:lnTo>
                    <a:pt x="27" y="49"/>
                  </a:lnTo>
                  <a:lnTo>
                    <a:pt x="11" y="49"/>
                  </a:lnTo>
                  <a:lnTo>
                    <a:pt x="16" y="44"/>
                  </a:lnTo>
                  <a:lnTo>
                    <a:pt x="5" y="38"/>
                  </a:lnTo>
                  <a:lnTo>
                    <a:pt x="22" y="38"/>
                  </a:lnTo>
                  <a:lnTo>
                    <a:pt x="27" y="33"/>
                  </a:lnTo>
                  <a:lnTo>
                    <a:pt x="11" y="33"/>
                  </a:lnTo>
                  <a:lnTo>
                    <a:pt x="5" y="38"/>
                  </a:lnTo>
                  <a:lnTo>
                    <a:pt x="0" y="33"/>
                  </a:lnTo>
                  <a:lnTo>
                    <a:pt x="0" y="28"/>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0" name="Freeform 533">
              <a:extLst>
                <a:ext uri="{FF2B5EF4-FFF2-40B4-BE49-F238E27FC236}">
                  <a16:creationId xmlns:a16="http://schemas.microsoft.com/office/drawing/2014/main" id="{D4584742-EC56-E141-4D67-9EF3141EC540}"/>
                </a:ext>
              </a:extLst>
            </p:cNvPr>
            <p:cNvSpPr>
              <a:spLocks/>
            </p:cNvSpPr>
            <p:nvPr/>
          </p:nvSpPr>
          <p:spPr bwMode="auto">
            <a:xfrm>
              <a:off x="3338656" y="2530966"/>
              <a:ext cx="17463" cy="7938"/>
            </a:xfrm>
            <a:custGeom>
              <a:avLst/>
              <a:gdLst>
                <a:gd name="T0" fmla="*/ 0 w 11"/>
                <a:gd name="T1" fmla="*/ 0 h 5"/>
                <a:gd name="T2" fmla="*/ 11 w 11"/>
                <a:gd name="T3" fmla="*/ 0 h 5"/>
                <a:gd name="T4" fmla="*/ 5 w 11"/>
                <a:gd name="T5" fmla="*/ 5 h 5"/>
                <a:gd name="T6" fmla="*/ 0 w 11"/>
                <a:gd name="T7" fmla="*/ 0 h 5"/>
              </a:gdLst>
              <a:ahLst/>
              <a:cxnLst>
                <a:cxn ang="0">
                  <a:pos x="T0" y="T1"/>
                </a:cxn>
                <a:cxn ang="0">
                  <a:pos x="T2" y="T3"/>
                </a:cxn>
                <a:cxn ang="0">
                  <a:pos x="T4" y="T5"/>
                </a:cxn>
                <a:cxn ang="0">
                  <a:pos x="T6" y="T7"/>
                </a:cxn>
              </a:cxnLst>
              <a:rect l="0" t="0" r="r" b="b"/>
              <a:pathLst>
                <a:path w="11" h="5">
                  <a:moveTo>
                    <a:pt x="0" y="0"/>
                  </a:moveTo>
                  <a:lnTo>
                    <a:pt x="11" y="0"/>
                  </a:lnTo>
                  <a:lnTo>
                    <a:pt x="5" y="5"/>
                  </a:lnTo>
                  <a:lnTo>
                    <a:pt x="0" y="0"/>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1" name="Freeform 534">
              <a:extLst>
                <a:ext uri="{FF2B5EF4-FFF2-40B4-BE49-F238E27FC236}">
                  <a16:creationId xmlns:a16="http://schemas.microsoft.com/office/drawing/2014/main" id="{E1030555-1307-BBEB-AA67-68F4B0E4589E}"/>
                </a:ext>
              </a:extLst>
            </p:cNvPr>
            <p:cNvSpPr>
              <a:spLocks/>
            </p:cNvSpPr>
            <p:nvPr/>
          </p:nvSpPr>
          <p:spPr bwMode="auto">
            <a:xfrm>
              <a:off x="3346594" y="2538903"/>
              <a:ext cx="26988" cy="17463"/>
            </a:xfrm>
            <a:custGeom>
              <a:avLst/>
              <a:gdLst>
                <a:gd name="T0" fmla="*/ 0 w 17"/>
                <a:gd name="T1" fmla="*/ 11 h 11"/>
                <a:gd name="T2" fmla="*/ 0 w 17"/>
                <a:gd name="T3" fmla="*/ 6 h 11"/>
                <a:gd name="T4" fmla="*/ 11 w 17"/>
                <a:gd name="T5" fmla="*/ 0 h 11"/>
                <a:gd name="T6" fmla="*/ 17 w 17"/>
                <a:gd name="T7" fmla="*/ 0 h 11"/>
                <a:gd name="T8" fmla="*/ 17 w 17"/>
                <a:gd name="T9" fmla="*/ 6 h 11"/>
                <a:gd name="T10" fmla="*/ 11 w 17"/>
                <a:gd name="T11" fmla="*/ 6 h 11"/>
                <a:gd name="T12" fmla="*/ 6 w 17"/>
                <a:gd name="T13" fmla="*/ 11 h 11"/>
                <a:gd name="T14" fmla="*/ 0 w 17"/>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0" y="11"/>
                  </a:moveTo>
                  <a:lnTo>
                    <a:pt x="0" y="6"/>
                  </a:lnTo>
                  <a:lnTo>
                    <a:pt x="11" y="0"/>
                  </a:lnTo>
                  <a:lnTo>
                    <a:pt x="17" y="0"/>
                  </a:lnTo>
                  <a:lnTo>
                    <a:pt x="17" y="6"/>
                  </a:lnTo>
                  <a:lnTo>
                    <a:pt x="11" y="6"/>
                  </a:lnTo>
                  <a:lnTo>
                    <a:pt x="6" y="11"/>
                  </a:lnTo>
                  <a:lnTo>
                    <a:pt x="0" y="11"/>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2" name="Freeform 535">
              <a:extLst>
                <a:ext uri="{FF2B5EF4-FFF2-40B4-BE49-F238E27FC236}">
                  <a16:creationId xmlns:a16="http://schemas.microsoft.com/office/drawing/2014/main" id="{1917F72F-9DAE-B0E2-F87B-BC148DA8F182}"/>
                </a:ext>
              </a:extLst>
            </p:cNvPr>
            <p:cNvSpPr>
              <a:spLocks/>
            </p:cNvSpPr>
            <p:nvPr/>
          </p:nvSpPr>
          <p:spPr bwMode="auto">
            <a:xfrm>
              <a:off x="3364056" y="2530966"/>
              <a:ext cx="17463" cy="7938"/>
            </a:xfrm>
            <a:custGeom>
              <a:avLst/>
              <a:gdLst>
                <a:gd name="T0" fmla="*/ 0 w 11"/>
                <a:gd name="T1" fmla="*/ 5 h 5"/>
                <a:gd name="T2" fmla="*/ 11 w 11"/>
                <a:gd name="T3" fmla="*/ 0 h 5"/>
                <a:gd name="T4" fmla="*/ 11 w 11"/>
                <a:gd name="T5" fmla="*/ 5 h 5"/>
                <a:gd name="T6" fmla="*/ 0 w 11"/>
                <a:gd name="T7" fmla="*/ 5 h 5"/>
              </a:gdLst>
              <a:ahLst/>
              <a:cxnLst>
                <a:cxn ang="0">
                  <a:pos x="T0" y="T1"/>
                </a:cxn>
                <a:cxn ang="0">
                  <a:pos x="T2" y="T3"/>
                </a:cxn>
                <a:cxn ang="0">
                  <a:pos x="T4" y="T5"/>
                </a:cxn>
                <a:cxn ang="0">
                  <a:pos x="T6" y="T7"/>
                </a:cxn>
              </a:cxnLst>
              <a:rect l="0" t="0" r="r" b="b"/>
              <a:pathLst>
                <a:path w="11" h="5">
                  <a:moveTo>
                    <a:pt x="0" y="5"/>
                  </a:moveTo>
                  <a:lnTo>
                    <a:pt x="11" y="0"/>
                  </a:lnTo>
                  <a:lnTo>
                    <a:pt x="11" y="5"/>
                  </a:lnTo>
                  <a:lnTo>
                    <a:pt x="0" y="5"/>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3" name="Freeform 536">
              <a:extLst>
                <a:ext uri="{FF2B5EF4-FFF2-40B4-BE49-F238E27FC236}">
                  <a16:creationId xmlns:a16="http://schemas.microsoft.com/office/drawing/2014/main" id="{429DEDAA-647E-DC61-6ADA-2ACE9A958094}"/>
                </a:ext>
              </a:extLst>
            </p:cNvPr>
            <p:cNvSpPr>
              <a:spLocks/>
            </p:cNvSpPr>
            <p:nvPr/>
          </p:nvSpPr>
          <p:spPr bwMode="auto">
            <a:xfrm>
              <a:off x="3356119" y="2565891"/>
              <a:ext cx="52388" cy="33338"/>
            </a:xfrm>
            <a:custGeom>
              <a:avLst/>
              <a:gdLst>
                <a:gd name="T0" fmla="*/ 0 w 33"/>
                <a:gd name="T1" fmla="*/ 16 h 21"/>
                <a:gd name="T2" fmla="*/ 5 w 33"/>
                <a:gd name="T3" fmla="*/ 10 h 21"/>
                <a:gd name="T4" fmla="*/ 11 w 33"/>
                <a:gd name="T5" fmla="*/ 5 h 21"/>
                <a:gd name="T6" fmla="*/ 16 w 33"/>
                <a:gd name="T7" fmla="*/ 5 h 21"/>
                <a:gd name="T8" fmla="*/ 22 w 33"/>
                <a:gd name="T9" fmla="*/ 0 h 21"/>
                <a:gd name="T10" fmla="*/ 33 w 33"/>
                <a:gd name="T11" fmla="*/ 5 h 21"/>
                <a:gd name="T12" fmla="*/ 27 w 33"/>
                <a:gd name="T13" fmla="*/ 10 h 21"/>
                <a:gd name="T14" fmla="*/ 22 w 33"/>
                <a:gd name="T15" fmla="*/ 16 h 21"/>
                <a:gd name="T16" fmla="*/ 16 w 33"/>
                <a:gd name="T17" fmla="*/ 21 h 21"/>
                <a:gd name="T18" fmla="*/ 5 w 33"/>
                <a:gd name="T19" fmla="*/ 21 h 21"/>
                <a:gd name="T20" fmla="*/ 0 w 33"/>
                <a:gd name="T21"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21">
                  <a:moveTo>
                    <a:pt x="0" y="16"/>
                  </a:moveTo>
                  <a:lnTo>
                    <a:pt x="5" y="10"/>
                  </a:lnTo>
                  <a:lnTo>
                    <a:pt x="11" y="5"/>
                  </a:lnTo>
                  <a:lnTo>
                    <a:pt x="16" y="5"/>
                  </a:lnTo>
                  <a:lnTo>
                    <a:pt x="22" y="0"/>
                  </a:lnTo>
                  <a:lnTo>
                    <a:pt x="33" y="5"/>
                  </a:lnTo>
                  <a:lnTo>
                    <a:pt x="27" y="10"/>
                  </a:lnTo>
                  <a:lnTo>
                    <a:pt x="22" y="16"/>
                  </a:lnTo>
                  <a:lnTo>
                    <a:pt x="16" y="21"/>
                  </a:lnTo>
                  <a:lnTo>
                    <a:pt x="5" y="21"/>
                  </a:lnTo>
                  <a:lnTo>
                    <a:pt x="0" y="16"/>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4" name="Freeform 537">
              <a:extLst>
                <a:ext uri="{FF2B5EF4-FFF2-40B4-BE49-F238E27FC236}">
                  <a16:creationId xmlns:a16="http://schemas.microsoft.com/office/drawing/2014/main" id="{77EAE277-BEC8-13DD-EF73-A3C499DD1F62}"/>
                </a:ext>
              </a:extLst>
            </p:cNvPr>
            <p:cNvSpPr>
              <a:spLocks/>
            </p:cNvSpPr>
            <p:nvPr/>
          </p:nvSpPr>
          <p:spPr bwMode="auto">
            <a:xfrm>
              <a:off x="3381519" y="2538903"/>
              <a:ext cx="17463" cy="9525"/>
            </a:xfrm>
            <a:custGeom>
              <a:avLst/>
              <a:gdLst>
                <a:gd name="T0" fmla="*/ 6 w 11"/>
                <a:gd name="T1" fmla="*/ 0 h 6"/>
                <a:gd name="T2" fmla="*/ 11 w 11"/>
                <a:gd name="T3" fmla="*/ 0 h 6"/>
                <a:gd name="T4" fmla="*/ 6 w 11"/>
                <a:gd name="T5" fmla="*/ 6 h 6"/>
                <a:gd name="T6" fmla="*/ 0 w 11"/>
                <a:gd name="T7" fmla="*/ 6 h 6"/>
                <a:gd name="T8" fmla="*/ 6 w 11"/>
                <a:gd name="T9" fmla="*/ 0 h 6"/>
              </a:gdLst>
              <a:ahLst/>
              <a:cxnLst>
                <a:cxn ang="0">
                  <a:pos x="T0" y="T1"/>
                </a:cxn>
                <a:cxn ang="0">
                  <a:pos x="T2" y="T3"/>
                </a:cxn>
                <a:cxn ang="0">
                  <a:pos x="T4" y="T5"/>
                </a:cxn>
                <a:cxn ang="0">
                  <a:pos x="T6" y="T7"/>
                </a:cxn>
                <a:cxn ang="0">
                  <a:pos x="T8" y="T9"/>
                </a:cxn>
              </a:cxnLst>
              <a:rect l="0" t="0" r="r" b="b"/>
              <a:pathLst>
                <a:path w="11" h="6">
                  <a:moveTo>
                    <a:pt x="6" y="0"/>
                  </a:moveTo>
                  <a:lnTo>
                    <a:pt x="11" y="0"/>
                  </a:lnTo>
                  <a:lnTo>
                    <a:pt x="6" y="6"/>
                  </a:lnTo>
                  <a:lnTo>
                    <a:pt x="0" y="6"/>
                  </a:lnTo>
                  <a:lnTo>
                    <a:pt x="6" y="0"/>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5" name="Freeform 538">
              <a:extLst>
                <a:ext uri="{FF2B5EF4-FFF2-40B4-BE49-F238E27FC236}">
                  <a16:creationId xmlns:a16="http://schemas.microsoft.com/office/drawing/2014/main" id="{E88B704C-3A46-1546-5F7C-2C9C42C7FEB9}"/>
                </a:ext>
              </a:extLst>
            </p:cNvPr>
            <p:cNvSpPr>
              <a:spLocks/>
            </p:cNvSpPr>
            <p:nvPr/>
          </p:nvSpPr>
          <p:spPr bwMode="auto">
            <a:xfrm>
              <a:off x="3391044" y="2435716"/>
              <a:ext cx="77788" cy="25400"/>
            </a:xfrm>
            <a:custGeom>
              <a:avLst/>
              <a:gdLst>
                <a:gd name="T0" fmla="*/ 0 w 49"/>
                <a:gd name="T1" fmla="*/ 5 h 16"/>
                <a:gd name="T2" fmla="*/ 5 w 49"/>
                <a:gd name="T3" fmla="*/ 0 h 16"/>
                <a:gd name="T4" fmla="*/ 16 w 49"/>
                <a:gd name="T5" fmla="*/ 0 h 16"/>
                <a:gd name="T6" fmla="*/ 22 w 49"/>
                <a:gd name="T7" fmla="*/ 0 h 16"/>
                <a:gd name="T8" fmla="*/ 27 w 49"/>
                <a:gd name="T9" fmla="*/ 0 h 16"/>
                <a:gd name="T10" fmla="*/ 32 w 49"/>
                <a:gd name="T11" fmla="*/ 0 h 16"/>
                <a:gd name="T12" fmla="*/ 43 w 49"/>
                <a:gd name="T13" fmla="*/ 0 h 16"/>
                <a:gd name="T14" fmla="*/ 43 w 49"/>
                <a:gd name="T15" fmla="*/ 5 h 16"/>
                <a:gd name="T16" fmla="*/ 49 w 49"/>
                <a:gd name="T17" fmla="*/ 11 h 16"/>
                <a:gd name="T18" fmla="*/ 43 w 49"/>
                <a:gd name="T19" fmla="*/ 11 h 16"/>
                <a:gd name="T20" fmla="*/ 32 w 49"/>
                <a:gd name="T21" fmla="*/ 11 h 16"/>
                <a:gd name="T22" fmla="*/ 27 w 49"/>
                <a:gd name="T23" fmla="*/ 11 h 16"/>
                <a:gd name="T24" fmla="*/ 16 w 49"/>
                <a:gd name="T25" fmla="*/ 11 h 16"/>
                <a:gd name="T26" fmla="*/ 11 w 49"/>
                <a:gd name="T27" fmla="*/ 16 h 16"/>
                <a:gd name="T28" fmla="*/ 5 w 49"/>
                <a:gd name="T29" fmla="*/ 11 h 16"/>
                <a:gd name="T30" fmla="*/ 11 w 49"/>
                <a:gd name="T31" fmla="*/ 5 h 16"/>
                <a:gd name="T32" fmla="*/ 0 w 49"/>
                <a:gd name="T33"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16">
                  <a:moveTo>
                    <a:pt x="0" y="5"/>
                  </a:moveTo>
                  <a:lnTo>
                    <a:pt x="5" y="0"/>
                  </a:lnTo>
                  <a:lnTo>
                    <a:pt x="16" y="0"/>
                  </a:lnTo>
                  <a:lnTo>
                    <a:pt x="22" y="0"/>
                  </a:lnTo>
                  <a:lnTo>
                    <a:pt x="27" y="0"/>
                  </a:lnTo>
                  <a:lnTo>
                    <a:pt x="32" y="0"/>
                  </a:lnTo>
                  <a:lnTo>
                    <a:pt x="43" y="0"/>
                  </a:lnTo>
                  <a:lnTo>
                    <a:pt x="43" y="5"/>
                  </a:lnTo>
                  <a:lnTo>
                    <a:pt x="49" y="11"/>
                  </a:lnTo>
                  <a:lnTo>
                    <a:pt x="43" y="11"/>
                  </a:lnTo>
                  <a:lnTo>
                    <a:pt x="32" y="11"/>
                  </a:lnTo>
                  <a:lnTo>
                    <a:pt x="27" y="11"/>
                  </a:lnTo>
                  <a:lnTo>
                    <a:pt x="16" y="11"/>
                  </a:lnTo>
                  <a:lnTo>
                    <a:pt x="11" y="16"/>
                  </a:lnTo>
                  <a:lnTo>
                    <a:pt x="5" y="11"/>
                  </a:lnTo>
                  <a:lnTo>
                    <a:pt x="11" y="5"/>
                  </a:lnTo>
                  <a:lnTo>
                    <a:pt x="0" y="5"/>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6" name="Rectangle 539">
              <a:extLst>
                <a:ext uri="{FF2B5EF4-FFF2-40B4-BE49-F238E27FC236}">
                  <a16:creationId xmlns:a16="http://schemas.microsoft.com/office/drawing/2014/main" id="{427042A7-6850-B883-97CB-345233BFB8B4}"/>
                </a:ext>
              </a:extLst>
            </p:cNvPr>
            <p:cNvSpPr>
              <a:spLocks noChangeArrowheads="1"/>
            </p:cNvSpPr>
            <p:nvPr/>
          </p:nvSpPr>
          <p:spPr bwMode="auto">
            <a:xfrm>
              <a:off x="3408506" y="2556366"/>
              <a:ext cx="7938" cy="9525"/>
            </a:xfrm>
            <a:prstGeom prst="rect">
              <a:avLst/>
            </a:prstGeom>
            <a:grp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47" name="Freeform 540">
              <a:extLst>
                <a:ext uri="{FF2B5EF4-FFF2-40B4-BE49-F238E27FC236}">
                  <a16:creationId xmlns:a16="http://schemas.microsoft.com/office/drawing/2014/main" id="{9F447F75-F873-E096-7369-12EC56D80EAF}"/>
                </a:ext>
              </a:extLst>
            </p:cNvPr>
            <p:cNvSpPr>
              <a:spLocks/>
            </p:cNvSpPr>
            <p:nvPr/>
          </p:nvSpPr>
          <p:spPr bwMode="auto">
            <a:xfrm>
              <a:off x="3208481" y="2426191"/>
              <a:ext cx="415925" cy="303213"/>
            </a:xfrm>
            <a:custGeom>
              <a:avLst/>
              <a:gdLst>
                <a:gd name="T0" fmla="*/ 11 w 262"/>
                <a:gd name="T1" fmla="*/ 22 h 191"/>
                <a:gd name="T2" fmla="*/ 22 w 262"/>
                <a:gd name="T3" fmla="*/ 17 h 191"/>
                <a:gd name="T4" fmla="*/ 38 w 262"/>
                <a:gd name="T5" fmla="*/ 6 h 191"/>
                <a:gd name="T6" fmla="*/ 77 w 262"/>
                <a:gd name="T7" fmla="*/ 0 h 191"/>
                <a:gd name="T8" fmla="*/ 87 w 262"/>
                <a:gd name="T9" fmla="*/ 6 h 191"/>
                <a:gd name="T10" fmla="*/ 120 w 262"/>
                <a:gd name="T11" fmla="*/ 11 h 191"/>
                <a:gd name="T12" fmla="*/ 131 w 262"/>
                <a:gd name="T13" fmla="*/ 22 h 191"/>
                <a:gd name="T14" fmla="*/ 158 w 262"/>
                <a:gd name="T15" fmla="*/ 22 h 191"/>
                <a:gd name="T16" fmla="*/ 164 w 262"/>
                <a:gd name="T17" fmla="*/ 28 h 191"/>
                <a:gd name="T18" fmla="*/ 175 w 262"/>
                <a:gd name="T19" fmla="*/ 44 h 191"/>
                <a:gd name="T20" fmla="*/ 191 w 262"/>
                <a:gd name="T21" fmla="*/ 38 h 191"/>
                <a:gd name="T22" fmla="*/ 202 w 262"/>
                <a:gd name="T23" fmla="*/ 49 h 191"/>
                <a:gd name="T24" fmla="*/ 218 w 262"/>
                <a:gd name="T25" fmla="*/ 60 h 191"/>
                <a:gd name="T26" fmla="*/ 224 w 262"/>
                <a:gd name="T27" fmla="*/ 77 h 191"/>
                <a:gd name="T28" fmla="*/ 207 w 262"/>
                <a:gd name="T29" fmla="*/ 88 h 191"/>
                <a:gd name="T30" fmla="*/ 224 w 262"/>
                <a:gd name="T31" fmla="*/ 93 h 191"/>
                <a:gd name="T32" fmla="*/ 240 w 262"/>
                <a:gd name="T33" fmla="*/ 98 h 191"/>
                <a:gd name="T34" fmla="*/ 246 w 262"/>
                <a:gd name="T35" fmla="*/ 109 h 191"/>
                <a:gd name="T36" fmla="*/ 262 w 262"/>
                <a:gd name="T37" fmla="*/ 115 h 191"/>
                <a:gd name="T38" fmla="*/ 246 w 262"/>
                <a:gd name="T39" fmla="*/ 126 h 191"/>
                <a:gd name="T40" fmla="*/ 240 w 262"/>
                <a:gd name="T41" fmla="*/ 131 h 191"/>
                <a:gd name="T42" fmla="*/ 224 w 262"/>
                <a:gd name="T43" fmla="*/ 142 h 191"/>
                <a:gd name="T44" fmla="*/ 213 w 262"/>
                <a:gd name="T45" fmla="*/ 131 h 191"/>
                <a:gd name="T46" fmla="*/ 207 w 262"/>
                <a:gd name="T47" fmla="*/ 120 h 191"/>
                <a:gd name="T48" fmla="*/ 191 w 262"/>
                <a:gd name="T49" fmla="*/ 120 h 191"/>
                <a:gd name="T50" fmla="*/ 180 w 262"/>
                <a:gd name="T51" fmla="*/ 126 h 191"/>
                <a:gd name="T52" fmla="*/ 191 w 262"/>
                <a:gd name="T53" fmla="*/ 137 h 191"/>
                <a:gd name="T54" fmla="*/ 202 w 262"/>
                <a:gd name="T55" fmla="*/ 148 h 191"/>
                <a:gd name="T56" fmla="*/ 197 w 262"/>
                <a:gd name="T57" fmla="*/ 158 h 191"/>
                <a:gd name="T58" fmla="*/ 197 w 262"/>
                <a:gd name="T59" fmla="*/ 175 h 191"/>
                <a:gd name="T60" fmla="*/ 186 w 262"/>
                <a:gd name="T61" fmla="*/ 175 h 191"/>
                <a:gd name="T62" fmla="*/ 158 w 262"/>
                <a:gd name="T63" fmla="*/ 164 h 191"/>
                <a:gd name="T64" fmla="*/ 175 w 262"/>
                <a:gd name="T65" fmla="*/ 191 h 191"/>
                <a:gd name="T66" fmla="*/ 158 w 262"/>
                <a:gd name="T67" fmla="*/ 186 h 191"/>
                <a:gd name="T68" fmla="*/ 131 w 262"/>
                <a:gd name="T69" fmla="*/ 180 h 191"/>
                <a:gd name="T70" fmla="*/ 115 w 262"/>
                <a:gd name="T71" fmla="*/ 175 h 191"/>
                <a:gd name="T72" fmla="*/ 115 w 262"/>
                <a:gd name="T73" fmla="*/ 164 h 191"/>
                <a:gd name="T74" fmla="*/ 104 w 262"/>
                <a:gd name="T75" fmla="*/ 148 h 191"/>
                <a:gd name="T76" fmla="*/ 82 w 262"/>
                <a:gd name="T77" fmla="*/ 148 h 191"/>
                <a:gd name="T78" fmla="*/ 60 w 262"/>
                <a:gd name="T79" fmla="*/ 153 h 191"/>
                <a:gd name="T80" fmla="*/ 60 w 262"/>
                <a:gd name="T81" fmla="*/ 142 h 191"/>
                <a:gd name="T82" fmla="*/ 87 w 262"/>
                <a:gd name="T83" fmla="*/ 137 h 191"/>
                <a:gd name="T84" fmla="*/ 115 w 262"/>
                <a:gd name="T85" fmla="*/ 137 h 191"/>
                <a:gd name="T86" fmla="*/ 120 w 262"/>
                <a:gd name="T87" fmla="*/ 120 h 191"/>
                <a:gd name="T88" fmla="*/ 142 w 262"/>
                <a:gd name="T89" fmla="*/ 109 h 191"/>
                <a:gd name="T90" fmla="*/ 147 w 262"/>
                <a:gd name="T91" fmla="*/ 93 h 191"/>
                <a:gd name="T92" fmla="*/ 137 w 262"/>
                <a:gd name="T93" fmla="*/ 82 h 191"/>
                <a:gd name="T94" fmla="*/ 120 w 262"/>
                <a:gd name="T95" fmla="*/ 82 h 191"/>
                <a:gd name="T96" fmla="*/ 131 w 262"/>
                <a:gd name="T97" fmla="*/ 77 h 191"/>
                <a:gd name="T98" fmla="*/ 120 w 262"/>
                <a:gd name="T99" fmla="*/ 60 h 191"/>
                <a:gd name="T100" fmla="*/ 93 w 262"/>
                <a:gd name="T101" fmla="*/ 66 h 191"/>
                <a:gd name="T102" fmla="*/ 71 w 262"/>
                <a:gd name="T103" fmla="*/ 60 h 191"/>
                <a:gd name="T104" fmla="*/ 71 w 262"/>
                <a:gd name="T105" fmla="*/ 66 h 191"/>
                <a:gd name="T106" fmla="*/ 44 w 262"/>
                <a:gd name="T107" fmla="*/ 66 h 191"/>
                <a:gd name="T108" fmla="*/ 28 w 262"/>
                <a:gd name="T109" fmla="*/ 60 h 191"/>
                <a:gd name="T110" fmla="*/ 22 w 262"/>
                <a:gd name="T111" fmla="*/ 60 h 191"/>
                <a:gd name="T112" fmla="*/ 0 w 262"/>
                <a:gd name="T113" fmla="*/ 4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191">
                  <a:moveTo>
                    <a:pt x="0" y="38"/>
                  </a:moveTo>
                  <a:lnTo>
                    <a:pt x="6" y="33"/>
                  </a:lnTo>
                  <a:lnTo>
                    <a:pt x="11" y="28"/>
                  </a:lnTo>
                  <a:lnTo>
                    <a:pt x="11" y="22"/>
                  </a:lnTo>
                  <a:lnTo>
                    <a:pt x="22" y="22"/>
                  </a:lnTo>
                  <a:lnTo>
                    <a:pt x="22" y="17"/>
                  </a:lnTo>
                  <a:lnTo>
                    <a:pt x="28" y="17"/>
                  </a:lnTo>
                  <a:lnTo>
                    <a:pt x="22" y="17"/>
                  </a:lnTo>
                  <a:lnTo>
                    <a:pt x="33" y="11"/>
                  </a:lnTo>
                  <a:lnTo>
                    <a:pt x="38" y="11"/>
                  </a:lnTo>
                  <a:lnTo>
                    <a:pt x="33" y="11"/>
                  </a:lnTo>
                  <a:lnTo>
                    <a:pt x="38" y="6"/>
                  </a:lnTo>
                  <a:lnTo>
                    <a:pt x="49" y="6"/>
                  </a:lnTo>
                  <a:lnTo>
                    <a:pt x="55" y="0"/>
                  </a:lnTo>
                  <a:lnTo>
                    <a:pt x="66" y="0"/>
                  </a:lnTo>
                  <a:lnTo>
                    <a:pt x="77" y="0"/>
                  </a:lnTo>
                  <a:lnTo>
                    <a:pt x="82" y="6"/>
                  </a:lnTo>
                  <a:lnTo>
                    <a:pt x="87" y="6"/>
                  </a:lnTo>
                  <a:lnTo>
                    <a:pt x="87" y="11"/>
                  </a:lnTo>
                  <a:lnTo>
                    <a:pt x="87" y="6"/>
                  </a:lnTo>
                  <a:lnTo>
                    <a:pt x="98" y="6"/>
                  </a:lnTo>
                  <a:lnTo>
                    <a:pt x="115" y="6"/>
                  </a:lnTo>
                  <a:lnTo>
                    <a:pt x="115" y="11"/>
                  </a:lnTo>
                  <a:lnTo>
                    <a:pt x="120" y="11"/>
                  </a:lnTo>
                  <a:lnTo>
                    <a:pt x="115" y="17"/>
                  </a:lnTo>
                  <a:lnTo>
                    <a:pt x="120" y="22"/>
                  </a:lnTo>
                  <a:lnTo>
                    <a:pt x="126" y="28"/>
                  </a:lnTo>
                  <a:lnTo>
                    <a:pt x="131" y="22"/>
                  </a:lnTo>
                  <a:lnTo>
                    <a:pt x="137" y="22"/>
                  </a:lnTo>
                  <a:lnTo>
                    <a:pt x="142" y="22"/>
                  </a:lnTo>
                  <a:lnTo>
                    <a:pt x="153" y="22"/>
                  </a:lnTo>
                  <a:lnTo>
                    <a:pt x="158" y="22"/>
                  </a:lnTo>
                  <a:lnTo>
                    <a:pt x="164" y="22"/>
                  </a:lnTo>
                  <a:lnTo>
                    <a:pt x="169" y="22"/>
                  </a:lnTo>
                  <a:lnTo>
                    <a:pt x="164" y="22"/>
                  </a:lnTo>
                  <a:lnTo>
                    <a:pt x="164" y="28"/>
                  </a:lnTo>
                  <a:lnTo>
                    <a:pt x="169" y="28"/>
                  </a:lnTo>
                  <a:lnTo>
                    <a:pt x="175" y="33"/>
                  </a:lnTo>
                  <a:lnTo>
                    <a:pt x="175" y="38"/>
                  </a:lnTo>
                  <a:lnTo>
                    <a:pt x="175" y="44"/>
                  </a:lnTo>
                  <a:lnTo>
                    <a:pt x="180" y="44"/>
                  </a:lnTo>
                  <a:lnTo>
                    <a:pt x="180" y="38"/>
                  </a:lnTo>
                  <a:lnTo>
                    <a:pt x="186" y="38"/>
                  </a:lnTo>
                  <a:lnTo>
                    <a:pt x="191" y="38"/>
                  </a:lnTo>
                  <a:lnTo>
                    <a:pt x="197" y="38"/>
                  </a:lnTo>
                  <a:lnTo>
                    <a:pt x="197" y="44"/>
                  </a:lnTo>
                  <a:lnTo>
                    <a:pt x="202" y="44"/>
                  </a:lnTo>
                  <a:lnTo>
                    <a:pt x="202" y="49"/>
                  </a:lnTo>
                  <a:lnTo>
                    <a:pt x="207" y="49"/>
                  </a:lnTo>
                  <a:lnTo>
                    <a:pt x="213" y="49"/>
                  </a:lnTo>
                  <a:lnTo>
                    <a:pt x="218" y="55"/>
                  </a:lnTo>
                  <a:lnTo>
                    <a:pt x="218" y="60"/>
                  </a:lnTo>
                  <a:lnTo>
                    <a:pt x="224" y="60"/>
                  </a:lnTo>
                  <a:lnTo>
                    <a:pt x="224" y="66"/>
                  </a:lnTo>
                  <a:lnTo>
                    <a:pt x="224" y="71"/>
                  </a:lnTo>
                  <a:lnTo>
                    <a:pt x="224" y="77"/>
                  </a:lnTo>
                  <a:lnTo>
                    <a:pt x="213" y="77"/>
                  </a:lnTo>
                  <a:lnTo>
                    <a:pt x="207" y="77"/>
                  </a:lnTo>
                  <a:lnTo>
                    <a:pt x="207" y="82"/>
                  </a:lnTo>
                  <a:lnTo>
                    <a:pt x="207" y="88"/>
                  </a:lnTo>
                  <a:lnTo>
                    <a:pt x="218" y="88"/>
                  </a:lnTo>
                  <a:lnTo>
                    <a:pt x="213" y="93"/>
                  </a:lnTo>
                  <a:lnTo>
                    <a:pt x="218" y="93"/>
                  </a:lnTo>
                  <a:lnTo>
                    <a:pt x="224" y="93"/>
                  </a:lnTo>
                  <a:lnTo>
                    <a:pt x="229" y="98"/>
                  </a:lnTo>
                  <a:lnTo>
                    <a:pt x="235" y="93"/>
                  </a:lnTo>
                  <a:lnTo>
                    <a:pt x="235" y="98"/>
                  </a:lnTo>
                  <a:lnTo>
                    <a:pt x="240" y="98"/>
                  </a:lnTo>
                  <a:lnTo>
                    <a:pt x="240" y="104"/>
                  </a:lnTo>
                  <a:lnTo>
                    <a:pt x="240" y="109"/>
                  </a:lnTo>
                  <a:lnTo>
                    <a:pt x="251" y="104"/>
                  </a:lnTo>
                  <a:lnTo>
                    <a:pt x="246" y="109"/>
                  </a:lnTo>
                  <a:lnTo>
                    <a:pt x="251" y="115"/>
                  </a:lnTo>
                  <a:lnTo>
                    <a:pt x="257" y="109"/>
                  </a:lnTo>
                  <a:lnTo>
                    <a:pt x="262" y="109"/>
                  </a:lnTo>
                  <a:lnTo>
                    <a:pt x="262" y="115"/>
                  </a:lnTo>
                  <a:lnTo>
                    <a:pt x="262" y="120"/>
                  </a:lnTo>
                  <a:lnTo>
                    <a:pt x="257" y="120"/>
                  </a:lnTo>
                  <a:lnTo>
                    <a:pt x="246" y="120"/>
                  </a:lnTo>
                  <a:lnTo>
                    <a:pt x="246" y="126"/>
                  </a:lnTo>
                  <a:lnTo>
                    <a:pt x="251" y="126"/>
                  </a:lnTo>
                  <a:lnTo>
                    <a:pt x="246" y="126"/>
                  </a:lnTo>
                  <a:lnTo>
                    <a:pt x="246" y="131"/>
                  </a:lnTo>
                  <a:lnTo>
                    <a:pt x="240" y="131"/>
                  </a:lnTo>
                  <a:lnTo>
                    <a:pt x="235" y="131"/>
                  </a:lnTo>
                  <a:lnTo>
                    <a:pt x="229" y="137"/>
                  </a:lnTo>
                  <a:lnTo>
                    <a:pt x="229" y="142"/>
                  </a:lnTo>
                  <a:lnTo>
                    <a:pt x="224" y="142"/>
                  </a:lnTo>
                  <a:lnTo>
                    <a:pt x="213" y="142"/>
                  </a:lnTo>
                  <a:lnTo>
                    <a:pt x="213" y="137"/>
                  </a:lnTo>
                  <a:lnTo>
                    <a:pt x="207" y="131"/>
                  </a:lnTo>
                  <a:lnTo>
                    <a:pt x="213" y="131"/>
                  </a:lnTo>
                  <a:lnTo>
                    <a:pt x="207" y="131"/>
                  </a:lnTo>
                  <a:lnTo>
                    <a:pt x="213" y="131"/>
                  </a:lnTo>
                  <a:lnTo>
                    <a:pt x="207" y="126"/>
                  </a:lnTo>
                  <a:lnTo>
                    <a:pt x="207" y="120"/>
                  </a:lnTo>
                  <a:lnTo>
                    <a:pt x="202" y="126"/>
                  </a:lnTo>
                  <a:lnTo>
                    <a:pt x="202" y="120"/>
                  </a:lnTo>
                  <a:lnTo>
                    <a:pt x="197" y="120"/>
                  </a:lnTo>
                  <a:lnTo>
                    <a:pt x="191" y="120"/>
                  </a:lnTo>
                  <a:lnTo>
                    <a:pt x="186" y="120"/>
                  </a:lnTo>
                  <a:lnTo>
                    <a:pt x="191" y="126"/>
                  </a:lnTo>
                  <a:lnTo>
                    <a:pt x="186" y="131"/>
                  </a:lnTo>
                  <a:lnTo>
                    <a:pt x="180" y="126"/>
                  </a:lnTo>
                  <a:lnTo>
                    <a:pt x="180" y="131"/>
                  </a:lnTo>
                  <a:lnTo>
                    <a:pt x="191" y="131"/>
                  </a:lnTo>
                  <a:lnTo>
                    <a:pt x="186" y="137"/>
                  </a:lnTo>
                  <a:lnTo>
                    <a:pt x="191" y="137"/>
                  </a:lnTo>
                  <a:lnTo>
                    <a:pt x="186" y="137"/>
                  </a:lnTo>
                  <a:lnTo>
                    <a:pt x="191" y="142"/>
                  </a:lnTo>
                  <a:lnTo>
                    <a:pt x="197" y="148"/>
                  </a:lnTo>
                  <a:lnTo>
                    <a:pt x="202" y="148"/>
                  </a:lnTo>
                  <a:lnTo>
                    <a:pt x="197" y="153"/>
                  </a:lnTo>
                  <a:lnTo>
                    <a:pt x="202" y="153"/>
                  </a:lnTo>
                  <a:lnTo>
                    <a:pt x="197" y="153"/>
                  </a:lnTo>
                  <a:lnTo>
                    <a:pt x="197" y="158"/>
                  </a:lnTo>
                  <a:lnTo>
                    <a:pt x="207" y="158"/>
                  </a:lnTo>
                  <a:lnTo>
                    <a:pt x="202" y="164"/>
                  </a:lnTo>
                  <a:lnTo>
                    <a:pt x="202" y="169"/>
                  </a:lnTo>
                  <a:lnTo>
                    <a:pt x="197" y="175"/>
                  </a:lnTo>
                  <a:lnTo>
                    <a:pt x="191" y="175"/>
                  </a:lnTo>
                  <a:lnTo>
                    <a:pt x="191" y="180"/>
                  </a:lnTo>
                  <a:lnTo>
                    <a:pt x="186" y="180"/>
                  </a:lnTo>
                  <a:lnTo>
                    <a:pt x="186" y="175"/>
                  </a:lnTo>
                  <a:lnTo>
                    <a:pt x="169" y="169"/>
                  </a:lnTo>
                  <a:lnTo>
                    <a:pt x="164" y="169"/>
                  </a:lnTo>
                  <a:lnTo>
                    <a:pt x="164" y="164"/>
                  </a:lnTo>
                  <a:lnTo>
                    <a:pt x="158" y="164"/>
                  </a:lnTo>
                  <a:lnTo>
                    <a:pt x="158" y="169"/>
                  </a:lnTo>
                  <a:lnTo>
                    <a:pt x="169" y="180"/>
                  </a:lnTo>
                  <a:lnTo>
                    <a:pt x="175" y="186"/>
                  </a:lnTo>
                  <a:lnTo>
                    <a:pt x="175" y="191"/>
                  </a:lnTo>
                  <a:lnTo>
                    <a:pt x="169" y="191"/>
                  </a:lnTo>
                  <a:lnTo>
                    <a:pt x="164" y="191"/>
                  </a:lnTo>
                  <a:lnTo>
                    <a:pt x="158" y="191"/>
                  </a:lnTo>
                  <a:lnTo>
                    <a:pt x="158" y="186"/>
                  </a:lnTo>
                  <a:lnTo>
                    <a:pt x="153" y="186"/>
                  </a:lnTo>
                  <a:lnTo>
                    <a:pt x="147" y="186"/>
                  </a:lnTo>
                  <a:lnTo>
                    <a:pt x="137" y="180"/>
                  </a:lnTo>
                  <a:lnTo>
                    <a:pt x="131" y="180"/>
                  </a:lnTo>
                  <a:lnTo>
                    <a:pt x="131" y="175"/>
                  </a:lnTo>
                  <a:lnTo>
                    <a:pt x="126" y="175"/>
                  </a:lnTo>
                  <a:lnTo>
                    <a:pt x="120" y="175"/>
                  </a:lnTo>
                  <a:lnTo>
                    <a:pt x="115" y="175"/>
                  </a:lnTo>
                  <a:lnTo>
                    <a:pt x="115" y="169"/>
                  </a:lnTo>
                  <a:lnTo>
                    <a:pt x="126" y="169"/>
                  </a:lnTo>
                  <a:lnTo>
                    <a:pt x="126" y="164"/>
                  </a:lnTo>
                  <a:lnTo>
                    <a:pt x="115" y="164"/>
                  </a:lnTo>
                  <a:lnTo>
                    <a:pt x="120" y="158"/>
                  </a:lnTo>
                  <a:lnTo>
                    <a:pt x="115" y="158"/>
                  </a:lnTo>
                  <a:lnTo>
                    <a:pt x="109" y="153"/>
                  </a:lnTo>
                  <a:lnTo>
                    <a:pt x="104" y="148"/>
                  </a:lnTo>
                  <a:lnTo>
                    <a:pt x="98" y="148"/>
                  </a:lnTo>
                  <a:lnTo>
                    <a:pt x="93" y="153"/>
                  </a:lnTo>
                  <a:lnTo>
                    <a:pt x="87" y="153"/>
                  </a:lnTo>
                  <a:lnTo>
                    <a:pt x="82" y="148"/>
                  </a:lnTo>
                  <a:lnTo>
                    <a:pt x="82" y="153"/>
                  </a:lnTo>
                  <a:lnTo>
                    <a:pt x="77" y="153"/>
                  </a:lnTo>
                  <a:lnTo>
                    <a:pt x="71" y="153"/>
                  </a:lnTo>
                  <a:lnTo>
                    <a:pt x="60" y="153"/>
                  </a:lnTo>
                  <a:lnTo>
                    <a:pt x="55" y="153"/>
                  </a:lnTo>
                  <a:lnTo>
                    <a:pt x="55" y="148"/>
                  </a:lnTo>
                  <a:lnTo>
                    <a:pt x="60" y="148"/>
                  </a:lnTo>
                  <a:lnTo>
                    <a:pt x="60" y="142"/>
                  </a:lnTo>
                  <a:lnTo>
                    <a:pt x="71" y="142"/>
                  </a:lnTo>
                  <a:lnTo>
                    <a:pt x="71" y="137"/>
                  </a:lnTo>
                  <a:lnTo>
                    <a:pt x="82" y="137"/>
                  </a:lnTo>
                  <a:lnTo>
                    <a:pt x="87" y="137"/>
                  </a:lnTo>
                  <a:lnTo>
                    <a:pt x="93" y="137"/>
                  </a:lnTo>
                  <a:lnTo>
                    <a:pt x="104" y="137"/>
                  </a:lnTo>
                  <a:lnTo>
                    <a:pt x="109" y="137"/>
                  </a:lnTo>
                  <a:lnTo>
                    <a:pt x="115" y="137"/>
                  </a:lnTo>
                  <a:lnTo>
                    <a:pt x="120" y="131"/>
                  </a:lnTo>
                  <a:lnTo>
                    <a:pt x="115" y="131"/>
                  </a:lnTo>
                  <a:lnTo>
                    <a:pt x="115" y="126"/>
                  </a:lnTo>
                  <a:lnTo>
                    <a:pt x="120" y="120"/>
                  </a:lnTo>
                  <a:lnTo>
                    <a:pt x="126" y="120"/>
                  </a:lnTo>
                  <a:lnTo>
                    <a:pt x="131" y="115"/>
                  </a:lnTo>
                  <a:lnTo>
                    <a:pt x="137" y="115"/>
                  </a:lnTo>
                  <a:lnTo>
                    <a:pt x="142" y="109"/>
                  </a:lnTo>
                  <a:lnTo>
                    <a:pt x="147" y="109"/>
                  </a:lnTo>
                  <a:lnTo>
                    <a:pt x="147" y="104"/>
                  </a:lnTo>
                  <a:lnTo>
                    <a:pt x="147" y="98"/>
                  </a:lnTo>
                  <a:lnTo>
                    <a:pt x="147" y="93"/>
                  </a:lnTo>
                  <a:lnTo>
                    <a:pt x="142" y="93"/>
                  </a:lnTo>
                  <a:lnTo>
                    <a:pt x="142" y="88"/>
                  </a:lnTo>
                  <a:lnTo>
                    <a:pt x="137" y="88"/>
                  </a:lnTo>
                  <a:lnTo>
                    <a:pt x="137" y="82"/>
                  </a:lnTo>
                  <a:lnTo>
                    <a:pt x="131" y="82"/>
                  </a:lnTo>
                  <a:lnTo>
                    <a:pt x="131" y="77"/>
                  </a:lnTo>
                  <a:lnTo>
                    <a:pt x="126" y="82"/>
                  </a:lnTo>
                  <a:lnTo>
                    <a:pt x="120" y="82"/>
                  </a:lnTo>
                  <a:lnTo>
                    <a:pt x="115" y="82"/>
                  </a:lnTo>
                  <a:lnTo>
                    <a:pt x="115" y="77"/>
                  </a:lnTo>
                  <a:lnTo>
                    <a:pt x="126" y="77"/>
                  </a:lnTo>
                  <a:lnTo>
                    <a:pt x="131" y="77"/>
                  </a:lnTo>
                  <a:lnTo>
                    <a:pt x="126" y="71"/>
                  </a:lnTo>
                  <a:lnTo>
                    <a:pt x="120" y="71"/>
                  </a:lnTo>
                  <a:lnTo>
                    <a:pt x="115" y="66"/>
                  </a:lnTo>
                  <a:lnTo>
                    <a:pt x="120" y="60"/>
                  </a:lnTo>
                  <a:lnTo>
                    <a:pt x="115" y="60"/>
                  </a:lnTo>
                  <a:lnTo>
                    <a:pt x="109" y="60"/>
                  </a:lnTo>
                  <a:lnTo>
                    <a:pt x="104" y="66"/>
                  </a:lnTo>
                  <a:lnTo>
                    <a:pt x="93" y="66"/>
                  </a:lnTo>
                  <a:lnTo>
                    <a:pt x="93" y="60"/>
                  </a:lnTo>
                  <a:lnTo>
                    <a:pt x="87" y="60"/>
                  </a:lnTo>
                  <a:lnTo>
                    <a:pt x="82" y="60"/>
                  </a:lnTo>
                  <a:lnTo>
                    <a:pt x="71" y="60"/>
                  </a:lnTo>
                  <a:lnTo>
                    <a:pt x="77" y="66"/>
                  </a:lnTo>
                  <a:lnTo>
                    <a:pt x="82" y="66"/>
                  </a:lnTo>
                  <a:lnTo>
                    <a:pt x="77" y="66"/>
                  </a:lnTo>
                  <a:lnTo>
                    <a:pt x="71" y="66"/>
                  </a:lnTo>
                  <a:lnTo>
                    <a:pt x="66" y="66"/>
                  </a:lnTo>
                  <a:lnTo>
                    <a:pt x="60" y="60"/>
                  </a:lnTo>
                  <a:lnTo>
                    <a:pt x="49" y="66"/>
                  </a:lnTo>
                  <a:lnTo>
                    <a:pt x="44" y="66"/>
                  </a:lnTo>
                  <a:lnTo>
                    <a:pt x="38" y="60"/>
                  </a:lnTo>
                  <a:lnTo>
                    <a:pt x="33" y="60"/>
                  </a:lnTo>
                  <a:lnTo>
                    <a:pt x="28" y="66"/>
                  </a:lnTo>
                  <a:lnTo>
                    <a:pt x="28" y="60"/>
                  </a:lnTo>
                  <a:lnTo>
                    <a:pt x="22" y="55"/>
                  </a:lnTo>
                  <a:lnTo>
                    <a:pt x="22" y="60"/>
                  </a:lnTo>
                  <a:lnTo>
                    <a:pt x="22" y="55"/>
                  </a:lnTo>
                  <a:lnTo>
                    <a:pt x="22" y="60"/>
                  </a:lnTo>
                  <a:lnTo>
                    <a:pt x="11" y="60"/>
                  </a:lnTo>
                  <a:lnTo>
                    <a:pt x="6" y="55"/>
                  </a:lnTo>
                  <a:lnTo>
                    <a:pt x="0" y="55"/>
                  </a:lnTo>
                  <a:lnTo>
                    <a:pt x="0" y="49"/>
                  </a:lnTo>
                  <a:lnTo>
                    <a:pt x="6" y="49"/>
                  </a:lnTo>
                  <a:lnTo>
                    <a:pt x="0" y="44"/>
                  </a:lnTo>
                  <a:lnTo>
                    <a:pt x="0" y="38"/>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8" name="Freeform 541">
              <a:extLst>
                <a:ext uri="{FF2B5EF4-FFF2-40B4-BE49-F238E27FC236}">
                  <a16:creationId xmlns:a16="http://schemas.microsoft.com/office/drawing/2014/main" id="{29781A3F-91AA-306E-E391-EC685BCAA9CD}"/>
                </a:ext>
              </a:extLst>
            </p:cNvPr>
            <p:cNvSpPr>
              <a:spLocks/>
            </p:cNvSpPr>
            <p:nvPr/>
          </p:nvSpPr>
          <p:spPr bwMode="auto">
            <a:xfrm>
              <a:off x="3408506" y="2573828"/>
              <a:ext cx="25400" cy="7938"/>
            </a:xfrm>
            <a:custGeom>
              <a:avLst/>
              <a:gdLst>
                <a:gd name="T0" fmla="*/ 0 w 16"/>
                <a:gd name="T1" fmla="*/ 5 h 5"/>
                <a:gd name="T2" fmla="*/ 5 w 16"/>
                <a:gd name="T3" fmla="*/ 0 h 5"/>
                <a:gd name="T4" fmla="*/ 16 w 16"/>
                <a:gd name="T5" fmla="*/ 0 h 5"/>
                <a:gd name="T6" fmla="*/ 16 w 16"/>
                <a:gd name="T7" fmla="*/ 5 h 5"/>
                <a:gd name="T8" fmla="*/ 5 w 16"/>
                <a:gd name="T9" fmla="*/ 5 h 5"/>
                <a:gd name="T10" fmla="*/ 0 w 16"/>
                <a:gd name="T11" fmla="*/ 5 h 5"/>
              </a:gdLst>
              <a:ahLst/>
              <a:cxnLst>
                <a:cxn ang="0">
                  <a:pos x="T0" y="T1"/>
                </a:cxn>
                <a:cxn ang="0">
                  <a:pos x="T2" y="T3"/>
                </a:cxn>
                <a:cxn ang="0">
                  <a:pos x="T4" y="T5"/>
                </a:cxn>
                <a:cxn ang="0">
                  <a:pos x="T6" y="T7"/>
                </a:cxn>
                <a:cxn ang="0">
                  <a:pos x="T8" y="T9"/>
                </a:cxn>
                <a:cxn ang="0">
                  <a:pos x="T10" y="T11"/>
                </a:cxn>
              </a:cxnLst>
              <a:rect l="0" t="0" r="r" b="b"/>
              <a:pathLst>
                <a:path w="16" h="5">
                  <a:moveTo>
                    <a:pt x="0" y="5"/>
                  </a:moveTo>
                  <a:lnTo>
                    <a:pt x="5" y="0"/>
                  </a:lnTo>
                  <a:lnTo>
                    <a:pt x="16" y="0"/>
                  </a:lnTo>
                  <a:lnTo>
                    <a:pt x="16" y="5"/>
                  </a:lnTo>
                  <a:lnTo>
                    <a:pt x="5" y="5"/>
                  </a:lnTo>
                  <a:lnTo>
                    <a:pt x="0" y="5"/>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9" name="Rectangle 545">
              <a:extLst>
                <a:ext uri="{FF2B5EF4-FFF2-40B4-BE49-F238E27FC236}">
                  <a16:creationId xmlns:a16="http://schemas.microsoft.com/office/drawing/2014/main" id="{1FFC80ED-70CA-1519-4110-CC17AEA210E4}"/>
                </a:ext>
              </a:extLst>
            </p:cNvPr>
            <p:cNvSpPr>
              <a:spLocks noChangeArrowheads="1"/>
            </p:cNvSpPr>
            <p:nvPr/>
          </p:nvSpPr>
          <p:spPr bwMode="auto">
            <a:xfrm>
              <a:off x="3486294" y="2486516"/>
              <a:ext cx="7938" cy="9525"/>
            </a:xfrm>
            <a:prstGeom prst="rect">
              <a:avLst/>
            </a:prstGeom>
            <a:grp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50" name="Freeform 551">
              <a:extLst>
                <a:ext uri="{FF2B5EF4-FFF2-40B4-BE49-F238E27FC236}">
                  <a16:creationId xmlns:a16="http://schemas.microsoft.com/office/drawing/2014/main" id="{349C171D-985D-D5DE-FF3A-76A1B57D7954}"/>
                </a:ext>
              </a:extLst>
            </p:cNvPr>
            <p:cNvSpPr>
              <a:spLocks/>
            </p:cNvSpPr>
            <p:nvPr/>
          </p:nvSpPr>
          <p:spPr bwMode="auto">
            <a:xfrm>
              <a:off x="3313256" y="2192828"/>
              <a:ext cx="519113" cy="182563"/>
            </a:xfrm>
            <a:custGeom>
              <a:avLst/>
              <a:gdLst>
                <a:gd name="T0" fmla="*/ 5 w 327"/>
                <a:gd name="T1" fmla="*/ 104 h 115"/>
                <a:gd name="T2" fmla="*/ 27 w 327"/>
                <a:gd name="T3" fmla="*/ 98 h 115"/>
                <a:gd name="T4" fmla="*/ 27 w 327"/>
                <a:gd name="T5" fmla="*/ 93 h 115"/>
                <a:gd name="T6" fmla="*/ 38 w 327"/>
                <a:gd name="T7" fmla="*/ 87 h 115"/>
                <a:gd name="T8" fmla="*/ 43 w 327"/>
                <a:gd name="T9" fmla="*/ 76 h 115"/>
                <a:gd name="T10" fmla="*/ 54 w 327"/>
                <a:gd name="T11" fmla="*/ 71 h 115"/>
                <a:gd name="T12" fmla="*/ 81 w 327"/>
                <a:gd name="T13" fmla="*/ 71 h 115"/>
                <a:gd name="T14" fmla="*/ 92 w 327"/>
                <a:gd name="T15" fmla="*/ 76 h 115"/>
                <a:gd name="T16" fmla="*/ 103 w 327"/>
                <a:gd name="T17" fmla="*/ 71 h 115"/>
                <a:gd name="T18" fmla="*/ 92 w 327"/>
                <a:gd name="T19" fmla="*/ 71 h 115"/>
                <a:gd name="T20" fmla="*/ 76 w 327"/>
                <a:gd name="T21" fmla="*/ 65 h 115"/>
                <a:gd name="T22" fmla="*/ 81 w 327"/>
                <a:gd name="T23" fmla="*/ 65 h 115"/>
                <a:gd name="T24" fmla="*/ 81 w 327"/>
                <a:gd name="T25" fmla="*/ 55 h 115"/>
                <a:gd name="T26" fmla="*/ 71 w 327"/>
                <a:gd name="T27" fmla="*/ 49 h 115"/>
                <a:gd name="T28" fmla="*/ 87 w 327"/>
                <a:gd name="T29" fmla="*/ 49 h 115"/>
                <a:gd name="T30" fmla="*/ 103 w 327"/>
                <a:gd name="T31" fmla="*/ 49 h 115"/>
                <a:gd name="T32" fmla="*/ 114 w 327"/>
                <a:gd name="T33" fmla="*/ 55 h 115"/>
                <a:gd name="T34" fmla="*/ 114 w 327"/>
                <a:gd name="T35" fmla="*/ 55 h 115"/>
                <a:gd name="T36" fmla="*/ 109 w 327"/>
                <a:gd name="T37" fmla="*/ 38 h 115"/>
                <a:gd name="T38" fmla="*/ 87 w 327"/>
                <a:gd name="T39" fmla="*/ 44 h 115"/>
                <a:gd name="T40" fmla="*/ 81 w 327"/>
                <a:gd name="T41" fmla="*/ 38 h 115"/>
                <a:gd name="T42" fmla="*/ 54 w 327"/>
                <a:gd name="T43" fmla="*/ 38 h 115"/>
                <a:gd name="T44" fmla="*/ 54 w 327"/>
                <a:gd name="T45" fmla="*/ 27 h 115"/>
                <a:gd name="T46" fmla="*/ 60 w 327"/>
                <a:gd name="T47" fmla="*/ 22 h 115"/>
                <a:gd name="T48" fmla="*/ 81 w 327"/>
                <a:gd name="T49" fmla="*/ 16 h 115"/>
                <a:gd name="T50" fmla="*/ 109 w 327"/>
                <a:gd name="T51" fmla="*/ 16 h 115"/>
                <a:gd name="T52" fmla="*/ 120 w 327"/>
                <a:gd name="T53" fmla="*/ 11 h 115"/>
                <a:gd name="T54" fmla="*/ 136 w 327"/>
                <a:gd name="T55" fmla="*/ 16 h 115"/>
                <a:gd name="T56" fmla="*/ 152 w 327"/>
                <a:gd name="T57" fmla="*/ 11 h 115"/>
                <a:gd name="T58" fmla="*/ 163 w 327"/>
                <a:gd name="T59" fmla="*/ 5 h 115"/>
                <a:gd name="T60" fmla="*/ 191 w 327"/>
                <a:gd name="T61" fmla="*/ 5 h 115"/>
                <a:gd name="T62" fmla="*/ 218 w 327"/>
                <a:gd name="T63" fmla="*/ 5 h 115"/>
                <a:gd name="T64" fmla="*/ 256 w 327"/>
                <a:gd name="T65" fmla="*/ 0 h 115"/>
                <a:gd name="T66" fmla="*/ 294 w 327"/>
                <a:gd name="T67" fmla="*/ 5 h 115"/>
                <a:gd name="T68" fmla="*/ 310 w 327"/>
                <a:gd name="T69" fmla="*/ 5 h 115"/>
                <a:gd name="T70" fmla="*/ 327 w 327"/>
                <a:gd name="T71" fmla="*/ 11 h 115"/>
                <a:gd name="T72" fmla="*/ 316 w 327"/>
                <a:gd name="T73" fmla="*/ 16 h 115"/>
                <a:gd name="T74" fmla="*/ 294 w 327"/>
                <a:gd name="T75" fmla="*/ 22 h 115"/>
                <a:gd name="T76" fmla="*/ 289 w 327"/>
                <a:gd name="T77" fmla="*/ 27 h 115"/>
                <a:gd name="T78" fmla="*/ 261 w 327"/>
                <a:gd name="T79" fmla="*/ 38 h 115"/>
                <a:gd name="T80" fmla="*/ 250 w 327"/>
                <a:gd name="T81" fmla="*/ 38 h 115"/>
                <a:gd name="T82" fmla="*/ 234 w 327"/>
                <a:gd name="T83" fmla="*/ 44 h 115"/>
                <a:gd name="T84" fmla="*/ 229 w 327"/>
                <a:gd name="T85" fmla="*/ 49 h 115"/>
                <a:gd name="T86" fmla="*/ 218 w 327"/>
                <a:gd name="T87" fmla="*/ 49 h 115"/>
                <a:gd name="T88" fmla="*/ 196 w 327"/>
                <a:gd name="T89" fmla="*/ 55 h 115"/>
                <a:gd name="T90" fmla="*/ 180 w 327"/>
                <a:gd name="T91" fmla="*/ 60 h 115"/>
                <a:gd name="T92" fmla="*/ 174 w 327"/>
                <a:gd name="T93" fmla="*/ 65 h 115"/>
                <a:gd name="T94" fmla="*/ 169 w 327"/>
                <a:gd name="T95" fmla="*/ 76 h 115"/>
                <a:gd name="T96" fmla="*/ 163 w 327"/>
                <a:gd name="T97" fmla="*/ 76 h 115"/>
                <a:gd name="T98" fmla="*/ 136 w 327"/>
                <a:gd name="T99" fmla="*/ 87 h 115"/>
                <a:gd name="T100" fmla="*/ 125 w 327"/>
                <a:gd name="T101" fmla="*/ 87 h 115"/>
                <a:gd name="T102" fmla="*/ 109 w 327"/>
                <a:gd name="T103" fmla="*/ 93 h 115"/>
                <a:gd name="T104" fmla="*/ 103 w 327"/>
                <a:gd name="T105" fmla="*/ 98 h 115"/>
                <a:gd name="T106" fmla="*/ 120 w 327"/>
                <a:gd name="T107" fmla="*/ 104 h 115"/>
                <a:gd name="T108" fmla="*/ 103 w 327"/>
                <a:gd name="T109" fmla="*/ 104 h 115"/>
                <a:gd name="T110" fmla="*/ 81 w 327"/>
                <a:gd name="T111" fmla="*/ 115 h 115"/>
                <a:gd name="T112" fmla="*/ 71 w 327"/>
                <a:gd name="T113" fmla="*/ 109 h 115"/>
                <a:gd name="T114" fmla="*/ 54 w 327"/>
                <a:gd name="T115" fmla="*/ 109 h 115"/>
                <a:gd name="T116" fmla="*/ 43 w 327"/>
                <a:gd name="T117" fmla="*/ 104 h 115"/>
                <a:gd name="T118" fmla="*/ 38 w 327"/>
                <a:gd name="T119" fmla="*/ 109 h 115"/>
                <a:gd name="T120" fmla="*/ 16 w 327"/>
                <a:gd name="T121" fmla="*/ 109 h 115"/>
                <a:gd name="T122" fmla="*/ 0 w 327"/>
                <a:gd name="T123" fmla="*/ 10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115">
                  <a:moveTo>
                    <a:pt x="0" y="104"/>
                  </a:moveTo>
                  <a:lnTo>
                    <a:pt x="5" y="104"/>
                  </a:lnTo>
                  <a:lnTo>
                    <a:pt x="16" y="98"/>
                  </a:lnTo>
                  <a:lnTo>
                    <a:pt x="27" y="98"/>
                  </a:lnTo>
                  <a:lnTo>
                    <a:pt x="38" y="93"/>
                  </a:lnTo>
                  <a:lnTo>
                    <a:pt x="27" y="93"/>
                  </a:lnTo>
                  <a:lnTo>
                    <a:pt x="27" y="87"/>
                  </a:lnTo>
                  <a:lnTo>
                    <a:pt x="38" y="87"/>
                  </a:lnTo>
                  <a:lnTo>
                    <a:pt x="38" y="82"/>
                  </a:lnTo>
                  <a:lnTo>
                    <a:pt x="43" y="76"/>
                  </a:lnTo>
                  <a:lnTo>
                    <a:pt x="49" y="76"/>
                  </a:lnTo>
                  <a:lnTo>
                    <a:pt x="54" y="71"/>
                  </a:lnTo>
                  <a:lnTo>
                    <a:pt x="71" y="71"/>
                  </a:lnTo>
                  <a:lnTo>
                    <a:pt x="81" y="71"/>
                  </a:lnTo>
                  <a:lnTo>
                    <a:pt x="92" y="71"/>
                  </a:lnTo>
                  <a:lnTo>
                    <a:pt x="92" y="76"/>
                  </a:lnTo>
                  <a:lnTo>
                    <a:pt x="87" y="71"/>
                  </a:lnTo>
                  <a:lnTo>
                    <a:pt x="103" y="71"/>
                  </a:lnTo>
                  <a:lnTo>
                    <a:pt x="103" y="65"/>
                  </a:lnTo>
                  <a:lnTo>
                    <a:pt x="92" y="71"/>
                  </a:lnTo>
                  <a:lnTo>
                    <a:pt x="81" y="65"/>
                  </a:lnTo>
                  <a:lnTo>
                    <a:pt x="76" y="65"/>
                  </a:lnTo>
                  <a:lnTo>
                    <a:pt x="87" y="65"/>
                  </a:lnTo>
                  <a:lnTo>
                    <a:pt x="81" y="65"/>
                  </a:lnTo>
                  <a:lnTo>
                    <a:pt x="81" y="60"/>
                  </a:lnTo>
                  <a:lnTo>
                    <a:pt x="81" y="55"/>
                  </a:lnTo>
                  <a:lnTo>
                    <a:pt x="71" y="55"/>
                  </a:lnTo>
                  <a:lnTo>
                    <a:pt x="71" y="49"/>
                  </a:lnTo>
                  <a:lnTo>
                    <a:pt x="76" y="49"/>
                  </a:lnTo>
                  <a:lnTo>
                    <a:pt x="87" y="49"/>
                  </a:lnTo>
                  <a:lnTo>
                    <a:pt x="98" y="49"/>
                  </a:lnTo>
                  <a:lnTo>
                    <a:pt x="103" y="49"/>
                  </a:lnTo>
                  <a:lnTo>
                    <a:pt x="109" y="55"/>
                  </a:lnTo>
                  <a:lnTo>
                    <a:pt x="114" y="55"/>
                  </a:lnTo>
                  <a:lnTo>
                    <a:pt x="125" y="55"/>
                  </a:lnTo>
                  <a:lnTo>
                    <a:pt x="114" y="55"/>
                  </a:lnTo>
                  <a:lnTo>
                    <a:pt x="109" y="44"/>
                  </a:lnTo>
                  <a:lnTo>
                    <a:pt x="109" y="38"/>
                  </a:lnTo>
                  <a:lnTo>
                    <a:pt x="103" y="44"/>
                  </a:lnTo>
                  <a:lnTo>
                    <a:pt x="87" y="44"/>
                  </a:lnTo>
                  <a:lnTo>
                    <a:pt x="76" y="44"/>
                  </a:lnTo>
                  <a:lnTo>
                    <a:pt x="81" y="38"/>
                  </a:lnTo>
                  <a:lnTo>
                    <a:pt x="65" y="38"/>
                  </a:lnTo>
                  <a:lnTo>
                    <a:pt x="54" y="38"/>
                  </a:lnTo>
                  <a:lnTo>
                    <a:pt x="49" y="33"/>
                  </a:lnTo>
                  <a:lnTo>
                    <a:pt x="54" y="27"/>
                  </a:lnTo>
                  <a:lnTo>
                    <a:pt x="43" y="27"/>
                  </a:lnTo>
                  <a:lnTo>
                    <a:pt x="60" y="22"/>
                  </a:lnTo>
                  <a:lnTo>
                    <a:pt x="65" y="22"/>
                  </a:lnTo>
                  <a:lnTo>
                    <a:pt x="81" y="16"/>
                  </a:lnTo>
                  <a:lnTo>
                    <a:pt x="92" y="22"/>
                  </a:lnTo>
                  <a:lnTo>
                    <a:pt x="109" y="16"/>
                  </a:lnTo>
                  <a:lnTo>
                    <a:pt x="109" y="11"/>
                  </a:lnTo>
                  <a:lnTo>
                    <a:pt x="120" y="11"/>
                  </a:lnTo>
                  <a:lnTo>
                    <a:pt x="131" y="16"/>
                  </a:lnTo>
                  <a:lnTo>
                    <a:pt x="136" y="16"/>
                  </a:lnTo>
                  <a:lnTo>
                    <a:pt x="141" y="11"/>
                  </a:lnTo>
                  <a:lnTo>
                    <a:pt x="152" y="11"/>
                  </a:lnTo>
                  <a:lnTo>
                    <a:pt x="147" y="5"/>
                  </a:lnTo>
                  <a:lnTo>
                    <a:pt x="163" y="5"/>
                  </a:lnTo>
                  <a:lnTo>
                    <a:pt x="180" y="5"/>
                  </a:lnTo>
                  <a:lnTo>
                    <a:pt x="191" y="5"/>
                  </a:lnTo>
                  <a:lnTo>
                    <a:pt x="212" y="5"/>
                  </a:lnTo>
                  <a:lnTo>
                    <a:pt x="218" y="5"/>
                  </a:lnTo>
                  <a:lnTo>
                    <a:pt x="229" y="0"/>
                  </a:lnTo>
                  <a:lnTo>
                    <a:pt x="256" y="0"/>
                  </a:lnTo>
                  <a:lnTo>
                    <a:pt x="267" y="5"/>
                  </a:lnTo>
                  <a:lnTo>
                    <a:pt x="294" y="5"/>
                  </a:lnTo>
                  <a:lnTo>
                    <a:pt x="300" y="5"/>
                  </a:lnTo>
                  <a:lnTo>
                    <a:pt x="310" y="5"/>
                  </a:lnTo>
                  <a:lnTo>
                    <a:pt x="310" y="11"/>
                  </a:lnTo>
                  <a:lnTo>
                    <a:pt x="327" y="11"/>
                  </a:lnTo>
                  <a:lnTo>
                    <a:pt x="327" y="16"/>
                  </a:lnTo>
                  <a:lnTo>
                    <a:pt x="316" y="16"/>
                  </a:lnTo>
                  <a:lnTo>
                    <a:pt x="305" y="22"/>
                  </a:lnTo>
                  <a:lnTo>
                    <a:pt x="294" y="22"/>
                  </a:lnTo>
                  <a:lnTo>
                    <a:pt x="289" y="22"/>
                  </a:lnTo>
                  <a:lnTo>
                    <a:pt x="289" y="27"/>
                  </a:lnTo>
                  <a:lnTo>
                    <a:pt x="272" y="33"/>
                  </a:lnTo>
                  <a:lnTo>
                    <a:pt x="261" y="38"/>
                  </a:lnTo>
                  <a:lnTo>
                    <a:pt x="256" y="38"/>
                  </a:lnTo>
                  <a:lnTo>
                    <a:pt x="250" y="38"/>
                  </a:lnTo>
                  <a:lnTo>
                    <a:pt x="240" y="44"/>
                  </a:lnTo>
                  <a:lnTo>
                    <a:pt x="234" y="44"/>
                  </a:lnTo>
                  <a:lnTo>
                    <a:pt x="229" y="44"/>
                  </a:lnTo>
                  <a:lnTo>
                    <a:pt x="229" y="49"/>
                  </a:lnTo>
                  <a:lnTo>
                    <a:pt x="223" y="49"/>
                  </a:lnTo>
                  <a:lnTo>
                    <a:pt x="218" y="49"/>
                  </a:lnTo>
                  <a:lnTo>
                    <a:pt x="212" y="55"/>
                  </a:lnTo>
                  <a:lnTo>
                    <a:pt x="196" y="55"/>
                  </a:lnTo>
                  <a:lnTo>
                    <a:pt x="191" y="60"/>
                  </a:lnTo>
                  <a:lnTo>
                    <a:pt x="180" y="60"/>
                  </a:lnTo>
                  <a:lnTo>
                    <a:pt x="169" y="65"/>
                  </a:lnTo>
                  <a:lnTo>
                    <a:pt x="174" y="65"/>
                  </a:lnTo>
                  <a:lnTo>
                    <a:pt x="169" y="71"/>
                  </a:lnTo>
                  <a:lnTo>
                    <a:pt x="169" y="76"/>
                  </a:lnTo>
                  <a:lnTo>
                    <a:pt x="152" y="76"/>
                  </a:lnTo>
                  <a:lnTo>
                    <a:pt x="163" y="76"/>
                  </a:lnTo>
                  <a:lnTo>
                    <a:pt x="152" y="82"/>
                  </a:lnTo>
                  <a:lnTo>
                    <a:pt x="136" y="87"/>
                  </a:lnTo>
                  <a:lnTo>
                    <a:pt x="125" y="82"/>
                  </a:lnTo>
                  <a:lnTo>
                    <a:pt x="125" y="87"/>
                  </a:lnTo>
                  <a:lnTo>
                    <a:pt x="120" y="93"/>
                  </a:lnTo>
                  <a:lnTo>
                    <a:pt x="109" y="93"/>
                  </a:lnTo>
                  <a:lnTo>
                    <a:pt x="109" y="98"/>
                  </a:lnTo>
                  <a:lnTo>
                    <a:pt x="103" y="98"/>
                  </a:lnTo>
                  <a:lnTo>
                    <a:pt x="120" y="98"/>
                  </a:lnTo>
                  <a:lnTo>
                    <a:pt x="120" y="104"/>
                  </a:lnTo>
                  <a:lnTo>
                    <a:pt x="114" y="109"/>
                  </a:lnTo>
                  <a:lnTo>
                    <a:pt x="103" y="104"/>
                  </a:lnTo>
                  <a:lnTo>
                    <a:pt x="98" y="109"/>
                  </a:lnTo>
                  <a:lnTo>
                    <a:pt x="81" y="115"/>
                  </a:lnTo>
                  <a:lnTo>
                    <a:pt x="81" y="109"/>
                  </a:lnTo>
                  <a:lnTo>
                    <a:pt x="71" y="109"/>
                  </a:lnTo>
                  <a:lnTo>
                    <a:pt x="65" y="109"/>
                  </a:lnTo>
                  <a:lnTo>
                    <a:pt x="54" y="109"/>
                  </a:lnTo>
                  <a:lnTo>
                    <a:pt x="54" y="104"/>
                  </a:lnTo>
                  <a:lnTo>
                    <a:pt x="43" y="104"/>
                  </a:lnTo>
                  <a:lnTo>
                    <a:pt x="49" y="109"/>
                  </a:lnTo>
                  <a:lnTo>
                    <a:pt x="38" y="109"/>
                  </a:lnTo>
                  <a:lnTo>
                    <a:pt x="27" y="109"/>
                  </a:lnTo>
                  <a:lnTo>
                    <a:pt x="16" y="109"/>
                  </a:lnTo>
                  <a:lnTo>
                    <a:pt x="5" y="109"/>
                  </a:lnTo>
                  <a:lnTo>
                    <a:pt x="0" y="104"/>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51" name="Freeform 558">
              <a:extLst>
                <a:ext uri="{FF2B5EF4-FFF2-40B4-BE49-F238E27FC236}">
                  <a16:creationId xmlns:a16="http://schemas.microsoft.com/office/drawing/2014/main" id="{13243BD9-F5B7-48AB-E071-3659B412C0A0}"/>
                </a:ext>
              </a:extLst>
            </p:cNvPr>
            <p:cNvSpPr>
              <a:spLocks/>
            </p:cNvSpPr>
            <p:nvPr/>
          </p:nvSpPr>
          <p:spPr bwMode="auto">
            <a:xfrm>
              <a:off x="3451369" y="2989753"/>
              <a:ext cx="147638" cy="130175"/>
            </a:xfrm>
            <a:custGeom>
              <a:avLst/>
              <a:gdLst>
                <a:gd name="T0" fmla="*/ 11 w 93"/>
                <a:gd name="T1" fmla="*/ 54 h 82"/>
                <a:gd name="T2" fmla="*/ 11 w 93"/>
                <a:gd name="T3" fmla="*/ 49 h 82"/>
                <a:gd name="T4" fmla="*/ 16 w 93"/>
                <a:gd name="T5" fmla="*/ 49 h 82"/>
                <a:gd name="T6" fmla="*/ 22 w 93"/>
                <a:gd name="T7" fmla="*/ 38 h 82"/>
                <a:gd name="T8" fmla="*/ 27 w 93"/>
                <a:gd name="T9" fmla="*/ 33 h 82"/>
                <a:gd name="T10" fmla="*/ 33 w 93"/>
                <a:gd name="T11" fmla="*/ 27 h 82"/>
                <a:gd name="T12" fmla="*/ 38 w 93"/>
                <a:gd name="T13" fmla="*/ 22 h 82"/>
                <a:gd name="T14" fmla="*/ 49 w 93"/>
                <a:gd name="T15" fmla="*/ 16 h 82"/>
                <a:gd name="T16" fmla="*/ 49 w 93"/>
                <a:gd name="T17" fmla="*/ 11 h 82"/>
                <a:gd name="T18" fmla="*/ 60 w 93"/>
                <a:gd name="T19" fmla="*/ 5 h 82"/>
                <a:gd name="T20" fmla="*/ 71 w 93"/>
                <a:gd name="T21" fmla="*/ 0 h 82"/>
                <a:gd name="T22" fmla="*/ 76 w 93"/>
                <a:gd name="T23" fmla="*/ 5 h 82"/>
                <a:gd name="T24" fmla="*/ 65 w 93"/>
                <a:gd name="T25" fmla="*/ 11 h 82"/>
                <a:gd name="T26" fmla="*/ 54 w 93"/>
                <a:gd name="T27" fmla="*/ 22 h 82"/>
                <a:gd name="T28" fmla="*/ 49 w 93"/>
                <a:gd name="T29" fmla="*/ 27 h 82"/>
                <a:gd name="T30" fmla="*/ 60 w 93"/>
                <a:gd name="T31" fmla="*/ 22 h 82"/>
                <a:gd name="T32" fmla="*/ 65 w 93"/>
                <a:gd name="T33" fmla="*/ 27 h 82"/>
                <a:gd name="T34" fmla="*/ 60 w 93"/>
                <a:gd name="T35" fmla="*/ 33 h 82"/>
                <a:gd name="T36" fmla="*/ 60 w 93"/>
                <a:gd name="T37" fmla="*/ 33 h 82"/>
                <a:gd name="T38" fmla="*/ 65 w 93"/>
                <a:gd name="T39" fmla="*/ 38 h 82"/>
                <a:gd name="T40" fmla="*/ 76 w 93"/>
                <a:gd name="T41" fmla="*/ 33 h 82"/>
                <a:gd name="T42" fmla="*/ 76 w 93"/>
                <a:gd name="T43" fmla="*/ 33 h 82"/>
                <a:gd name="T44" fmla="*/ 87 w 93"/>
                <a:gd name="T45" fmla="*/ 38 h 82"/>
                <a:gd name="T46" fmla="*/ 82 w 93"/>
                <a:gd name="T47" fmla="*/ 49 h 82"/>
                <a:gd name="T48" fmla="*/ 87 w 93"/>
                <a:gd name="T49" fmla="*/ 49 h 82"/>
                <a:gd name="T50" fmla="*/ 93 w 93"/>
                <a:gd name="T51" fmla="*/ 54 h 82"/>
                <a:gd name="T52" fmla="*/ 82 w 93"/>
                <a:gd name="T53" fmla="*/ 60 h 82"/>
                <a:gd name="T54" fmla="*/ 87 w 93"/>
                <a:gd name="T55" fmla="*/ 65 h 82"/>
                <a:gd name="T56" fmla="*/ 87 w 93"/>
                <a:gd name="T57" fmla="*/ 65 h 82"/>
                <a:gd name="T58" fmla="*/ 82 w 93"/>
                <a:gd name="T59" fmla="*/ 71 h 82"/>
                <a:gd name="T60" fmla="*/ 71 w 93"/>
                <a:gd name="T61" fmla="*/ 82 h 82"/>
                <a:gd name="T62" fmla="*/ 65 w 93"/>
                <a:gd name="T63" fmla="*/ 76 h 82"/>
                <a:gd name="T64" fmla="*/ 71 w 93"/>
                <a:gd name="T65" fmla="*/ 65 h 82"/>
                <a:gd name="T66" fmla="*/ 71 w 93"/>
                <a:gd name="T67" fmla="*/ 60 h 82"/>
                <a:gd name="T68" fmla="*/ 60 w 93"/>
                <a:gd name="T69" fmla="*/ 65 h 82"/>
                <a:gd name="T70" fmla="*/ 54 w 93"/>
                <a:gd name="T71" fmla="*/ 76 h 82"/>
                <a:gd name="T72" fmla="*/ 44 w 93"/>
                <a:gd name="T73" fmla="*/ 76 h 82"/>
                <a:gd name="T74" fmla="*/ 54 w 93"/>
                <a:gd name="T75" fmla="*/ 71 h 82"/>
                <a:gd name="T76" fmla="*/ 49 w 93"/>
                <a:gd name="T77" fmla="*/ 65 h 82"/>
                <a:gd name="T78" fmla="*/ 38 w 93"/>
                <a:gd name="T79" fmla="*/ 65 h 82"/>
                <a:gd name="T80" fmla="*/ 27 w 93"/>
                <a:gd name="T81" fmla="*/ 65 h 82"/>
                <a:gd name="T82" fmla="*/ 22 w 93"/>
                <a:gd name="T83" fmla="*/ 60 h 82"/>
                <a:gd name="T84" fmla="*/ 22 w 93"/>
                <a:gd name="T85" fmla="*/ 60 h 82"/>
                <a:gd name="T86" fmla="*/ 16 w 93"/>
                <a:gd name="T87" fmla="*/ 60 h 82"/>
                <a:gd name="T88" fmla="*/ 11 w 93"/>
                <a:gd name="T89" fmla="*/ 65 h 82"/>
                <a:gd name="T90" fmla="*/ 0 w 93"/>
                <a:gd name="T91"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 h="82">
                  <a:moveTo>
                    <a:pt x="0" y="60"/>
                  </a:moveTo>
                  <a:lnTo>
                    <a:pt x="11" y="54"/>
                  </a:lnTo>
                  <a:lnTo>
                    <a:pt x="16" y="49"/>
                  </a:lnTo>
                  <a:lnTo>
                    <a:pt x="11" y="49"/>
                  </a:lnTo>
                  <a:lnTo>
                    <a:pt x="5" y="49"/>
                  </a:lnTo>
                  <a:lnTo>
                    <a:pt x="16" y="49"/>
                  </a:lnTo>
                  <a:lnTo>
                    <a:pt x="22" y="43"/>
                  </a:lnTo>
                  <a:lnTo>
                    <a:pt x="22" y="38"/>
                  </a:lnTo>
                  <a:lnTo>
                    <a:pt x="27" y="38"/>
                  </a:lnTo>
                  <a:lnTo>
                    <a:pt x="27" y="33"/>
                  </a:lnTo>
                  <a:lnTo>
                    <a:pt x="33" y="33"/>
                  </a:lnTo>
                  <a:lnTo>
                    <a:pt x="33" y="27"/>
                  </a:lnTo>
                  <a:lnTo>
                    <a:pt x="38" y="27"/>
                  </a:lnTo>
                  <a:lnTo>
                    <a:pt x="38" y="22"/>
                  </a:lnTo>
                  <a:lnTo>
                    <a:pt x="44" y="16"/>
                  </a:lnTo>
                  <a:lnTo>
                    <a:pt x="49" y="16"/>
                  </a:lnTo>
                  <a:lnTo>
                    <a:pt x="44" y="16"/>
                  </a:lnTo>
                  <a:lnTo>
                    <a:pt x="49" y="11"/>
                  </a:lnTo>
                  <a:lnTo>
                    <a:pt x="54" y="11"/>
                  </a:lnTo>
                  <a:lnTo>
                    <a:pt x="60" y="5"/>
                  </a:lnTo>
                  <a:lnTo>
                    <a:pt x="65" y="0"/>
                  </a:lnTo>
                  <a:lnTo>
                    <a:pt x="71" y="0"/>
                  </a:lnTo>
                  <a:lnTo>
                    <a:pt x="76" y="0"/>
                  </a:lnTo>
                  <a:lnTo>
                    <a:pt x="76" y="5"/>
                  </a:lnTo>
                  <a:lnTo>
                    <a:pt x="71" y="5"/>
                  </a:lnTo>
                  <a:lnTo>
                    <a:pt x="65" y="11"/>
                  </a:lnTo>
                  <a:lnTo>
                    <a:pt x="60" y="16"/>
                  </a:lnTo>
                  <a:lnTo>
                    <a:pt x="54" y="22"/>
                  </a:lnTo>
                  <a:lnTo>
                    <a:pt x="49" y="22"/>
                  </a:lnTo>
                  <a:lnTo>
                    <a:pt x="49" y="27"/>
                  </a:lnTo>
                  <a:lnTo>
                    <a:pt x="54" y="27"/>
                  </a:lnTo>
                  <a:lnTo>
                    <a:pt x="60" y="22"/>
                  </a:lnTo>
                  <a:lnTo>
                    <a:pt x="60" y="27"/>
                  </a:lnTo>
                  <a:lnTo>
                    <a:pt x="65" y="27"/>
                  </a:lnTo>
                  <a:lnTo>
                    <a:pt x="60" y="27"/>
                  </a:lnTo>
                  <a:lnTo>
                    <a:pt x="60" y="33"/>
                  </a:lnTo>
                  <a:lnTo>
                    <a:pt x="60" y="38"/>
                  </a:lnTo>
                  <a:lnTo>
                    <a:pt x="60" y="33"/>
                  </a:lnTo>
                  <a:lnTo>
                    <a:pt x="65" y="33"/>
                  </a:lnTo>
                  <a:lnTo>
                    <a:pt x="65" y="38"/>
                  </a:lnTo>
                  <a:lnTo>
                    <a:pt x="71" y="38"/>
                  </a:lnTo>
                  <a:lnTo>
                    <a:pt x="76" y="33"/>
                  </a:lnTo>
                  <a:lnTo>
                    <a:pt x="76" y="38"/>
                  </a:lnTo>
                  <a:lnTo>
                    <a:pt x="76" y="33"/>
                  </a:lnTo>
                  <a:lnTo>
                    <a:pt x="82" y="33"/>
                  </a:lnTo>
                  <a:lnTo>
                    <a:pt x="87" y="38"/>
                  </a:lnTo>
                  <a:lnTo>
                    <a:pt x="82" y="43"/>
                  </a:lnTo>
                  <a:lnTo>
                    <a:pt x="82" y="49"/>
                  </a:lnTo>
                  <a:lnTo>
                    <a:pt x="93" y="49"/>
                  </a:lnTo>
                  <a:lnTo>
                    <a:pt x="87" y="49"/>
                  </a:lnTo>
                  <a:lnTo>
                    <a:pt x="87" y="54"/>
                  </a:lnTo>
                  <a:lnTo>
                    <a:pt x="93" y="54"/>
                  </a:lnTo>
                  <a:lnTo>
                    <a:pt x="87" y="60"/>
                  </a:lnTo>
                  <a:lnTo>
                    <a:pt x="82" y="60"/>
                  </a:lnTo>
                  <a:lnTo>
                    <a:pt x="82" y="65"/>
                  </a:lnTo>
                  <a:lnTo>
                    <a:pt x="87" y="65"/>
                  </a:lnTo>
                  <a:lnTo>
                    <a:pt x="87" y="60"/>
                  </a:lnTo>
                  <a:lnTo>
                    <a:pt x="87" y="65"/>
                  </a:lnTo>
                  <a:lnTo>
                    <a:pt x="87" y="71"/>
                  </a:lnTo>
                  <a:lnTo>
                    <a:pt x="82" y="71"/>
                  </a:lnTo>
                  <a:lnTo>
                    <a:pt x="82" y="76"/>
                  </a:lnTo>
                  <a:lnTo>
                    <a:pt x="71" y="82"/>
                  </a:lnTo>
                  <a:lnTo>
                    <a:pt x="71" y="76"/>
                  </a:lnTo>
                  <a:lnTo>
                    <a:pt x="65" y="76"/>
                  </a:lnTo>
                  <a:lnTo>
                    <a:pt x="71" y="71"/>
                  </a:lnTo>
                  <a:lnTo>
                    <a:pt x="71" y="65"/>
                  </a:lnTo>
                  <a:lnTo>
                    <a:pt x="76" y="60"/>
                  </a:lnTo>
                  <a:lnTo>
                    <a:pt x="71" y="60"/>
                  </a:lnTo>
                  <a:lnTo>
                    <a:pt x="65" y="65"/>
                  </a:lnTo>
                  <a:lnTo>
                    <a:pt x="60" y="65"/>
                  </a:lnTo>
                  <a:lnTo>
                    <a:pt x="54" y="71"/>
                  </a:lnTo>
                  <a:lnTo>
                    <a:pt x="54" y="76"/>
                  </a:lnTo>
                  <a:lnTo>
                    <a:pt x="49" y="76"/>
                  </a:lnTo>
                  <a:lnTo>
                    <a:pt x="44" y="76"/>
                  </a:lnTo>
                  <a:lnTo>
                    <a:pt x="49" y="71"/>
                  </a:lnTo>
                  <a:lnTo>
                    <a:pt x="54" y="71"/>
                  </a:lnTo>
                  <a:lnTo>
                    <a:pt x="54" y="65"/>
                  </a:lnTo>
                  <a:lnTo>
                    <a:pt x="49" y="65"/>
                  </a:lnTo>
                  <a:lnTo>
                    <a:pt x="44" y="65"/>
                  </a:lnTo>
                  <a:lnTo>
                    <a:pt x="38" y="65"/>
                  </a:lnTo>
                  <a:lnTo>
                    <a:pt x="33" y="65"/>
                  </a:lnTo>
                  <a:lnTo>
                    <a:pt x="27" y="65"/>
                  </a:lnTo>
                  <a:lnTo>
                    <a:pt x="22" y="65"/>
                  </a:lnTo>
                  <a:lnTo>
                    <a:pt x="22" y="60"/>
                  </a:lnTo>
                  <a:lnTo>
                    <a:pt x="22" y="65"/>
                  </a:lnTo>
                  <a:lnTo>
                    <a:pt x="22" y="60"/>
                  </a:lnTo>
                  <a:lnTo>
                    <a:pt x="16" y="65"/>
                  </a:lnTo>
                  <a:lnTo>
                    <a:pt x="16" y="60"/>
                  </a:lnTo>
                  <a:lnTo>
                    <a:pt x="16" y="65"/>
                  </a:lnTo>
                  <a:lnTo>
                    <a:pt x="11" y="65"/>
                  </a:lnTo>
                  <a:lnTo>
                    <a:pt x="0" y="65"/>
                  </a:lnTo>
                  <a:lnTo>
                    <a:pt x="0" y="60"/>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grpSp>
      <p:grpSp>
        <p:nvGrpSpPr>
          <p:cNvPr id="52" name="Gruppieren 5">
            <a:extLst>
              <a:ext uri="{FF2B5EF4-FFF2-40B4-BE49-F238E27FC236}">
                <a16:creationId xmlns:a16="http://schemas.microsoft.com/office/drawing/2014/main" id="{0F077D1C-73CB-E214-0FC7-8884C4FE57EC}"/>
              </a:ext>
            </a:extLst>
          </p:cNvPr>
          <p:cNvGrpSpPr/>
          <p:nvPr/>
        </p:nvGrpSpPr>
        <p:grpSpPr>
          <a:xfrm>
            <a:off x="311150" y="1692275"/>
            <a:ext cx="1309688" cy="906463"/>
            <a:chOff x="1372663" y="2727495"/>
            <a:chExt cx="2003515" cy="1274964"/>
          </a:xfrm>
          <a:solidFill>
            <a:schemeClr val="tx2"/>
          </a:solidFill>
        </p:grpSpPr>
        <p:grpSp>
          <p:nvGrpSpPr>
            <p:cNvPr id="53" name="Gruppieren 854">
              <a:extLst>
                <a:ext uri="{FF2B5EF4-FFF2-40B4-BE49-F238E27FC236}">
                  <a16:creationId xmlns:a16="http://schemas.microsoft.com/office/drawing/2014/main" id="{A60168BE-9794-34B2-0821-706D0467EF07}"/>
                </a:ext>
              </a:extLst>
            </p:cNvPr>
            <p:cNvGrpSpPr/>
            <p:nvPr/>
          </p:nvGrpSpPr>
          <p:grpSpPr>
            <a:xfrm>
              <a:off x="1372663" y="2727495"/>
              <a:ext cx="963955" cy="469091"/>
              <a:chOff x="1417781" y="2486516"/>
              <a:chExt cx="890588" cy="433388"/>
            </a:xfrm>
            <a:grpFill/>
          </p:grpSpPr>
          <p:sp>
            <p:nvSpPr>
              <p:cNvPr id="55" name="Freeform 116">
                <a:extLst>
                  <a:ext uri="{FF2B5EF4-FFF2-40B4-BE49-F238E27FC236}">
                    <a16:creationId xmlns:a16="http://schemas.microsoft.com/office/drawing/2014/main" id="{63725ED0-6005-FE67-7BC5-25D14050D3C4}"/>
                  </a:ext>
                </a:extLst>
              </p:cNvPr>
              <p:cNvSpPr>
                <a:spLocks/>
              </p:cNvSpPr>
              <p:nvPr/>
            </p:nvSpPr>
            <p:spPr bwMode="auto">
              <a:xfrm>
                <a:off x="1573356" y="2686541"/>
                <a:ext cx="50800" cy="17463"/>
              </a:xfrm>
              <a:custGeom>
                <a:avLst/>
                <a:gdLst>
                  <a:gd name="T0" fmla="*/ 0 w 32"/>
                  <a:gd name="T1" fmla="*/ 5 h 11"/>
                  <a:gd name="T2" fmla="*/ 0 w 32"/>
                  <a:gd name="T3" fmla="*/ 0 h 11"/>
                  <a:gd name="T4" fmla="*/ 11 w 32"/>
                  <a:gd name="T5" fmla="*/ 0 h 11"/>
                  <a:gd name="T6" fmla="*/ 22 w 32"/>
                  <a:gd name="T7" fmla="*/ 0 h 11"/>
                  <a:gd name="T8" fmla="*/ 22 w 32"/>
                  <a:gd name="T9" fmla="*/ 5 h 11"/>
                  <a:gd name="T10" fmla="*/ 27 w 32"/>
                  <a:gd name="T11" fmla="*/ 5 h 11"/>
                  <a:gd name="T12" fmla="*/ 32 w 32"/>
                  <a:gd name="T13" fmla="*/ 5 h 11"/>
                  <a:gd name="T14" fmla="*/ 27 w 32"/>
                  <a:gd name="T15" fmla="*/ 5 h 11"/>
                  <a:gd name="T16" fmla="*/ 22 w 32"/>
                  <a:gd name="T17" fmla="*/ 11 h 11"/>
                  <a:gd name="T18" fmla="*/ 16 w 32"/>
                  <a:gd name="T19" fmla="*/ 11 h 11"/>
                  <a:gd name="T20" fmla="*/ 11 w 32"/>
                  <a:gd name="T21" fmla="*/ 5 h 11"/>
                  <a:gd name="T22" fmla="*/ 5 w 32"/>
                  <a:gd name="T23" fmla="*/ 5 h 11"/>
                  <a:gd name="T24" fmla="*/ 0 w 32"/>
                  <a:gd name="T25"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11">
                    <a:moveTo>
                      <a:pt x="0" y="5"/>
                    </a:moveTo>
                    <a:lnTo>
                      <a:pt x="0" y="0"/>
                    </a:lnTo>
                    <a:lnTo>
                      <a:pt x="11" y="0"/>
                    </a:lnTo>
                    <a:lnTo>
                      <a:pt x="22" y="0"/>
                    </a:lnTo>
                    <a:lnTo>
                      <a:pt x="22" y="5"/>
                    </a:lnTo>
                    <a:lnTo>
                      <a:pt x="27" y="5"/>
                    </a:lnTo>
                    <a:lnTo>
                      <a:pt x="32" y="5"/>
                    </a:lnTo>
                    <a:lnTo>
                      <a:pt x="27" y="5"/>
                    </a:lnTo>
                    <a:lnTo>
                      <a:pt x="22" y="11"/>
                    </a:lnTo>
                    <a:lnTo>
                      <a:pt x="16" y="11"/>
                    </a:lnTo>
                    <a:lnTo>
                      <a:pt x="11" y="5"/>
                    </a:lnTo>
                    <a:lnTo>
                      <a:pt x="5" y="5"/>
                    </a:lnTo>
                    <a:lnTo>
                      <a:pt x="0" y="5"/>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56" name="Freeform 282">
                <a:extLst>
                  <a:ext uri="{FF2B5EF4-FFF2-40B4-BE49-F238E27FC236}">
                    <a16:creationId xmlns:a16="http://schemas.microsoft.com/office/drawing/2014/main" id="{BD4BD548-423D-CDD4-7EC1-C9A4A7B04714}"/>
                  </a:ext>
                </a:extLst>
              </p:cNvPr>
              <p:cNvSpPr>
                <a:spLocks/>
              </p:cNvSpPr>
              <p:nvPr/>
            </p:nvSpPr>
            <p:spPr bwMode="auto">
              <a:xfrm>
                <a:off x="1478106" y="2556366"/>
                <a:ext cx="225425" cy="112713"/>
              </a:xfrm>
              <a:custGeom>
                <a:avLst/>
                <a:gdLst>
                  <a:gd name="T0" fmla="*/ 0 w 142"/>
                  <a:gd name="T1" fmla="*/ 60 h 71"/>
                  <a:gd name="T2" fmla="*/ 98 w 142"/>
                  <a:gd name="T3" fmla="*/ 0 h 71"/>
                  <a:gd name="T4" fmla="*/ 103 w 142"/>
                  <a:gd name="T5" fmla="*/ 6 h 71"/>
                  <a:gd name="T6" fmla="*/ 109 w 142"/>
                  <a:gd name="T7" fmla="*/ 16 h 71"/>
                  <a:gd name="T8" fmla="*/ 109 w 142"/>
                  <a:gd name="T9" fmla="*/ 22 h 71"/>
                  <a:gd name="T10" fmla="*/ 98 w 142"/>
                  <a:gd name="T11" fmla="*/ 33 h 71"/>
                  <a:gd name="T12" fmla="*/ 98 w 142"/>
                  <a:gd name="T13" fmla="*/ 38 h 71"/>
                  <a:gd name="T14" fmla="*/ 103 w 142"/>
                  <a:gd name="T15" fmla="*/ 38 h 71"/>
                  <a:gd name="T16" fmla="*/ 103 w 142"/>
                  <a:gd name="T17" fmla="*/ 33 h 71"/>
                  <a:gd name="T18" fmla="*/ 120 w 142"/>
                  <a:gd name="T19" fmla="*/ 27 h 71"/>
                  <a:gd name="T20" fmla="*/ 131 w 142"/>
                  <a:gd name="T21" fmla="*/ 27 h 71"/>
                  <a:gd name="T22" fmla="*/ 136 w 142"/>
                  <a:gd name="T23" fmla="*/ 33 h 71"/>
                  <a:gd name="T24" fmla="*/ 136 w 142"/>
                  <a:gd name="T25" fmla="*/ 44 h 71"/>
                  <a:gd name="T26" fmla="*/ 136 w 142"/>
                  <a:gd name="T27" fmla="*/ 44 h 71"/>
                  <a:gd name="T28" fmla="*/ 120 w 142"/>
                  <a:gd name="T29" fmla="*/ 49 h 71"/>
                  <a:gd name="T30" fmla="*/ 109 w 142"/>
                  <a:gd name="T31" fmla="*/ 55 h 71"/>
                  <a:gd name="T32" fmla="*/ 92 w 142"/>
                  <a:gd name="T33" fmla="*/ 55 h 71"/>
                  <a:gd name="T34" fmla="*/ 87 w 142"/>
                  <a:gd name="T35" fmla="*/ 60 h 71"/>
                  <a:gd name="T36" fmla="*/ 71 w 142"/>
                  <a:gd name="T37" fmla="*/ 66 h 71"/>
                  <a:gd name="T38" fmla="*/ 71 w 142"/>
                  <a:gd name="T39" fmla="*/ 71 h 71"/>
                  <a:gd name="T40" fmla="*/ 54 w 142"/>
                  <a:gd name="T41" fmla="*/ 71 h 71"/>
                  <a:gd name="T42" fmla="*/ 54 w 142"/>
                  <a:gd name="T43" fmla="*/ 66 h 71"/>
                  <a:gd name="T44" fmla="*/ 49 w 142"/>
                  <a:gd name="T45" fmla="*/ 60 h 71"/>
                  <a:gd name="T46" fmla="*/ 54 w 142"/>
                  <a:gd name="T47" fmla="*/ 55 h 71"/>
                  <a:gd name="T48" fmla="*/ 38 w 142"/>
                  <a:gd name="T49" fmla="*/ 55 h 71"/>
                  <a:gd name="T50" fmla="*/ 33 w 142"/>
                  <a:gd name="T51" fmla="*/ 49 h 71"/>
                  <a:gd name="T52" fmla="*/ 38 w 142"/>
                  <a:gd name="T53" fmla="*/ 44 h 71"/>
                  <a:gd name="T54" fmla="*/ 49 w 142"/>
                  <a:gd name="T55" fmla="*/ 38 h 71"/>
                  <a:gd name="T56" fmla="*/ 43 w 142"/>
                  <a:gd name="T57" fmla="*/ 38 h 71"/>
                  <a:gd name="T58" fmla="*/ 27 w 142"/>
                  <a:gd name="T59" fmla="*/ 44 h 71"/>
                  <a:gd name="T60" fmla="*/ 22 w 142"/>
                  <a:gd name="T61" fmla="*/ 55 h 71"/>
                  <a:gd name="T62" fmla="*/ 5 w 142"/>
                  <a:gd name="T63"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71">
                    <a:moveTo>
                      <a:pt x="5" y="60"/>
                    </a:moveTo>
                    <a:lnTo>
                      <a:pt x="0" y="60"/>
                    </a:lnTo>
                    <a:lnTo>
                      <a:pt x="92" y="0"/>
                    </a:lnTo>
                    <a:lnTo>
                      <a:pt x="98" y="0"/>
                    </a:lnTo>
                    <a:lnTo>
                      <a:pt x="98" y="6"/>
                    </a:lnTo>
                    <a:lnTo>
                      <a:pt x="103" y="6"/>
                    </a:lnTo>
                    <a:lnTo>
                      <a:pt x="103" y="11"/>
                    </a:lnTo>
                    <a:lnTo>
                      <a:pt x="109" y="16"/>
                    </a:lnTo>
                    <a:lnTo>
                      <a:pt x="114" y="16"/>
                    </a:lnTo>
                    <a:lnTo>
                      <a:pt x="109" y="22"/>
                    </a:lnTo>
                    <a:lnTo>
                      <a:pt x="103" y="27"/>
                    </a:lnTo>
                    <a:lnTo>
                      <a:pt x="98" y="33"/>
                    </a:lnTo>
                    <a:lnTo>
                      <a:pt x="92" y="33"/>
                    </a:lnTo>
                    <a:lnTo>
                      <a:pt x="98" y="38"/>
                    </a:lnTo>
                    <a:lnTo>
                      <a:pt x="92" y="38"/>
                    </a:lnTo>
                    <a:lnTo>
                      <a:pt x="103" y="38"/>
                    </a:lnTo>
                    <a:lnTo>
                      <a:pt x="98" y="38"/>
                    </a:lnTo>
                    <a:lnTo>
                      <a:pt x="103" y="33"/>
                    </a:lnTo>
                    <a:lnTo>
                      <a:pt x="109" y="27"/>
                    </a:lnTo>
                    <a:lnTo>
                      <a:pt x="120" y="27"/>
                    </a:lnTo>
                    <a:lnTo>
                      <a:pt x="125" y="27"/>
                    </a:lnTo>
                    <a:lnTo>
                      <a:pt x="131" y="27"/>
                    </a:lnTo>
                    <a:lnTo>
                      <a:pt x="136" y="27"/>
                    </a:lnTo>
                    <a:lnTo>
                      <a:pt x="136" y="33"/>
                    </a:lnTo>
                    <a:lnTo>
                      <a:pt x="136" y="38"/>
                    </a:lnTo>
                    <a:lnTo>
                      <a:pt x="136" y="44"/>
                    </a:lnTo>
                    <a:lnTo>
                      <a:pt x="142" y="44"/>
                    </a:lnTo>
                    <a:lnTo>
                      <a:pt x="136" y="44"/>
                    </a:lnTo>
                    <a:lnTo>
                      <a:pt x="125" y="49"/>
                    </a:lnTo>
                    <a:lnTo>
                      <a:pt x="120" y="49"/>
                    </a:lnTo>
                    <a:lnTo>
                      <a:pt x="114" y="49"/>
                    </a:lnTo>
                    <a:lnTo>
                      <a:pt x="109" y="55"/>
                    </a:lnTo>
                    <a:lnTo>
                      <a:pt x="98" y="55"/>
                    </a:lnTo>
                    <a:lnTo>
                      <a:pt x="92" y="55"/>
                    </a:lnTo>
                    <a:lnTo>
                      <a:pt x="92" y="60"/>
                    </a:lnTo>
                    <a:lnTo>
                      <a:pt x="87" y="60"/>
                    </a:lnTo>
                    <a:lnTo>
                      <a:pt x="76" y="66"/>
                    </a:lnTo>
                    <a:lnTo>
                      <a:pt x="71" y="66"/>
                    </a:lnTo>
                    <a:lnTo>
                      <a:pt x="76" y="71"/>
                    </a:lnTo>
                    <a:lnTo>
                      <a:pt x="71" y="71"/>
                    </a:lnTo>
                    <a:lnTo>
                      <a:pt x="60" y="71"/>
                    </a:lnTo>
                    <a:lnTo>
                      <a:pt x="54" y="71"/>
                    </a:lnTo>
                    <a:lnTo>
                      <a:pt x="60" y="66"/>
                    </a:lnTo>
                    <a:lnTo>
                      <a:pt x="54" y="66"/>
                    </a:lnTo>
                    <a:lnTo>
                      <a:pt x="49" y="66"/>
                    </a:lnTo>
                    <a:lnTo>
                      <a:pt x="49" y="60"/>
                    </a:lnTo>
                    <a:lnTo>
                      <a:pt x="54" y="60"/>
                    </a:lnTo>
                    <a:lnTo>
                      <a:pt x="54" y="55"/>
                    </a:lnTo>
                    <a:lnTo>
                      <a:pt x="49" y="49"/>
                    </a:lnTo>
                    <a:lnTo>
                      <a:pt x="38" y="55"/>
                    </a:lnTo>
                    <a:lnTo>
                      <a:pt x="27" y="55"/>
                    </a:lnTo>
                    <a:lnTo>
                      <a:pt x="33" y="49"/>
                    </a:lnTo>
                    <a:lnTo>
                      <a:pt x="33" y="44"/>
                    </a:lnTo>
                    <a:lnTo>
                      <a:pt x="38" y="44"/>
                    </a:lnTo>
                    <a:lnTo>
                      <a:pt x="43" y="44"/>
                    </a:lnTo>
                    <a:lnTo>
                      <a:pt x="49" y="38"/>
                    </a:lnTo>
                    <a:lnTo>
                      <a:pt x="43" y="44"/>
                    </a:lnTo>
                    <a:lnTo>
                      <a:pt x="43" y="38"/>
                    </a:lnTo>
                    <a:lnTo>
                      <a:pt x="38" y="44"/>
                    </a:lnTo>
                    <a:lnTo>
                      <a:pt x="27" y="44"/>
                    </a:lnTo>
                    <a:lnTo>
                      <a:pt x="22" y="49"/>
                    </a:lnTo>
                    <a:lnTo>
                      <a:pt x="22" y="55"/>
                    </a:lnTo>
                    <a:lnTo>
                      <a:pt x="16" y="55"/>
                    </a:lnTo>
                    <a:lnTo>
                      <a:pt x="5" y="60"/>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57" name="Freeform 283">
                <a:extLst>
                  <a:ext uri="{FF2B5EF4-FFF2-40B4-BE49-F238E27FC236}">
                    <a16:creationId xmlns:a16="http://schemas.microsoft.com/office/drawing/2014/main" id="{8E351DA8-EB50-96EA-C4C2-1BAAA5967D0B}"/>
                  </a:ext>
                </a:extLst>
              </p:cNvPr>
              <p:cNvSpPr>
                <a:spLocks/>
              </p:cNvSpPr>
              <p:nvPr/>
            </p:nvSpPr>
            <p:spPr bwMode="auto">
              <a:xfrm>
                <a:off x="1694006" y="2486516"/>
                <a:ext cx="60325" cy="17463"/>
              </a:xfrm>
              <a:custGeom>
                <a:avLst/>
                <a:gdLst>
                  <a:gd name="T0" fmla="*/ 6 w 38"/>
                  <a:gd name="T1" fmla="*/ 11 h 11"/>
                  <a:gd name="T2" fmla="*/ 0 w 38"/>
                  <a:gd name="T3" fmla="*/ 11 h 11"/>
                  <a:gd name="T4" fmla="*/ 16 w 38"/>
                  <a:gd name="T5" fmla="*/ 0 h 11"/>
                  <a:gd name="T6" fmla="*/ 22 w 38"/>
                  <a:gd name="T7" fmla="*/ 0 h 11"/>
                  <a:gd name="T8" fmla="*/ 27 w 38"/>
                  <a:gd name="T9" fmla="*/ 0 h 11"/>
                  <a:gd name="T10" fmla="*/ 33 w 38"/>
                  <a:gd name="T11" fmla="*/ 0 h 11"/>
                  <a:gd name="T12" fmla="*/ 38 w 38"/>
                  <a:gd name="T13" fmla="*/ 6 h 11"/>
                  <a:gd name="T14" fmla="*/ 27 w 38"/>
                  <a:gd name="T15" fmla="*/ 11 h 11"/>
                  <a:gd name="T16" fmla="*/ 16 w 38"/>
                  <a:gd name="T17" fmla="*/ 11 h 11"/>
                  <a:gd name="T18" fmla="*/ 6 w 38"/>
                  <a:gd name="T1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11">
                    <a:moveTo>
                      <a:pt x="6" y="11"/>
                    </a:moveTo>
                    <a:lnTo>
                      <a:pt x="0" y="11"/>
                    </a:lnTo>
                    <a:lnTo>
                      <a:pt x="16" y="0"/>
                    </a:lnTo>
                    <a:lnTo>
                      <a:pt x="22" y="0"/>
                    </a:lnTo>
                    <a:lnTo>
                      <a:pt x="27" y="0"/>
                    </a:lnTo>
                    <a:lnTo>
                      <a:pt x="33" y="0"/>
                    </a:lnTo>
                    <a:lnTo>
                      <a:pt x="38" y="6"/>
                    </a:lnTo>
                    <a:lnTo>
                      <a:pt x="27" y="11"/>
                    </a:lnTo>
                    <a:lnTo>
                      <a:pt x="16" y="11"/>
                    </a:lnTo>
                    <a:lnTo>
                      <a:pt x="6" y="11"/>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58" name="Freeform 563">
                <a:extLst>
                  <a:ext uri="{FF2B5EF4-FFF2-40B4-BE49-F238E27FC236}">
                    <a16:creationId xmlns:a16="http://schemas.microsoft.com/office/drawing/2014/main" id="{4F48DBC4-89B8-A32B-CFBB-C51B2DB2CE32}"/>
                  </a:ext>
                </a:extLst>
              </p:cNvPr>
              <p:cNvSpPr>
                <a:spLocks/>
              </p:cNvSpPr>
              <p:nvPr/>
            </p:nvSpPr>
            <p:spPr bwMode="auto">
              <a:xfrm>
                <a:off x="1417781" y="2496041"/>
                <a:ext cx="890588" cy="423863"/>
              </a:xfrm>
              <a:custGeom>
                <a:avLst/>
                <a:gdLst>
                  <a:gd name="T0" fmla="*/ 447 w 561"/>
                  <a:gd name="T1" fmla="*/ 245 h 267"/>
                  <a:gd name="T2" fmla="*/ 441 w 561"/>
                  <a:gd name="T3" fmla="*/ 240 h 267"/>
                  <a:gd name="T4" fmla="*/ 430 w 561"/>
                  <a:gd name="T5" fmla="*/ 240 h 267"/>
                  <a:gd name="T6" fmla="*/ 441 w 561"/>
                  <a:gd name="T7" fmla="*/ 218 h 267"/>
                  <a:gd name="T8" fmla="*/ 452 w 561"/>
                  <a:gd name="T9" fmla="*/ 202 h 267"/>
                  <a:gd name="T10" fmla="*/ 441 w 561"/>
                  <a:gd name="T11" fmla="*/ 196 h 267"/>
                  <a:gd name="T12" fmla="*/ 425 w 561"/>
                  <a:gd name="T13" fmla="*/ 196 h 267"/>
                  <a:gd name="T14" fmla="*/ 409 w 561"/>
                  <a:gd name="T15" fmla="*/ 191 h 267"/>
                  <a:gd name="T16" fmla="*/ 398 w 561"/>
                  <a:gd name="T17" fmla="*/ 180 h 267"/>
                  <a:gd name="T18" fmla="*/ 370 w 561"/>
                  <a:gd name="T19" fmla="*/ 174 h 267"/>
                  <a:gd name="T20" fmla="*/ 349 w 561"/>
                  <a:gd name="T21" fmla="*/ 169 h 267"/>
                  <a:gd name="T22" fmla="*/ 349 w 561"/>
                  <a:gd name="T23" fmla="*/ 158 h 267"/>
                  <a:gd name="T24" fmla="*/ 316 w 561"/>
                  <a:gd name="T25" fmla="*/ 164 h 267"/>
                  <a:gd name="T26" fmla="*/ 305 w 561"/>
                  <a:gd name="T27" fmla="*/ 180 h 267"/>
                  <a:gd name="T28" fmla="*/ 261 w 561"/>
                  <a:gd name="T29" fmla="*/ 191 h 267"/>
                  <a:gd name="T30" fmla="*/ 261 w 561"/>
                  <a:gd name="T31" fmla="*/ 185 h 267"/>
                  <a:gd name="T32" fmla="*/ 294 w 561"/>
                  <a:gd name="T33" fmla="*/ 164 h 267"/>
                  <a:gd name="T34" fmla="*/ 278 w 561"/>
                  <a:gd name="T35" fmla="*/ 169 h 267"/>
                  <a:gd name="T36" fmla="*/ 234 w 561"/>
                  <a:gd name="T37" fmla="*/ 185 h 267"/>
                  <a:gd name="T38" fmla="*/ 207 w 561"/>
                  <a:gd name="T39" fmla="*/ 202 h 267"/>
                  <a:gd name="T40" fmla="*/ 158 w 561"/>
                  <a:gd name="T41" fmla="*/ 218 h 267"/>
                  <a:gd name="T42" fmla="*/ 120 w 561"/>
                  <a:gd name="T43" fmla="*/ 234 h 267"/>
                  <a:gd name="T44" fmla="*/ 92 w 561"/>
                  <a:gd name="T45" fmla="*/ 245 h 267"/>
                  <a:gd name="T46" fmla="*/ 60 w 561"/>
                  <a:gd name="T47" fmla="*/ 251 h 267"/>
                  <a:gd name="T48" fmla="*/ 21 w 561"/>
                  <a:gd name="T49" fmla="*/ 262 h 267"/>
                  <a:gd name="T50" fmla="*/ 16 w 561"/>
                  <a:gd name="T51" fmla="*/ 262 h 267"/>
                  <a:gd name="T52" fmla="*/ 76 w 561"/>
                  <a:gd name="T53" fmla="*/ 240 h 267"/>
                  <a:gd name="T54" fmla="*/ 114 w 561"/>
                  <a:gd name="T55" fmla="*/ 229 h 267"/>
                  <a:gd name="T56" fmla="*/ 163 w 561"/>
                  <a:gd name="T57" fmla="*/ 207 h 267"/>
                  <a:gd name="T58" fmla="*/ 163 w 561"/>
                  <a:gd name="T59" fmla="*/ 196 h 267"/>
                  <a:gd name="T60" fmla="*/ 147 w 561"/>
                  <a:gd name="T61" fmla="*/ 191 h 267"/>
                  <a:gd name="T62" fmla="*/ 125 w 561"/>
                  <a:gd name="T63" fmla="*/ 191 h 267"/>
                  <a:gd name="T64" fmla="*/ 120 w 561"/>
                  <a:gd name="T65" fmla="*/ 180 h 267"/>
                  <a:gd name="T66" fmla="*/ 120 w 561"/>
                  <a:gd name="T67" fmla="*/ 164 h 267"/>
                  <a:gd name="T68" fmla="*/ 152 w 561"/>
                  <a:gd name="T69" fmla="*/ 136 h 267"/>
                  <a:gd name="T70" fmla="*/ 190 w 561"/>
                  <a:gd name="T71" fmla="*/ 131 h 267"/>
                  <a:gd name="T72" fmla="*/ 223 w 561"/>
                  <a:gd name="T73" fmla="*/ 120 h 267"/>
                  <a:gd name="T74" fmla="*/ 240 w 561"/>
                  <a:gd name="T75" fmla="*/ 104 h 267"/>
                  <a:gd name="T76" fmla="*/ 212 w 561"/>
                  <a:gd name="T77" fmla="*/ 104 h 267"/>
                  <a:gd name="T78" fmla="*/ 190 w 561"/>
                  <a:gd name="T79" fmla="*/ 93 h 267"/>
                  <a:gd name="T80" fmla="*/ 229 w 561"/>
                  <a:gd name="T81" fmla="*/ 76 h 267"/>
                  <a:gd name="T82" fmla="*/ 256 w 561"/>
                  <a:gd name="T83" fmla="*/ 82 h 267"/>
                  <a:gd name="T84" fmla="*/ 278 w 561"/>
                  <a:gd name="T85" fmla="*/ 71 h 267"/>
                  <a:gd name="T86" fmla="*/ 278 w 561"/>
                  <a:gd name="T87" fmla="*/ 71 h 267"/>
                  <a:gd name="T88" fmla="*/ 267 w 561"/>
                  <a:gd name="T89" fmla="*/ 54 h 267"/>
                  <a:gd name="T90" fmla="*/ 283 w 561"/>
                  <a:gd name="T91" fmla="*/ 38 h 267"/>
                  <a:gd name="T92" fmla="*/ 332 w 561"/>
                  <a:gd name="T93" fmla="*/ 22 h 267"/>
                  <a:gd name="T94" fmla="*/ 392 w 561"/>
                  <a:gd name="T95" fmla="*/ 5 h 267"/>
                  <a:gd name="T96" fmla="*/ 425 w 561"/>
                  <a:gd name="T97" fmla="*/ 5 h 267"/>
                  <a:gd name="T98" fmla="*/ 458 w 561"/>
                  <a:gd name="T99" fmla="*/ 11 h 267"/>
                  <a:gd name="T100" fmla="*/ 490 w 561"/>
                  <a:gd name="T101" fmla="*/ 16 h 267"/>
                  <a:gd name="T102" fmla="*/ 539 w 561"/>
                  <a:gd name="T103" fmla="*/ 16 h 267"/>
                  <a:gd name="T104" fmla="*/ 403 w 561"/>
                  <a:gd name="T105" fmla="*/ 174 h 267"/>
                  <a:gd name="T106" fmla="*/ 419 w 561"/>
                  <a:gd name="T107" fmla="*/ 180 h 267"/>
                  <a:gd name="T108" fmla="*/ 441 w 561"/>
                  <a:gd name="T109" fmla="*/ 185 h 267"/>
                  <a:gd name="T110" fmla="*/ 458 w 561"/>
                  <a:gd name="T111" fmla="*/ 196 h 267"/>
                  <a:gd name="T112" fmla="*/ 452 w 561"/>
                  <a:gd name="T113" fmla="*/ 224 h 267"/>
                  <a:gd name="T114" fmla="*/ 458 w 561"/>
                  <a:gd name="T115" fmla="*/ 24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61" h="267">
                    <a:moveTo>
                      <a:pt x="441" y="262"/>
                    </a:moveTo>
                    <a:lnTo>
                      <a:pt x="430" y="262"/>
                    </a:lnTo>
                    <a:lnTo>
                      <a:pt x="436" y="256"/>
                    </a:lnTo>
                    <a:lnTo>
                      <a:pt x="441" y="251"/>
                    </a:lnTo>
                    <a:lnTo>
                      <a:pt x="447" y="245"/>
                    </a:lnTo>
                    <a:lnTo>
                      <a:pt x="452" y="245"/>
                    </a:lnTo>
                    <a:lnTo>
                      <a:pt x="447" y="245"/>
                    </a:lnTo>
                    <a:lnTo>
                      <a:pt x="441" y="251"/>
                    </a:lnTo>
                    <a:lnTo>
                      <a:pt x="436" y="256"/>
                    </a:lnTo>
                    <a:lnTo>
                      <a:pt x="430" y="251"/>
                    </a:lnTo>
                    <a:lnTo>
                      <a:pt x="425" y="256"/>
                    </a:lnTo>
                    <a:lnTo>
                      <a:pt x="430" y="251"/>
                    </a:lnTo>
                    <a:lnTo>
                      <a:pt x="436" y="245"/>
                    </a:lnTo>
                    <a:lnTo>
                      <a:pt x="441" y="240"/>
                    </a:lnTo>
                    <a:lnTo>
                      <a:pt x="436" y="245"/>
                    </a:lnTo>
                    <a:lnTo>
                      <a:pt x="430" y="251"/>
                    </a:lnTo>
                    <a:lnTo>
                      <a:pt x="430" y="245"/>
                    </a:lnTo>
                    <a:lnTo>
                      <a:pt x="436" y="245"/>
                    </a:lnTo>
                    <a:lnTo>
                      <a:pt x="441" y="240"/>
                    </a:lnTo>
                    <a:lnTo>
                      <a:pt x="436" y="240"/>
                    </a:lnTo>
                    <a:lnTo>
                      <a:pt x="430" y="240"/>
                    </a:lnTo>
                    <a:lnTo>
                      <a:pt x="436" y="240"/>
                    </a:lnTo>
                    <a:lnTo>
                      <a:pt x="441" y="234"/>
                    </a:lnTo>
                    <a:lnTo>
                      <a:pt x="447" y="229"/>
                    </a:lnTo>
                    <a:lnTo>
                      <a:pt x="441" y="229"/>
                    </a:lnTo>
                    <a:lnTo>
                      <a:pt x="441" y="224"/>
                    </a:lnTo>
                    <a:lnTo>
                      <a:pt x="436" y="224"/>
                    </a:lnTo>
                    <a:lnTo>
                      <a:pt x="441" y="218"/>
                    </a:lnTo>
                    <a:lnTo>
                      <a:pt x="441" y="213"/>
                    </a:lnTo>
                    <a:lnTo>
                      <a:pt x="447" y="218"/>
                    </a:lnTo>
                    <a:lnTo>
                      <a:pt x="447" y="213"/>
                    </a:lnTo>
                    <a:lnTo>
                      <a:pt x="447" y="207"/>
                    </a:lnTo>
                    <a:lnTo>
                      <a:pt x="441" y="207"/>
                    </a:lnTo>
                    <a:lnTo>
                      <a:pt x="447" y="207"/>
                    </a:lnTo>
                    <a:lnTo>
                      <a:pt x="452" y="202"/>
                    </a:lnTo>
                    <a:lnTo>
                      <a:pt x="447" y="207"/>
                    </a:lnTo>
                    <a:lnTo>
                      <a:pt x="441" y="207"/>
                    </a:lnTo>
                    <a:lnTo>
                      <a:pt x="441" y="202"/>
                    </a:lnTo>
                    <a:lnTo>
                      <a:pt x="447" y="196"/>
                    </a:lnTo>
                    <a:lnTo>
                      <a:pt x="441" y="196"/>
                    </a:lnTo>
                    <a:lnTo>
                      <a:pt x="447" y="191"/>
                    </a:lnTo>
                    <a:lnTo>
                      <a:pt x="441" y="196"/>
                    </a:lnTo>
                    <a:lnTo>
                      <a:pt x="436" y="202"/>
                    </a:lnTo>
                    <a:lnTo>
                      <a:pt x="436" y="207"/>
                    </a:lnTo>
                    <a:lnTo>
                      <a:pt x="430" y="202"/>
                    </a:lnTo>
                    <a:lnTo>
                      <a:pt x="425" y="202"/>
                    </a:lnTo>
                    <a:lnTo>
                      <a:pt x="430" y="202"/>
                    </a:lnTo>
                    <a:lnTo>
                      <a:pt x="430" y="196"/>
                    </a:lnTo>
                    <a:lnTo>
                      <a:pt x="425" y="196"/>
                    </a:lnTo>
                    <a:lnTo>
                      <a:pt x="425" y="202"/>
                    </a:lnTo>
                    <a:lnTo>
                      <a:pt x="419" y="202"/>
                    </a:lnTo>
                    <a:lnTo>
                      <a:pt x="414" y="207"/>
                    </a:lnTo>
                    <a:lnTo>
                      <a:pt x="414" y="202"/>
                    </a:lnTo>
                    <a:lnTo>
                      <a:pt x="409" y="202"/>
                    </a:lnTo>
                    <a:lnTo>
                      <a:pt x="409" y="196"/>
                    </a:lnTo>
                    <a:lnTo>
                      <a:pt x="409" y="191"/>
                    </a:lnTo>
                    <a:lnTo>
                      <a:pt x="403" y="191"/>
                    </a:lnTo>
                    <a:lnTo>
                      <a:pt x="403" y="185"/>
                    </a:lnTo>
                    <a:lnTo>
                      <a:pt x="398" y="185"/>
                    </a:lnTo>
                    <a:lnTo>
                      <a:pt x="403" y="185"/>
                    </a:lnTo>
                    <a:lnTo>
                      <a:pt x="409" y="180"/>
                    </a:lnTo>
                    <a:lnTo>
                      <a:pt x="403" y="180"/>
                    </a:lnTo>
                    <a:lnTo>
                      <a:pt x="398" y="180"/>
                    </a:lnTo>
                    <a:lnTo>
                      <a:pt x="398" y="185"/>
                    </a:lnTo>
                    <a:lnTo>
                      <a:pt x="392" y="180"/>
                    </a:lnTo>
                    <a:lnTo>
                      <a:pt x="387" y="180"/>
                    </a:lnTo>
                    <a:lnTo>
                      <a:pt x="392" y="174"/>
                    </a:lnTo>
                    <a:lnTo>
                      <a:pt x="381" y="180"/>
                    </a:lnTo>
                    <a:lnTo>
                      <a:pt x="376" y="174"/>
                    </a:lnTo>
                    <a:lnTo>
                      <a:pt x="370" y="174"/>
                    </a:lnTo>
                    <a:lnTo>
                      <a:pt x="365" y="180"/>
                    </a:lnTo>
                    <a:lnTo>
                      <a:pt x="359" y="180"/>
                    </a:lnTo>
                    <a:lnTo>
                      <a:pt x="354" y="174"/>
                    </a:lnTo>
                    <a:lnTo>
                      <a:pt x="349" y="174"/>
                    </a:lnTo>
                    <a:lnTo>
                      <a:pt x="354" y="169"/>
                    </a:lnTo>
                    <a:lnTo>
                      <a:pt x="349" y="174"/>
                    </a:lnTo>
                    <a:lnTo>
                      <a:pt x="349" y="169"/>
                    </a:lnTo>
                    <a:lnTo>
                      <a:pt x="343" y="169"/>
                    </a:lnTo>
                    <a:lnTo>
                      <a:pt x="349" y="169"/>
                    </a:lnTo>
                    <a:lnTo>
                      <a:pt x="343" y="169"/>
                    </a:lnTo>
                    <a:lnTo>
                      <a:pt x="349" y="164"/>
                    </a:lnTo>
                    <a:lnTo>
                      <a:pt x="338" y="169"/>
                    </a:lnTo>
                    <a:lnTo>
                      <a:pt x="343" y="164"/>
                    </a:lnTo>
                    <a:lnTo>
                      <a:pt x="349" y="158"/>
                    </a:lnTo>
                    <a:lnTo>
                      <a:pt x="338" y="164"/>
                    </a:lnTo>
                    <a:lnTo>
                      <a:pt x="332" y="164"/>
                    </a:lnTo>
                    <a:lnTo>
                      <a:pt x="332" y="158"/>
                    </a:lnTo>
                    <a:lnTo>
                      <a:pt x="327" y="164"/>
                    </a:lnTo>
                    <a:lnTo>
                      <a:pt x="321" y="164"/>
                    </a:lnTo>
                    <a:lnTo>
                      <a:pt x="327" y="158"/>
                    </a:lnTo>
                    <a:lnTo>
                      <a:pt x="316" y="164"/>
                    </a:lnTo>
                    <a:lnTo>
                      <a:pt x="321" y="169"/>
                    </a:lnTo>
                    <a:lnTo>
                      <a:pt x="310" y="169"/>
                    </a:lnTo>
                    <a:lnTo>
                      <a:pt x="316" y="169"/>
                    </a:lnTo>
                    <a:lnTo>
                      <a:pt x="310" y="174"/>
                    </a:lnTo>
                    <a:lnTo>
                      <a:pt x="310" y="180"/>
                    </a:lnTo>
                    <a:lnTo>
                      <a:pt x="310" y="174"/>
                    </a:lnTo>
                    <a:lnTo>
                      <a:pt x="305" y="180"/>
                    </a:lnTo>
                    <a:lnTo>
                      <a:pt x="300" y="174"/>
                    </a:lnTo>
                    <a:lnTo>
                      <a:pt x="294" y="180"/>
                    </a:lnTo>
                    <a:lnTo>
                      <a:pt x="294" y="174"/>
                    </a:lnTo>
                    <a:lnTo>
                      <a:pt x="283" y="180"/>
                    </a:lnTo>
                    <a:lnTo>
                      <a:pt x="272" y="185"/>
                    </a:lnTo>
                    <a:lnTo>
                      <a:pt x="267" y="185"/>
                    </a:lnTo>
                    <a:lnTo>
                      <a:pt x="261" y="191"/>
                    </a:lnTo>
                    <a:lnTo>
                      <a:pt x="256" y="191"/>
                    </a:lnTo>
                    <a:lnTo>
                      <a:pt x="250" y="191"/>
                    </a:lnTo>
                    <a:lnTo>
                      <a:pt x="250" y="185"/>
                    </a:lnTo>
                    <a:lnTo>
                      <a:pt x="256" y="185"/>
                    </a:lnTo>
                    <a:lnTo>
                      <a:pt x="261" y="185"/>
                    </a:lnTo>
                    <a:lnTo>
                      <a:pt x="272" y="180"/>
                    </a:lnTo>
                    <a:lnTo>
                      <a:pt x="261" y="185"/>
                    </a:lnTo>
                    <a:lnTo>
                      <a:pt x="256" y="180"/>
                    </a:lnTo>
                    <a:lnTo>
                      <a:pt x="267" y="180"/>
                    </a:lnTo>
                    <a:lnTo>
                      <a:pt x="272" y="174"/>
                    </a:lnTo>
                    <a:lnTo>
                      <a:pt x="278" y="174"/>
                    </a:lnTo>
                    <a:lnTo>
                      <a:pt x="283" y="169"/>
                    </a:lnTo>
                    <a:lnTo>
                      <a:pt x="289" y="164"/>
                    </a:lnTo>
                    <a:lnTo>
                      <a:pt x="294" y="164"/>
                    </a:lnTo>
                    <a:lnTo>
                      <a:pt x="300" y="164"/>
                    </a:lnTo>
                    <a:lnTo>
                      <a:pt x="305" y="164"/>
                    </a:lnTo>
                    <a:lnTo>
                      <a:pt x="305" y="158"/>
                    </a:lnTo>
                    <a:lnTo>
                      <a:pt x="300" y="158"/>
                    </a:lnTo>
                    <a:lnTo>
                      <a:pt x="289" y="158"/>
                    </a:lnTo>
                    <a:lnTo>
                      <a:pt x="278" y="164"/>
                    </a:lnTo>
                    <a:lnTo>
                      <a:pt x="278" y="169"/>
                    </a:lnTo>
                    <a:lnTo>
                      <a:pt x="267" y="169"/>
                    </a:lnTo>
                    <a:lnTo>
                      <a:pt x="261" y="174"/>
                    </a:lnTo>
                    <a:lnTo>
                      <a:pt x="256" y="174"/>
                    </a:lnTo>
                    <a:lnTo>
                      <a:pt x="250" y="180"/>
                    </a:lnTo>
                    <a:lnTo>
                      <a:pt x="245" y="180"/>
                    </a:lnTo>
                    <a:lnTo>
                      <a:pt x="240" y="185"/>
                    </a:lnTo>
                    <a:lnTo>
                      <a:pt x="234" y="185"/>
                    </a:lnTo>
                    <a:lnTo>
                      <a:pt x="229" y="185"/>
                    </a:lnTo>
                    <a:lnTo>
                      <a:pt x="223" y="191"/>
                    </a:lnTo>
                    <a:lnTo>
                      <a:pt x="218" y="196"/>
                    </a:lnTo>
                    <a:lnTo>
                      <a:pt x="223" y="191"/>
                    </a:lnTo>
                    <a:lnTo>
                      <a:pt x="223" y="196"/>
                    </a:lnTo>
                    <a:lnTo>
                      <a:pt x="212" y="202"/>
                    </a:lnTo>
                    <a:lnTo>
                      <a:pt x="207" y="202"/>
                    </a:lnTo>
                    <a:lnTo>
                      <a:pt x="201" y="207"/>
                    </a:lnTo>
                    <a:lnTo>
                      <a:pt x="196" y="207"/>
                    </a:lnTo>
                    <a:lnTo>
                      <a:pt x="190" y="207"/>
                    </a:lnTo>
                    <a:lnTo>
                      <a:pt x="180" y="213"/>
                    </a:lnTo>
                    <a:lnTo>
                      <a:pt x="174" y="218"/>
                    </a:lnTo>
                    <a:lnTo>
                      <a:pt x="163" y="218"/>
                    </a:lnTo>
                    <a:lnTo>
                      <a:pt x="158" y="218"/>
                    </a:lnTo>
                    <a:lnTo>
                      <a:pt x="152" y="224"/>
                    </a:lnTo>
                    <a:lnTo>
                      <a:pt x="147" y="224"/>
                    </a:lnTo>
                    <a:lnTo>
                      <a:pt x="141" y="229"/>
                    </a:lnTo>
                    <a:lnTo>
                      <a:pt x="136" y="229"/>
                    </a:lnTo>
                    <a:lnTo>
                      <a:pt x="130" y="229"/>
                    </a:lnTo>
                    <a:lnTo>
                      <a:pt x="125" y="234"/>
                    </a:lnTo>
                    <a:lnTo>
                      <a:pt x="120" y="234"/>
                    </a:lnTo>
                    <a:lnTo>
                      <a:pt x="109" y="240"/>
                    </a:lnTo>
                    <a:lnTo>
                      <a:pt x="103" y="240"/>
                    </a:lnTo>
                    <a:lnTo>
                      <a:pt x="98" y="245"/>
                    </a:lnTo>
                    <a:lnTo>
                      <a:pt x="92" y="245"/>
                    </a:lnTo>
                    <a:lnTo>
                      <a:pt x="98" y="245"/>
                    </a:lnTo>
                    <a:lnTo>
                      <a:pt x="87" y="245"/>
                    </a:lnTo>
                    <a:lnTo>
                      <a:pt x="92" y="245"/>
                    </a:lnTo>
                    <a:lnTo>
                      <a:pt x="81" y="245"/>
                    </a:lnTo>
                    <a:lnTo>
                      <a:pt x="76" y="251"/>
                    </a:lnTo>
                    <a:lnTo>
                      <a:pt x="71" y="251"/>
                    </a:lnTo>
                    <a:lnTo>
                      <a:pt x="65" y="251"/>
                    </a:lnTo>
                    <a:lnTo>
                      <a:pt x="65" y="245"/>
                    </a:lnTo>
                    <a:lnTo>
                      <a:pt x="65" y="251"/>
                    </a:lnTo>
                    <a:lnTo>
                      <a:pt x="60" y="251"/>
                    </a:lnTo>
                    <a:lnTo>
                      <a:pt x="54" y="256"/>
                    </a:lnTo>
                    <a:lnTo>
                      <a:pt x="49" y="256"/>
                    </a:lnTo>
                    <a:lnTo>
                      <a:pt x="43" y="256"/>
                    </a:lnTo>
                    <a:lnTo>
                      <a:pt x="43" y="251"/>
                    </a:lnTo>
                    <a:lnTo>
                      <a:pt x="38" y="256"/>
                    </a:lnTo>
                    <a:lnTo>
                      <a:pt x="27" y="262"/>
                    </a:lnTo>
                    <a:lnTo>
                      <a:pt x="21" y="262"/>
                    </a:lnTo>
                    <a:lnTo>
                      <a:pt x="16" y="262"/>
                    </a:lnTo>
                    <a:lnTo>
                      <a:pt x="5" y="267"/>
                    </a:lnTo>
                    <a:lnTo>
                      <a:pt x="0" y="267"/>
                    </a:lnTo>
                    <a:lnTo>
                      <a:pt x="5" y="262"/>
                    </a:lnTo>
                    <a:lnTo>
                      <a:pt x="11" y="262"/>
                    </a:lnTo>
                    <a:lnTo>
                      <a:pt x="16" y="256"/>
                    </a:lnTo>
                    <a:lnTo>
                      <a:pt x="16" y="262"/>
                    </a:lnTo>
                    <a:lnTo>
                      <a:pt x="27" y="256"/>
                    </a:lnTo>
                    <a:lnTo>
                      <a:pt x="32" y="256"/>
                    </a:lnTo>
                    <a:lnTo>
                      <a:pt x="38" y="256"/>
                    </a:lnTo>
                    <a:lnTo>
                      <a:pt x="49" y="251"/>
                    </a:lnTo>
                    <a:lnTo>
                      <a:pt x="60" y="245"/>
                    </a:lnTo>
                    <a:lnTo>
                      <a:pt x="65" y="245"/>
                    </a:lnTo>
                    <a:lnTo>
                      <a:pt x="76" y="240"/>
                    </a:lnTo>
                    <a:lnTo>
                      <a:pt x="81" y="240"/>
                    </a:lnTo>
                    <a:lnTo>
                      <a:pt x="76" y="245"/>
                    </a:lnTo>
                    <a:lnTo>
                      <a:pt x="81" y="245"/>
                    </a:lnTo>
                    <a:lnTo>
                      <a:pt x="92" y="240"/>
                    </a:lnTo>
                    <a:lnTo>
                      <a:pt x="92" y="234"/>
                    </a:lnTo>
                    <a:lnTo>
                      <a:pt x="103" y="234"/>
                    </a:lnTo>
                    <a:lnTo>
                      <a:pt x="114" y="229"/>
                    </a:lnTo>
                    <a:lnTo>
                      <a:pt x="120" y="229"/>
                    </a:lnTo>
                    <a:lnTo>
                      <a:pt x="125" y="224"/>
                    </a:lnTo>
                    <a:lnTo>
                      <a:pt x="130" y="224"/>
                    </a:lnTo>
                    <a:lnTo>
                      <a:pt x="141" y="218"/>
                    </a:lnTo>
                    <a:lnTo>
                      <a:pt x="147" y="218"/>
                    </a:lnTo>
                    <a:lnTo>
                      <a:pt x="152" y="213"/>
                    </a:lnTo>
                    <a:lnTo>
                      <a:pt x="163" y="207"/>
                    </a:lnTo>
                    <a:lnTo>
                      <a:pt x="169" y="202"/>
                    </a:lnTo>
                    <a:lnTo>
                      <a:pt x="174" y="196"/>
                    </a:lnTo>
                    <a:lnTo>
                      <a:pt x="180" y="196"/>
                    </a:lnTo>
                    <a:lnTo>
                      <a:pt x="174" y="196"/>
                    </a:lnTo>
                    <a:lnTo>
                      <a:pt x="163" y="202"/>
                    </a:lnTo>
                    <a:lnTo>
                      <a:pt x="158" y="196"/>
                    </a:lnTo>
                    <a:lnTo>
                      <a:pt x="163" y="196"/>
                    </a:lnTo>
                    <a:lnTo>
                      <a:pt x="158" y="196"/>
                    </a:lnTo>
                    <a:lnTo>
                      <a:pt x="147" y="202"/>
                    </a:lnTo>
                    <a:lnTo>
                      <a:pt x="152" y="196"/>
                    </a:lnTo>
                    <a:lnTo>
                      <a:pt x="147" y="196"/>
                    </a:lnTo>
                    <a:lnTo>
                      <a:pt x="152" y="196"/>
                    </a:lnTo>
                    <a:lnTo>
                      <a:pt x="141" y="196"/>
                    </a:lnTo>
                    <a:lnTo>
                      <a:pt x="147" y="191"/>
                    </a:lnTo>
                    <a:lnTo>
                      <a:pt x="136" y="196"/>
                    </a:lnTo>
                    <a:lnTo>
                      <a:pt x="130" y="196"/>
                    </a:lnTo>
                    <a:lnTo>
                      <a:pt x="125" y="202"/>
                    </a:lnTo>
                    <a:lnTo>
                      <a:pt x="120" y="202"/>
                    </a:lnTo>
                    <a:lnTo>
                      <a:pt x="114" y="202"/>
                    </a:lnTo>
                    <a:lnTo>
                      <a:pt x="120" y="196"/>
                    </a:lnTo>
                    <a:lnTo>
                      <a:pt x="125" y="191"/>
                    </a:lnTo>
                    <a:lnTo>
                      <a:pt x="136" y="185"/>
                    </a:lnTo>
                    <a:lnTo>
                      <a:pt x="141" y="180"/>
                    </a:lnTo>
                    <a:lnTo>
                      <a:pt x="141" y="174"/>
                    </a:lnTo>
                    <a:lnTo>
                      <a:pt x="136" y="180"/>
                    </a:lnTo>
                    <a:lnTo>
                      <a:pt x="130" y="180"/>
                    </a:lnTo>
                    <a:lnTo>
                      <a:pt x="125" y="180"/>
                    </a:lnTo>
                    <a:lnTo>
                      <a:pt x="120" y="180"/>
                    </a:lnTo>
                    <a:lnTo>
                      <a:pt x="114" y="180"/>
                    </a:lnTo>
                    <a:lnTo>
                      <a:pt x="114" y="174"/>
                    </a:lnTo>
                    <a:lnTo>
                      <a:pt x="120" y="174"/>
                    </a:lnTo>
                    <a:lnTo>
                      <a:pt x="114" y="174"/>
                    </a:lnTo>
                    <a:lnTo>
                      <a:pt x="114" y="169"/>
                    </a:lnTo>
                    <a:lnTo>
                      <a:pt x="125" y="164"/>
                    </a:lnTo>
                    <a:lnTo>
                      <a:pt x="120" y="164"/>
                    </a:lnTo>
                    <a:lnTo>
                      <a:pt x="125" y="158"/>
                    </a:lnTo>
                    <a:lnTo>
                      <a:pt x="125" y="153"/>
                    </a:lnTo>
                    <a:lnTo>
                      <a:pt x="130" y="147"/>
                    </a:lnTo>
                    <a:lnTo>
                      <a:pt x="136" y="147"/>
                    </a:lnTo>
                    <a:lnTo>
                      <a:pt x="141" y="147"/>
                    </a:lnTo>
                    <a:lnTo>
                      <a:pt x="152" y="142"/>
                    </a:lnTo>
                    <a:lnTo>
                      <a:pt x="152" y="136"/>
                    </a:lnTo>
                    <a:lnTo>
                      <a:pt x="163" y="136"/>
                    </a:lnTo>
                    <a:lnTo>
                      <a:pt x="169" y="131"/>
                    </a:lnTo>
                    <a:lnTo>
                      <a:pt x="174" y="131"/>
                    </a:lnTo>
                    <a:lnTo>
                      <a:pt x="180" y="125"/>
                    </a:lnTo>
                    <a:lnTo>
                      <a:pt x="185" y="125"/>
                    </a:lnTo>
                    <a:lnTo>
                      <a:pt x="185" y="131"/>
                    </a:lnTo>
                    <a:lnTo>
                      <a:pt x="190" y="131"/>
                    </a:lnTo>
                    <a:lnTo>
                      <a:pt x="201" y="125"/>
                    </a:lnTo>
                    <a:lnTo>
                      <a:pt x="207" y="125"/>
                    </a:lnTo>
                    <a:lnTo>
                      <a:pt x="207" y="120"/>
                    </a:lnTo>
                    <a:lnTo>
                      <a:pt x="207" y="125"/>
                    </a:lnTo>
                    <a:lnTo>
                      <a:pt x="212" y="125"/>
                    </a:lnTo>
                    <a:lnTo>
                      <a:pt x="218" y="125"/>
                    </a:lnTo>
                    <a:lnTo>
                      <a:pt x="223" y="120"/>
                    </a:lnTo>
                    <a:lnTo>
                      <a:pt x="234" y="114"/>
                    </a:lnTo>
                    <a:lnTo>
                      <a:pt x="240" y="109"/>
                    </a:lnTo>
                    <a:lnTo>
                      <a:pt x="234" y="109"/>
                    </a:lnTo>
                    <a:lnTo>
                      <a:pt x="245" y="104"/>
                    </a:lnTo>
                    <a:lnTo>
                      <a:pt x="250" y="104"/>
                    </a:lnTo>
                    <a:lnTo>
                      <a:pt x="250" y="98"/>
                    </a:lnTo>
                    <a:lnTo>
                      <a:pt x="240" y="104"/>
                    </a:lnTo>
                    <a:lnTo>
                      <a:pt x="234" y="104"/>
                    </a:lnTo>
                    <a:lnTo>
                      <a:pt x="229" y="104"/>
                    </a:lnTo>
                    <a:lnTo>
                      <a:pt x="218" y="109"/>
                    </a:lnTo>
                    <a:lnTo>
                      <a:pt x="223" y="104"/>
                    </a:lnTo>
                    <a:lnTo>
                      <a:pt x="218" y="104"/>
                    </a:lnTo>
                    <a:lnTo>
                      <a:pt x="218" y="109"/>
                    </a:lnTo>
                    <a:lnTo>
                      <a:pt x="212" y="104"/>
                    </a:lnTo>
                    <a:lnTo>
                      <a:pt x="207" y="104"/>
                    </a:lnTo>
                    <a:lnTo>
                      <a:pt x="196" y="109"/>
                    </a:lnTo>
                    <a:lnTo>
                      <a:pt x="190" y="109"/>
                    </a:lnTo>
                    <a:lnTo>
                      <a:pt x="185" y="104"/>
                    </a:lnTo>
                    <a:lnTo>
                      <a:pt x="190" y="98"/>
                    </a:lnTo>
                    <a:lnTo>
                      <a:pt x="196" y="93"/>
                    </a:lnTo>
                    <a:lnTo>
                      <a:pt x="190" y="93"/>
                    </a:lnTo>
                    <a:lnTo>
                      <a:pt x="185" y="87"/>
                    </a:lnTo>
                    <a:lnTo>
                      <a:pt x="190" y="87"/>
                    </a:lnTo>
                    <a:lnTo>
                      <a:pt x="201" y="87"/>
                    </a:lnTo>
                    <a:lnTo>
                      <a:pt x="207" y="82"/>
                    </a:lnTo>
                    <a:lnTo>
                      <a:pt x="218" y="82"/>
                    </a:lnTo>
                    <a:lnTo>
                      <a:pt x="223" y="82"/>
                    </a:lnTo>
                    <a:lnTo>
                      <a:pt x="229" y="76"/>
                    </a:lnTo>
                    <a:lnTo>
                      <a:pt x="240" y="76"/>
                    </a:lnTo>
                    <a:lnTo>
                      <a:pt x="245" y="76"/>
                    </a:lnTo>
                    <a:lnTo>
                      <a:pt x="245" y="71"/>
                    </a:lnTo>
                    <a:lnTo>
                      <a:pt x="256" y="76"/>
                    </a:lnTo>
                    <a:lnTo>
                      <a:pt x="245" y="82"/>
                    </a:lnTo>
                    <a:lnTo>
                      <a:pt x="250" y="82"/>
                    </a:lnTo>
                    <a:lnTo>
                      <a:pt x="256" y="82"/>
                    </a:lnTo>
                    <a:lnTo>
                      <a:pt x="261" y="82"/>
                    </a:lnTo>
                    <a:lnTo>
                      <a:pt x="272" y="76"/>
                    </a:lnTo>
                    <a:lnTo>
                      <a:pt x="278" y="76"/>
                    </a:lnTo>
                    <a:lnTo>
                      <a:pt x="272" y="76"/>
                    </a:lnTo>
                    <a:lnTo>
                      <a:pt x="272" y="71"/>
                    </a:lnTo>
                    <a:lnTo>
                      <a:pt x="278" y="65"/>
                    </a:lnTo>
                    <a:lnTo>
                      <a:pt x="278" y="71"/>
                    </a:lnTo>
                    <a:lnTo>
                      <a:pt x="278" y="76"/>
                    </a:lnTo>
                    <a:lnTo>
                      <a:pt x="283" y="76"/>
                    </a:lnTo>
                    <a:lnTo>
                      <a:pt x="289" y="76"/>
                    </a:lnTo>
                    <a:lnTo>
                      <a:pt x="294" y="76"/>
                    </a:lnTo>
                    <a:lnTo>
                      <a:pt x="289" y="71"/>
                    </a:lnTo>
                    <a:lnTo>
                      <a:pt x="278" y="76"/>
                    </a:lnTo>
                    <a:lnTo>
                      <a:pt x="278" y="71"/>
                    </a:lnTo>
                    <a:lnTo>
                      <a:pt x="283" y="65"/>
                    </a:lnTo>
                    <a:lnTo>
                      <a:pt x="278" y="65"/>
                    </a:lnTo>
                    <a:lnTo>
                      <a:pt x="272" y="65"/>
                    </a:lnTo>
                    <a:lnTo>
                      <a:pt x="267" y="65"/>
                    </a:lnTo>
                    <a:lnTo>
                      <a:pt x="272" y="60"/>
                    </a:lnTo>
                    <a:lnTo>
                      <a:pt x="272" y="54"/>
                    </a:lnTo>
                    <a:lnTo>
                      <a:pt x="267" y="54"/>
                    </a:lnTo>
                    <a:lnTo>
                      <a:pt x="267" y="49"/>
                    </a:lnTo>
                    <a:lnTo>
                      <a:pt x="261" y="49"/>
                    </a:lnTo>
                    <a:lnTo>
                      <a:pt x="256" y="44"/>
                    </a:lnTo>
                    <a:lnTo>
                      <a:pt x="267" y="44"/>
                    </a:lnTo>
                    <a:lnTo>
                      <a:pt x="272" y="38"/>
                    </a:lnTo>
                    <a:lnTo>
                      <a:pt x="278" y="38"/>
                    </a:lnTo>
                    <a:lnTo>
                      <a:pt x="283" y="38"/>
                    </a:lnTo>
                    <a:lnTo>
                      <a:pt x="294" y="38"/>
                    </a:lnTo>
                    <a:lnTo>
                      <a:pt x="305" y="33"/>
                    </a:lnTo>
                    <a:lnTo>
                      <a:pt x="310" y="33"/>
                    </a:lnTo>
                    <a:lnTo>
                      <a:pt x="321" y="33"/>
                    </a:lnTo>
                    <a:lnTo>
                      <a:pt x="321" y="27"/>
                    </a:lnTo>
                    <a:lnTo>
                      <a:pt x="327" y="22"/>
                    </a:lnTo>
                    <a:lnTo>
                      <a:pt x="332" y="22"/>
                    </a:lnTo>
                    <a:lnTo>
                      <a:pt x="338" y="22"/>
                    </a:lnTo>
                    <a:lnTo>
                      <a:pt x="343" y="22"/>
                    </a:lnTo>
                    <a:lnTo>
                      <a:pt x="354" y="16"/>
                    </a:lnTo>
                    <a:lnTo>
                      <a:pt x="365" y="16"/>
                    </a:lnTo>
                    <a:lnTo>
                      <a:pt x="376" y="11"/>
                    </a:lnTo>
                    <a:lnTo>
                      <a:pt x="387" y="5"/>
                    </a:lnTo>
                    <a:lnTo>
                      <a:pt x="392" y="5"/>
                    </a:lnTo>
                    <a:lnTo>
                      <a:pt x="403" y="5"/>
                    </a:lnTo>
                    <a:lnTo>
                      <a:pt x="409" y="5"/>
                    </a:lnTo>
                    <a:lnTo>
                      <a:pt x="414" y="5"/>
                    </a:lnTo>
                    <a:lnTo>
                      <a:pt x="425" y="0"/>
                    </a:lnTo>
                    <a:lnTo>
                      <a:pt x="430" y="0"/>
                    </a:lnTo>
                    <a:lnTo>
                      <a:pt x="436" y="0"/>
                    </a:lnTo>
                    <a:lnTo>
                      <a:pt x="425" y="5"/>
                    </a:lnTo>
                    <a:lnTo>
                      <a:pt x="430" y="5"/>
                    </a:lnTo>
                    <a:lnTo>
                      <a:pt x="441" y="0"/>
                    </a:lnTo>
                    <a:lnTo>
                      <a:pt x="441" y="5"/>
                    </a:lnTo>
                    <a:lnTo>
                      <a:pt x="447" y="5"/>
                    </a:lnTo>
                    <a:lnTo>
                      <a:pt x="458" y="5"/>
                    </a:lnTo>
                    <a:lnTo>
                      <a:pt x="463" y="5"/>
                    </a:lnTo>
                    <a:lnTo>
                      <a:pt x="458" y="11"/>
                    </a:lnTo>
                    <a:lnTo>
                      <a:pt x="469" y="16"/>
                    </a:lnTo>
                    <a:lnTo>
                      <a:pt x="474" y="11"/>
                    </a:lnTo>
                    <a:lnTo>
                      <a:pt x="469" y="16"/>
                    </a:lnTo>
                    <a:lnTo>
                      <a:pt x="474" y="16"/>
                    </a:lnTo>
                    <a:lnTo>
                      <a:pt x="485" y="11"/>
                    </a:lnTo>
                    <a:lnTo>
                      <a:pt x="490" y="11"/>
                    </a:lnTo>
                    <a:lnTo>
                      <a:pt x="490" y="16"/>
                    </a:lnTo>
                    <a:lnTo>
                      <a:pt x="496" y="16"/>
                    </a:lnTo>
                    <a:lnTo>
                      <a:pt x="501" y="16"/>
                    </a:lnTo>
                    <a:lnTo>
                      <a:pt x="507" y="16"/>
                    </a:lnTo>
                    <a:lnTo>
                      <a:pt x="518" y="16"/>
                    </a:lnTo>
                    <a:lnTo>
                      <a:pt x="523" y="22"/>
                    </a:lnTo>
                    <a:lnTo>
                      <a:pt x="539" y="22"/>
                    </a:lnTo>
                    <a:lnTo>
                      <a:pt x="539" y="16"/>
                    </a:lnTo>
                    <a:lnTo>
                      <a:pt x="545" y="16"/>
                    </a:lnTo>
                    <a:lnTo>
                      <a:pt x="550" y="22"/>
                    </a:lnTo>
                    <a:lnTo>
                      <a:pt x="556" y="22"/>
                    </a:lnTo>
                    <a:lnTo>
                      <a:pt x="561" y="27"/>
                    </a:lnTo>
                    <a:lnTo>
                      <a:pt x="479" y="98"/>
                    </a:lnTo>
                    <a:lnTo>
                      <a:pt x="398" y="174"/>
                    </a:lnTo>
                    <a:lnTo>
                      <a:pt x="403" y="174"/>
                    </a:lnTo>
                    <a:lnTo>
                      <a:pt x="409" y="174"/>
                    </a:lnTo>
                    <a:lnTo>
                      <a:pt x="414" y="174"/>
                    </a:lnTo>
                    <a:lnTo>
                      <a:pt x="419" y="174"/>
                    </a:lnTo>
                    <a:lnTo>
                      <a:pt x="414" y="174"/>
                    </a:lnTo>
                    <a:lnTo>
                      <a:pt x="419" y="180"/>
                    </a:lnTo>
                    <a:lnTo>
                      <a:pt x="414" y="180"/>
                    </a:lnTo>
                    <a:lnTo>
                      <a:pt x="419" y="180"/>
                    </a:lnTo>
                    <a:lnTo>
                      <a:pt x="419" y="185"/>
                    </a:lnTo>
                    <a:lnTo>
                      <a:pt x="419" y="191"/>
                    </a:lnTo>
                    <a:lnTo>
                      <a:pt x="414" y="196"/>
                    </a:lnTo>
                    <a:lnTo>
                      <a:pt x="425" y="191"/>
                    </a:lnTo>
                    <a:lnTo>
                      <a:pt x="430" y="191"/>
                    </a:lnTo>
                    <a:lnTo>
                      <a:pt x="436" y="185"/>
                    </a:lnTo>
                    <a:lnTo>
                      <a:pt x="441" y="185"/>
                    </a:lnTo>
                    <a:lnTo>
                      <a:pt x="447" y="185"/>
                    </a:lnTo>
                    <a:lnTo>
                      <a:pt x="452" y="180"/>
                    </a:lnTo>
                    <a:lnTo>
                      <a:pt x="458" y="185"/>
                    </a:lnTo>
                    <a:lnTo>
                      <a:pt x="452" y="191"/>
                    </a:lnTo>
                    <a:lnTo>
                      <a:pt x="458" y="191"/>
                    </a:lnTo>
                    <a:lnTo>
                      <a:pt x="452" y="196"/>
                    </a:lnTo>
                    <a:lnTo>
                      <a:pt x="458" y="196"/>
                    </a:lnTo>
                    <a:lnTo>
                      <a:pt x="458" y="202"/>
                    </a:lnTo>
                    <a:lnTo>
                      <a:pt x="458" y="207"/>
                    </a:lnTo>
                    <a:lnTo>
                      <a:pt x="452" y="207"/>
                    </a:lnTo>
                    <a:lnTo>
                      <a:pt x="458" y="213"/>
                    </a:lnTo>
                    <a:lnTo>
                      <a:pt x="452" y="213"/>
                    </a:lnTo>
                    <a:lnTo>
                      <a:pt x="452" y="218"/>
                    </a:lnTo>
                    <a:lnTo>
                      <a:pt x="452" y="224"/>
                    </a:lnTo>
                    <a:lnTo>
                      <a:pt x="447" y="229"/>
                    </a:lnTo>
                    <a:lnTo>
                      <a:pt x="447" y="234"/>
                    </a:lnTo>
                    <a:lnTo>
                      <a:pt x="452" y="234"/>
                    </a:lnTo>
                    <a:lnTo>
                      <a:pt x="458" y="234"/>
                    </a:lnTo>
                    <a:lnTo>
                      <a:pt x="458" y="240"/>
                    </a:lnTo>
                    <a:lnTo>
                      <a:pt x="463" y="240"/>
                    </a:lnTo>
                    <a:lnTo>
                      <a:pt x="458" y="245"/>
                    </a:lnTo>
                    <a:lnTo>
                      <a:pt x="452" y="251"/>
                    </a:lnTo>
                    <a:lnTo>
                      <a:pt x="447" y="256"/>
                    </a:lnTo>
                    <a:lnTo>
                      <a:pt x="441" y="256"/>
                    </a:lnTo>
                    <a:lnTo>
                      <a:pt x="441" y="262"/>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grpSp>
        <p:sp>
          <p:nvSpPr>
            <p:cNvPr id="54" name="Freeform 576">
              <a:extLst>
                <a:ext uri="{FF2B5EF4-FFF2-40B4-BE49-F238E27FC236}">
                  <a16:creationId xmlns:a16="http://schemas.microsoft.com/office/drawing/2014/main" id="{83C77278-84C6-4BD3-2569-66A0C3712B57}"/>
                </a:ext>
              </a:extLst>
            </p:cNvPr>
            <p:cNvSpPr>
              <a:spLocks/>
            </p:cNvSpPr>
            <p:nvPr/>
          </p:nvSpPr>
          <p:spPr bwMode="auto">
            <a:xfrm>
              <a:off x="1924231" y="3337484"/>
              <a:ext cx="1451947" cy="664975"/>
            </a:xfrm>
            <a:custGeom>
              <a:avLst/>
              <a:gdLst>
                <a:gd name="T0" fmla="*/ 11 w 845"/>
                <a:gd name="T1" fmla="*/ 235 h 387"/>
                <a:gd name="T2" fmla="*/ 6 w 845"/>
                <a:gd name="T3" fmla="*/ 202 h 387"/>
                <a:gd name="T4" fmla="*/ 11 w 845"/>
                <a:gd name="T5" fmla="*/ 175 h 387"/>
                <a:gd name="T6" fmla="*/ 11 w 845"/>
                <a:gd name="T7" fmla="*/ 136 h 387"/>
                <a:gd name="T8" fmla="*/ 49 w 845"/>
                <a:gd name="T9" fmla="*/ 93 h 387"/>
                <a:gd name="T10" fmla="*/ 88 w 845"/>
                <a:gd name="T11" fmla="*/ 49 h 387"/>
                <a:gd name="T12" fmla="*/ 104 w 845"/>
                <a:gd name="T13" fmla="*/ 11 h 387"/>
                <a:gd name="T14" fmla="*/ 120 w 845"/>
                <a:gd name="T15" fmla="*/ 33 h 387"/>
                <a:gd name="T16" fmla="*/ 126 w 845"/>
                <a:gd name="T17" fmla="*/ 16 h 387"/>
                <a:gd name="T18" fmla="*/ 513 w 845"/>
                <a:gd name="T19" fmla="*/ 11 h 387"/>
                <a:gd name="T20" fmla="*/ 546 w 845"/>
                <a:gd name="T21" fmla="*/ 16 h 387"/>
                <a:gd name="T22" fmla="*/ 524 w 845"/>
                <a:gd name="T23" fmla="*/ 38 h 387"/>
                <a:gd name="T24" fmla="*/ 556 w 845"/>
                <a:gd name="T25" fmla="*/ 38 h 387"/>
                <a:gd name="T26" fmla="*/ 573 w 845"/>
                <a:gd name="T27" fmla="*/ 38 h 387"/>
                <a:gd name="T28" fmla="*/ 611 w 845"/>
                <a:gd name="T29" fmla="*/ 44 h 387"/>
                <a:gd name="T30" fmla="*/ 611 w 845"/>
                <a:gd name="T31" fmla="*/ 55 h 387"/>
                <a:gd name="T32" fmla="*/ 573 w 845"/>
                <a:gd name="T33" fmla="*/ 60 h 387"/>
                <a:gd name="T34" fmla="*/ 573 w 845"/>
                <a:gd name="T35" fmla="*/ 65 h 387"/>
                <a:gd name="T36" fmla="*/ 535 w 845"/>
                <a:gd name="T37" fmla="*/ 109 h 387"/>
                <a:gd name="T38" fmla="*/ 567 w 845"/>
                <a:gd name="T39" fmla="*/ 98 h 387"/>
                <a:gd name="T40" fmla="*/ 589 w 845"/>
                <a:gd name="T41" fmla="*/ 71 h 387"/>
                <a:gd name="T42" fmla="*/ 616 w 845"/>
                <a:gd name="T43" fmla="*/ 60 h 387"/>
                <a:gd name="T44" fmla="*/ 611 w 845"/>
                <a:gd name="T45" fmla="*/ 82 h 387"/>
                <a:gd name="T46" fmla="*/ 600 w 845"/>
                <a:gd name="T47" fmla="*/ 120 h 387"/>
                <a:gd name="T48" fmla="*/ 649 w 845"/>
                <a:gd name="T49" fmla="*/ 109 h 387"/>
                <a:gd name="T50" fmla="*/ 693 w 845"/>
                <a:gd name="T51" fmla="*/ 93 h 387"/>
                <a:gd name="T52" fmla="*/ 758 w 845"/>
                <a:gd name="T53" fmla="*/ 65 h 387"/>
                <a:gd name="T54" fmla="*/ 813 w 845"/>
                <a:gd name="T55" fmla="*/ 38 h 387"/>
                <a:gd name="T56" fmla="*/ 840 w 845"/>
                <a:gd name="T57" fmla="*/ 60 h 387"/>
                <a:gd name="T58" fmla="*/ 813 w 845"/>
                <a:gd name="T59" fmla="*/ 76 h 387"/>
                <a:gd name="T60" fmla="*/ 775 w 845"/>
                <a:gd name="T61" fmla="*/ 104 h 387"/>
                <a:gd name="T62" fmla="*/ 764 w 845"/>
                <a:gd name="T63" fmla="*/ 125 h 387"/>
                <a:gd name="T64" fmla="*/ 725 w 845"/>
                <a:gd name="T65" fmla="*/ 131 h 387"/>
                <a:gd name="T66" fmla="*/ 709 w 845"/>
                <a:gd name="T67" fmla="*/ 147 h 387"/>
                <a:gd name="T68" fmla="*/ 687 w 845"/>
                <a:gd name="T69" fmla="*/ 169 h 387"/>
                <a:gd name="T70" fmla="*/ 676 w 845"/>
                <a:gd name="T71" fmla="*/ 180 h 387"/>
                <a:gd name="T72" fmla="*/ 682 w 845"/>
                <a:gd name="T73" fmla="*/ 158 h 387"/>
                <a:gd name="T74" fmla="*/ 660 w 845"/>
                <a:gd name="T75" fmla="*/ 175 h 387"/>
                <a:gd name="T76" fmla="*/ 660 w 845"/>
                <a:gd name="T77" fmla="*/ 180 h 387"/>
                <a:gd name="T78" fmla="*/ 665 w 845"/>
                <a:gd name="T79" fmla="*/ 202 h 387"/>
                <a:gd name="T80" fmla="*/ 660 w 845"/>
                <a:gd name="T81" fmla="*/ 218 h 387"/>
                <a:gd name="T82" fmla="*/ 638 w 845"/>
                <a:gd name="T83" fmla="*/ 229 h 387"/>
                <a:gd name="T84" fmla="*/ 616 w 845"/>
                <a:gd name="T85" fmla="*/ 245 h 387"/>
                <a:gd name="T86" fmla="*/ 573 w 845"/>
                <a:gd name="T87" fmla="*/ 267 h 387"/>
                <a:gd name="T88" fmla="*/ 546 w 845"/>
                <a:gd name="T89" fmla="*/ 305 h 387"/>
                <a:gd name="T90" fmla="*/ 546 w 845"/>
                <a:gd name="T91" fmla="*/ 360 h 387"/>
                <a:gd name="T92" fmla="*/ 524 w 845"/>
                <a:gd name="T93" fmla="*/ 382 h 387"/>
                <a:gd name="T94" fmla="*/ 513 w 845"/>
                <a:gd name="T95" fmla="*/ 338 h 387"/>
                <a:gd name="T96" fmla="*/ 513 w 845"/>
                <a:gd name="T97" fmla="*/ 305 h 387"/>
                <a:gd name="T98" fmla="*/ 458 w 845"/>
                <a:gd name="T99" fmla="*/ 300 h 387"/>
                <a:gd name="T100" fmla="*/ 426 w 845"/>
                <a:gd name="T101" fmla="*/ 305 h 387"/>
                <a:gd name="T102" fmla="*/ 426 w 845"/>
                <a:gd name="T103" fmla="*/ 311 h 387"/>
                <a:gd name="T104" fmla="*/ 398 w 845"/>
                <a:gd name="T105" fmla="*/ 322 h 387"/>
                <a:gd name="T106" fmla="*/ 377 w 845"/>
                <a:gd name="T107" fmla="*/ 311 h 387"/>
                <a:gd name="T108" fmla="*/ 338 w 845"/>
                <a:gd name="T109" fmla="*/ 316 h 387"/>
                <a:gd name="T110" fmla="*/ 295 w 845"/>
                <a:gd name="T111" fmla="*/ 344 h 387"/>
                <a:gd name="T112" fmla="*/ 257 w 845"/>
                <a:gd name="T113" fmla="*/ 360 h 387"/>
                <a:gd name="T114" fmla="*/ 251 w 845"/>
                <a:gd name="T115" fmla="*/ 322 h 387"/>
                <a:gd name="T116" fmla="*/ 213 w 845"/>
                <a:gd name="T117" fmla="*/ 322 h 387"/>
                <a:gd name="T118" fmla="*/ 191 w 845"/>
                <a:gd name="T119" fmla="*/ 284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5" h="387">
                  <a:moveTo>
                    <a:pt x="38" y="267"/>
                  </a:moveTo>
                  <a:lnTo>
                    <a:pt x="38" y="262"/>
                  </a:lnTo>
                  <a:lnTo>
                    <a:pt x="38" y="256"/>
                  </a:lnTo>
                  <a:lnTo>
                    <a:pt x="38" y="251"/>
                  </a:lnTo>
                  <a:lnTo>
                    <a:pt x="33" y="245"/>
                  </a:lnTo>
                  <a:lnTo>
                    <a:pt x="28" y="245"/>
                  </a:lnTo>
                  <a:lnTo>
                    <a:pt x="28" y="240"/>
                  </a:lnTo>
                  <a:lnTo>
                    <a:pt x="22" y="240"/>
                  </a:lnTo>
                  <a:lnTo>
                    <a:pt x="17" y="235"/>
                  </a:lnTo>
                  <a:lnTo>
                    <a:pt x="11" y="235"/>
                  </a:lnTo>
                  <a:lnTo>
                    <a:pt x="6" y="235"/>
                  </a:lnTo>
                  <a:lnTo>
                    <a:pt x="6" y="229"/>
                  </a:lnTo>
                  <a:lnTo>
                    <a:pt x="11" y="224"/>
                  </a:lnTo>
                  <a:lnTo>
                    <a:pt x="6" y="224"/>
                  </a:lnTo>
                  <a:lnTo>
                    <a:pt x="11" y="218"/>
                  </a:lnTo>
                  <a:lnTo>
                    <a:pt x="6" y="218"/>
                  </a:lnTo>
                  <a:lnTo>
                    <a:pt x="6" y="213"/>
                  </a:lnTo>
                  <a:lnTo>
                    <a:pt x="6" y="207"/>
                  </a:lnTo>
                  <a:lnTo>
                    <a:pt x="0" y="207"/>
                  </a:lnTo>
                  <a:lnTo>
                    <a:pt x="6" y="202"/>
                  </a:lnTo>
                  <a:lnTo>
                    <a:pt x="6" y="196"/>
                  </a:lnTo>
                  <a:lnTo>
                    <a:pt x="11" y="196"/>
                  </a:lnTo>
                  <a:lnTo>
                    <a:pt x="6" y="196"/>
                  </a:lnTo>
                  <a:lnTo>
                    <a:pt x="6" y="191"/>
                  </a:lnTo>
                  <a:lnTo>
                    <a:pt x="6" y="185"/>
                  </a:lnTo>
                  <a:lnTo>
                    <a:pt x="11" y="180"/>
                  </a:lnTo>
                  <a:lnTo>
                    <a:pt x="11" y="185"/>
                  </a:lnTo>
                  <a:lnTo>
                    <a:pt x="11" y="180"/>
                  </a:lnTo>
                  <a:lnTo>
                    <a:pt x="17" y="180"/>
                  </a:lnTo>
                  <a:lnTo>
                    <a:pt x="11" y="175"/>
                  </a:lnTo>
                  <a:lnTo>
                    <a:pt x="11" y="180"/>
                  </a:lnTo>
                  <a:lnTo>
                    <a:pt x="6" y="180"/>
                  </a:lnTo>
                  <a:lnTo>
                    <a:pt x="6" y="175"/>
                  </a:lnTo>
                  <a:lnTo>
                    <a:pt x="6" y="169"/>
                  </a:lnTo>
                  <a:lnTo>
                    <a:pt x="6" y="164"/>
                  </a:lnTo>
                  <a:lnTo>
                    <a:pt x="6" y="158"/>
                  </a:lnTo>
                  <a:lnTo>
                    <a:pt x="11" y="153"/>
                  </a:lnTo>
                  <a:lnTo>
                    <a:pt x="11" y="147"/>
                  </a:lnTo>
                  <a:lnTo>
                    <a:pt x="11" y="142"/>
                  </a:lnTo>
                  <a:lnTo>
                    <a:pt x="11" y="136"/>
                  </a:lnTo>
                  <a:lnTo>
                    <a:pt x="17" y="136"/>
                  </a:lnTo>
                  <a:lnTo>
                    <a:pt x="22" y="131"/>
                  </a:lnTo>
                  <a:lnTo>
                    <a:pt x="28" y="125"/>
                  </a:lnTo>
                  <a:lnTo>
                    <a:pt x="28" y="120"/>
                  </a:lnTo>
                  <a:lnTo>
                    <a:pt x="33" y="115"/>
                  </a:lnTo>
                  <a:lnTo>
                    <a:pt x="33" y="109"/>
                  </a:lnTo>
                  <a:lnTo>
                    <a:pt x="38" y="104"/>
                  </a:lnTo>
                  <a:lnTo>
                    <a:pt x="38" y="98"/>
                  </a:lnTo>
                  <a:lnTo>
                    <a:pt x="44" y="93"/>
                  </a:lnTo>
                  <a:lnTo>
                    <a:pt x="49" y="93"/>
                  </a:lnTo>
                  <a:lnTo>
                    <a:pt x="49" y="87"/>
                  </a:lnTo>
                  <a:lnTo>
                    <a:pt x="55" y="87"/>
                  </a:lnTo>
                  <a:lnTo>
                    <a:pt x="55" y="82"/>
                  </a:lnTo>
                  <a:lnTo>
                    <a:pt x="60" y="76"/>
                  </a:lnTo>
                  <a:lnTo>
                    <a:pt x="66" y="71"/>
                  </a:lnTo>
                  <a:lnTo>
                    <a:pt x="71" y="65"/>
                  </a:lnTo>
                  <a:lnTo>
                    <a:pt x="71" y="60"/>
                  </a:lnTo>
                  <a:lnTo>
                    <a:pt x="77" y="55"/>
                  </a:lnTo>
                  <a:lnTo>
                    <a:pt x="82" y="49"/>
                  </a:lnTo>
                  <a:lnTo>
                    <a:pt x="88" y="49"/>
                  </a:lnTo>
                  <a:lnTo>
                    <a:pt x="82" y="49"/>
                  </a:lnTo>
                  <a:lnTo>
                    <a:pt x="88" y="44"/>
                  </a:lnTo>
                  <a:lnTo>
                    <a:pt x="93" y="38"/>
                  </a:lnTo>
                  <a:lnTo>
                    <a:pt x="98" y="38"/>
                  </a:lnTo>
                  <a:lnTo>
                    <a:pt x="93" y="38"/>
                  </a:lnTo>
                  <a:lnTo>
                    <a:pt x="93" y="33"/>
                  </a:lnTo>
                  <a:lnTo>
                    <a:pt x="93" y="27"/>
                  </a:lnTo>
                  <a:lnTo>
                    <a:pt x="98" y="22"/>
                  </a:lnTo>
                  <a:lnTo>
                    <a:pt x="98" y="16"/>
                  </a:lnTo>
                  <a:lnTo>
                    <a:pt x="104" y="11"/>
                  </a:lnTo>
                  <a:lnTo>
                    <a:pt x="104" y="16"/>
                  </a:lnTo>
                  <a:lnTo>
                    <a:pt x="109" y="16"/>
                  </a:lnTo>
                  <a:lnTo>
                    <a:pt x="115" y="16"/>
                  </a:lnTo>
                  <a:lnTo>
                    <a:pt x="120" y="16"/>
                  </a:lnTo>
                  <a:lnTo>
                    <a:pt x="126" y="16"/>
                  </a:lnTo>
                  <a:lnTo>
                    <a:pt x="126" y="22"/>
                  </a:lnTo>
                  <a:lnTo>
                    <a:pt x="120" y="22"/>
                  </a:lnTo>
                  <a:lnTo>
                    <a:pt x="126" y="22"/>
                  </a:lnTo>
                  <a:lnTo>
                    <a:pt x="120" y="27"/>
                  </a:lnTo>
                  <a:lnTo>
                    <a:pt x="120" y="33"/>
                  </a:lnTo>
                  <a:lnTo>
                    <a:pt x="120" y="27"/>
                  </a:lnTo>
                  <a:lnTo>
                    <a:pt x="126" y="27"/>
                  </a:lnTo>
                  <a:lnTo>
                    <a:pt x="126" y="22"/>
                  </a:lnTo>
                  <a:lnTo>
                    <a:pt x="131" y="22"/>
                  </a:lnTo>
                  <a:lnTo>
                    <a:pt x="131" y="16"/>
                  </a:lnTo>
                  <a:lnTo>
                    <a:pt x="131" y="11"/>
                  </a:lnTo>
                  <a:lnTo>
                    <a:pt x="126" y="16"/>
                  </a:lnTo>
                  <a:lnTo>
                    <a:pt x="131" y="16"/>
                  </a:lnTo>
                  <a:lnTo>
                    <a:pt x="126" y="22"/>
                  </a:lnTo>
                  <a:lnTo>
                    <a:pt x="126" y="16"/>
                  </a:lnTo>
                  <a:lnTo>
                    <a:pt x="131" y="11"/>
                  </a:lnTo>
                  <a:lnTo>
                    <a:pt x="137" y="11"/>
                  </a:lnTo>
                  <a:lnTo>
                    <a:pt x="131" y="5"/>
                  </a:lnTo>
                  <a:lnTo>
                    <a:pt x="137" y="5"/>
                  </a:lnTo>
                  <a:lnTo>
                    <a:pt x="502" y="5"/>
                  </a:lnTo>
                  <a:lnTo>
                    <a:pt x="502" y="0"/>
                  </a:lnTo>
                  <a:lnTo>
                    <a:pt x="507" y="0"/>
                  </a:lnTo>
                  <a:lnTo>
                    <a:pt x="502" y="5"/>
                  </a:lnTo>
                  <a:lnTo>
                    <a:pt x="507" y="11"/>
                  </a:lnTo>
                  <a:lnTo>
                    <a:pt x="513" y="11"/>
                  </a:lnTo>
                  <a:lnTo>
                    <a:pt x="518" y="11"/>
                  </a:lnTo>
                  <a:lnTo>
                    <a:pt x="524" y="11"/>
                  </a:lnTo>
                  <a:lnTo>
                    <a:pt x="529" y="11"/>
                  </a:lnTo>
                  <a:lnTo>
                    <a:pt x="524" y="11"/>
                  </a:lnTo>
                  <a:lnTo>
                    <a:pt x="529" y="16"/>
                  </a:lnTo>
                  <a:lnTo>
                    <a:pt x="535" y="16"/>
                  </a:lnTo>
                  <a:lnTo>
                    <a:pt x="540" y="16"/>
                  </a:lnTo>
                  <a:lnTo>
                    <a:pt x="535" y="16"/>
                  </a:lnTo>
                  <a:lnTo>
                    <a:pt x="540" y="16"/>
                  </a:lnTo>
                  <a:lnTo>
                    <a:pt x="546" y="16"/>
                  </a:lnTo>
                  <a:lnTo>
                    <a:pt x="551" y="16"/>
                  </a:lnTo>
                  <a:lnTo>
                    <a:pt x="556" y="16"/>
                  </a:lnTo>
                  <a:lnTo>
                    <a:pt x="556" y="22"/>
                  </a:lnTo>
                  <a:lnTo>
                    <a:pt x="562" y="22"/>
                  </a:lnTo>
                  <a:lnTo>
                    <a:pt x="556" y="22"/>
                  </a:lnTo>
                  <a:lnTo>
                    <a:pt x="551" y="22"/>
                  </a:lnTo>
                  <a:lnTo>
                    <a:pt x="546" y="27"/>
                  </a:lnTo>
                  <a:lnTo>
                    <a:pt x="535" y="27"/>
                  </a:lnTo>
                  <a:lnTo>
                    <a:pt x="529" y="33"/>
                  </a:lnTo>
                  <a:lnTo>
                    <a:pt x="524" y="38"/>
                  </a:lnTo>
                  <a:lnTo>
                    <a:pt x="518" y="38"/>
                  </a:lnTo>
                  <a:lnTo>
                    <a:pt x="524" y="38"/>
                  </a:lnTo>
                  <a:lnTo>
                    <a:pt x="529" y="38"/>
                  </a:lnTo>
                  <a:lnTo>
                    <a:pt x="535" y="38"/>
                  </a:lnTo>
                  <a:lnTo>
                    <a:pt x="535" y="44"/>
                  </a:lnTo>
                  <a:lnTo>
                    <a:pt x="535" y="38"/>
                  </a:lnTo>
                  <a:lnTo>
                    <a:pt x="540" y="44"/>
                  </a:lnTo>
                  <a:lnTo>
                    <a:pt x="546" y="38"/>
                  </a:lnTo>
                  <a:lnTo>
                    <a:pt x="551" y="38"/>
                  </a:lnTo>
                  <a:lnTo>
                    <a:pt x="556" y="38"/>
                  </a:lnTo>
                  <a:lnTo>
                    <a:pt x="562" y="33"/>
                  </a:lnTo>
                  <a:lnTo>
                    <a:pt x="567" y="33"/>
                  </a:lnTo>
                  <a:lnTo>
                    <a:pt x="573" y="27"/>
                  </a:lnTo>
                  <a:lnTo>
                    <a:pt x="578" y="27"/>
                  </a:lnTo>
                  <a:lnTo>
                    <a:pt x="584" y="27"/>
                  </a:lnTo>
                  <a:lnTo>
                    <a:pt x="578" y="27"/>
                  </a:lnTo>
                  <a:lnTo>
                    <a:pt x="578" y="33"/>
                  </a:lnTo>
                  <a:lnTo>
                    <a:pt x="573" y="33"/>
                  </a:lnTo>
                  <a:lnTo>
                    <a:pt x="567" y="38"/>
                  </a:lnTo>
                  <a:lnTo>
                    <a:pt x="573" y="38"/>
                  </a:lnTo>
                  <a:lnTo>
                    <a:pt x="578" y="38"/>
                  </a:lnTo>
                  <a:lnTo>
                    <a:pt x="578" y="44"/>
                  </a:lnTo>
                  <a:lnTo>
                    <a:pt x="584" y="44"/>
                  </a:lnTo>
                  <a:lnTo>
                    <a:pt x="589" y="44"/>
                  </a:lnTo>
                  <a:lnTo>
                    <a:pt x="595" y="38"/>
                  </a:lnTo>
                  <a:lnTo>
                    <a:pt x="600" y="38"/>
                  </a:lnTo>
                  <a:lnTo>
                    <a:pt x="606" y="38"/>
                  </a:lnTo>
                  <a:lnTo>
                    <a:pt x="611" y="38"/>
                  </a:lnTo>
                  <a:lnTo>
                    <a:pt x="616" y="38"/>
                  </a:lnTo>
                  <a:lnTo>
                    <a:pt x="611" y="44"/>
                  </a:lnTo>
                  <a:lnTo>
                    <a:pt x="616" y="44"/>
                  </a:lnTo>
                  <a:lnTo>
                    <a:pt x="622" y="44"/>
                  </a:lnTo>
                  <a:lnTo>
                    <a:pt x="622" y="49"/>
                  </a:lnTo>
                  <a:lnTo>
                    <a:pt x="627" y="49"/>
                  </a:lnTo>
                  <a:lnTo>
                    <a:pt x="627" y="55"/>
                  </a:lnTo>
                  <a:lnTo>
                    <a:pt x="622" y="55"/>
                  </a:lnTo>
                  <a:lnTo>
                    <a:pt x="616" y="49"/>
                  </a:lnTo>
                  <a:lnTo>
                    <a:pt x="616" y="55"/>
                  </a:lnTo>
                  <a:lnTo>
                    <a:pt x="611" y="49"/>
                  </a:lnTo>
                  <a:lnTo>
                    <a:pt x="611" y="55"/>
                  </a:lnTo>
                  <a:lnTo>
                    <a:pt x="606" y="49"/>
                  </a:lnTo>
                  <a:lnTo>
                    <a:pt x="600" y="49"/>
                  </a:lnTo>
                  <a:lnTo>
                    <a:pt x="595" y="55"/>
                  </a:lnTo>
                  <a:lnTo>
                    <a:pt x="589" y="55"/>
                  </a:lnTo>
                  <a:lnTo>
                    <a:pt x="584" y="55"/>
                  </a:lnTo>
                  <a:lnTo>
                    <a:pt x="584" y="60"/>
                  </a:lnTo>
                  <a:lnTo>
                    <a:pt x="584" y="55"/>
                  </a:lnTo>
                  <a:lnTo>
                    <a:pt x="578" y="55"/>
                  </a:lnTo>
                  <a:lnTo>
                    <a:pt x="573" y="55"/>
                  </a:lnTo>
                  <a:lnTo>
                    <a:pt x="573" y="60"/>
                  </a:lnTo>
                  <a:lnTo>
                    <a:pt x="567" y="60"/>
                  </a:lnTo>
                  <a:lnTo>
                    <a:pt x="562" y="65"/>
                  </a:lnTo>
                  <a:lnTo>
                    <a:pt x="556" y="71"/>
                  </a:lnTo>
                  <a:lnTo>
                    <a:pt x="556" y="76"/>
                  </a:lnTo>
                  <a:lnTo>
                    <a:pt x="556" y="71"/>
                  </a:lnTo>
                  <a:lnTo>
                    <a:pt x="562" y="71"/>
                  </a:lnTo>
                  <a:lnTo>
                    <a:pt x="567" y="71"/>
                  </a:lnTo>
                  <a:lnTo>
                    <a:pt x="567" y="65"/>
                  </a:lnTo>
                  <a:lnTo>
                    <a:pt x="573" y="60"/>
                  </a:lnTo>
                  <a:lnTo>
                    <a:pt x="573" y="65"/>
                  </a:lnTo>
                  <a:lnTo>
                    <a:pt x="567" y="65"/>
                  </a:lnTo>
                  <a:lnTo>
                    <a:pt x="567" y="71"/>
                  </a:lnTo>
                  <a:lnTo>
                    <a:pt x="562" y="76"/>
                  </a:lnTo>
                  <a:lnTo>
                    <a:pt x="556" y="76"/>
                  </a:lnTo>
                  <a:lnTo>
                    <a:pt x="556" y="82"/>
                  </a:lnTo>
                  <a:lnTo>
                    <a:pt x="551" y="87"/>
                  </a:lnTo>
                  <a:lnTo>
                    <a:pt x="546" y="93"/>
                  </a:lnTo>
                  <a:lnTo>
                    <a:pt x="540" y="98"/>
                  </a:lnTo>
                  <a:lnTo>
                    <a:pt x="540" y="104"/>
                  </a:lnTo>
                  <a:lnTo>
                    <a:pt x="535" y="109"/>
                  </a:lnTo>
                  <a:lnTo>
                    <a:pt x="540" y="115"/>
                  </a:lnTo>
                  <a:lnTo>
                    <a:pt x="535" y="115"/>
                  </a:lnTo>
                  <a:lnTo>
                    <a:pt x="535" y="120"/>
                  </a:lnTo>
                  <a:lnTo>
                    <a:pt x="540" y="120"/>
                  </a:lnTo>
                  <a:lnTo>
                    <a:pt x="546" y="120"/>
                  </a:lnTo>
                  <a:lnTo>
                    <a:pt x="551" y="115"/>
                  </a:lnTo>
                  <a:lnTo>
                    <a:pt x="556" y="115"/>
                  </a:lnTo>
                  <a:lnTo>
                    <a:pt x="556" y="109"/>
                  </a:lnTo>
                  <a:lnTo>
                    <a:pt x="562" y="104"/>
                  </a:lnTo>
                  <a:lnTo>
                    <a:pt x="567" y="98"/>
                  </a:lnTo>
                  <a:lnTo>
                    <a:pt x="567" y="93"/>
                  </a:lnTo>
                  <a:lnTo>
                    <a:pt x="567" y="87"/>
                  </a:lnTo>
                  <a:lnTo>
                    <a:pt x="567" y="82"/>
                  </a:lnTo>
                  <a:lnTo>
                    <a:pt x="578" y="76"/>
                  </a:lnTo>
                  <a:lnTo>
                    <a:pt x="578" y="71"/>
                  </a:lnTo>
                  <a:lnTo>
                    <a:pt x="584" y="71"/>
                  </a:lnTo>
                  <a:lnTo>
                    <a:pt x="589" y="65"/>
                  </a:lnTo>
                  <a:lnTo>
                    <a:pt x="595" y="65"/>
                  </a:lnTo>
                  <a:lnTo>
                    <a:pt x="589" y="65"/>
                  </a:lnTo>
                  <a:lnTo>
                    <a:pt x="589" y="71"/>
                  </a:lnTo>
                  <a:lnTo>
                    <a:pt x="589" y="65"/>
                  </a:lnTo>
                  <a:lnTo>
                    <a:pt x="589" y="71"/>
                  </a:lnTo>
                  <a:lnTo>
                    <a:pt x="595" y="71"/>
                  </a:lnTo>
                  <a:lnTo>
                    <a:pt x="595" y="65"/>
                  </a:lnTo>
                  <a:lnTo>
                    <a:pt x="595" y="60"/>
                  </a:lnTo>
                  <a:lnTo>
                    <a:pt x="600" y="60"/>
                  </a:lnTo>
                  <a:lnTo>
                    <a:pt x="606" y="55"/>
                  </a:lnTo>
                  <a:lnTo>
                    <a:pt x="611" y="55"/>
                  </a:lnTo>
                  <a:lnTo>
                    <a:pt x="616" y="55"/>
                  </a:lnTo>
                  <a:lnTo>
                    <a:pt x="616" y="60"/>
                  </a:lnTo>
                  <a:lnTo>
                    <a:pt x="622" y="60"/>
                  </a:lnTo>
                  <a:lnTo>
                    <a:pt x="622" y="65"/>
                  </a:lnTo>
                  <a:lnTo>
                    <a:pt x="622" y="71"/>
                  </a:lnTo>
                  <a:lnTo>
                    <a:pt x="616" y="71"/>
                  </a:lnTo>
                  <a:lnTo>
                    <a:pt x="616" y="76"/>
                  </a:lnTo>
                  <a:lnTo>
                    <a:pt x="611" y="82"/>
                  </a:lnTo>
                  <a:lnTo>
                    <a:pt x="606" y="82"/>
                  </a:lnTo>
                  <a:lnTo>
                    <a:pt x="600" y="87"/>
                  </a:lnTo>
                  <a:lnTo>
                    <a:pt x="606" y="87"/>
                  </a:lnTo>
                  <a:lnTo>
                    <a:pt x="611" y="82"/>
                  </a:lnTo>
                  <a:lnTo>
                    <a:pt x="622" y="82"/>
                  </a:lnTo>
                  <a:lnTo>
                    <a:pt x="622" y="87"/>
                  </a:lnTo>
                  <a:lnTo>
                    <a:pt x="616" y="93"/>
                  </a:lnTo>
                  <a:lnTo>
                    <a:pt x="616" y="98"/>
                  </a:lnTo>
                  <a:lnTo>
                    <a:pt x="611" y="104"/>
                  </a:lnTo>
                  <a:lnTo>
                    <a:pt x="606" y="109"/>
                  </a:lnTo>
                  <a:lnTo>
                    <a:pt x="600" y="109"/>
                  </a:lnTo>
                  <a:lnTo>
                    <a:pt x="600" y="115"/>
                  </a:lnTo>
                  <a:lnTo>
                    <a:pt x="595" y="120"/>
                  </a:lnTo>
                  <a:lnTo>
                    <a:pt x="600" y="120"/>
                  </a:lnTo>
                  <a:lnTo>
                    <a:pt x="606" y="125"/>
                  </a:lnTo>
                  <a:lnTo>
                    <a:pt x="611" y="125"/>
                  </a:lnTo>
                  <a:lnTo>
                    <a:pt x="611" y="120"/>
                  </a:lnTo>
                  <a:lnTo>
                    <a:pt x="616" y="125"/>
                  </a:lnTo>
                  <a:lnTo>
                    <a:pt x="616" y="120"/>
                  </a:lnTo>
                  <a:lnTo>
                    <a:pt x="622" y="120"/>
                  </a:lnTo>
                  <a:lnTo>
                    <a:pt x="633" y="115"/>
                  </a:lnTo>
                  <a:lnTo>
                    <a:pt x="638" y="115"/>
                  </a:lnTo>
                  <a:lnTo>
                    <a:pt x="644" y="115"/>
                  </a:lnTo>
                  <a:lnTo>
                    <a:pt x="649" y="109"/>
                  </a:lnTo>
                  <a:lnTo>
                    <a:pt x="655" y="109"/>
                  </a:lnTo>
                  <a:lnTo>
                    <a:pt x="660" y="104"/>
                  </a:lnTo>
                  <a:lnTo>
                    <a:pt x="665" y="104"/>
                  </a:lnTo>
                  <a:lnTo>
                    <a:pt x="665" y="98"/>
                  </a:lnTo>
                  <a:lnTo>
                    <a:pt x="665" y="93"/>
                  </a:lnTo>
                  <a:lnTo>
                    <a:pt x="671" y="93"/>
                  </a:lnTo>
                  <a:lnTo>
                    <a:pt x="676" y="93"/>
                  </a:lnTo>
                  <a:lnTo>
                    <a:pt x="682" y="93"/>
                  </a:lnTo>
                  <a:lnTo>
                    <a:pt x="687" y="93"/>
                  </a:lnTo>
                  <a:lnTo>
                    <a:pt x="693" y="93"/>
                  </a:lnTo>
                  <a:lnTo>
                    <a:pt x="698" y="93"/>
                  </a:lnTo>
                  <a:lnTo>
                    <a:pt x="704" y="93"/>
                  </a:lnTo>
                  <a:lnTo>
                    <a:pt x="709" y="87"/>
                  </a:lnTo>
                  <a:lnTo>
                    <a:pt x="709" y="82"/>
                  </a:lnTo>
                  <a:lnTo>
                    <a:pt x="720" y="76"/>
                  </a:lnTo>
                  <a:lnTo>
                    <a:pt x="725" y="71"/>
                  </a:lnTo>
                  <a:lnTo>
                    <a:pt x="731" y="71"/>
                  </a:lnTo>
                  <a:lnTo>
                    <a:pt x="731" y="65"/>
                  </a:lnTo>
                  <a:lnTo>
                    <a:pt x="736" y="65"/>
                  </a:lnTo>
                  <a:lnTo>
                    <a:pt x="758" y="65"/>
                  </a:lnTo>
                  <a:lnTo>
                    <a:pt x="780" y="65"/>
                  </a:lnTo>
                  <a:lnTo>
                    <a:pt x="785" y="60"/>
                  </a:lnTo>
                  <a:lnTo>
                    <a:pt x="791" y="65"/>
                  </a:lnTo>
                  <a:lnTo>
                    <a:pt x="791" y="60"/>
                  </a:lnTo>
                  <a:lnTo>
                    <a:pt x="796" y="60"/>
                  </a:lnTo>
                  <a:lnTo>
                    <a:pt x="802" y="55"/>
                  </a:lnTo>
                  <a:lnTo>
                    <a:pt x="807" y="55"/>
                  </a:lnTo>
                  <a:lnTo>
                    <a:pt x="807" y="49"/>
                  </a:lnTo>
                  <a:lnTo>
                    <a:pt x="813" y="44"/>
                  </a:lnTo>
                  <a:lnTo>
                    <a:pt x="813" y="38"/>
                  </a:lnTo>
                  <a:lnTo>
                    <a:pt x="829" y="27"/>
                  </a:lnTo>
                  <a:lnTo>
                    <a:pt x="829" y="33"/>
                  </a:lnTo>
                  <a:lnTo>
                    <a:pt x="835" y="33"/>
                  </a:lnTo>
                  <a:lnTo>
                    <a:pt x="840" y="33"/>
                  </a:lnTo>
                  <a:lnTo>
                    <a:pt x="840" y="27"/>
                  </a:lnTo>
                  <a:lnTo>
                    <a:pt x="840" y="33"/>
                  </a:lnTo>
                  <a:lnTo>
                    <a:pt x="845" y="33"/>
                  </a:lnTo>
                  <a:lnTo>
                    <a:pt x="840" y="55"/>
                  </a:lnTo>
                  <a:lnTo>
                    <a:pt x="835" y="55"/>
                  </a:lnTo>
                  <a:lnTo>
                    <a:pt x="840" y="60"/>
                  </a:lnTo>
                  <a:lnTo>
                    <a:pt x="840" y="65"/>
                  </a:lnTo>
                  <a:lnTo>
                    <a:pt x="840" y="71"/>
                  </a:lnTo>
                  <a:lnTo>
                    <a:pt x="835" y="71"/>
                  </a:lnTo>
                  <a:lnTo>
                    <a:pt x="829" y="76"/>
                  </a:lnTo>
                  <a:lnTo>
                    <a:pt x="824" y="76"/>
                  </a:lnTo>
                  <a:lnTo>
                    <a:pt x="818" y="82"/>
                  </a:lnTo>
                  <a:lnTo>
                    <a:pt x="818" y="76"/>
                  </a:lnTo>
                  <a:lnTo>
                    <a:pt x="818" y="82"/>
                  </a:lnTo>
                  <a:lnTo>
                    <a:pt x="813" y="82"/>
                  </a:lnTo>
                  <a:lnTo>
                    <a:pt x="813" y="76"/>
                  </a:lnTo>
                  <a:lnTo>
                    <a:pt x="807" y="82"/>
                  </a:lnTo>
                  <a:lnTo>
                    <a:pt x="802" y="87"/>
                  </a:lnTo>
                  <a:lnTo>
                    <a:pt x="796" y="87"/>
                  </a:lnTo>
                  <a:lnTo>
                    <a:pt x="791" y="87"/>
                  </a:lnTo>
                  <a:lnTo>
                    <a:pt x="785" y="93"/>
                  </a:lnTo>
                  <a:lnTo>
                    <a:pt x="780" y="93"/>
                  </a:lnTo>
                  <a:lnTo>
                    <a:pt x="780" y="98"/>
                  </a:lnTo>
                  <a:lnTo>
                    <a:pt x="775" y="104"/>
                  </a:lnTo>
                  <a:lnTo>
                    <a:pt x="780" y="104"/>
                  </a:lnTo>
                  <a:lnTo>
                    <a:pt x="775" y="104"/>
                  </a:lnTo>
                  <a:lnTo>
                    <a:pt x="769" y="109"/>
                  </a:lnTo>
                  <a:lnTo>
                    <a:pt x="775" y="109"/>
                  </a:lnTo>
                  <a:lnTo>
                    <a:pt x="769" y="115"/>
                  </a:lnTo>
                  <a:lnTo>
                    <a:pt x="775" y="120"/>
                  </a:lnTo>
                  <a:lnTo>
                    <a:pt x="780" y="120"/>
                  </a:lnTo>
                  <a:lnTo>
                    <a:pt x="780" y="115"/>
                  </a:lnTo>
                  <a:lnTo>
                    <a:pt x="780" y="120"/>
                  </a:lnTo>
                  <a:lnTo>
                    <a:pt x="775" y="120"/>
                  </a:lnTo>
                  <a:lnTo>
                    <a:pt x="769" y="120"/>
                  </a:lnTo>
                  <a:lnTo>
                    <a:pt x="764" y="125"/>
                  </a:lnTo>
                  <a:lnTo>
                    <a:pt x="769" y="120"/>
                  </a:lnTo>
                  <a:lnTo>
                    <a:pt x="764" y="120"/>
                  </a:lnTo>
                  <a:lnTo>
                    <a:pt x="758" y="125"/>
                  </a:lnTo>
                  <a:lnTo>
                    <a:pt x="753" y="125"/>
                  </a:lnTo>
                  <a:lnTo>
                    <a:pt x="747" y="125"/>
                  </a:lnTo>
                  <a:lnTo>
                    <a:pt x="742" y="125"/>
                  </a:lnTo>
                  <a:lnTo>
                    <a:pt x="736" y="125"/>
                  </a:lnTo>
                  <a:lnTo>
                    <a:pt x="731" y="131"/>
                  </a:lnTo>
                  <a:lnTo>
                    <a:pt x="731" y="125"/>
                  </a:lnTo>
                  <a:lnTo>
                    <a:pt x="725" y="131"/>
                  </a:lnTo>
                  <a:lnTo>
                    <a:pt x="720" y="136"/>
                  </a:lnTo>
                  <a:lnTo>
                    <a:pt x="715" y="136"/>
                  </a:lnTo>
                  <a:lnTo>
                    <a:pt x="720" y="136"/>
                  </a:lnTo>
                  <a:lnTo>
                    <a:pt x="720" y="131"/>
                  </a:lnTo>
                  <a:lnTo>
                    <a:pt x="720" y="125"/>
                  </a:lnTo>
                  <a:lnTo>
                    <a:pt x="720" y="131"/>
                  </a:lnTo>
                  <a:lnTo>
                    <a:pt x="715" y="136"/>
                  </a:lnTo>
                  <a:lnTo>
                    <a:pt x="715" y="142"/>
                  </a:lnTo>
                  <a:lnTo>
                    <a:pt x="715" y="147"/>
                  </a:lnTo>
                  <a:lnTo>
                    <a:pt x="709" y="147"/>
                  </a:lnTo>
                  <a:lnTo>
                    <a:pt x="709" y="153"/>
                  </a:lnTo>
                  <a:lnTo>
                    <a:pt x="704" y="153"/>
                  </a:lnTo>
                  <a:lnTo>
                    <a:pt x="704" y="158"/>
                  </a:lnTo>
                  <a:lnTo>
                    <a:pt x="698" y="158"/>
                  </a:lnTo>
                  <a:lnTo>
                    <a:pt x="693" y="164"/>
                  </a:lnTo>
                  <a:lnTo>
                    <a:pt x="693" y="158"/>
                  </a:lnTo>
                  <a:lnTo>
                    <a:pt x="687" y="153"/>
                  </a:lnTo>
                  <a:lnTo>
                    <a:pt x="687" y="158"/>
                  </a:lnTo>
                  <a:lnTo>
                    <a:pt x="687" y="164"/>
                  </a:lnTo>
                  <a:lnTo>
                    <a:pt x="687" y="169"/>
                  </a:lnTo>
                  <a:lnTo>
                    <a:pt x="687" y="175"/>
                  </a:lnTo>
                  <a:lnTo>
                    <a:pt x="682" y="175"/>
                  </a:lnTo>
                  <a:lnTo>
                    <a:pt x="682" y="180"/>
                  </a:lnTo>
                  <a:lnTo>
                    <a:pt x="676" y="180"/>
                  </a:lnTo>
                  <a:lnTo>
                    <a:pt x="676" y="185"/>
                  </a:lnTo>
                  <a:lnTo>
                    <a:pt x="671" y="191"/>
                  </a:lnTo>
                  <a:lnTo>
                    <a:pt x="665" y="191"/>
                  </a:lnTo>
                  <a:lnTo>
                    <a:pt x="671" y="185"/>
                  </a:lnTo>
                  <a:lnTo>
                    <a:pt x="671" y="180"/>
                  </a:lnTo>
                  <a:lnTo>
                    <a:pt x="676" y="180"/>
                  </a:lnTo>
                  <a:lnTo>
                    <a:pt x="671" y="180"/>
                  </a:lnTo>
                  <a:lnTo>
                    <a:pt x="676" y="180"/>
                  </a:lnTo>
                  <a:lnTo>
                    <a:pt x="676" y="175"/>
                  </a:lnTo>
                  <a:lnTo>
                    <a:pt x="671" y="175"/>
                  </a:lnTo>
                  <a:lnTo>
                    <a:pt x="671" y="169"/>
                  </a:lnTo>
                  <a:lnTo>
                    <a:pt x="676" y="164"/>
                  </a:lnTo>
                  <a:lnTo>
                    <a:pt x="671" y="164"/>
                  </a:lnTo>
                  <a:lnTo>
                    <a:pt x="676" y="164"/>
                  </a:lnTo>
                  <a:lnTo>
                    <a:pt x="676" y="158"/>
                  </a:lnTo>
                  <a:lnTo>
                    <a:pt x="682" y="158"/>
                  </a:lnTo>
                  <a:lnTo>
                    <a:pt x="682" y="153"/>
                  </a:lnTo>
                  <a:lnTo>
                    <a:pt x="676" y="158"/>
                  </a:lnTo>
                  <a:lnTo>
                    <a:pt x="671" y="158"/>
                  </a:lnTo>
                  <a:lnTo>
                    <a:pt x="671" y="164"/>
                  </a:lnTo>
                  <a:lnTo>
                    <a:pt x="671" y="169"/>
                  </a:lnTo>
                  <a:lnTo>
                    <a:pt x="665" y="169"/>
                  </a:lnTo>
                  <a:lnTo>
                    <a:pt x="671" y="175"/>
                  </a:lnTo>
                  <a:lnTo>
                    <a:pt x="665" y="180"/>
                  </a:lnTo>
                  <a:lnTo>
                    <a:pt x="665" y="175"/>
                  </a:lnTo>
                  <a:lnTo>
                    <a:pt x="660" y="175"/>
                  </a:lnTo>
                  <a:lnTo>
                    <a:pt x="660" y="169"/>
                  </a:lnTo>
                  <a:lnTo>
                    <a:pt x="655" y="175"/>
                  </a:lnTo>
                  <a:lnTo>
                    <a:pt x="660" y="169"/>
                  </a:lnTo>
                  <a:lnTo>
                    <a:pt x="655" y="175"/>
                  </a:lnTo>
                  <a:lnTo>
                    <a:pt x="660" y="175"/>
                  </a:lnTo>
                  <a:lnTo>
                    <a:pt x="665" y="175"/>
                  </a:lnTo>
                  <a:lnTo>
                    <a:pt x="665" y="180"/>
                  </a:lnTo>
                  <a:lnTo>
                    <a:pt x="665" y="185"/>
                  </a:lnTo>
                  <a:lnTo>
                    <a:pt x="660" y="185"/>
                  </a:lnTo>
                  <a:lnTo>
                    <a:pt x="660" y="180"/>
                  </a:lnTo>
                  <a:lnTo>
                    <a:pt x="660" y="185"/>
                  </a:lnTo>
                  <a:lnTo>
                    <a:pt x="665" y="185"/>
                  </a:lnTo>
                  <a:lnTo>
                    <a:pt x="660" y="191"/>
                  </a:lnTo>
                  <a:lnTo>
                    <a:pt x="660" y="196"/>
                  </a:lnTo>
                  <a:lnTo>
                    <a:pt x="665" y="196"/>
                  </a:lnTo>
                  <a:lnTo>
                    <a:pt x="665" y="202"/>
                  </a:lnTo>
                  <a:lnTo>
                    <a:pt x="665" y="207"/>
                  </a:lnTo>
                  <a:lnTo>
                    <a:pt x="665" y="213"/>
                  </a:lnTo>
                  <a:lnTo>
                    <a:pt x="660" y="207"/>
                  </a:lnTo>
                  <a:lnTo>
                    <a:pt x="665" y="202"/>
                  </a:lnTo>
                  <a:lnTo>
                    <a:pt x="660" y="202"/>
                  </a:lnTo>
                  <a:lnTo>
                    <a:pt x="660" y="207"/>
                  </a:lnTo>
                  <a:lnTo>
                    <a:pt x="655" y="207"/>
                  </a:lnTo>
                  <a:lnTo>
                    <a:pt x="649" y="207"/>
                  </a:lnTo>
                  <a:lnTo>
                    <a:pt x="649" y="213"/>
                  </a:lnTo>
                  <a:lnTo>
                    <a:pt x="655" y="213"/>
                  </a:lnTo>
                  <a:lnTo>
                    <a:pt x="660" y="213"/>
                  </a:lnTo>
                  <a:lnTo>
                    <a:pt x="655" y="218"/>
                  </a:lnTo>
                  <a:lnTo>
                    <a:pt x="660" y="213"/>
                  </a:lnTo>
                  <a:lnTo>
                    <a:pt x="660" y="218"/>
                  </a:lnTo>
                  <a:lnTo>
                    <a:pt x="655" y="218"/>
                  </a:lnTo>
                  <a:lnTo>
                    <a:pt x="649" y="218"/>
                  </a:lnTo>
                  <a:lnTo>
                    <a:pt x="644" y="218"/>
                  </a:lnTo>
                  <a:lnTo>
                    <a:pt x="638" y="218"/>
                  </a:lnTo>
                  <a:lnTo>
                    <a:pt x="644" y="218"/>
                  </a:lnTo>
                  <a:lnTo>
                    <a:pt x="644" y="224"/>
                  </a:lnTo>
                  <a:lnTo>
                    <a:pt x="649" y="224"/>
                  </a:lnTo>
                  <a:lnTo>
                    <a:pt x="644" y="224"/>
                  </a:lnTo>
                  <a:lnTo>
                    <a:pt x="638" y="224"/>
                  </a:lnTo>
                  <a:lnTo>
                    <a:pt x="638" y="229"/>
                  </a:lnTo>
                  <a:lnTo>
                    <a:pt x="644" y="229"/>
                  </a:lnTo>
                  <a:lnTo>
                    <a:pt x="644" y="224"/>
                  </a:lnTo>
                  <a:lnTo>
                    <a:pt x="649" y="229"/>
                  </a:lnTo>
                  <a:lnTo>
                    <a:pt x="644" y="229"/>
                  </a:lnTo>
                  <a:lnTo>
                    <a:pt x="638" y="229"/>
                  </a:lnTo>
                  <a:lnTo>
                    <a:pt x="633" y="229"/>
                  </a:lnTo>
                  <a:lnTo>
                    <a:pt x="633" y="235"/>
                  </a:lnTo>
                  <a:lnTo>
                    <a:pt x="627" y="235"/>
                  </a:lnTo>
                  <a:lnTo>
                    <a:pt x="622" y="240"/>
                  </a:lnTo>
                  <a:lnTo>
                    <a:pt x="616" y="245"/>
                  </a:lnTo>
                  <a:lnTo>
                    <a:pt x="611" y="245"/>
                  </a:lnTo>
                  <a:lnTo>
                    <a:pt x="606" y="245"/>
                  </a:lnTo>
                  <a:lnTo>
                    <a:pt x="600" y="245"/>
                  </a:lnTo>
                  <a:lnTo>
                    <a:pt x="600" y="251"/>
                  </a:lnTo>
                  <a:lnTo>
                    <a:pt x="595" y="256"/>
                  </a:lnTo>
                  <a:lnTo>
                    <a:pt x="589" y="256"/>
                  </a:lnTo>
                  <a:lnTo>
                    <a:pt x="589" y="262"/>
                  </a:lnTo>
                  <a:lnTo>
                    <a:pt x="584" y="262"/>
                  </a:lnTo>
                  <a:lnTo>
                    <a:pt x="578" y="262"/>
                  </a:lnTo>
                  <a:lnTo>
                    <a:pt x="573" y="267"/>
                  </a:lnTo>
                  <a:lnTo>
                    <a:pt x="567" y="267"/>
                  </a:lnTo>
                  <a:lnTo>
                    <a:pt x="567" y="273"/>
                  </a:lnTo>
                  <a:lnTo>
                    <a:pt x="562" y="273"/>
                  </a:lnTo>
                  <a:lnTo>
                    <a:pt x="562" y="278"/>
                  </a:lnTo>
                  <a:lnTo>
                    <a:pt x="556" y="278"/>
                  </a:lnTo>
                  <a:lnTo>
                    <a:pt x="551" y="284"/>
                  </a:lnTo>
                  <a:lnTo>
                    <a:pt x="551" y="289"/>
                  </a:lnTo>
                  <a:lnTo>
                    <a:pt x="546" y="295"/>
                  </a:lnTo>
                  <a:lnTo>
                    <a:pt x="546" y="300"/>
                  </a:lnTo>
                  <a:lnTo>
                    <a:pt x="546" y="305"/>
                  </a:lnTo>
                  <a:lnTo>
                    <a:pt x="546" y="311"/>
                  </a:lnTo>
                  <a:lnTo>
                    <a:pt x="546" y="316"/>
                  </a:lnTo>
                  <a:lnTo>
                    <a:pt x="546" y="322"/>
                  </a:lnTo>
                  <a:lnTo>
                    <a:pt x="551" y="327"/>
                  </a:lnTo>
                  <a:lnTo>
                    <a:pt x="546" y="333"/>
                  </a:lnTo>
                  <a:lnTo>
                    <a:pt x="546" y="338"/>
                  </a:lnTo>
                  <a:lnTo>
                    <a:pt x="546" y="344"/>
                  </a:lnTo>
                  <a:lnTo>
                    <a:pt x="546" y="349"/>
                  </a:lnTo>
                  <a:lnTo>
                    <a:pt x="546" y="355"/>
                  </a:lnTo>
                  <a:lnTo>
                    <a:pt x="546" y="360"/>
                  </a:lnTo>
                  <a:lnTo>
                    <a:pt x="546" y="365"/>
                  </a:lnTo>
                  <a:lnTo>
                    <a:pt x="540" y="371"/>
                  </a:lnTo>
                  <a:lnTo>
                    <a:pt x="540" y="376"/>
                  </a:lnTo>
                  <a:lnTo>
                    <a:pt x="535" y="382"/>
                  </a:lnTo>
                  <a:lnTo>
                    <a:pt x="540" y="376"/>
                  </a:lnTo>
                  <a:lnTo>
                    <a:pt x="535" y="382"/>
                  </a:lnTo>
                  <a:lnTo>
                    <a:pt x="529" y="387"/>
                  </a:lnTo>
                  <a:lnTo>
                    <a:pt x="535" y="382"/>
                  </a:lnTo>
                  <a:lnTo>
                    <a:pt x="529" y="382"/>
                  </a:lnTo>
                  <a:lnTo>
                    <a:pt x="524" y="382"/>
                  </a:lnTo>
                  <a:lnTo>
                    <a:pt x="524" y="376"/>
                  </a:lnTo>
                  <a:lnTo>
                    <a:pt x="518" y="371"/>
                  </a:lnTo>
                  <a:lnTo>
                    <a:pt x="518" y="365"/>
                  </a:lnTo>
                  <a:lnTo>
                    <a:pt x="518" y="360"/>
                  </a:lnTo>
                  <a:lnTo>
                    <a:pt x="513" y="360"/>
                  </a:lnTo>
                  <a:lnTo>
                    <a:pt x="513" y="355"/>
                  </a:lnTo>
                  <a:lnTo>
                    <a:pt x="513" y="349"/>
                  </a:lnTo>
                  <a:lnTo>
                    <a:pt x="513" y="344"/>
                  </a:lnTo>
                  <a:lnTo>
                    <a:pt x="518" y="338"/>
                  </a:lnTo>
                  <a:lnTo>
                    <a:pt x="513" y="338"/>
                  </a:lnTo>
                  <a:lnTo>
                    <a:pt x="513" y="344"/>
                  </a:lnTo>
                  <a:lnTo>
                    <a:pt x="513" y="338"/>
                  </a:lnTo>
                  <a:lnTo>
                    <a:pt x="513" y="333"/>
                  </a:lnTo>
                  <a:lnTo>
                    <a:pt x="518" y="327"/>
                  </a:lnTo>
                  <a:lnTo>
                    <a:pt x="518" y="322"/>
                  </a:lnTo>
                  <a:lnTo>
                    <a:pt x="518" y="316"/>
                  </a:lnTo>
                  <a:lnTo>
                    <a:pt x="513" y="322"/>
                  </a:lnTo>
                  <a:lnTo>
                    <a:pt x="513" y="316"/>
                  </a:lnTo>
                  <a:lnTo>
                    <a:pt x="513" y="311"/>
                  </a:lnTo>
                  <a:lnTo>
                    <a:pt x="513" y="305"/>
                  </a:lnTo>
                  <a:lnTo>
                    <a:pt x="507" y="305"/>
                  </a:lnTo>
                  <a:lnTo>
                    <a:pt x="502" y="305"/>
                  </a:lnTo>
                  <a:lnTo>
                    <a:pt x="496" y="305"/>
                  </a:lnTo>
                  <a:lnTo>
                    <a:pt x="491" y="311"/>
                  </a:lnTo>
                  <a:lnTo>
                    <a:pt x="486" y="311"/>
                  </a:lnTo>
                  <a:lnTo>
                    <a:pt x="486" y="305"/>
                  </a:lnTo>
                  <a:lnTo>
                    <a:pt x="480" y="300"/>
                  </a:lnTo>
                  <a:lnTo>
                    <a:pt x="475" y="300"/>
                  </a:lnTo>
                  <a:lnTo>
                    <a:pt x="469" y="300"/>
                  </a:lnTo>
                  <a:lnTo>
                    <a:pt x="458" y="300"/>
                  </a:lnTo>
                  <a:lnTo>
                    <a:pt x="453" y="300"/>
                  </a:lnTo>
                  <a:lnTo>
                    <a:pt x="447" y="300"/>
                  </a:lnTo>
                  <a:lnTo>
                    <a:pt x="453" y="300"/>
                  </a:lnTo>
                  <a:lnTo>
                    <a:pt x="453" y="295"/>
                  </a:lnTo>
                  <a:lnTo>
                    <a:pt x="447" y="295"/>
                  </a:lnTo>
                  <a:lnTo>
                    <a:pt x="447" y="300"/>
                  </a:lnTo>
                  <a:lnTo>
                    <a:pt x="442" y="300"/>
                  </a:lnTo>
                  <a:lnTo>
                    <a:pt x="436" y="300"/>
                  </a:lnTo>
                  <a:lnTo>
                    <a:pt x="431" y="300"/>
                  </a:lnTo>
                  <a:lnTo>
                    <a:pt x="426" y="305"/>
                  </a:lnTo>
                  <a:lnTo>
                    <a:pt x="420" y="300"/>
                  </a:lnTo>
                  <a:lnTo>
                    <a:pt x="415" y="300"/>
                  </a:lnTo>
                  <a:lnTo>
                    <a:pt x="415" y="305"/>
                  </a:lnTo>
                  <a:lnTo>
                    <a:pt x="420" y="305"/>
                  </a:lnTo>
                  <a:lnTo>
                    <a:pt x="426" y="305"/>
                  </a:lnTo>
                  <a:lnTo>
                    <a:pt x="420" y="305"/>
                  </a:lnTo>
                  <a:lnTo>
                    <a:pt x="426" y="305"/>
                  </a:lnTo>
                  <a:lnTo>
                    <a:pt x="431" y="305"/>
                  </a:lnTo>
                  <a:lnTo>
                    <a:pt x="426" y="305"/>
                  </a:lnTo>
                  <a:lnTo>
                    <a:pt x="426" y="311"/>
                  </a:lnTo>
                  <a:lnTo>
                    <a:pt x="420" y="311"/>
                  </a:lnTo>
                  <a:lnTo>
                    <a:pt x="420" y="316"/>
                  </a:lnTo>
                  <a:lnTo>
                    <a:pt x="426" y="316"/>
                  </a:lnTo>
                  <a:lnTo>
                    <a:pt x="426" y="322"/>
                  </a:lnTo>
                  <a:lnTo>
                    <a:pt x="420" y="322"/>
                  </a:lnTo>
                  <a:lnTo>
                    <a:pt x="420" y="316"/>
                  </a:lnTo>
                  <a:lnTo>
                    <a:pt x="415" y="316"/>
                  </a:lnTo>
                  <a:lnTo>
                    <a:pt x="409" y="322"/>
                  </a:lnTo>
                  <a:lnTo>
                    <a:pt x="404" y="316"/>
                  </a:lnTo>
                  <a:lnTo>
                    <a:pt x="398" y="322"/>
                  </a:lnTo>
                  <a:lnTo>
                    <a:pt x="398" y="316"/>
                  </a:lnTo>
                  <a:lnTo>
                    <a:pt x="393" y="316"/>
                  </a:lnTo>
                  <a:lnTo>
                    <a:pt x="393" y="311"/>
                  </a:lnTo>
                  <a:lnTo>
                    <a:pt x="387" y="311"/>
                  </a:lnTo>
                  <a:lnTo>
                    <a:pt x="387" y="305"/>
                  </a:lnTo>
                  <a:lnTo>
                    <a:pt x="382" y="311"/>
                  </a:lnTo>
                  <a:lnTo>
                    <a:pt x="387" y="311"/>
                  </a:lnTo>
                  <a:lnTo>
                    <a:pt x="387" y="316"/>
                  </a:lnTo>
                  <a:lnTo>
                    <a:pt x="382" y="311"/>
                  </a:lnTo>
                  <a:lnTo>
                    <a:pt x="377" y="311"/>
                  </a:lnTo>
                  <a:lnTo>
                    <a:pt x="371" y="311"/>
                  </a:lnTo>
                  <a:lnTo>
                    <a:pt x="366" y="311"/>
                  </a:lnTo>
                  <a:lnTo>
                    <a:pt x="360" y="311"/>
                  </a:lnTo>
                  <a:lnTo>
                    <a:pt x="355" y="311"/>
                  </a:lnTo>
                  <a:lnTo>
                    <a:pt x="349" y="311"/>
                  </a:lnTo>
                  <a:lnTo>
                    <a:pt x="344" y="316"/>
                  </a:lnTo>
                  <a:lnTo>
                    <a:pt x="349" y="311"/>
                  </a:lnTo>
                  <a:lnTo>
                    <a:pt x="344" y="311"/>
                  </a:lnTo>
                  <a:lnTo>
                    <a:pt x="338" y="311"/>
                  </a:lnTo>
                  <a:lnTo>
                    <a:pt x="338" y="316"/>
                  </a:lnTo>
                  <a:lnTo>
                    <a:pt x="344" y="316"/>
                  </a:lnTo>
                  <a:lnTo>
                    <a:pt x="338" y="316"/>
                  </a:lnTo>
                  <a:lnTo>
                    <a:pt x="333" y="322"/>
                  </a:lnTo>
                  <a:lnTo>
                    <a:pt x="327" y="322"/>
                  </a:lnTo>
                  <a:lnTo>
                    <a:pt x="322" y="327"/>
                  </a:lnTo>
                  <a:lnTo>
                    <a:pt x="317" y="327"/>
                  </a:lnTo>
                  <a:lnTo>
                    <a:pt x="311" y="333"/>
                  </a:lnTo>
                  <a:lnTo>
                    <a:pt x="306" y="333"/>
                  </a:lnTo>
                  <a:lnTo>
                    <a:pt x="300" y="338"/>
                  </a:lnTo>
                  <a:lnTo>
                    <a:pt x="295" y="344"/>
                  </a:lnTo>
                  <a:lnTo>
                    <a:pt x="289" y="349"/>
                  </a:lnTo>
                  <a:lnTo>
                    <a:pt x="289" y="355"/>
                  </a:lnTo>
                  <a:lnTo>
                    <a:pt x="289" y="360"/>
                  </a:lnTo>
                  <a:lnTo>
                    <a:pt x="289" y="365"/>
                  </a:lnTo>
                  <a:lnTo>
                    <a:pt x="284" y="371"/>
                  </a:lnTo>
                  <a:lnTo>
                    <a:pt x="278" y="371"/>
                  </a:lnTo>
                  <a:lnTo>
                    <a:pt x="273" y="365"/>
                  </a:lnTo>
                  <a:lnTo>
                    <a:pt x="267" y="365"/>
                  </a:lnTo>
                  <a:lnTo>
                    <a:pt x="262" y="365"/>
                  </a:lnTo>
                  <a:lnTo>
                    <a:pt x="257" y="360"/>
                  </a:lnTo>
                  <a:lnTo>
                    <a:pt x="262" y="360"/>
                  </a:lnTo>
                  <a:lnTo>
                    <a:pt x="257" y="360"/>
                  </a:lnTo>
                  <a:lnTo>
                    <a:pt x="257" y="355"/>
                  </a:lnTo>
                  <a:lnTo>
                    <a:pt x="257" y="349"/>
                  </a:lnTo>
                  <a:lnTo>
                    <a:pt x="262" y="344"/>
                  </a:lnTo>
                  <a:lnTo>
                    <a:pt x="257" y="338"/>
                  </a:lnTo>
                  <a:lnTo>
                    <a:pt x="257" y="333"/>
                  </a:lnTo>
                  <a:lnTo>
                    <a:pt x="251" y="333"/>
                  </a:lnTo>
                  <a:lnTo>
                    <a:pt x="251" y="327"/>
                  </a:lnTo>
                  <a:lnTo>
                    <a:pt x="251" y="322"/>
                  </a:lnTo>
                  <a:lnTo>
                    <a:pt x="251" y="316"/>
                  </a:lnTo>
                  <a:lnTo>
                    <a:pt x="246" y="311"/>
                  </a:lnTo>
                  <a:lnTo>
                    <a:pt x="240" y="311"/>
                  </a:lnTo>
                  <a:lnTo>
                    <a:pt x="235" y="311"/>
                  </a:lnTo>
                  <a:lnTo>
                    <a:pt x="235" y="305"/>
                  </a:lnTo>
                  <a:lnTo>
                    <a:pt x="229" y="311"/>
                  </a:lnTo>
                  <a:lnTo>
                    <a:pt x="224" y="311"/>
                  </a:lnTo>
                  <a:lnTo>
                    <a:pt x="224" y="316"/>
                  </a:lnTo>
                  <a:lnTo>
                    <a:pt x="218" y="316"/>
                  </a:lnTo>
                  <a:lnTo>
                    <a:pt x="213" y="322"/>
                  </a:lnTo>
                  <a:lnTo>
                    <a:pt x="208" y="316"/>
                  </a:lnTo>
                  <a:lnTo>
                    <a:pt x="202" y="316"/>
                  </a:lnTo>
                  <a:lnTo>
                    <a:pt x="202" y="311"/>
                  </a:lnTo>
                  <a:lnTo>
                    <a:pt x="197" y="311"/>
                  </a:lnTo>
                  <a:lnTo>
                    <a:pt x="197" y="305"/>
                  </a:lnTo>
                  <a:lnTo>
                    <a:pt x="202" y="300"/>
                  </a:lnTo>
                  <a:lnTo>
                    <a:pt x="202" y="295"/>
                  </a:lnTo>
                  <a:lnTo>
                    <a:pt x="197" y="295"/>
                  </a:lnTo>
                  <a:lnTo>
                    <a:pt x="191" y="289"/>
                  </a:lnTo>
                  <a:lnTo>
                    <a:pt x="191" y="284"/>
                  </a:lnTo>
                  <a:lnTo>
                    <a:pt x="186" y="284"/>
                  </a:lnTo>
                  <a:lnTo>
                    <a:pt x="186" y="278"/>
                  </a:lnTo>
                  <a:lnTo>
                    <a:pt x="158" y="278"/>
                  </a:lnTo>
                  <a:lnTo>
                    <a:pt x="158" y="284"/>
                  </a:lnTo>
                  <a:lnTo>
                    <a:pt x="115" y="284"/>
                  </a:lnTo>
                  <a:lnTo>
                    <a:pt x="71" y="267"/>
                  </a:lnTo>
                  <a:lnTo>
                    <a:pt x="71" y="262"/>
                  </a:lnTo>
                  <a:lnTo>
                    <a:pt x="55" y="262"/>
                  </a:lnTo>
                  <a:lnTo>
                    <a:pt x="38" y="267"/>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grpSp>
      <p:sp>
        <p:nvSpPr>
          <p:cNvPr id="59" name="Freeform 53">
            <a:extLst>
              <a:ext uri="{FF2B5EF4-FFF2-40B4-BE49-F238E27FC236}">
                <a16:creationId xmlns:a16="http://schemas.microsoft.com/office/drawing/2014/main" id="{485648B8-030F-64AE-E161-D4ED82B9EDA4}"/>
              </a:ext>
            </a:extLst>
          </p:cNvPr>
          <p:cNvSpPr>
            <a:spLocks/>
          </p:cNvSpPr>
          <p:nvPr/>
        </p:nvSpPr>
        <p:spPr bwMode="auto">
          <a:xfrm>
            <a:off x="1020763" y="2730500"/>
            <a:ext cx="74613" cy="80963"/>
          </a:xfrm>
          <a:custGeom>
            <a:avLst/>
            <a:gdLst>
              <a:gd name="T0" fmla="*/ 0 w 66"/>
              <a:gd name="T1" fmla="*/ 55 h 66"/>
              <a:gd name="T2" fmla="*/ 0 w 66"/>
              <a:gd name="T3" fmla="*/ 49 h 66"/>
              <a:gd name="T4" fmla="*/ 0 w 66"/>
              <a:gd name="T5" fmla="*/ 44 h 66"/>
              <a:gd name="T6" fmla="*/ 11 w 66"/>
              <a:gd name="T7" fmla="*/ 28 h 66"/>
              <a:gd name="T8" fmla="*/ 33 w 66"/>
              <a:gd name="T9" fmla="*/ 33 h 66"/>
              <a:gd name="T10" fmla="*/ 33 w 66"/>
              <a:gd name="T11" fmla="*/ 28 h 66"/>
              <a:gd name="T12" fmla="*/ 27 w 66"/>
              <a:gd name="T13" fmla="*/ 22 h 66"/>
              <a:gd name="T14" fmla="*/ 27 w 66"/>
              <a:gd name="T15" fmla="*/ 17 h 66"/>
              <a:gd name="T16" fmla="*/ 22 w 66"/>
              <a:gd name="T17" fmla="*/ 11 h 66"/>
              <a:gd name="T18" fmla="*/ 27 w 66"/>
              <a:gd name="T19" fmla="*/ 11 h 66"/>
              <a:gd name="T20" fmla="*/ 27 w 66"/>
              <a:gd name="T21" fmla="*/ 0 h 66"/>
              <a:gd name="T22" fmla="*/ 60 w 66"/>
              <a:gd name="T23" fmla="*/ 0 h 66"/>
              <a:gd name="T24" fmla="*/ 55 w 66"/>
              <a:gd name="T25" fmla="*/ 17 h 66"/>
              <a:gd name="T26" fmla="*/ 49 w 66"/>
              <a:gd name="T27" fmla="*/ 33 h 66"/>
              <a:gd name="T28" fmla="*/ 55 w 66"/>
              <a:gd name="T29" fmla="*/ 33 h 66"/>
              <a:gd name="T30" fmla="*/ 60 w 66"/>
              <a:gd name="T31" fmla="*/ 39 h 66"/>
              <a:gd name="T32" fmla="*/ 60 w 66"/>
              <a:gd name="T33" fmla="*/ 33 h 66"/>
              <a:gd name="T34" fmla="*/ 66 w 66"/>
              <a:gd name="T35" fmla="*/ 39 h 66"/>
              <a:gd name="T36" fmla="*/ 60 w 66"/>
              <a:gd name="T37" fmla="*/ 39 h 66"/>
              <a:gd name="T38" fmla="*/ 55 w 66"/>
              <a:gd name="T39" fmla="*/ 44 h 66"/>
              <a:gd name="T40" fmla="*/ 49 w 66"/>
              <a:gd name="T41" fmla="*/ 44 h 66"/>
              <a:gd name="T42" fmla="*/ 44 w 66"/>
              <a:gd name="T43" fmla="*/ 49 h 66"/>
              <a:gd name="T44" fmla="*/ 44 w 66"/>
              <a:gd name="T45" fmla="*/ 55 h 66"/>
              <a:gd name="T46" fmla="*/ 38 w 66"/>
              <a:gd name="T47" fmla="*/ 55 h 66"/>
              <a:gd name="T48" fmla="*/ 38 w 66"/>
              <a:gd name="T49" fmla="*/ 60 h 66"/>
              <a:gd name="T50" fmla="*/ 33 w 66"/>
              <a:gd name="T51" fmla="*/ 66 h 66"/>
              <a:gd name="T52" fmla="*/ 27 w 66"/>
              <a:gd name="T53" fmla="*/ 66 h 66"/>
              <a:gd name="T54" fmla="*/ 22 w 66"/>
              <a:gd name="T55" fmla="*/ 66 h 66"/>
              <a:gd name="T56" fmla="*/ 16 w 66"/>
              <a:gd name="T57" fmla="*/ 66 h 66"/>
              <a:gd name="T58" fmla="*/ 11 w 66"/>
              <a:gd name="T59" fmla="*/ 66 h 66"/>
              <a:gd name="T60" fmla="*/ 6 w 66"/>
              <a:gd name="T61" fmla="*/ 60 h 66"/>
              <a:gd name="T62" fmla="*/ 0 w 66"/>
              <a:gd name="T63" fmla="*/ 60 h 66"/>
              <a:gd name="T64" fmla="*/ 0 w 66"/>
              <a:gd name="T65" fmla="*/ 5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6" h="66">
                <a:moveTo>
                  <a:pt x="0" y="55"/>
                </a:moveTo>
                <a:lnTo>
                  <a:pt x="0" y="49"/>
                </a:lnTo>
                <a:lnTo>
                  <a:pt x="0" y="44"/>
                </a:lnTo>
                <a:lnTo>
                  <a:pt x="11" y="28"/>
                </a:lnTo>
                <a:lnTo>
                  <a:pt x="33" y="33"/>
                </a:lnTo>
                <a:lnTo>
                  <a:pt x="33" y="28"/>
                </a:lnTo>
                <a:lnTo>
                  <a:pt x="27" y="22"/>
                </a:lnTo>
                <a:lnTo>
                  <a:pt x="27" y="17"/>
                </a:lnTo>
                <a:lnTo>
                  <a:pt x="22" y="11"/>
                </a:lnTo>
                <a:lnTo>
                  <a:pt x="27" y="11"/>
                </a:lnTo>
                <a:lnTo>
                  <a:pt x="27" y="0"/>
                </a:lnTo>
                <a:lnTo>
                  <a:pt x="60" y="0"/>
                </a:lnTo>
                <a:lnTo>
                  <a:pt x="55" y="17"/>
                </a:lnTo>
                <a:lnTo>
                  <a:pt x="49" y="33"/>
                </a:lnTo>
                <a:lnTo>
                  <a:pt x="55" y="33"/>
                </a:lnTo>
                <a:lnTo>
                  <a:pt x="60" y="39"/>
                </a:lnTo>
                <a:lnTo>
                  <a:pt x="60" y="33"/>
                </a:lnTo>
                <a:lnTo>
                  <a:pt x="66" y="39"/>
                </a:lnTo>
                <a:lnTo>
                  <a:pt x="60" y="39"/>
                </a:lnTo>
                <a:lnTo>
                  <a:pt x="55" y="44"/>
                </a:lnTo>
                <a:lnTo>
                  <a:pt x="49" y="44"/>
                </a:lnTo>
                <a:lnTo>
                  <a:pt x="44" y="49"/>
                </a:lnTo>
                <a:lnTo>
                  <a:pt x="44" y="55"/>
                </a:lnTo>
                <a:lnTo>
                  <a:pt x="38" y="55"/>
                </a:lnTo>
                <a:lnTo>
                  <a:pt x="38" y="60"/>
                </a:lnTo>
                <a:lnTo>
                  <a:pt x="33" y="66"/>
                </a:lnTo>
                <a:lnTo>
                  <a:pt x="27" y="66"/>
                </a:lnTo>
                <a:lnTo>
                  <a:pt x="22" y="66"/>
                </a:lnTo>
                <a:lnTo>
                  <a:pt x="16" y="66"/>
                </a:lnTo>
                <a:lnTo>
                  <a:pt x="11" y="66"/>
                </a:lnTo>
                <a:lnTo>
                  <a:pt x="6" y="60"/>
                </a:lnTo>
                <a:lnTo>
                  <a:pt x="0" y="60"/>
                </a:lnTo>
                <a:lnTo>
                  <a:pt x="0" y="55"/>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0" name="Freeform 59">
            <a:extLst>
              <a:ext uri="{FF2B5EF4-FFF2-40B4-BE49-F238E27FC236}">
                <a16:creationId xmlns:a16="http://schemas.microsoft.com/office/drawing/2014/main" id="{9E6A0B1C-E4F6-8A71-0A85-1879F30EC52F}"/>
              </a:ext>
            </a:extLst>
          </p:cNvPr>
          <p:cNvSpPr>
            <a:spLocks/>
          </p:cNvSpPr>
          <p:nvPr/>
        </p:nvSpPr>
        <p:spPr bwMode="auto">
          <a:xfrm>
            <a:off x="703263" y="2444750"/>
            <a:ext cx="439738" cy="354013"/>
          </a:xfrm>
          <a:custGeom>
            <a:avLst/>
            <a:gdLst>
              <a:gd name="T0" fmla="*/ 256 w 392"/>
              <a:gd name="T1" fmla="*/ 262 h 289"/>
              <a:gd name="T2" fmla="*/ 223 w 392"/>
              <a:gd name="T3" fmla="*/ 273 h 289"/>
              <a:gd name="T4" fmla="*/ 190 w 392"/>
              <a:gd name="T5" fmla="*/ 262 h 289"/>
              <a:gd name="T6" fmla="*/ 147 w 392"/>
              <a:gd name="T7" fmla="*/ 240 h 289"/>
              <a:gd name="T8" fmla="*/ 120 w 392"/>
              <a:gd name="T9" fmla="*/ 229 h 289"/>
              <a:gd name="T10" fmla="*/ 98 w 392"/>
              <a:gd name="T11" fmla="*/ 207 h 289"/>
              <a:gd name="T12" fmla="*/ 109 w 392"/>
              <a:gd name="T13" fmla="*/ 174 h 289"/>
              <a:gd name="T14" fmla="*/ 103 w 392"/>
              <a:gd name="T15" fmla="*/ 147 h 289"/>
              <a:gd name="T16" fmla="*/ 87 w 392"/>
              <a:gd name="T17" fmla="*/ 125 h 289"/>
              <a:gd name="T18" fmla="*/ 70 w 392"/>
              <a:gd name="T19" fmla="*/ 114 h 289"/>
              <a:gd name="T20" fmla="*/ 70 w 392"/>
              <a:gd name="T21" fmla="*/ 87 h 289"/>
              <a:gd name="T22" fmla="*/ 60 w 392"/>
              <a:gd name="T23" fmla="*/ 71 h 289"/>
              <a:gd name="T24" fmla="*/ 54 w 392"/>
              <a:gd name="T25" fmla="*/ 38 h 289"/>
              <a:gd name="T26" fmla="*/ 43 w 392"/>
              <a:gd name="T27" fmla="*/ 22 h 289"/>
              <a:gd name="T28" fmla="*/ 27 w 392"/>
              <a:gd name="T29" fmla="*/ 33 h 289"/>
              <a:gd name="T30" fmla="*/ 32 w 392"/>
              <a:gd name="T31" fmla="*/ 60 h 289"/>
              <a:gd name="T32" fmla="*/ 38 w 392"/>
              <a:gd name="T33" fmla="*/ 87 h 289"/>
              <a:gd name="T34" fmla="*/ 43 w 392"/>
              <a:gd name="T35" fmla="*/ 98 h 289"/>
              <a:gd name="T36" fmla="*/ 43 w 392"/>
              <a:gd name="T37" fmla="*/ 120 h 289"/>
              <a:gd name="T38" fmla="*/ 54 w 392"/>
              <a:gd name="T39" fmla="*/ 142 h 289"/>
              <a:gd name="T40" fmla="*/ 43 w 392"/>
              <a:gd name="T41" fmla="*/ 153 h 289"/>
              <a:gd name="T42" fmla="*/ 32 w 392"/>
              <a:gd name="T43" fmla="*/ 131 h 289"/>
              <a:gd name="T44" fmla="*/ 27 w 392"/>
              <a:gd name="T45" fmla="*/ 125 h 289"/>
              <a:gd name="T46" fmla="*/ 32 w 392"/>
              <a:gd name="T47" fmla="*/ 109 h 289"/>
              <a:gd name="T48" fmla="*/ 10 w 392"/>
              <a:gd name="T49" fmla="*/ 93 h 289"/>
              <a:gd name="T50" fmla="*/ 5 w 392"/>
              <a:gd name="T51" fmla="*/ 76 h 289"/>
              <a:gd name="T52" fmla="*/ 21 w 392"/>
              <a:gd name="T53" fmla="*/ 65 h 289"/>
              <a:gd name="T54" fmla="*/ 5 w 392"/>
              <a:gd name="T55" fmla="*/ 49 h 289"/>
              <a:gd name="T56" fmla="*/ 10 w 392"/>
              <a:gd name="T57" fmla="*/ 22 h 289"/>
              <a:gd name="T58" fmla="*/ 43 w 392"/>
              <a:gd name="T59" fmla="*/ 0 h 289"/>
              <a:gd name="T60" fmla="*/ 158 w 392"/>
              <a:gd name="T61" fmla="*/ 22 h 289"/>
              <a:gd name="T62" fmla="*/ 169 w 392"/>
              <a:gd name="T63" fmla="*/ 43 h 289"/>
              <a:gd name="T64" fmla="*/ 190 w 392"/>
              <a:gd name="T65" fmla="*/ 54 h 289"/>
              <a:gd name="T66" fmla="*/ 212 w 392"/>
              <a:gd name="T67" fmla="*/ 49 h 289"/>
              <a:gd name="T68" fmla="*/ 229 w 392"/>
              <a:gd name="T69" fmla="*/ 71 h 289"/>
              <a:gd name="T70" fmla="*/ 234 w 392"/>
              <a:gd name="T71" fmla="*/ 98 h 289"/>
              <a:gd name="T72" fmla="*/ 256 w 392"/>
              <a:gd name="T73" fmla="*/ 109 h 289"/>
              <a:gd name="T74" fmla="*/ 245 w 392"/>
              <a:gd name="T75" fmla="*/ 125 h 289"/>
              <a:gd name="T76" fmla="*/ 239 w 392"/>
              <a:gd name="T77" fmla="*/ 131 h 289"/>
              <a:gd name="T78" fmla="*/ 229 w 392"/>
              <a:gd name="T79" fmla="*/ 163 h 289"/>
              <a:gd name="T80" fmla="*/ 229 w 392"/>
              <a:gd name="T81" fmla="*/ 196 h 289"/>
              <a:gd name="T82" fmla="*/ 245 w 392"/>
              <a:gd name="T83" fmla="*/ 223 h 289"/>
              <a:gd name="T84" fmla="*/ 278 w 392"/>
              <a:gd name="T85" fmla="*/ 229 h 289"/>
              <a:gd name="T86" fmla="*/ 310 w 392"/>
              <a:gd name="T87" fmla="*/ 223 h 289"/>
              <a:gd name="T88" fmla="*/ 332 w 392"/>
              <a:gd name="T89" fmla="*/ 191 h 289"/>
              <a:gd name="T90" fmla="*/ 370 w 392"/>
              <a:gd name="T91" fmla="*/ 180 h 289"/>
              <a:gd name="T92" fmla="*/ 387 w 392"/>
              <a:gd name="T93" fmla="*/ 174 h 289"/>
              <a:gd name="T94" fmla="*/ 381 w 392"/>
              <a:gd name="T95" fmla="*/ 196 h 289"/>
              <a:gd name="T96" fmla="*/ 376 w 392"/>
              <a:gd name="T97" fmla="*/ 213 h 289"/>
              <a:gd name="T98" fmla="*/ 359 w 392"/>
              <a:gd name="T99" fmla="*/ 234 h 289"/>
              <a:gd name="T100" fmla="*/ 354 w 392"/>
              <a:gd name="T101" fmla="*/ 223 h 289"/>
              <a:gd name="T102" fmla="*/ 310 w 392"/>
              <a:gd name="T103" fmla="*/ 245 h 289"/>
              <a:gd name="T104" fmla="*/ 294 w 392"/>
              <a:gd name="T105" fmla="*/ 26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2" h="289">
                <a:moveTo>
                  <a:pt x="283" y="289"/>
                </a:moveTo>
                <a:lnTo>
                  <a:pt x="267" y="273"/>
                </a:lnTo>
                <a:lnTo>
                  <a:pt x="267" y="267"/>
                </a:lnTo>
                <a:lnTo>
                  <a:pt x="261" y="267"/>
                </a:lnTo>
                <a:lnTo>
                  <a:pt x="256" y="267"/>
                </a:lnTo>
                <a:lnTo>
                  <a:pt x="256" y="262"/>
                </a:lnTo>
                <a:lnTo>
                  <a:pt x="250" y="262"/>
                </a:lnTo>
                <a:lnTo>
                  <a:pt x="245" y="262"/>
                </a:lnTo>
                <a:lnTo>
                  <a:pt x="239" y="262"/>
                </a:lnTo>
                <a:lnTo>
                  <a:pt x="234" y="267"/>
                </a:lnTo>
                <a:lnTo>
                  <a:pt x="229" y="267"/>
                </a:lnTo>
                <a:lnTo>
                  <a:pt x="223" y="273"/>
                </a:lnTo>
                <a:lnTo>
                  <a:pt x="218" y="273"/>
                </a:lnTo>
                <a:lnTo>
                  <a:pt x="212" y="273"/>
                </a:lnTo>
                <a:lnTo>
                  <a:pt x="207" y="267"/>
                </a:lnTo>
                <a:lnTo>
                  <a:pt x="201" y="267"/>
                </a:lnTo>
                <a:lnTo>
                  <a:pt x="196" y="262"/>
                </a:lnTo>
                <a:lnTo>
                  <a:pt x="190" y="262"/>
                </a:lnTo>
                <a:lnTo>
                  <a:pt x="185" y="256"/>
                </a:lnTo>
                <a:lnTo>
                  <a:pt x="180" y="256"/>
                </a:lnTo>
                <a:lnTo>
                  <a:pt x="174" y="256"/>
                </a:lnTo>
                <a:lnTo>
                  <a:pt x="169" y="251"/>
                </a:lnTo>
                <a:lnTo>
                  <a:pt x="152" y="245"/>
                </a:lnTo>
                <a:lnTo>
                  <a:pt x="147" y="240"/>
                </a:lnTo>
                <a:lnTo>
                  <a:pt x="147" y="234"/>
                </a:lnTo>
                <a:lnTo>
                  <a:pt x="141" y="234"/>
                </a:lnTo>
                <a:lnTo>
                  <a:pt x="136" y="234"/>
                </a:lnTo>
                <a:lnTo>
                  <a:pt x="130" y="234"/>
                </a:lnTo>
                <a:lnTo>
                  <a:pt x="125" y="229"/>
                </a:lnTo>
                <a:lnTo>
                  <a:pt x="120" y="229"/>
                </a:lnTo>
                <a:lnTo>
                  <a:pt x="120" y="223"/>
                </a:lnTo>
                <a:lnTo>
                  <a:pt x="114" y="218"/>
                </a:lnTo>
                <a:lnTo>
                  <a:pt x="109" y="218"/>
                </a:lnTo>
                <a:lnTo>
                  <a:pt x="103" y="213"/>
                </a:lnTo>
                <a:lnTo>
                  <a:pt x="103" y="207"/>
                </a:lnTo>
                <a:lnTo>
                  <a:pt x="98" y="207"/>
                </a:lnTo>
                <a:lnTo>
                  <a:pt x="98" y="202"/>
                </a:lnTo>
                <a:lnTo>
                  <a:pt x="98" y="196"/>
                </a:lnTo>
                <a:lnTo>
                  <a:pt x="103" y="191"/>
                </a:lnTo>
                <a:lnTo>
                  <a:pt x="109" y="185"/>
                </a:lnTo>
                <a:lnTo>
                  <a:pt x="109" y="180"/>
                </a:lnTo>
                <a:lnTo>
                  <a:pt x="109" y="174"/>
                </a:lnTo>
                <a:lnTo>
                  <a:pt x="109" y="169"/>
                </a:lnTo>
                <a:lnTo>
                  <a:pt x="109" y="163"/>
                </a:lnTo>
                <a:lnTo>
                  <a:pt x="109" y="158"/>
                </a:lnTo>
                <a:lnTo>
                  <a:pt x="103" y="158"/>
                </a:lnTo>
                <a:lnTo>
                  <a:pt x="103" y="153"/>
                </a:lnTo>
                <a:lnTo>
                  <a:pt x="103" y="147"/>
                </a:lnTo>
                <a:lnTo>
                  <a:pt x="98" y="147"/>
                </a:lnTo>
                <a:lnTo>
                  <a:pt x="98" y="142"/>
                </a:lnTo>
                <a:lnTo>
                  <a:pt x="98" y="136"/>
                </a:lnTo>
                <a:lnTo>
                  <a:pt x="92" y="136"/>
                </a:lnTo>
                <a:lnTo>
                  <a:pt x="87" y="131"/>
                </a:lnTo>
                <a:lnTo>
                  <a:pt x="87" y="125"/>
                </a:lnTo>
                <a:lnTo>
                  <a:pt x="87" y="120"/>
                </a:lnTo>
                <a:lnTo>
                  <a:pt x="81" y="120"/>
                </a:lnTo>
                <a:lnTo>
                  <a:pt x="76" y="114"/>
                </a:lnTo>
                <a:lnTo>
                  <a:pt x="81" y="114"/>
                </a:lnTo>
                <a:lnTo>
                  <a:pt x="76" y="114"/>
                </a:lnTo>
                <a:lnTo>
                  <a:pt x="70" y="114"/>
                </a:lnTo>
                <a:lnTo>
                  <a:pt x="70" y="109"/>
                </a:lnTo>
                <a:lnTo>
                  <a:pt x="76" y="103"/>
                </a:lnTo>
                <a:lnTo>
                  <a:pt x="76" y="98"/>
                </a:lnTo>
                <a:lnTo>
                  <a:pt x="70" y="98"/>
                </a:lnTo>
                <a:lnTo>
                  <a:pt x="70" y="93"/>
                </a:lnTo>
                <a:lnTo>
                  <a:pt x="70" y="87"/>
                </a:lnTo>
                <a:lnTo>
                  <a:pt x="65" y="87"/>
                </a:lnTo>
                <a:lnTo>
                  <a:pt x="65" y="82"/>
                </a:lnTo>
                <a:lnTo>
                  <a:pt x="70" y="76"/>
                </a:lnTo>
                <a:lnTo>
                  <a:pt x="65" y="76"/>
                </a:lnTo>
                <a:lnTo>
                  <a:pt x="60" y="76"/>
                </a:lnTo>
                <a:lnTo>
                  <a:pt x="60" y="71"/>
                </a:lnTo>
                <a:lnTo>
                  <a:pt x="54" y="65"/>
                </a:lnTo>
                <a:lnTo>
                  <a:pt x="54" y="60"/>
                </a:lnTo>
                <a:lnTo>
                  <a:pt x="54" y="54"/>
                </a:lnTo>
                <a:lnTo>
                  <a:pt x="54" y="49"/>
                </a:lnTo>
                <a:lnTo>
                  <a:pt x="54" y="43"/>
                </a:lnTo>
                <a:lnTo>
                  <a:pt x="54" y="38"/>
                </a:lnTo>
                <a:lnTo>
                  <a:pt x="54" y="33"/>
                </a:lnTo>
                <a:lnTo>
                  <a:pt x="54" y="27"/>
                </a:lnTo>
                <a:lnTo>
                  <a:pt x="54" y="22"/>
                </a:lnTo>
                <a:lnTo>
                  <a:pt x="49" y="22"/>
                </a:lnTo>
                <a:lnTo>
                  <a:pt x="49" y="16"/>
                </a:lnTo>
                <a:lnTo>
                  <a:pt x="43" y="22"/>
                </a:lnTo>
                <a:lnTo>
                  <a:pt x="43" y="16"/>
                </a:lnTo>
                <a:lnTo>
                  <a:pt x="38" y="16"/>
                </a:lnTo>
                <a:lnTo>
                  <a:pt x="32" y="22"/>
                </a:lnTo>
                <a:lnTo>
                  <a:pt x="27" y="27"/>
                </a:lnTo>
                <a:lnTo>
                  <a:pt x="32" y="27"/>
                </a:lnTo>
                <a:lnTo>
                  <a:pt x="27" y="33"/>
                </a:lnTo>
                <a:lnTo>
                  <a:pt x="27" y="38"/>
                </a:lnTo>
                <a:lnTo>
                  <a:pt x="27" y="43"/>
                </a:lnTo>
                <a:lnTo>
                  <a:pt x="27" y="49"/>
                </a:lnTo>
                <a:lnTo>
                  <a:pt x="32" y="49"/>
                </a:lnTo>
                <a:lnTo>
                  <a:pt x="32" y="54"/>
                </a:lnTo>
                <a:lnTo>
                  <a:pt x="32" y="60"/>
                </a:lnTo>
                <a:lnTo>
                  <a:pt x="38" y="60"/>
                </a:lnTo>
                <a:lnTo>
                  <a:pt x="38" y="65"/>
                </a:lnTo>
                <a:lnTo>
                  <a:pt x="38" y="71"/>
                </a:lnTo>
                <a:lnTo>
                  <a:pt x="38" y="76"/>
                </a:lnTo>
                <a:lnTo>
                  <a:pt x="38" y="82"/>
                </a:lnTo>
                <a:lnTo>
                  <a:pt x="38" y="87"/>
                </a:lnTo>
                <a:lnTo>
                  <a:pt x="43" y="87"/>
                </a:lnTo>
                <a:lnTo>
                  <a:pt x="38" y="93"/>
                </a:lnTo>
                <a:lnTo>
                  <a:pt x="43" y="93"/>
                </a:lnTo>
                <a:lnTo>
                  <a:pt x="43" y="98"/>
                </a:lnTo>
                <a:lnTo>
                  <a:pt x="43" y="93"/>
                </a:lnTo>
                <a:lnTo>
                  <a:pt x="43" y="98"/>
                </a:lnTo>
                <a:lnTo>
                  <a:pt x="49" y="98"/>
                </a:lnTo>
                <a:lnTo>
                  <a:pt x="43" y="98"/>
                </a:lnTo>
                <a:lnTo>
                  <a:pt x="43" y="103"/>
                </a:lnTo>
                <a:lnTo>
                  <a:pt x="43" y="109"/>
                </a:lnTo>
                <a:lnTo>
                  <a:pt x="43" y="114"/>
                </a:lnTo>
                <a:lnTo>
                  <a:pt x="43" y="120"/>
                </a:lnTo>
                <a:lnTo>
                  <a:pt x="49" y="125"/>
                </a:lnTo>
                <a:lnTo>
                  <a:pt x="43" y="131"/>
                </a:lnTo>
                <a:lnTo>
                  <a:pt x="43" y="136"/>
                </a:lnTo>
                <a:lnTo>
                  <a:pt x="49" y="131"/>
                </a:lnTo>
                <a:lnTo>
                  <a:pt x="54" y="136"/>
                </a:lnTo>
                <a:lnTo>
                  <a:pt x="54" y="142"/>
                </a:lnTo>
                <a:lnTo>
                  <a:pt x="54" y="147"/>
                </a:lnTo>
                <a:lnTo>
                  <a:pt x="54" y="153"/>
                </a:lnTo>
                <a:lnTo>
                  <a:pt x="49" y="153"/>
                </a:lnTo>
                <a:lnTo>
                  <a:pt x="49" y="158"/>
                </a:lnTo>
                <a:lnTo>
                  <a:pt x="43" y="158"/>
                </a:lnTo>
                <a:lnTo>
                  <a:pt x="43" y="153"/>
                </a:lnTo>
                <a:lnTo>
                  <a:pt x="43" y="147"/>
                </a:lnTo>
                <a:lnTo>
                  <a:pt x="43" y="142"/>
                </a:lnTo>
                <a:lnTo>
                  <a:pt x="38" y="142"/>
                </a:lnTo>
                <a:lnTo>
                  <a:pt x="38" y="136"/>
                </a:lnTo>
                <a:lnTo>
                  <a:pt x="32" y="136"/>
                </a:lnTo>
                <a:lnTo>
                  <a:pt x="32" y="131"/>
                </a:lnTo>
                <a:lnTo>
                  <a:pt x="27" y="131"/>
                </a:lnTo>
                <a:lnTo>
                  <a:pt x="32" y="131"/>
                </a:lnTo>
                <a:lnTo>
                  <a:pt x="27" y="131"/>
                </a:lnTo>
                <a:lnTo>
                  <a:pt x="27" y="125"/>
                </a:lnTo>
                <a:lnTo>
                  <a:pt x="21" y="125"/>
                </a:lnTo>
                <a:lnTo>
                  <a:pt x="27" y="125"/>
                </a:lnTo>
                <a:lnTo>
                  <a:pt x="21" y="125"/>
                </a:lnTo>
                <a:lnTo>
                  <a:pt x="21" y="131"/>
                </a:lnTo>
                <a:lnTo>
                  <a:pt x="21" y="125"/>
                </a:lnTo>
                <a:lnTo>
                  <a:pt x="27" y="120"/>
                </a:lnTo>
                <a:lnTo>
                  <a:pt x="27" y="114"/>
                </a:lnTo>
                <a:lnTo>
                  <a:pt x="32" y="109"/>
                </a:lnTo>
                <a:lnTo>
                  <a:pt x="27" y="103"/>
                </a:lnTo>
                <a:lnTo>
                  <a:pt x="21" y="98"/>
                </a:lnTo>
                <a:lnTo>
                  <a:pt x="21" y="93"/>
                </a:lnTo>
                <a:lnTo>
                  <a:pt x="16" y="98"/>
                </a:lnTo>
                <a:lnTo>
                  <a:pt x="16" y="93"/>
                </a:lnTo>
                <a:lnTo>
                  <a:pt x="10" y="93"/>
                </a:lnTo>
                <a:lnTo>
                  <a:pt x="10" y="87"/>
                </a:lnTo>
                <a:lnTo>
                  <a:pt x="5" y="87"/>
                </a:lnTo>
                <a:lnTo>
                  <a:pt x="5" y="82"/>
                </a:lnTo>
                <a:lnTo>
                  <a:pt x="0" y="82"/>
                </a:lnTo>
                <a:lnTo>
                  <a:pt x="0" y="76"/>
                </a:lnTo>
                <a:lnTo>
                  <a:pt x="5" y="76"/>
                </a:lnTo>
                <a:lnTo>
                  <a:pt x="10" y="76"/>
                </a:lnTo>
                <a:lnTo>
                  <a:pt x="10" y="82"/>
                </a:lnTo>
                <a:lnTo>
                  <a:pt x="16" y="82"/>
                </a:lnTo>
                <a:lnTo>
                  <a:pt x="16" y="76"/>
                </a:lnTo>
                <a:lnTo>
                  <a:pt x="21" y="71"/>
                </a:lnTo>
                <a:lnTo>
                  <a:pt x="21" y="65"/>
                </a:lnTo>
                <a:lnTo>
                  <a:pt x="16" y="65"/>
                </a:lnTo>
                <a:lnTo>
                  <a:pt x="16" y="60"/>
                </a:lnTo>
                <a:lnTo>
                  <a:pt x="16" y="54"/>
                </a:lnTo>
                <a:lnTo>
                  <a:pt x="10" y="54"/>
                </a:lnTo>
                <a:lnTo>
                  <a:pt x="10" y="49"/>
                </a:lnTo>
                <a:lnTo>
                  <a:pt x="5" y="49"/>
                </a:lnTo>
                <a:lnTo>
                  <a:pt x="5" y="43"/>
                </a:lnTo>
                <a:lnTo>
                  <a:pt x="10" y="38"/>
                </a:lnTo>
                <a:lnTo>
                  <a:pt x="5" y="38"/>
                </a:lnTo>
                <a:lnTo>
                  <a:pt x="10" y="33"/>
                </a:lnTo>
                <a:lnTo>
                  <a:pt x="5" y="27"/>
                </a:lnTo>
                <a:lnTo>
                  <a:pt x="10" y="22"/>
                </a:lnTo>
                <a:lnTo>
                  <a:pt x="5" y="16"/>
                </a:lnTo>
                <a:lnTo>
                  <a:pt x="10" y="16"/>
                </a:lnTo>
                <a:lnTo>
                  <a:pt x="5" y="11"/>
                </a:lnTo>
                <a:lnTo>
                  <a:pt x="10" y="5"/>
                </a:lnTo>
                <a:lnTo>
                  <a:pt x="27" y="0"/>
                </a:lnTo>
                <a:lnTo>
                  <a:pt x="43" y="0"/>
                </a:lnTo>
                <a:lnTo>
                  <a:pt x="43" y="5"/>
                </a:lnTo>
                <a:lnTo>
                  <a:pt x="87" y="22"/>
                </a:lnTo>
                <a:lnTo>
                  <a:pt x="130" y="22"/>
                </a:lnTo>
                <a:lnTo>
                  <a:pt x="130" y="16"/>
                </a:lnTo>
                <a:lnTo>
                  <a:pt x="158" y="16"/>
                </a:lnTo>
                <a:lnTo>
                  <a:pt x="158" y="22"/>
                </a:lnTo>
                <a:lnTo>
                  <a:pt x="163" y="22"/>
                </a:lnTo>
                <a:lnTo>
                  <a:pt x="163" y="27"/>
                </a:lnTo>
                <a:lnTo>
                  <a:pt x="169" y="33"/>
                </a:lnTo>
                <a:lnTo>
                  <a:pt x="174" y="33"/>
                </a:lnTo>
                <a:lnTo>
                  <a:pt x="174" y="38"/>
                </a:lnTo>
                <a:lnTo>
                  <a:pt x="169" y="43"/>
                </a:lnTo>
                <a:lnTo>
                  <a:pt x="169" y="49"/>
                </a:lnTo>
                <a:lnTo>
                  <a:pt x="174" y="49"/>
                </a:lnTo>
                <a:lnTo>
                  <a:pt x="174" y="54"/>
                </a:lnTo>
                <a:lnTo>
                  <a:pt x="180" y="54"/>
                </a:lnTo>
                <a:lnTo>
                  <a:pt x="185" y="60"/>
                </a:lnTo>
                <a:lnTo>
                  <a:pt x="190" y="54"/>
                </a:lnTo>
                <a:lnTo>
                  <a:pt x="196" y="54"/>
                </a:lnTo>
                <a:lnTo>
                  <a:pt x="196" y="49"/>
                </a:lnTo>
                <a:lnTo>
                  <a:pt x="201" y="49"/>
                </a:lnTo>
                <a:lnTo>
                  <a:pt x="207" y="43"/>
                </a:lnTo>
                <a:lnTo>
                  <a:pt x="207" y="49"/>
                </a:lnTo>
                <a:lnTo>
                  <a:pt x="212" y="49"/>
                </a:lnTo>
                <a:lnTo>
                  <a:pt x="218" y="49"/>
                </a:lnTo>
                <a:lnTo>
                  <a:pt x="223" y="54"/>
                </a:lnTo>
                <a:lnTo>
                  <a:pt x="223" y="60"/>
                </a:lnTo>
                <a:lnTo>
                  <a:pt x="223" y="65"/>
                </a:lnTo>
                <a:lnTo>
                  <a:pt x="223" y="71"/>
                </a:lnTo>
                <a:lnTo>
                  <a:pt x="229" y="71"/>
                </a:lnTo>
                <a:lnTo>
                  <a:pt x="229" y="76"/>
                </a:lnTo>
                <a:lnTo>
                  <a:pt x="234" y="82"/>
                </a:lnTo>
                <a:lnTo>
                  <a:pt x="229" y="87"/>
                </a:lnTo>
                <a:lnTo>
                  <a:pt x="229" y="93"/>
                </a:lnTo>
                <a:lnTo>
                  <a:pt x="229" y="98"/>
                </a:lnTo>
                <a:lnTo>
                  <a:pt x="234" y="98"/>
                </a:lnTo>
                <a:lnTo>
                  <a:pt x="229" y="98"/>
                </a:lnTo>
                <a:lnTo>
                  <a:pt x="234" y="103"/>
                </a:lnTo>
                <a:lnTo>
                  <a:pt x="239" y="103"/>
                </a:lnTo>
                <a:lnTo>
                  <a:pt x="245" y="103"/>
                </a:lnTo>
                <a:lnTo>
                  <a:pt x="250" y="109"/>
                </a:lnTo>
                <a:lnTo>
                  <a:pt x="256" y="109"/>
                </a:lnTo>
                <a:lnTo>
                  <a:pt x="256" y="114"/>
                </a:lnTo>
                <a:lnTo>
                  <a:pt x="250" y="120"/>
                </a:lnTo>
                <a:lnTo>
                  <a:pt x="245" y="120"/>
                </a:lnTo>
                <a:lnTo>
                  <a:pt x="250" y="114"/>
                </a:lnTo>
                <a:lnTo>
                  <a:pt x="245" y="120"/>
                </a:lnTo>
                <a:lnTo>
                  <a:pt x="245" y="125"/>
                </a:lnTo>
                <a:lnTo>
                  <a:pt x="239" y="125"/>
                </a:lnTo>
                <a:lnTo>
                  <a:pt x="239" y="131"/>
                </a:lnTo>
                <a:lnTo>
                  <a:pt x="239" y="136"/>
                </a:lnTo>
                <a:lnTo>
                  <a:pt x="234" y="142"/>
                </a:lnTo>
                <a:lnTo>
                  <a:pt x="239" y="136"/>
                </a:lnTo>
                <a:lnTo>
                  <a:pt x="239" y="131"/>
                </a:lnTo>
                <a:lnTo>
                  <a:pt x="239" y="136"/>
                </a:lnTo>
                <a:lnTo>
                  <a:pt x="239" y="142"/>
                </a:lnTo>
                <a:lnTo>
                  <a:pt x="234" y="147"/>
                </a:lnTo>
                <a:lnTo>
                  <a:pt x="234" y="153"/>
                </a:lnTo>
                <a:lnTo>
                  <a:pt x="229" y="158"/>
                </a:lnTo>
                <a:lnTo>
                  <a:pt x="229" y="163"/>
                </a:lnTo>
                <a:lnTo>
                  <a:pt x="229" y="169"/>
                </a:lnTo>
                <a:lnTo>
                  <a:pt x="229" y="174"/>
                </a:lnTo>
                <a:lnTo>
                  <a:pt x="229" y="180"/>
                </a:lnTo>
                <a:lnTo>
                  <a:pt x="229" y="185"/>
                </a:lnTo>
                <a:lnTo>
                  <a:pt x="229" y="191"/>
                </a:lnTo>
                <a:lnTo>
                  <a:pt x="229" y="196"/>
                </a:lnTo>
                <a:lnTo>
                  <a:pt x="234" y="196"/>
                </a:lnTo>
                <a:lnTo>
                  <a:pt x="234" y="202"/>
                </a:lnTo>
                <a:lnTo>
                  <a:pt x="234" y="207"/>
                </a:lnTo>
                <a:lnTo>
                  <a:pt x="234" y="213"/>
                </a:lnTo>
                <a:lnTo>
                  <a:pt x="239" y="218"/>
                </a:lnTo>
                <a:lnTo>
                  <a:pt x="245" y="223"/>
                </a:lnTo>
                <a:lnTo>
                  <a:pt x="250" y="223"/>
                </a:lnTo>
                <a:lnTo>
                  <a:pt x="256" y="223"/>
                </a:lnTo>
                <a:lnTo>
                  <a:pt x="256" y="229"/>
                </a:lnTo>
                <a:lnTo>
                  <a:pt x="261" y="229"/>
                </a:lnTo>
                <a:lnTo>
                  <a:pt x="267" y="229"/>
                </a:lnTo>
                <a:lnTo>
                  <a:pt x="278" y="229"/>
                </a:lnTo>
                <a:lnTo>
                  <a:pt x="283" y="229"/>
                </a:lnTo>
                <a:lnTo>
                  <a:pt x="289" y="223"/>
                </a:lnTo>
                <a:lnTo>
                  <a:pt x="294" y="223"/>
                </a:lnTo>
                <a:lnTo>
                  <a:pt x="299" y="223"/>
                </a:lnTo>
                <a:lnTo>
                  <a:pt x="305" y="229"/>
                </a:lnTo>
                <a:lnTo>
                  <a:pt x="310" y="223"/>
                </a:lnTo>
                <a:lnTo>
                  <a:pt x="310" y="218"/>
                </a:lnTo>
                <a:lnTo>
                  <a:pt x="321" y="213"/>
                </a:lnTo>
                <a:lnTo>
                  <a:pt x="327" y="207"/>
                </a:lnTo>
                <a:lnTo>
                  <a:pt x="327" y="202"/>
                </a:lnTo>
                <a:lnTo>
                  <a:pt x="332" y="196"/>
                </a:lnTo>
                <a:lnTo>
                  <a:pt x="332" y="191"/>
                </a:lnTo>
                <a:lnTo>
                  <a:pt x="338" y="185"/>
                </a:lnTo>
                <a:lnTo>
                  <a:pt x="343" y="180"/>
                </a:lnTo>
                <a:lnTo>
                  <a:pt x="349" y="180"/>
                </a:lnTo>
                <a:lnTo>
                  <a:pt x="359" y="180"/>
                </a:lnTo>
                <a:lnTo>
                  <a:pt x="365" y="180"/>
                </a:lnTo>
                <a:lnTo>
                  <a:pt x="370" y="180"/>
                </a:lnTo>
                <a:lnTo>
                  <a:pt x="370" y="174"/>
                </a:lnTo>
                <a:lnTo>
                  <a:pt x="376" y="174"/>
                </a:lnTo>
                <a:lnTo>
                  <a:pt x="376" y="180"/>
                </a:lnTo>
                <a:lnTo>
                  <a:pt x="381" y="180"/>
                </a:lnTo>
                <a:lnTo>
                  <a:pt x="387" y="180"/>
                </a:lnTo>
                <a:lnTo>
                  <a:pt x="387" y="174"/>
                </a:lnTo>
                <a:lnTo>
                  <a:pt x="392" y="180"/>
                </a:lnTo>
                <a:lnTo>
                  <a:pt x="392" y="185"/>
                </a:lnTo>
                <a:lnTo>
                  <a:pt x="387" y="185"/>
                </a:lnTo>
                <a:lnTo>
                  <a:pt x="387" y="191"/>
                </a:lnTo>
                <a:lnTo>
                  <a:pt x="381" y="191"/>
                </a:lnTo>
                <a:lnTo>
                  <a:pt x="381" y="196"/>
                </a:lnTo>
                <a:lnTo>
                  <a:pt x="376" y="202"/>
                </a:lnTo>
                <a:lnTo>
                  <a:pt x="376" y="207"/>
                </a:lnTo>
                <a:lnTo>
                  <a:pt x="370" y="207"/>
                </a:lnTo>
                <a:lnTo>
                  <a:pt x="370" y="213"/>
                </a:lnTo>
                <a:lnTo>
                  <a:pt x="376" y="207"/>
                </a:lnTo>
                <a:lnTo>
                  <a:pt x="376" y="213"/>
                </a:lnTo>
                <a:lnTo>
                  <a:pt x="370" y="213"/>
                </a:lnTo>
                <a:lnTo>
                  <a:pt x="370" y="218"/>
                </a:lnTo>
                <a:lnTo>
                  <a:pt x="365" y="223"/>
                </a:lnTo>
                <a:lnTo>
                  <a:pt x="365" y="229"/>
                </a:lnTo>
                <a:lnTo>
                  <a:pt x="365" y="234"/>
                </a:lnTo>
                <a:lnTo>
                  <a:pt x="359" y="234"/>
                </a:lnTo>
                <a:lnTo>
                  <a:pt x="365" y="229"/>
                </a:lnTo>
                <a:lnTo>
                  <a:pt x="359" y="229"/>
                </a:lnTo>
                <a:lnTo>
                  <a:pt x="359" y="223"/>
                </a:lnTo>
                <a:lnTo>
                  <a:pt x="359" y="218"/>
                </a:lnTo>
                <a:lnTo>
                  <a:pt x="359" y="223"/>
                </a:lnTo>
                <a:lnTo>
                  <a:pt x="354" y="223"/>
                </a:lnTo>
                <a:lnTo>
                  <a:pt x="354" y="229"/>
                </a:lnTo>
                <a:lnTo>
                  <a:pt x="349" y="229"/>
                </a:lnTo>
                <a:lnTo>
                  <a:pt x="349" y="234"/>
                </a:lnTo>
                <a:lnTo>
                  <a:pt x="343" y="234"/>
                </a:lnTo>
                <a:lnTo>
                  <a:pt x="310" y="234"/>
                </a:lnTo>
                <a:lnTo>
                  <a:pt x="310" y="245"/>
                </a:lnTo>
                <a:lnTo>
                  <a:pt x="305" y="245"/>
                </a:lnTo>
                <a:lnTo>
                  <a:pt x="310" y="251"/>
                </a:lnTo>
                <a:lnTo>
                  <a:pt x="310" y="256"/>
                </a:lnTo>
                <a:lnTo>
                  <a:pt x="316" y="262"/>
                </a:lnTo>
                <a:lnTo>
                  <a:pt x="316" y="267"/>
                </a:lnTo>
                <a:lnTo>
                  <a:pt x="294" y="262"/>
                </a:lnTo>
                <a:lnTo>
                  <a:pt x="283" y="278"/>
                </a:lnTo>
                <a:lnTo>
                  <a:pt x="283" y="283"/>
                </a:lnTo>
                <a:lnTo>
                  <a:pt x="283" y="289"/>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1" name="Freeform 151">
            <a:extLst>
              <a:ext uri="{FF2B5EF4-FFF2-40B4-BE49-F238E27FC236}">
                <a16:creationId xmlns:a16="http://schemas.microsoft.com/office/drawing/2014/main" id="{C252E35F-AD97-E04E-1BB1-9896DE1B3896}"/>
              </a:ext>
            </a:extLst>
          </p:cNvPr>
          <p:cNvSpPr>
            <a:spLocks/>
          </p:cNvSpPr>
          <p:nvPr/>
        </p:nvSpPr>
        <p:spPr bwMode="auto">
          <a:xfrm>
            <a:off x="1387475" y="2692400"/>
            <a:ext cx="61913" cy="46038"/>
          </a:xfrm>
          <a:custGeom>
            <a:avLst/>
            <a:gdLst>
              <a:gd name="T0" fmla="*/ 0 w 55"/>
              <a:gd name="T1" fmla="*/ 32 h 38"/>
              <a:gd name="T2" fmla="*/ 0 w 55"/>
              <a:gd name="T3" fmla="*/ 27 h 38"/>
              <a:gd name="T4" fmla="*/ 0 w 55"/>
              <a:gd name="T5" fmla="*/ 21 h 38"/>
              <a:gd name="T6" fmla="*/ 6 w 55"/>
              <a:gd name="T7" fmla="*/ 21 h 38"/>
              <a:gd name="T8" fmla="*/ 0 w 55"/>
              <a:gd name="T9" fmla="*/ 16 h 38"/>
              <a:gd name="T10" fmla="*/ 6 w 55"/>
              <a:gd name="T11" fmla="*/ 16 h 38"/>
              <a:gd name="T12" fmla="*/ 6 w 55"/>
              <a:gd name="T13" fmla="*/ 11 h 38"/>
              <a:gd name="T14" fmla="*/ 6 w 55"/>
              <a:gd name="T15" fmla="*/ 5 h 38"/>
              <a:gd name="T16" fmla="*/ 6 w 55"/>
              <a:gd name="T17" fmla="*/ 0 h 38"/>
              <a:gd name="T18" fmla="*/ 11 w 55"/>
              <a:gd name="T19" fmla="*/ 0 h 38"/>
              <a:gd name="T20" fmla="*/ 17 w 55"/>
              <a:gd name="T21" fmla="*/ 5 h 38"/>
              <a:gd name="T22" fmla="*/ 17 w 55"/>
              <a:gd name="T23" fmla="*/ 0 h 38"/>
              <a:gd name="T24" fmla="*/ 22 w 55"/>
              <a:gd name="T25" fmla="*/ 0 h 38"/>
              <a:gd name="T26" fmla="*/ 22 w 55"/>
              <a:gd name="T27" fmla="*/ 5 h 38"/>
              <a:gd name="T28" fmla="*/ 27 w 55"/>
              <a:gd name="T29" fmla="*/ 5 h 38"/>
              <a:gd name="T30" fmla="*/ 33 w 55"/>
              <a:gd name="T31" fmla="*/ 5 h 38"/>
              <a:gd name="T32" fmla="*/ 33 w 55"/>
              <a:gd name="T33" fmla="*/ 11 h 38"/>
              <a:gd name="T34" fmla="*/ 38 w 55"/>
              <a:gd name="T35" fmla="*/ 11 h 38"/>
              <a:gd name="T36" fmla="*/ 44 w 55"/>
              <a:gd name="T37" fmla="*/ 11 h 38"/>
              <a:gd name="T38" fmla="*/ 38 w 55"/>
              <a:gd name="T39" fmla="*/ 11 h 38"/>
              <a:gd name="T40" fmla="*/ 38 w 55"/>
              <a:gd name="T41" fmla="*/ 16 h 38"/>
              <a:gd name="T42" fmla="*/ 44 w 55"/>
              <a:gd name="T43" fmla="*/ 16 h 38"/>
              <a:gd name="T44" fmla="*/ 49 w 55"/>
              <a:gd name="T45" fmla="*/ 16 h 38"/>
              <a:gd name="T46" fmla="*/ 55 w 55"/>
              <a:gd name="T47" fmla="*/ 21 h 38"/>
              <a:gd name="T48" fmla="*/ 49 w 55"/>
              <a:gd name="T49" fmla="*/ 27 h 38"/>
              <a:gd name="T50" fmla="*/ 44 w 55"/>
              <a:gd name="T51" fmla="*/ 27 h 38"/>
              <a:gd name="T52" fmla="*/ 38 w 55"/>
              <a:gd name="T53" fmla="*/ 27 h 38"/>
              <a:gd name="T54" fmla="*/ 33 w 55"/>
              <a:gd name="T55" fmla="*/ 27 h 38"/>
              <a:gd name="T56" fmla="*/ 33 w 55"/>
              <a:gd name="T57" fmla="*/ 21 h 38"/>
              <a:gd name="T58" fmla="*/ 27 w 55"/>
              <a:gd name="T59" fmla="*/ 27 h 38"/>
              <a:gd name="T60" fmla="*/ 22 w 55"/>
              <a:gd name="T61" fmla="*/ 27 h 38"/>
              <a:gd name="T62" fmla="*/ 17 w 55"/>
              <a:gd name="T63" fmla="*/ 27 h 38"/>
              <a:gd name="T64" fmla="*/ 11 w 55"/>
              <a:gd name="T65" fmla="*/ 27 h 38"/>
              <a:gd name="T66" fmla="*/ 11 w 55"/>
              <a:gd name="T67" fmla="*/ 32 h 38"/>
              <a:gd name="T68" fmla="*/ 6 w 55"/>
              <a:gd name="T69" fmla="*/ 32 h 38"/>
              <a:gd name="T70" fmla="*/ 6 w 55"/>
              <a:gd name="T71" fmla="*/ 38 h 38"/>
              <a:gd name="T72" fmla="*/ 0 w 55"/>
              <a:gd name="T73" fmla="*/ 38 h 38"/>
              <a:gd name="T74" fmla="*/ 0 w 55"/>
              <a:gd name="T75" fmla="*/ 3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38">
                <a:moveTo>
                  <a:pt x="0" y="32"/>
                </a:moveTo>
                <a:lnTo>
                  <a:pt x="0" y="27"/>
                </a:lnTo>
                <a:lnTo>
                  <a:pt x="0" y="21"/>
                </a:lnTo>
                <a:lnTo>
                  <a:pt x="6" y="21"/>
                </a:lnTo>
                <a:lnTo>
                  <a:pt x="0" y="16"/>
                </a:lnTo>
                <a:lnTo>
                  <a:pt x="6" y="16"/>
                </a:lnTo>
                <a:lnTo>
                  <a:pt x="6" y="11"/>
                </a:lnTo>
                <a:lnTo>
                  <a:pt x="6" y="5"/>
                </a:lnTo>
                <a:lnTo>
                  <a:pt x="6" y="0"/>
                </a:lnTo>
                <a:lnTo>
                  <a:pt x="11" y="0"/>
                </a:lnTo>
                <a:lnTo>
                  <a:pt x="17" y="5"/>
                </a:lnTo>
                <a:lnTo>
                  <a:pt x="17" y="0"/>
                </a:lnTo>
                <a:lnTo>
                  <a:pt x="22" y="0"/>
                </a:lnTo>
                <a:lnTo>
                  <a:pt x="22" y="5"/>
                </a:lnTo>
                <a:lnTo>
                  <a:pt x="27" y="5"/>
                </a:lnTo>
                <a:lnTo>
                  <a:pt x="33" y="5"/>
                </a:lnTo>
                <a:lnTo>
                  <a:pt x="33" y="11"/>
                </a:lnTo>
                <a:lnTo>
                  <a:pt x="38" y="11"/>
                </a:lnTo>
                <a:lnTo>
                  <a:pt x="44" y="11"/>
                </a:lnTo>
                <a:lnTo>
                  <a:pt x="38" y="11"/>
                </a:lnTo>
                <a:lnTo>
                  <a:pt x="38" y="16"/>
                </a:lnTo>
                <a:lnTo>
                  <a:pt x="44" y="16"/>
                </a:lnTo>
                <a:lnTo>
                  <a:pt x="49" y="16"/>
                </a:lnTo>
                <a:lnTo>
                  <a:pt x="55" y="21"/>
                </a:lnTo>
                <a:lnTo>
                  <a:pt x="49" y="27"/>
                </a:lnTo>
                <a:lnTo>
                  <a:pt x="44" y="27"/>
                </a:lnTo>
                <a:lnTo>
                  <a:pt x="38" y="27"/>
                </a:lnTo>
                <a:lnTo>
                  <a:pt x="33" y="27"/>
                </a:lnTo>
                <a:lnTo>
                  <a:pt x="33" y="21"/>
                </a:lnTo>
                <a:lnTo>
                  <a:pt x="27" y="27"/>
                </a:lnTo>
                <a:lnTo>
                  <a:pt x="22" y="27"/>
                </a:lnTo>
                <a:lnTo>
                  <a:pt x="17" y="27"/>
                </a:lnTo>
                <a:lnTo>
                  <a:pt x="11" y="27"/>
                </a:lnTo>
                <a:lnTo>
                  <a:pt x="11" y="32"/>
                </a:lnTo>
                <a:lnTo>
                  <a:pt x="6" y="32"/>
                </a:lnTo>
                <a:lnTo>
                  <a:pt x="6" y="38"/>
                </a:lnTo>
                <a:lnTo>
                  <a:pt x="0" y="38"/>
                </a:lnTo>
                <a:lnTo>
                  <a:pt x="0" y="32"/>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2" name="Freeform 154">
            <a:extLst>
              <a:ext uri="{FF2B5EF4-FFF2-40B4-BE49-F238E27FC236}">
                <a16:creationId xmlns:a16="http://schemas.microsoft.com/office/drawing/2014/main" id="{F1AE5966-FD40-5BDE-4EAC-B32965E1CC75}"/>
              </a:ext>
            </a:extLst>
          </p:cNvPr>
          <p:cNvSpPr>
            <a:spLocks/>
          </p:cNvSpPr>
          <p:nvPr/>
        </p:nvSpPr>
        <p:spPr bwMode="auto">
          <a:xfrm>
            <a:off x="1076326" y="2717800"/>
            <a:ext cx="30163" cy="53975"/>
          </a:xfrm>
          <a:custGeom>
            <a:avLst/>
            <a:gdLst>
              <a:gd name="T0" fmla="*/ 6 w 27"/>
              <a:gd name="T1" fmla="*/ 44 h 44"/>
              <a:gd name="T2" fmla="*/ 0 w 27"/>
              <a:gd name="T3" fmla="*/ 44 h 44"/>
              <a:gd name="T4" fmla="*/ 6 w 27"/>
              <a:gd name="T5" fmla="*/ 28 h 44"/>
              <a:gd name="T6" fmla="*/ 11 w 27"/>
              <a:gd name="T7" fmla="*/ 11 h 44"/>
              <a:gd name="T8" fmla="*/ 17 w 27"/>
              <a:gd name="T9" fmla="*/ 11 h 44"/>
              <a:gd name="T10" fmla="*/ 17 w 27"/>
              <a:gd name="T11" fmla="*/ 6 h 44"/>
              <a:gd name="T12" fmla="*/ 22 w 27"/>
              <a:gd name="T13" fmla="*/ 6 h 44"/>
              <a:gd name="T14" fmla="*/ 22 w 27"/>
              <a:gd name="T15" fmla="*/ 0 h 44"/>
              <a:gd name="T16" fmla="*/ 27 w 27"/>
              <a:gd name="T17" fmla="*/ 6 h 44"/>
              <a:gd name="T18" fmla="*/ 27 w 27"/>
              <a:gd name="T19" fmla="*/ 11 h 44"/>
              <a:gd name="T20" fmla="*/ 22 w 27"/>
              <a:gd name="T21" fmla="*/ 11 h 44"/>
              <a:gd name="T22" fmla="*/ 22 w 27"/>
              <a:gd name="T23" fmla="*/ 17 h 44"/>
              <a:gd name="T24" fmla="*/ 22 w 27"/>
              <a:gd name="T25" fmla="*/ 22 h 44"/>
              <a:gd name="T26" fmla="*/ 22 w 27"/>
              <a:gd name="T27" fmla="*/ 28 h 44"/>
              <a:gd name="T28" fmla="*/ 17 w 27"/>
              <a:gd name="T29" fmla="*/ 28 h 44"/>
              <a:gd name="T30" fmla="*/ 17 w 27"/>
              <a:gd name="T31" fmla="*/ 33 h 44"/>
              <a:gd name="T32" fmla="*/ 11 w 27"/>
              <a:gd name="T33" fmla="*/ 39 h 44"/>
              <a:gd name="T34" fmla="*/ 6 w 27"/>
              <a:gd name="T3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44">
                <a:moveTo>
                  <a:pt x="6" y="44"/>
                </a:moveTo>
                <a:lnTo>
                  <a:pt x="0" y="44"/>
                </a:lnTo>
                <a:lnTo>
                  <a:pt x="6" y="28"/>
                </a:lnTo>
                <a:lnTo>
                  <a:pt x="11" y="11"/>
                </a:lnTo>
                <a:lnTo>
                  <a:pt x="17" y="11"/>
                </a:lnTo>
                <a:lnTo>
                  <a:pt x="17" y="6"/>
                </a:lnTo>
                <a:lnTo>
                  <a:pt x="22" y="6"/>
                </a:lnTo>
                <a:lnTo>
                  <a:pt x="22" y="0"/>
                </a:lnTo>
                <a:lnTo>
                  <a:pt x="27" y="6"/>
                </a:lnTo>
                <a:lnTo>
                  <a:pt x="27" y="11"/>
                </a:lnTo>
                <a:lnTo>
                  <a:pt x="22" y="11"/>
                </a:lnTo>
                <a:lnTo>
                  <a:pt x="22" y="17"/>
                </a:lnTo>
                <a:lnTo>
                  <a:pt x="22" y="22"/>
                </a:lnTo>
                <a:lnTo>
                  <a:pt x="22" y="28"/>
                </a:lnTo>
                <a:lnTo>
                  <a:pt x="17" y="28"/>
                </a:lnTo>
                <a:lnTo>
                  <a:pt x="17" y="33"/>
                </a:lnTo>
                <a:lnTo>
                  <a:pt x="11" y="39"/>
                </a:lnTo>
                <a:lnTo>
                  <a:pt x="6" y="44"/>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3" name="Freeform 155">
            <a:extLst>
              <a:ext uri="{FF2B5EF4-FFF2-40B4-BE49-F238E27FC236}">
                <a16:creationId xmlns:a16="http://schemas.microsoft.com/office/drawing/2014/main" id="{96481F7D-3FB6-3B75-A9BE-A0256915FA70}"/>
              </a:ext>
            </a:extLst>
          </p:cNvPr>
          <p:cNvSpPr>
            <a:spLocks/>
          </p:cNvSpPr>
          <p:nvPr/>
        </p:nvSpPr>
        <p:spPr bwMode="auto">
          <a:xfrm>
            <a:off x="1069975" y="2771775"/>
            <a:ext cx="109538" cy="58738"/>
          </a:xfrm>
          <a:custGeom>
            <a:avLst/>
            <a:gdLst>
              <a:gd name="T0" fmla="*/ 0 w 98"/>
              <a:gd name="T1" fmla="*/ 22 h 49"/>
              <a:gd name="T2" fmla="*/ 0 w 98"/>
              <a:gd name="T3" fmla="*/ 16 h 49"/>
              <a:gd name="T4" fmla="*/ 5 w 98"/>
              <a:gd name="T5" fmla="*/ 11 h 49"/>
              <a:gd name="T6" fmla="*/ 11 w 98"/>
              <a:gd name="T7" fmla="*/ 11 h 49"/>
              <a:gd name="T8" fmla="*/ 16 w 98"/>
              <a:gd name="T9" fmla="*/ 6 h 49"/>
              <a:gd name="T10" fmla="*/ 22 w 98"/>
              <a:gd name="T11" fmla="*/ 6 h 49"/>
              <a:gd name="T12" fmla="*/ 27 w 98"/>
              <a:gd name="T13" fmla="*/ 0 h 49"/>
              <a:gd name="T14" fmla="*/ 32 w 98"/>
              <a:gd name="T15" fmla="*/ 0 h 49"/>
              <a:gd name="T16" fmla="*/ 38 w 98"/>
              <a:gd name="T17" fmla="*/ 0 h 49"/>
              <a:gd name="T18" fmla="*/ 43 w 98"/>
              <a:gd name="T19" fmla="*/ 0 h 49"/>
              <a:gd name="T20" fmla="*/ 49 w 98"/>
              <a:gd name="T21" fmla="*/ 0 h 49"/>
              <a:gd name="T22" fmla="*/ 54 w 98"/>
              <a:gd name="T23" fmla="*/ 0 h 49"/>
              <a:gd name="T24" fmla="*/ 60 w 98"/>
              <a:gd name="T25" fmla="*/ 0 h 49"/>
              <a:gd name="T26" fmla="*/ 65 w 98"/>
              <a:gd name="T27" fmla="*/ 0 h 49"/>
              <a:gd name="T28" fmla="*/ 71 w 98"/>
              <a:gd name="T29" fmla="*/ 0 h 49"/>
              <a:gd name="T30" fmla="*/ 76 w 98"/>
              <a:gd name="T31" fmla="*/ 0 h 49"/>
              <a:gd name="T32" fmla="*/ 81 w 98"/>
              <a:gd name="T33" fmla="*/ 0 h 49"/>
              <a:gd name="T34" fmla="*/ 87 w 98"/>
              <a:gd name="T35" fmla="*/ 6 h 49"/>
              <a:gd name="T36" fmla="*/ 92 w 98"/>
              <a:gd name="T37" fmla="*/ 11 h 49"/>
              <a:gd name="T38" fmla="*/ 98 w 98"/>
              <a:gd name="T39" fmla="*/ 16 h 49"/>
              <a:gd name="T40" fmla="*/ 92 w 98"/>
              <a:gd name="T41" fmla="*/ 16 h 49"/>
              <a:gd name="T42" fmla="*/ 87 w 98"/>
              <a:gd name="T43" fmla="*/ 16 h 49"/>
              <a:gd name="T44" fmla="*/ 81 w 98"/>
              <a:gd name="T45" fmla="*/ 16 h 49"/>
              <a:gd name="T46" fmla="*/ 76 w 98"/>
              <a:gd name="T47" fmla="*/ 22 h 49"/>
              <a:gd name="T48" fmla="*/ 71 w 98"/>
              <a:gd name="T49" fmla="*/ 22 h 49"/>
              <a:gd name="T50" fmla="*/ 71 w 98"/>
              <a:gd name="T51" fmla="*/ 16 h 49"/>
              <a:gd name="T52" fmla="*/ 65 w 98"/>
              <a:gd name="T53" fmla="*/ 22 h 49"/>
              <a:gd name="T54" fmla="*/ 65 w 98"/>
              <a:gd name="T55" fmla="*/ 27 h 49"/>
              <a:gd name="T56" fmla="*/ 60 w 98"/>
              <a:gd name="T57" fmla="*/ 27 h 49"/>
              <a:gd name="T58" fmla="*/ 54 w 98"/>
              <a:gd name="T59" fmla="*/ 33 h 49"/>
              <a:gd name="T60" fmla="*/ 49 w 98"/>
              <a:gd name="T61" fmla="*/ 27 h 49"/>
              <a:gd name="T62" fmla="*/ 43 w 98"/>
              <a:gd name="T63" fmla="*/ 33 h 49"/>
              <a:gd name="T64" fmla="*/ 38 w 98"/>
              <a:gd name="T65" fmla="*/ 33 h 49"/>
              <a:gd name="T66" fmla="*/ 38 w 98"/>
              <a:gd name="T67" fmla="*/ 38 h 49"/>
              <a:gd name="T68" fmla="*/ 38 w 98"/>
              <a:gd name="T69" fmla="*/ 44 h 49"/>
              <a:gd name="T70" fmla="*/ 32 w 98"/>
              <a:gd name="T71" fmla="*/ 44 h 49"/>
              <a:gd name="T72" fmla="*/ 27 w 98"/>
              <a:gd name="T73" fmla="*/ 49 h 49"/>
              <a:gd name="T74" fmla="*/ 22 w 98"/>
              <a:gd name="T75" fmla="*/ 44 h 49"/>
              <a:gd name="T76" fmla="*/ 27 w 98"/>
              <a:gd name="T77" fmla="*/ 38 h 49"/>
              <a:gd name="T78" fmla="*/ 22 w 98"/>
              <a:gd name="T79" fmla="*/ 38 h 49"/>
              <a:gd name="T80" fmla="*/ 22 w 98"/>
              <a:gd name="T81" fmla="*/ 33 h 49"/>
              <a:gd name="T82" fmla="*/ 16 w 98"/>
              <a:gd name="T83" fmla="*/ 33 h 49"/>
              <a:gd name="T84" fmla="*/ 11 w 98"/>
              <a:gd name="T85" fmla="*/ 33 h 49"/>
              <a:gd name="T86" fmla="*/ 5 w 98"/>
              <a:gd name="T87" fmla="*/ 27 h 49"/>
              <a:gd name="T88" fmla="*/ 0 w 98"/>
              <a:gd name="T8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49">
                <a:moveTo>
                  <a:pt x="0" y="22"/>
                </a:moveTo>
                <a:lnTo>
                  <a:pt x="0" y="16"/>
                </a:lnTo>
                <a:lnTo>
                  <a:pt x="5" y="11"/>
                </a:lnTo>
                <a:lnTo>
                  <a:pt x="11" y="11"/>
                </a:lnTo>
                <a:lnTo>
                  <a:pt x="16" y="6"/>
                </a:lnTo>
                <a:lnTo>
                  <a:pt x="22" y="6"/>
                </a:lnTo>
                <a:lnTo>
                  <a:pt x="27" y="0"/>
                </a:lnTo>
                <a:lnTo>
                  <a:pt x="32" y="0"/>
                </a:lnTo>
                <a:lnTo>
                  <a:pt x="38" y="0"/>
                </a:lnTo>
                <a:lnTo>
                  <a:pt x="43" y="0"/>
                </a:lnTo>
                <a:lnTo>
                  <a:pt x="49" y="0"/>
                </a:lnTo>
                <a:lnTo>
                  <a:pt x="54" y="0"/>
                </a:lnTo>
                <a:lnTo>
                  <a:pt x="60" y="0"/>
                </a:lnTo>
                <a:lnTo>
                  <a:pt x="65" y="0"/>
                </a:lnTo>
                <a:lnTo>
                  <a:pt x="71" y="0"/>
                </a:lnTo>
                <a:lnTo>
                  <a:pt x="76" y="0"/>
                </a:lnTo>
                <a:lnTo>
                  <a:pt x="81" y="0"/>
                </a:lnTo>
                <a:lnTo>
                  <a:pt x="87" y="6"/>
                </a:lnTo>
                <a:lnTo>
                  <a:pt x="92" y="11"/>
                </a:lnTo>
                <a:lnTo>
                  <a:pt x="98" y="16"/>
                </a:lnTo>
                <a:lnTo>
                  <a:pt x="92" y="16"/>
                </a:lnTo>
                <a:lnTo>
                  <a:pt x="87" y="16"/>
                </a:lnTo>
                <a:lnTo>
                  <a:pt x="81" y="16"/>
                </a:lnTo>
                <a:lnTo>
                  <a:pt x="76" y="22"/>
                </a:lnTo>
                <a:lnTo>
                  <a:pt x="71" y="22"/>
                </a:lnTo>
                <a:lnTo>
                  <a:pt x="71" y="16"/>
                </a:lnTo>
                <a:lnTo>
                  <a:pt x="65" y="22"/>
                </a:lnTo>
                <a:lnTo>
                  <a:pt x="65" y="27"/>
                </a:lnTo>
                <a:lnTo>
                  <a:pt x="60" y="27"/>
                </a:lnTo>
                <a:lnTo>
                  <a:pt x="54" y="33"/>
                </a:lnTo>
                <a:lnTo>
                  <a:pt x="49" y="27"/>
                </a:lnTo>
                <a:lnTo>
                  <a:pt x="43" y="33"/>
                </a:lnTo>
                <a:lnTo>
                  <a:pt x="38" y="33"/>
                </a:lnTo>
                <a:lnTo>
                  <a:pt x="38" y="38"/>
                </a:lnTo>
                <a:lnTo>
                  <a:pt x="38" y="44"/>
                </a:lnTo>
                <a:lnTo>
                  <a:pt x="32" y="44"/>
                </a:lnTo>
                <a:lnTo>
                  <a:pt x="27" y="49"/>
                </a:lnTo>
                <a:lnTo>
                  <a:pt x="22" y="44"/>
                </a:lnTo>
                <a:lnTo>
                  <a:pt x="27" y="38"/>
                </a:lnTo>
                <a:lnTo>
                  <a:pt x="22" y="38"/>
                </a:lnTo>
                <a:lnTo>
                  <a:pt x="22" y="33"/>
                </a:lnTo>
                <a:lnTo>
                  <a:pt x="16" y="33"/>
                </a:lnTo>
                <a:lnTo>
                  <a:pt x="11" y="33"/>
                </a:lnTo>
                <a:lnTo>
                  <a:pt x="5" y="27"/>
                </a:lnTo>
                <a:lnTo>
                  <a:pt x="0" y="22"/>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4" name="Freeform 156">
            <a:extLst>
              <a:ext uri="{FF2B5EF4-FFF2-40B4-BE49-F238E27FC236}">
                <a16:creationId xmlns:a16="http://schemas.microsoft.com/office/drawing/2014/main" id="{C074901B-EA1E-B6D0-F91B-A079BDCC229C}"/>
              </a:ext>
            </a:extLst>
          </p:cNvPr>
          <p:cNvSpPr>
            <a:spLocks/>
          </p:cNvSpPr>
          <p:nvPr/>
        </p:nvSpPr>
        <p:spPr bwMode="auto">
          <a:xfrm>
            <a:off x="1095375" y="2790825"/>
            <a:ext cx="84138" cy="80963"/>
          </a:xfrm>
          <a:custGeom>
            <a:avLst/>
            <a:gdLst>
              <a:gd name="T0" fmla="*/ 27 w 76"/>
              <a:gd name="T1" fmla="*/ 60 h 66"/>
              <a:gd name="T2" fmla="*/ 21 w 76"/>
              <a:gd name="T3" fmla="*/ 60 h 66"/>
              <a:gd name="T4" fmla="*/ 21 w 76"/>
              <a:gd name="T5" fmla="*/ 55 h 66"/>
              <a:gd name="T6" fmla="*/ 16 w 76"/>
              <a:gd name="T7" fmla="*/ 50 h 66"/>
              <a:gd name="T8" fmla="*/ 10 w 76"/>
              <a:gd name="T9" fmla="*/ 44 h 66"/>
              <a:gd name="T10" fmla="*/ 5 w 76"/>
              <a:gd name="T11" fmla="*/ 39 h 66"/>
              <a:gd name="T12" fmla="*/ 0 w 76"/>
              <a:gd name="T13" fmla="*/ 33 h 66"/>
              <a:gd name="T14" fmla="*/ 0 w 76"/>
              <a:gd name="T15" fmla="*/ 28 h 66"/>
              <a:gd name="T16" fmla="*/ 5 w 76"/>
              <a:gd name="T17" fmla="*/ 33 h 66"/>
              <a:gd name="T18" fmla="*/ 10 w 76"/>
              <a:gd name="T19" fmla="*/ 28 h 66"/>
              <a:gd name="T20" fmla="*/ 16 w 76"/>
              <a:gd name="T21" fmla="*/ 28 h 66"/>
              <a:gd name="T22" fmla="*/ 16 w 76"/>
              <a:gd name="T23" fmla="*/ 22 h 66"/>
              <a:gd name="T24" fmla="*/ 16 w 76"/>
              <a:gd name="T25" fmla="*/ 17 h 66"/>
              <a:gd name="T26" fmla="*/ 21 w 76"/>
              <a:gd name="T27" fmla="*/ 17 h 66"/>
              <a:gd name="T28" fmla="*/ 27 w 76"/>
              <a:gd name="T29" fmla="*/ 11 h 66"/>
              <a:gd name="T30" fmla="*/ 32 w 76"/>
              <a:gd name="T31" fmla="*/ 17 h 66"/>
              <a:gd name="T32" fmla="*/ 38 w 76"/>
              <a:gd name="T33" fmla="*/ 11 h 66"/>
              <a:gd name="T34" fmla="*/ 43 w 76"/>
              <a:gd name="T35" fmla="*/ 11 h 66"/>
              <a:gd name="T36" fmla="*/ 43 w 76"/>
              <a:gd name="T37" fmla="*/ 6 h 66"/>
              <a:gd name="T38" fmla="*/ 49 w 76"/>
              <a:gd name="T39" fmla="*/ 0 h 66"/>
              <a:gd name="T40" fmla="*/ 49 w 76"/>
              <a:gd name="T41" fmla="*/ 6 h 66"/>
              <a:gd name="T42" fmla="*/ 54 w 76"/>
              <a:gd name="T43" fmla="*/ 6 h 66"/>
              <a:gd name="T44" fmla="*/ 59 w 76"/>
              <a:gd name="T45" fmla="*/ 0 h 66"/>
              <a:gd name="T46" fmla="*/ 65 w 76"/>
              <a:gd name="T47" fmla="*/ 0 h 66"/>
              <a:gd name="T48" fmla="*/ 70 w 76"/>
              <a:gd name="T49" fmla="*/ 0 h 66"/>
              <a:gd name="T50" fmla="*/ 76 w 76"/>
              <a:gd name="T51" fmla="*/ 0 h 66"/>
              <a:gd name="T52" fmla="*/ 70 w 76"/>
              <a:gd name="T53" fmla="*/ 0 h 66"/>
              <a:gd name="T54" fmla="*/ 70 w 76"/>
              <a:gd name="T55" fmla="*/ 6 h 66"/>
              <a:gd name="T56" fmla="*/ 70 w 76"/>
              <a:gd name="T57" fmla="*/ 11 h 66"/>
              <a:gd name="T58" fmla="*/ 65 w 76"/>
              <a:gd name="T59" fmla="*/ 17 h 66"/>
              <a:gd name="T60" fmla="*/ 65 w 76"/>
              <a:gd name="T61" fmla="*/ 22 h 66"/>
              <a:gd name="T62" fmla="*/ 65 w 76"/>
              <a:gd name="T63" fmla="*/ 28 h 66"/>
              <a:gd name="T64" fmla="*/ 65 w 76"/>
              <a:gd name="T65" fmla="*/ 33 h 66"/>
              <a:gd name="T66" fmla="*/ 65 w 76"/>
              <a:gd name="T67" fmla="*/ 39 h 66"/>
              <a:gd name="T68" fmla="*/ 59 w 76"/>
              <a:gd name="T69" fmla="*/ 39 h 66"/>
              <a:gd name="T70" fmla="*/ 59 w 76"/>
              <a:gd name="T71" fmla="*/ 44 h 66"/>
              <a:gd name="T72" fmla="*/ 59 w 76"/>
              <a:gd name="T73" fmla="*/ 50 h 66"/>
              <a:gd name="T74" fmla="*/ 59 w 76"/>
              <a:gd name="T75" fmla="*/ 55 h 66"/>
              <a:gd name="T76" fmla="*/ 54 w 76"/>
              <a:gd name="T77" fmla="*/ 55 h 66"/>
              <a:gd name="T78" fmla="*/ 54 w 76"/>
              <a:gd name="T79" fmla="*/ 60 h 66"/>
              <a:gd name="T80" fmla="*/ 54 w 76"/>
              <a:gd name="T81" fmla="*/ 66 h 66"/>
              <a:gd name="T82" fmla="*/ 49 w 76"/>
              <a:gd name="T83" fmla="*/ 66 h 66"/>
              <a:gd name="T84" fmla="*/ 49 w 76"/>
              <a:gd name="T85" fmla="*/ 60 h 66"/>
              <a:gd name="T86" fmla="*/ 43 w 76"/>
              <a:gd name="T87" fmla="*/ 60 h 66"/>
              <a:gd name="T88" fmla="*/ 38 w 76"/>
              <a:gd name="T89" fmla="*/ 60 h 66"/>
              <a:gd name="T90" fmla="*/ 32 w 76"/>
              <a:gd name="T91" fmla="*/ 60 h 66"/>
              <a:gd name="T92" fmla="*/ 27 w 76"/>
              <a:gd name="T93" fmla="*/ 6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 h="66">
                <a:moveTo>
                  <a:pt x="27" y="60"/>
                </a:moveTo>
                <a:lnTo>
                  <a:pt x="21" y="60"/>
                </a:lnTo>
                <a:lnTo>
                  <a:pt x="21" y="55"/>
                </a:lnTo>
                <a:lnTo>
                  <a:pt x="16" y="50"/>
                </a:lnTo>
                <a:lnTo>
                  <a:pt x="10" y="44"/>
                </a:lnTo>
                <a:lnTo>
                  <a:pt x="5" y="39"/>
                </a:lnTo>
                <a:lnTo>
                  <a:pt x="0" y="33"/>
                </a:lnTo>
                <a:lnTo>
                  <a:pt x="0" y="28"/>
                </a:lnTo>
                <a:lnTo>
                  <a:pt x="5" y="33"/>
                </a:lnTo>
                <a:lnTo>
                  <a:pt x="10" y="28"/>
                </a:lnTo>
                <a:lnTo>
                  <a:pt x="16" y="28"/>
                </a:lnTo>
                <a:lnTo>
                  <a:pt x="16" y="22"/>
                </a:lnTo>
                <a:lnTo>
                  <a:pt x="16" y="17"/>
                </a:lnTo>
                <a:lnTo>
                  <a:pt x="21" y="17"/>
                </a:lnTo>
                <a:lnTo>
                  <a:pt x="27" y="11"/>
                </a:lnTo>
                <a:lnTo>
                  <a:pt x="32" y="17"/>
                </a:lnTo>
                <a:lnTo>
                  <a:pt x="38" y="11"/>
                </a:lnTo>
                <a:lnTo>
                  <a:pt x="43" y="11"/>
                </a:lnTo>
                <a:lnTo>
                  <a:pt x="43" y="6"/>
                </a:lnTo>
                <a:lnTo>
                  <a:pt x="49" y="0"/>
                </a:lnTo>
                <a:lnTo>
                  <a:pt x="49" y="6"/>
                </a:lnTo>
                <a:lnTo>
                  <a:pt x="54" y="6"/>
                </a:lnTo>
                <a:lnTo>
                  <a:pt x="59" y="0"/>
                </a:lnTo>
                <a:lnTo>
                  <a:pt x="65" y="0"/>
                </a:lnTo>
                <a:lnTo>
                  <a:pt x="70" y="0"/>
                </a:lnTo>
                <a:lnTo>
                  <a:pt x="76" y="0"/>
                </a:lnTo>
                <a:lnTo>
                  <a:pt x="70" y="0"/>
                </a:lnTo>
                <a:lnTo>
                  <a:pt x="70" y="6"/>
                </a:lnTo>
                <a:lnTo>
                  <a:pt x="70" y="11"/>
                </a:lnTo>
                <a:lnTo>
                  <a:pt x="65" y="17"/>
                </a:lnTo>
                <a:lnTo>
                  <a:pt x="65" y="22"/>
                </a:lnTo>
                <a:lnTo>
                  <a:pt x="65" y="28"/>
                </a:lnTo>
                <a:lnTo>
                  <a:pt x="65" y="33"/>
                </a:lnTo>
                <a:lnTo>
                  <a:pt x="65" y="39"/>
                </a:lnTo>
                <a:lnTo>
                  <a:pt x="59" y="39"/>
                </a:lnTo>
                <a:lnTo>
                  <a:pt x="59" y="44"/>
                </a:lnTo>
                <a:lnTo>
                  <a:pt x="59" y="50"/>
                </a:lnTo>
                <a:lnTo>
                  <a:pt x="59" y="55"/>
                </a:lnTo>
                <a:lnTo>
                  <a:pt x="54" y="55"/>
                </a:lnTo>
                <a:lnTo>
                  <a:pt x="54" y="60"/>
                </a:lnTo>
                <a:lnTo>
                  <a:pt x="54" y="66"/>
                </a:lnTo>
                <a:lnTo>
                  <a:pt x="49" y="66"/>
                </a:lnTo>
                <a:lnTo>
                  <a:pt x="49" y="60"/>
                </a:lnTo>
                <a:lnTo>
                  <a:pt x="43" y="60"/>
                </a:lnTo>
                <a:lnTo>
                  <a:pt x="38" y="60"/>
                </a:lnTo>
                <a:lnTo>
                  <a:pt x="32" y="60"/>
                </a:lnTo>
                <a:lnTo>
                  <a:pt x="27" y="60"/>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5" name="Freeform 157">
            <a:extLst>
              <a:ext uri="{FF2B5EF4-FFF2-40B4-BE49-F238E27FC236}">
                <a16:creationId xmlns:a16="http://schemas.microsoft.com/office/drawing/2014/main" id="{700A24CE-CEED-130F-F905-4466699E9969}"/>
              </a:ext>
            </a:extLst>
          </p:cNvPr>
          <p:cNvSpPr>
            <a:spLocks/>
          </p:cNvSpPr>
          <p:nvPr/>
        </p:nvSpPr>
        <p:spPr bwMode="auto">
          <a:xfrm>
            <a:off x="1050925" y="2798762"/>
            <a:ext cx="44450" cy="26988"/>
          </a:xfrm>
          <a:custGeom>
            <a:avLst/>
            <a:gdLst>
              <a:gd name="T0" fmla="*/ 0 w 39"/>
              <a:gd name="T1" fmla="*/ 11 h 22"/>
              <a:gd name="T2" fmla="*/ 6 w 39"/>
              <a:gd name="T3" fmla="*/ 11 h 22"/>
              <a:gd name="T4" fmla="*/ 11 w 39"/>
              <a:gd name="T5" fmla="*/ 5 h 22"/>
              <a:gd name="T6" fmla="*/ 11 w 39"/>
              <a:gd name="T7" fmla="*/ 0 h 22"/>
              <a:gd name="T8" fmla="*/ 17 w 39"/>
              <a:gd name="T9" fmla="*/ 0 h 22"/>
              <a:gd name="T10" fmla="*/ 22 w 39"/>
              <a:gd name="T11" fmla="*/ 5 h 22"/>
              <a:gd name="T12" fmla="*/ 28 w 39"/>
              <a:gd name="T13" fmla="*/ 11 h 22"/>
              <a:gd name="T14" fmla="*/ 33 w 39"/>
              <a:gd name="T15" fmla="*/ 11 h 22"/>
              <a:gd name="T16" fmla="*/ 39 w 39"/>
              <a:gd name="T17" fmla="*/ 11 h 22"/>
              <a:gd name="T18" fmla="*/ 39 w 39"/>
              <a:gd name="T19" fmla="*/ 16 h 22"/>
              <a:gd name="T20" fmla="*/ 33 w 39"/>
              <a:gd name="T21" fmla="*/ 16 h 22"/>
              <a:gd name="T22" fmla="*/ 33 w 39"/>
              <a:gd name="T23" fmla="*/ 22 h 22"/>
              <a:gd name="T24" fmla="*/ 28 w 39"/>
              <a:gd name="T25" fmla="*/ 22 h 22"/>
              <a:gd name="T26" fmla="*/ 22 w 39"/>
              <a:gd name="T27" fmla="*/ 22 h 22"/>
              <a:gd name="T28" fmla="*/ 17 w 39"/>
              <a:gd name="T29" fmla="*/ 16 h 22"/>
              <a:gd name="T30" fmla="*/ 11 w 39"/>
              <a:gd name="T31" fmla="*/ 16 h 22"/>
              <a:gd name="T32" fmla="*/ 6 w 39"/>
              <a:gd name="T33" fmla="*/ 16 h 22"/>
              <a:gd name="T34" fmla="*/ 0 w 39"/>
              <a:gd name="T35"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22">
                <a:moveTo>
                  <a:pt x="0" y="11"/>
                </a:moveTo>
                <a:lnTo>
                  <a:pt x="6" y="11"/>
                </a:lnTo>
                <a:lnTo>
                  <a:pt x="11" y="5"/>
                </a:lnTo>
                <a:lnTo>
                  <a:pt x="11" y="0"/>
                </a:lnTo>
                <a:lnTo>
                  <a:pt x="17" y="0"/>
                </a:lnTo>
                <a:lnTo>
                  <a:pt x="22" y="5"/>
                </a:lnTo>
                <a:lnTo>
                  <a:pt x="28" y="11"/>
                </a:lnTo>
                <a:lnTo>
                  <a:pt x="33" y="11"/>
                </a:lnTo>
                <a:lnTo>
                  <a:pt x="39" y="11"/>
                </a:lnTo>
                <a:lnTo>
                  <a:pt x="39" y="16"/>
                </a:lnTo>
                <a:lnTo>
                  <a:pt x="33" y="16"/>
                </a:lnTo>
                <a:lnTo>
                  <a:pt x="33" y="22"/>
                </a:lnTo>
                <a:lnTo>
                  <a:pt x="28" y="22"/>
                </a:lnTo>
                <a:lnTo>
                  <a:pt x="22" y="22"/>
                </a:lnTo>
                <a:lnTo>
                  <a:pt x="17" y="16"/>
                </a:lnTo>
                <a:lnTo>
                  <a:pt x="11" y="16"/>
                </a:lnTo>
                <a:lnTo>
                  <a:pt x="6" y="16"/>
                </a:lnTo>
                <a:lnTo>
                  <a:pt x="0" y="11"/>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6" name="Freeform 159">
            <a:extLst>
              <a:ext uri="{FF2B5EF4-FFF2-40B4-BE49-F238E27FC236}">
                <a16:creationId xmlns:a16="http://schemas.microsoft.com/office/drawing/2014/main" id="{A1176AB3-0C4C-6E71-E086-EACEB42D403C}"/>
              </a:ext>
            </a:extLst>
          </p:cNvPr>
          <p:cNvSpPr>
            <a:spLocks/>
          </p:cNvSpPr>
          <p:nvPr/>
        </p:nvSpPr>
        <p:spPr bwMode="auto">
          <a:xfrm>
            <a:off x="1117600" y="2863850"/>
            <a:ext cx="55563" cy="61913"/>
          </a:xfrm>
          <a:custGeom>
            <a:avLst/>
            <a:gdLst>
              <a:gd name="T0" fmla="*/ 44 w 49"/>
              <a:gd name="T1" fmla="*/ 50 h 50"/>
              <a:gd name="T2" fmla="*/ 44 w 49"/>
              <a:gd name="T3" fmla="*/ 44 h 50"/>
              <a:gd name="T4" fmla="*/ 38 w 49"/>
              <a:gd name="T5" fmla="*/ 44 h 50"/>
              <a:gd name="T6" fmla="*/ 38 w 49"/>
              <a:gd name="T7" fmla="*/ 39 h 50"/>
              <a:gd name="T8" fmla="*/ 33 w 49"/>
              <a:gd name="T9" fmla="*/ 39 h 50"/>
              <a:gd name="T10" fmla="*/ 38 w 49"/>
              <a:gd name="T11" fmla="*/ 39 h 50"/>
              <a:gd name="T12" fmla="*/ 38 w 49"/>
              <a:gd name="T13" fmla="*/ 44 h 50"/>
              <a:gd name="T14" fmla="*/ 33 w 49"/>
              <a:gd name="T15" fmla="*/ 44 h 50"/>
              <a:gd name="T16" fmla="*/ 28 w 49"/>
              <a:gd name="T17" fmla="*/ 39 h 50"/>
              <a:gd name="T18" fmla="*/ 33 w 49"/>
              <a:gd name="T19" fmla="*/ 39 h 50"/>
              <a:gd name="T20" fmla="*/ 33 w 49"/>
              <a:gd name="T21" fmla="*/ 33 h 50"/>
              <a:gd name="T22" fmla="*/ 28 w 49"/>
              <a:gd name="T23" fmla="*/ 28 h 50"/>
              <a:gd name="T24" fmla="*/ 22 w 49"/>
              <a:gd name="T25" fmla="*/ 28 h 50"/>
              <a:gd name="T26" fmla="*/ 17 w 49"/>
              <a:gd name="T27" fmla="*/ 28 h 50"/>
              <a:gd name="T28" fmla="*/ 17 w 49"/>
              <a:gd name="T29" fmla="*/ 22 h 50"/>
              <a:gd name="T30" fmla="*/ 17 w 49"/>
              <a:gd name="T31" fmla="*/ 17 h 50"/>
              <a:gd name="T32" fmla="*/ 11 w 49"/>
              <a:gd name="T33" fmla="*/ 17 h 50"/>
              <a:gd name="T34" fmla="*/ 17 w 49"/>
              <a:gd name="T35" fmla="*/ 22 h 50"/>
              <a:gd name="T36" fmla="*/ 11 w 49"/>
              <a:gd name="T37" fmla="*/ 22 h 50"/>
              <a:gd name="T38" fmla="*/ 6 w 49"/>
              <a:gd name="T39" fmla="*/ 22 h 50"/>
              <a:gd name="T40" fmla="*/ 0 w 49"/>
              <a:gd name="T41" fmla="*/ 17 h 50"/>
              <a:gd name="T42" fmla="*/ 0 w 49"/>
              <a:gd name="T43" fmla="*/ 11 h 50"/>
              <a:gd name="T44" fmla="*/ 6 w 49"/>
              <a:gd name="T45" fmla="*/ 6 h 50"/>
              <a:gd name="T46" fmla="*/ 0 w 49"/>
              <a:gd name="T47" fmla="*/ 6 h 50"/>
              <a:gd name="T48" fmla="*/ 6 w 49"/>
              <a:gd name="T49" fmla="*/ 0 h 50"/>
              <a:gd name="T50" fmla="*/ 11 w 49"/>
              <a:gd name="T51" fmla="*/ 0 h 50"/>
              <a:gd name="T52" fmla="*/ 17 w 49"/>
              <a:gd name="T53" fmla="*/ 0 h 50"/>
              <a:gd name="T54" fmla="*/ 22 w 49"/>
              <a:gd name="T55" fmla="*/ 0 h 50"/>
              <a:gd name="T56" fmla="*/ 28 w 49"/>
              <a:gd name="T57" fmla="*/ 0 h 50"/>
              <a:gd name="T58" fmla="*/ 28 w 49"/>
              <a:gd name="T59" fmla="*/ 6 h 50"/>
              <a:gd name="T60" fmla="*/ 33 w 49"/>
              <a:gd name="T61" fmla="*/ 6 h 50"/>
              <a:gd name="T62" fmla="*/ 33 w 49"/>
              <a:gd name="T63" fmla="*/ 0 h 50"/>
              <a:gd name="T64" fmla="*/ 38 w 49"/>
              <a:gd name="T65" fmla="*/ 6 h 50"/>
              <a:gd name="T66" fmla="*/ 38 w 49"/>
              <a:gd name="T67" fmla="*/ 11 h 50"/>
              <a:gd name="T68" fmla="*/ 44 w 49"/>
              <a:gd name="T69" fmla="*/ 17 h 50"/>
              <a:gd name="T70" fmla="*/ 49 w 49"/>
              <a:gd name="T71" fmla="*/ 22 h 50"/>
              <a:gd name="T72" fmla="*/ 44 w 49"/>
              <a:gd name="T73" fmla="*/ 22 h 50"/>
              <a:gd name="T74" fmla="*/ 44 w 49"/>
              <a:gd name="T75" fmla="*/ 28 h 50"/>
              <a:gd name="T76" fmla="*/ 44 w 49"/>
              <a:gd name="T77" fmla="*/ 33 h 50"/>
              <a:gd name="T78" fmla="*/ 49 w 49"/>
              <a:gd name="T79" fmla="*/ 33 h 50"/>
              <a:gd name="T80" fmla="*/ 44 w 49"/>
              <a:gd name="T81" fmla="*/ 39 h 50"/>
              <a:gd name="T82" fmla="*/ 44 w 49"/>
              <a:gd name="T83" fmla="*/ 44 h 50"/>
              <a:gd name="T84" fmla="*/ 38 w 49"/>
              <a:gd name="T85" fmla="*/ 44 h 50"/>
              <a:gd name="T86" fmla="*/ 44 w 49"/>
              <a:gd name="T87" fmla="*/ 44 h 50"/>
              <a:gd name="T88" fmla="*/ 44 w 49"/>
              <a:gd name="T8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 h="50">
                <a:moveTo>
                  <a:pt x="44" y="50"/>
                </a:moveTo>
                <a:lnTo>
                  <a:pt x="44" y="44"/>
                </a:lnTo>
                <a:lnTo>
                  <a:pt x="38" y="44"/>
                </a:lnTo>
                <a:lnTo>
                  <a:pt x="38" y="39"/>
                </a:lnTo>
                <a:lnTo>
                  <a:pt x="33" y="39"/>
                </a:lnTo>
                <a:lnTo>
                  <a:pt x="38" y="39"/>
                </a:lnTo>
                <a:lnTo>
                  <a:pt x="38" y="44"/>
                </a:lnTo>
                <a:lnTo>
                  <a:pt x="33" y="44"/>
                </a:lnTo>
                <a:lnTo>
                  <a:pt x="28" y="39"/>
                </a:lnTo>
                <a:lnTo>
                  <a:pt x="33" y="39"/>
                </a:lnTo>
                <a:lnTo>
                  <a:pt x="33" y="33"/>
                </a:lnTo>
                <a:lnTo>
                  <a:pt x="28" y="28"/>
                </a:lnTo>
                <a:lnTo>
                  <a:pt x="22" y="28"/>
                </a:lnTo>
                <a:lnTo>
                  <a:pt x="17" y="28"/>
                </a:lnTo>
                <a:lnTo>
                  <a:pt x="17" y="22"/>
                </a:lnTo>
                <a:lnTo>
                  <a:pt x="17" y="17"/>
                </a:lnTo>
                <a:lnTo>
                  <a:pt x="11" y="17"/>
                </a:lnTo>
                <a:lnTo>
                  <a:pt x="17" y="22"/>
                </a:lnTo>
                <a:lnTo>
                  <a:pt x="11" y="22"/>
                </a:lnTo>
                <a:lnTo>
                  <a:pt x="6" y="22"/>
                </a:lnTo>
                <a:lnTo>
                  <a:pt x="0" y="17"/>
                </a:lnTo>
                <a:lnTo>
                  <a:pt x="0" y="11"/>
                </a:lnTo>
                <a:lnTo>
                  <a:pt x="6" y="6"/>
                </a:lnTo>
                <a:lnTo>
                  <a:pt x="0" y="6"/>
                </a:lnTo>
                <a:lnTo>
                  <a:pt x="6" y="0"/>
                </a:lnTo>
                <a:lnTo>
                  <a:pt x="11" y="0"/>
                </a:lnTo>
                <a:lnTo>
                  <a:pt x="17" y="0"/>
                </a:lnTo>
                <a:lnTo>
                  <a:pt x="22" y="0"/>
                </a:lnTo>
                <a:lnTo>
                  <a:pt x="28" y="0"/>
                </a:lnTo>
                <a:lnTo>
                  <a:pt x="28" y="6"/>
                </a:lnTo>
                <a:lnTo>
                  <a:pt x="33" y="6"/>
                </a:lnTo>
                <a:lnTo>
                  <a:pt x="33" y="0"/>
                </a:lnTo>
                <a:lnTo>
                  <a:pt x="38" y="6"/>
                </a:lnTo>
                <a:lnTo>
                  <a:pt x="38" y="11"/>
                </a:lnTo>
                <a:lnTo>
                  <a:pt x="44" y="17"/>
                </a:lnTo>
                <a:lnTo>
                  <a:pt x="49" y="22"/>
                </a:lnTo>
                <a:lnTo>
                  <a:pt x="44" y="22"/>
                </a:lnTo>
                <a:lnTo>
                  <a:pt x="44" y="28"/>
                </a:lnTo>
                <a:lnTo>
                  <a:pt x="44" y="33"/>
                </a:lnTo>
                <a:lnTo>
                  <a:pt x="49" y="33"/>
                </a:lnTo>
                <a:lnTo>
                  <a:pt x="44" y="39"/>
                </a:lnTo>
                <a:lnTo>
                  <a:pt x="44" y="44"/>
                </a:lnTo>
                <a:lnTo>
                  <a:pt x="38" y="44"/>
                </a:lnTo>
                <a:lnTo>
                  <a:pt x="44" y="44"/>
                </a:lnTo>
                <a:lnTo>
                  <a:pt x="44" y="50"/>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7" name="Rectangle 605">
            <a:extLst>
              <a:ext uri="{FF2B5EF4-FFF2-40B4-BE49-F238E27FC236}">
                <a16:creationId xmlns:a16="http://schemas.microsoft.com/office/drawing/2014/main" id="{32B5E2D9-1CEA-3E15-1D19-7DC8DC00728A}"/>
              </a:ext>
            </a:extLst>
          </p:cNvPr>
          <p:cNvSpPr>
            <a:spLocks noChangeArrowheads="1"/>
          </p:cNvSpPr>
          <p:nvPr/>
        </p:nvSpPr>
        <p:spPr bwMode="auto">
          <a:xfrm>
            <a:off x="1363663" y="2711449"/>
            <a:ext cx="11113" cy="6350"/>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68" name="Freeform 606">
            <a:extLst>
              <a:ext uri="{FF2B5EF4-FFF2-40B4-BE49-F238E27FC236}">
                <a16:creationId xmlns:a16="http://schemas.microsoft.com/office/drawing/2014/main" id="{A1FE4115-2935-8D98-897F-D340678C12B7}"/>
              </a:ext>
            </a:extLst>
          </p:cNvPr>
          <p:cNvSpPr>
            <a:spLocks/>
          </p:cNvSpPr>
          <p:nvPr/>
        </p:nvSpPr>
        <p:spPr bwMode="auto">
          <a:xfrm>
            <a:off x="1344613" y="2692400"/>
            <a:ext cx="49213" cy="38100"/>
          </a:xfrm>
          <a:custGeom>
            <a:avLst/>
            <a:gdLst>
              <a:gd name="T0" fmla="*/ 38 w 44"/>
              <a:gd name="T1" fmla="*/ 32 h 32"/>
              <a:gd name="T2" fmla="*/ 33 w 44"/>
              <a:gd name="T3" fmla="*/ 27 h 32"/>
              <a:gd name="T4" fmla="*/ 27 w 44"/>
              <a:gd name="T5" fmla="*/ 27 h 32"/>
              <a:gd name="T6" fmla="*/ 22 w 44"/>
              <a:gd name="T7" fmla="*/ 32 h 32"/>
              <a:gd name="T8" fmla="*/ 22 w 44"/>
              <a:gd name="T9" fmla="*/ 27 h 32"/>
              <a:gd name="T10" fmla="*/ 16 w 44"/>
              <a:gd name="T11" fmla="*/ 27 h 32"/>
              <a:gd name="T12" fmla="*/ 11 w 44"/>
              <a:gd name="T13" fmla="*/ 27 h 32"/>
              <a:gd name="T14" fmla="*/ 6 w 44"/>
              <a:gd name="T15" fmla="*/ 32 h 32"/>
              <a:gd name="T16" fmla="*/ 6 w 44"/>
              <a:gd name="T17" fmla="*/ 27 h 32"/>
              <a:gd name="T18" fmla="*/ 0 w 44"/>
              <a:gd name="T19" fmla="*/ 27 h 32"/>
              <a:gd name="T20" fmla="*/ 0 w 44"/>
              <a:gd name="T21" fmla="*/ 21 h 32"/>
              <a:gd name="T22" fmla="*/ 6 w 44"/>
              <a:gd name="T23" fmla="*/ 21 h 32"/>
              <a:gd name="T24" fmla="*/ 11 w 44"/>
              <a:gd name="T25" fmla="*/ 21 h 32"/>
              <a:gd name="T26" fmla="*/ 16 w 44"/>
              <a:gd name="T27" fmla="*/ 21 h 32"/>
              <a:gd name="T28" fmla="*/ 22 w 44"/>
              <a:gd name="T29" fmla="*/ 27 h 32"/>
              <a:gd name="T30" fmla="*/ 27 w 44"/>
              <a:gd name="T31" fmla="*/ 21 h 32"/>
              <a:gd name="T32" fmla="*/ 33 w 44"/>
              <a:gd name="T33" fmla="*/ 21 h 32"/>
              <a:gd name="T34" fmla="*/ 27 w 44"/>
              <a:gd name="T35" fmla="*/ 21 h 32"/>
              <a:gd name="T36" fmla="*/ 27 w 44"/>
              <a:gd name="T37" fmla="*/ 16 h 32"/>
              <a:gd name="T38" fmla="*/ 27 w 44"/>
              <a:gd name="T39" fmla="*/ 11 h 32"/>
              <a:gd name="T40" fmla="*/ 27 w 44"/>
              <a:gd name="T41" fmla="*/ 5 h 32"/>
              <a:gd name="T42" fmla="*/ 22 w 44"/>
              <a:gd name="T43" fmla="*/ 5 h 32"/>
              <a:gd name="T44" fmla="*/ 16 w 44"/>
              <a:gd name="T45" fmla="*/ 5 h 32"/>
              <a:gd name="T46" fmla="*/ 22 w 44"/>
              <a:gd name="T47" fmla="*/ 5 h 32"/>
              <a:gd name="T48" fmla="*/ 22 w 44"/>
              <a:gd name="T49" fmla="*/ 0 h 32"/>
              <a:gd name="T50" fmla="*/ 27 w 44"/>
              <a:gd name="T51" fmla="*/ 0 h 32"/>
              <a:gd name="T52" fmla="*/ 33 w 44"/>
              <a:gd name="T53" fmla="*/ 5 h 32"/>
              <a:gd name="T54" fmla="*/ 38 w 44"/>
              <a:gd name="T55" fmla="*/ 5 h 32"/>
              <a:gd name="T56" fmla="*/ 44 w 44"/>
              <a:gd name="T57" fmla="*/ 5 h 32"/>
              <a:gd name="T58" fmla="*/ 44 w 44"/>
              <a:gd name="T59" fmla="*/ 11 h 32"/>
              <a:gd name="T60" fmla="*/ 44 w 44"/>
              <a:gd name="T61" fmla="*/ 16 h 32"/>
              <a:gd name="T62" fmla="*/ 38 w 44"/>
              <a:gd name="T63" fmla="*/ 16 h 32"/>
              <a:gd name="T64" fmla="*/ 44 w 44"/>
              <a:gd name="T65" fmla="*/ 21 h 32"/>
              <a:gd name="T66" fmla="*/ 38 w 44"/>
              <a:gd name="T67" fmla="*/ 21 h 32"/>
              <a:gd name="T68" fmla="*/ 38 w 44"/>
              <a:gd name="T69" fmla="*/ 27 h 32"/>
              <a:gd name="T70" fmla="*/ 38 w 44"/>
              <a:gd name="T7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32">
                <a:moveTo>
                  <a:pt x="38" y="32"/>
                </a:moveTo>
                <a:lnTo>
                  <a:pt x="33" y="27"/>
                </a:lnTo>
                <a:lnTo>
                  <a:pt x="27" y="27"/>
                </a:lnTo>
                <a:lnTo>
                  <a:pt x="22" y="32"/>
                </a:lnTo>
                <a:lnTo>
                  <a:pt x="22" y="27"/>
                </a:lnTo>
                <a:lnTo>
                  <a:pt x="16" y="27"/>
                </a:lnTo>
                <a:lnTo>
                  <a:pt x="11" y="27"/>
                </a:lnTo>
                <a:lnTo>
                  <a:pt x="6" y="32"/>
                </a:lnTo>
                <a:lnTo>
                  <a:pt x="6" y="27"/>
                </a:lnTo>
                <a:lnTo>
                  <a:pt x="0" y="27"/>
                </a:lnTo>
                <a:lnTo>
                  <a:pt x="0" y="21"/>
                </a:lnTo>
                <a:lnTo>
                  <a:pt x="6" y="21"/>
                </a:lnTo>
                <a:lnTo>
                  <a:pt x="11" y="21"/>
                </a:lnTo>
                <a:lnTo>
                  <a:pt x="16" y="21"/>
                </a:lnTo>
                <a:lnTo>
                  <a:pt x="22" y="27"/>
                </a:lnTo>
                <a:lnTo>
                  <a:pt x="27" y="21"/>
                </a:lnTo>
                <a:lnTo>
                  <a:pt x="33" y="21"/>
                </a:lnTo>
                <a:lnTo>
                  <a:pt x="27" y="21"/>
                </a:lnTo>
                <a:lnTo>
                  <a:pt x="27" y="16"/>
                </a:lnTo>
                <a:lnTo>
                  <a:pt x="27" y="11"/>
                </a:lnTo>
                <a:lnTo>
                  <a:pt x="27" y="5"/>
                </a:lnTo>
                <a:lnTo>
                  <a:pt x="22" y="5"/>
                </a:lnTo>
                <a:lnTo>
                  <a:pt x="16" y="5"/>
                </a:lnTo>
                <a:lnTo>
                  <a:pt x="22" y="5"/>
                </a:lnTo>
                <a:lnTo>
                  <a:pt x="22" y="0"/>
                </a:lnTo>
                <a:lnTo>
                  <a:pt x="27" y="0"/>
                </a:lnTo>
                <a:lnTo>
                  <a:pt x="33" y="5"/>
                </a:lnTo>
                <a:lnTo>
                  <a:pt x="38" y="5"/>
                </a:lnTo>
                <a:lnTo>
                  <a:pt x="44" y="5"/>
                </a:lnTo>
                <a:lnTo>
                  <a:pt x="44" y="11"/>
                </a:lnTo>
                <a:lnTo>
                  <a:pt x="44" y="16"/>
                </a:lnTo>
                <a:lnTo>
                  <a:pt x="38" y="16"/>
                </a:lnTo>
                <a:lnTo>
                  <a:pt x="44" y="21"/>
                </a:lnTo>
                <a:lnTo>
                  <a:pt x="38" y="21"/>
                </a:lnTo>
                <a:lnTo>
                  <a:pt x="38" y="27"/>
                </a:lnTo>
                <a:lnTo>
                  <a:pt x="38" y="32"/>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69" name="Rectangle 608">
            <a:extLst>
              <a:ext uri="{FF2B5EF4-FFF2-40B4-BE49-F238E27FC236}">
                <a16:creationId xmlns:a16="http://schemas.microsoft.com/office/drawing/2014/main" id="{A77B36ED-6EC6-7056-5080-04B4AB02384D}"/>
              </a:ext>
            </a:extLst>
          </p:cNvPr>
          <p:cNvSpPr>
            <a:spLocks noChangeArrowheads="1"/>
          </p:cNvSpPr>
          <p:nvPr/>
        </p:nvSpPr>
        <p:spPr bwMode="auto">
          <a:xfrm>
            <a:off x="1265238" y="2632074"/>
            <a:ext cx="6350" cy="6350"/>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70" name="Freeform 609">
            <a:extLst>
              <a:ext uri="{FF2B5EF4-FFF2-40B4-BE49-F238E27FC236}">
                <a16:creationId xmlns:a16="http://schemas.microsoft.com/office/drawing/2014/main" id="{B34875EF-420D-21D3-F503-7F05D0073210}"/>
              </a:ext>
            </a:extLst>
          </p:cNvPr>
          <p:cNvSpPr>
            <a:spLocks/>
          </p:cNvSpPr>
          <p:nvPr/>
        </p:nvSpPr>
        <p:spPr bwMode="auto">
          <a:xfrm>
            <a:off x="1173163" y="2632075"/>
            <a:ext cx="184150" cy="66675"/>
          </a:xfrm>
          <a:custGeom>
            <a:avLst/>
            <a:gdLst>
              <a:gd name="T0" fmla="*/ 6 w 164"/>
              <a:gd name="T1" fmla="*/ 16 h 54"/>
              <a:gd name="T2" fmla="*/ 11 w 164"/>
              <a:gd name="T3" fmla="*/ 16 h 54"/>
              <a:gd name="T4" fmla="*/ 17 w 164"/>
              <a:gd name="T5" fmla="*/ 10 h 54"/>
              <a:gd name="T6" fmla="*/ 28 w 164"/>
              <a:gd name="T7" fmla="*/ 5 h 54"/>
              <a:gd name="T8" fmla="*/ 33 w 164"/>
              <a:gd name="T9" fmla="*/ 0 h 54"/>
              <a:gd name="T10" fmla="*/ 44 w 164"/>
              <a:gd name="T11" fmla="*/ 0 h 54"/>
              <a:gd name="T12" fmla="*/ 55 w 164"/>
              <a:gd name="T13" fmla="*/ 0 h 54"/>
              <a:gd name="T14" fmla="*/ 66 w 164"/>
              <a:gd name="T15" fmla="*/ 0 h 54"/>
              <a:gd name="T16" fmla="*/ 77 w 164"/>
              <a:gd name="T17" fmla="*/ 0 h 54"/>
              <a:gd name="T18" fmla="*/ 82 w 164"/>
              <a:gd name="T19" fmla="*/ 0 h 54"/>
              <a:gd name="T20" fmla="*/ 88 w 164"/>
              <a:gd name="T21" fmla="*/ 5 h 54"/>
              <a:gd name="T22" fmla="*/ 88 w 164"/>
              <a:gd name="T23" fmla="*/ 5 h 54"/>
              <a:gd name="T24" fmla="*/ 93 w 164"/>
              <a:gd name="T25" fmla="*/ 10 h 54"/>
              <a:gd name="T26" fmla="*/ 104 w 164"/>
              <a:gd name="T27" fmla="*/ 16 h 54"/>
              <a:gd name="T28" fmla="*/ 109 w 164"/>
              <a:gd name="T29" fmla="*/ 21 h 54"/>
              <a:gd name="T30" fmla="*/ 115 w 164"/>
              <a:gd name="T31" fmla="*/ 16 h 54"/>
              <a:gd name="T32" fmla="*/ 120 w 164"/>
              <a:gd name="T33" fmla="*/ 21 h 54"/>
              <a:gd name="T34" fmla="*/ 131 w 164"/>
              <a:gd name="T35" fmla="*/ 27 h 54"/>
              <a:gd name="T36" fmla="*/ 142 w 164"/>
              <a:gd name="T37" fmla="*/ 32 h 54"/>
              <a:gd name="T38" fmla="*/ 148 w 164"/>
              <a:gd name="T39" fmla="*/ 38 h 54"/>
              <a:gd name="T40" fmla="*/ 159 w 164"/>
              <a:gd name="T41" fmla="*/ 43 h 54"/>
              <a:gd name="T42" fmla="*/ 159 w 164"/>
              <a:gd name="T43" fmla="*/ 49 h 54"/>
              <a:gd name="T44" fmla="*/ 148 w 164"/>
              <a:gd name="T45" fmla="*/ 49 h 54"/>
              <a:gd name="T46" fmla="*/ 137 w 164"/>
              <a:gd name="T47" fmla="*/ 49 h 54"/>
              <a:gd name="T48" fmla="*/ 126 w 164"/>
              <a:gd name="T49" fmla="*/ 49 h 54"/>
              <a:gd name="T50" fmla="*/ 115 w 164"/>
              <a:gd name="T51" fmla="*/ 49 h 54"/>
              <a:gd name="T52" fmla="*/ 104 w 164"/>
              <a:gd name="T53" fmla="*/ 54 h 54"/>
              <a:gd name="T54" fmla="*/ 115 w 164"/>
              <a:gd name="T55" fmla="*/ 43 h 54"/>
              <a:gd name="T56" fmla="*/ 109 w 164"/>
              <a:gd name="T57" fmla="*/ 38 h 54"/>
              <a:gd name="T58" fmla="*/ 104 w 164"/>
              <a:gd name="T59" fmla="*/ 32 h 54"/>
              <a:gd name="T60" fmla="*/ 99 w 164"/>
              <a:gd name="T61" fmla="*/ 27 h 54"/>
              <a:gd name="T62" fmla="*/ 93 w 164"/>
              <a:gd name="T63" fmla="*/ 21 h 54"/>
              <a:gd name="T64" fmla="*/ 82 w 164"/>
              <a:gd name="T65" fmla="*/ 21 h 54"/>
              <a:gd name="T66" fmla="*/ 71 w 164"/>
              <a:gd name="T67" fmla="*/ 16 h 54"/>
              <a:gd name="T68" fmla="*/ 60 w 164"/>
              <a:gd name="T69" fmla="*/ 10 h 54"/>
              <a:gd name="T70" fmla="*/ 55 w 164"/>
              <a:gd name="T71" fmla="*/ 16 h 54"/>
              <a:gd name="T72" fmla="*/ 49 w 164"/>
              <a:gd name="T73" fmla="*/ 10 h 54"/>
              <a:gd name="T74" fmla="*/ 55 w 164"/>
              <a:gd name="T75" fmla="*/ 5 h 54"/>
              <a:gd name="T76" fmla="*/ 44 w 164"/>
              <a:gd name="T77" fmla="*/ 5 h 54"/>
              <a:gd name="T78" fmla="*/ 39 w 164"/>
              <a:gd name="T79" fmla="*/ 10 h 54"/>
              <a:gd name="T80" fmla="*/ 28 w 164"/>
              <a:gd name="T81" fmla="*/ 16 h 54"/>
              <a:gd name="T82" fmla="*/ 17 w 164"/>
              <a:gd name="T83" fmla="*/ 21 h 54"/>
              <a:gd name="T84" fmla="*/ 11 w 164"/>
              <a:gd name="T85" fmla="*/ 16 h 54"/>
              <a:gd name="T86" fmla="*/ 0 w 164"/>
              <a:gd name="T87"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54">
                <a:moveTo>
                  <a:pt x="0" y="21"/>
                </a:moveTo>
                <a:lnTo>
                  <a:pt x="6" y="16"/>
                </a:lnTo>
                <a:lnTo>
                  <a:pt x="6" y="21"/>
                </a:lnTo>
                <a:lnTo>
                  <a:pt x="11" y="16"/>
                </a:lnTo>
                <a:lnTo>
                  <a:pt x="11" y="10"/>
                </a:lnTo>
                <a:lnTo>
                  <a:pt x="17" y="10"/>
                </a:lnTo>
                <a:lnTo>
                  <a:pt x="22" y="5"/>
                </a:lnTo>
                <a:lnTo>
                  <a:pt x="28" y="5"/>
                </a:lnTo>
                <a:lnTo>
                  <a:pt x="33" y="5"/>
                </a:lnTo>
                <a:lnTo>
                  <a:pt x="33" y="0"/>
                </a:lnTo>
                <a:lnTo>
                  <a:pt x="39" y="0"/>
                </a:lnTo>
                <a:lnTo>
                  <a:pt x="44" y="0"/>
                </a:lnTo>
                <a:lnTo>
                  <a:pt x="49" y="0"/>
                </a:lnTo>
                <a:lnTo>
                  <a:pt x="55" y="0"/>
                </a:lnTo>
                <a:lnTo>
                  <a:pt x="60" y="0"/>
                </a:lnTo>
                <a:lnTo>
                  <a:pt x="66" y="0"/>
                </a:lnTo>
                <a:lnTo>
                  <a:pt x="71" y="0"/>
                </a:lnTo>
                <a:lnTo>
                  <a:pt x="77" y="0"/>
                </a:lnTo>
                <a:lnTo>
                  <a:pt x="77" y="5"/>
                </a:lnTo>
                <a:lnTo>
                  <a:pt x="82" y="0"/>
                </a:lnTo>
                <a:lnTo>
                  <a:pt x="82" y="5"/>
                </a:lnTo>
                <a:lnTo>
                  <a:pt x="88" y="5"/>
                </a:lnTo>
                <a:lnTo>
                  <a:pt x="82" y="5"/>
                </a:lnTo>
                <a:lnTo>
                  <a:pt x="88" y="5"/>
                </a:lnTo>
                <a:lnTo>
                  <a:pt x="88" y="10"/>
                </a:lnTo>
                <a:lnTo>
                  <a:pt x="93" y="10"/>
                </a:lnTo>
                <a:lnTo>
                  <a:pt x="99" y="10"/>
                </a:lnTo>
                <a:lnTo>
                  <a:pt x="104" y="16"/>
                </a:lnTo>
                <a:lnTo>
                  <a:pt x="109" y="16"/>
                </a:lnTo>
                <a:lnTo>
                  <a:pt x="109" y="21"/>
                </a:lnTo>
                <a:lnTo>
                  <a:pt x="109" y="16"/>
                </a:lnTo>
                <a:lnTo>
                  <a:pt x="115" y="16"/>
                </a:lnTo>
                <a:lnTo>
                  <a:pt x="115" y="21"/>
                </a:lnTo>
                <a:lnTo>
                  <a:pt x="120" y="21"/>
                </a:lnTo>
                <a:lnTo>
                  <a:pt x="126" y="27"/>
                </a:lnTo>
                <a:lnTo>
                  <a:pt x="131" y="27"/>
                </a:lnTo>
                <a:lnTo>
                  <a:pt x="137" y="32"/>
                </a:lnTo>
                <a:lnTo>
                  <a:pt x="142" y="32"/>
                </a:lnTo>
                <a:lnTo>
                  <a:pt x="142" y="38"/>
                </a:lnTo>
                <a:lnTo>
                  <a:pt x="148" y="38"/>
                </a:lnTo>
                <a:lnTo>
                  <a:pt x="153" y="38"/>
                </a:lnTo>
                <a:lnTo>
                  <a:pt x="159" y="43"/>
                </a:lnTo>
                <a:lnTo>
                  <a:pt x="164" y="43"/>
                </a:lnTo>
                <a:lnTo>
                  <a:pt x="159" y="49"/>
                </a:lnTo>
                <a:lnTo>
                  <a:pt x="153" y="49"/>
                </a:lnTo>
                <a:lnTo>
                  <a:pt x="148" y="49"/>
                </a:lnTo>
                <a:lnTo>
                  <a:pt x="142" y="49"/>
                </a:lnTo>
                <a:lnTo>
                  <a:pt x="137" y="49"/>
                </a:lnTo>
                <a:lnTo>
                  <a:pt x="131" y="49"/>
                </a:lnTo>
                <a:lnTo>
                  <a:pt x="126" y="49"/>
                </a:lnTo>
                <a:lnTo>
                  <a:pt x="120" y="49"/>
                </a:lnTo>
                <a:lnTo>
                  <a:pt x="115" y="49"/>
                </a:lnTo>
                <a:lnTo>
                  <a:pt x="109" y="49"/>
                </a:lnTo>
                <a:lnTo>
                  <a:pt x="104" y="54"/>
                </a:lnTo>
                <a:lnTo>
                  <a:pt x="109" y="49"/>
                </a:lnTo>
                <a:lnTo>
                  <a:pt x="115" y="43"/>
                </a:lnTo>
                <a:lnTo>
                  <a:pt x="115" y="38"/>
                </a:lnTo>
                <a:lnTo>
                  <a:pt x="109" y="38"/>
                </a:lnTo>
                <a:lnTo>
                  <a:pt x="104" y="38"/>
                </a:lnTo>
                <a:lnTo>
                  <a:pt x="104" y="32"/>
                </a:lnTo>
                <a:lnTo>
                  <a:pt x="99" y="32"/>
                </a:lnTo>
                <a:lnTo>
                  <a:pt x="99" y="27"/>
                </a:lnTo>
                <a:lnTo>
                  <a:pt x="99" y="21"/>
                </a:lnTo>
                <a:lnTo>
                  <a:pt x="93" y="21"/>
                </a:lnTo>
                <a:lnTo>
                  <a:pt x="88" y="27"/>
                </a:lnTo>
                <a:lnTo>
                  <a:pt x="82" y="21"/>
                </a:lnTo>
                <a:lnTo>
                  <a:pt x="77" y="21"/>
                </a:lnTo>
                <a:lnTo>
                  <a:pt x="71" y="16"/>
                </a:lnTo>
                <a:lnTo>
                  <a:pt x="66" y="16"/>
                </a:lnTo>
                <a:lnTo>
                  <a:pt x="60" y="10"/>
                </a:lnTo>
                <a:lnTo>
                  <a:pt x="60" y="16"/>
                </a:lnTo>
                <a:lnTo>
                  <a:pt x="55" y="16"/>
                </a:lnTo>
                <a:lnTo>
                  <a:pt x="49" y="16"/>
                </a:lnTo>
                <a:lnTo>
                  <a:pt x="49" y="10"/>
                </a:lnTo>
                <a:lnTo>
                  <a:pt x="55" y="10"/>
                </a:lnTo>
                <a:lnTo>
                  <a:pt x="55" y="5"/>
                </a:lnTo>
                <a:lnTo>
                  <a:pt x="49" y="5"/>
                </a:lnTo>
                <a:lnTo>
                  <a:pt x="44" y="5"/>
                </a:lnTo>
                <a:lnTo>
                  <a:pt x="39" y="5"/>
                </a:lnTo>
                <a:lnTo>
                  <a:pt x="39" y="10"/>
                </a:lnTo>
                <a:lnTo>
                  <a:pt x="33" y="10"/>
                </a:lnTo>
                <a:lnTo>
                  <a:pt x="28" y="16"/>
                </a:lnTo>
                <a:lnTo>
                  <a:pt x="22" y="16"/>
                </a:lnTo>
                <a:lnTo>
                  <a:pt x="17" y="21"/>
                </a:lnTo>
                <a:lnTo>
                  <a:pt x="11" y="21"/>
                </a:lnTo>
                <a:lnTo>
                  <a:pt x="11" y="16"/>
                </a:lnTo>
                <a:lnTo>
                  <a:pt x="6" y="21"/>
                </a:lnTo>
                <a:lnTo>
                  <a:pt x="0" y="21"/>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1" name="Rectangle 610">
            <a:extLst>
              <a:ext uri="{FF2B5EF4-FFF2-40B4-BE49-F238E27FC236}">
                <a16:creationId xmlns:a16="http://schemas.microsoft.com/office/drawing/2014/main" id="{773F18A5-2D13-A969-774A-B669D20045C7}"/>
              </a:ext>
            </a:extLst>
          </p:cNvPr>
          <p:cNvSpPr>
            <a:spLocks noChangeArrowheads="1"/>
          </p:cNvSpPr>
          <p:nvPr/>
        </p:nvSpPr>
        <p:spPr bwMode="auto">
          <a:xfrm>
            <a:off x="1271588" y="2638424"/>
            <a:ext cx="6350" cy="6350"/>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72" name="Freeform 617">
            <a:extLst>
              <a:ext uri="{FF2B5EF4-FFF2-40B4-BE49-F238E27FC236}">
                <a16:creationId xmlns:a16="http://schemas.microsoft.com/office/drawing/2014/main" id="{E3FE6E18-F116-A66F-514E-3DD51E829BD7}"/>
              </a:ext>
            </a:extLst>
          </p:cNvPr>
          <p:cNvSpPr>
            <a:spLocks/>
          </p:cNvSpPr>
          <p:nvPr/>
        </p:nvSpPr>
        <p:spPr bwMode="auto">
          <a:xfrm>
            <a:off x="1160463" y="2890838"/>
            <a:ext cx="104775" cy="46038"/>
          </a:xfrm>
          <a:custGeom>
            <a:avLst/>
            <a:gdLst>
              <a:gd name="T0" fmla="*/ 6 w 93"/>
              <a:gd name="T1" fmla="*/ 22 h 38"/>
              <a:gd name="T2" fmla="*/ 6 w 93"/>
              <a:gd name="T3" fmla="*/ 22 h 38"/>
              <a:gd name="T4" fmla="*/ 11 w 93"/>
              <a:gd name="T5" fmla="*/ 11 h 38"/>
              <a:gd name="T6" fmla="*/ 6 w 93"/>
              <a:gd name="T7" fmla="*/ 6 h 38"/>
              <a:gd name="T8" fmla="*/ 11 w 93"/>
              <a:gd name="T9" fmla="*/ 0 h 38"/>
              <a:gd name="T10" fmla="*/ 17 w 93"/>
              <a:gd name="T11" fmla="*/ 11 h 38"/>
              <a:gd name="T12" fmla="*/ 28 w 93"/>
              <a:gd name="T13" fmla="*/ 17 h 38"/>
              <a:gd name="T14" fmla="*/ 39 w 93"/>
              <a:gd name="T15" fmla="*/ 11 h 38"/>
              <a:gd name="T16" fmla="*/ 50 w 93"/>
              <a:gd name="T17" fmla="*/ 11 h 38"/>
              <a:gd name="T18" fmla="*/ 55 w 93"/>
              <a:gd name="T19" fmla="*/ 6 h 38"/>
              <a:gd name="T20" fmla="*/ 60 w 93"/>
              <a:gd name="T21" fmla="*/ 0 h 38"/>
              <a:gd name="T22" fmla="*/ 71 w 93"/>
              <a:gd name="T23" fmla="*/ 0 h 38"/>
              <a:gd name="T24" fmla="*/ 71 w 93"/>
              <a:gd name="T25" fmla="*/ 6 h 38"/>
              <a:gd name="T26" fmla="*/ 82 w 93"/>
              <a:gd name="T27" fmla="*/ 6 h 38"/>
              <a:gd name="T28" fmla="*/ 88 w 93"/>
              <a:gd name="T29" fmla="*/ 17 h 38"/>
              <a:gd name="T30" fmla="*/ 93 w 93"/>
              <a:gd name="T31" fmla="*/ 22 h 38"/>
              <a:gd name="T32" fmla="*/ 93 w 93"/>
              <a:gd name="T33" fmla="*/ 33 h 38"/>
              <a:gd name="T34" fmla="*/ 82 w 93"/>
              <a:gd name="T35" fmla="*/ 38 h 38"/>
              <a:gd name="T36" fmla="*/ 77 w 93"/>
              <a:gd name="T37" fmla="*/ 33 h 38"/>
              <a:gd name="T38" fmla="*/ 82 w 93"/>
              <a:gd name="T39" fmla="*/ 22 h 38"/>
              <a:gd name="T40" fmla="*/ 77 w 93"/>
              <a:gd name="T41" fmla="*/ 17 h 38"/>
              <a:gd name="T42" fmla="*/ 77 w 93"/>
              <a:gd name="T43" fmla="*/ 17 h 38"/>
              <a:gd name="T44" fmla="*/ 71 w 93"/>
              <a:gd name="T45" fmla="*/ 11 h 38"/>
              <a:gd name="T46" fmla="*/ 66 w 93"/>
              <a:gd name="T47" fmla="*/ 11 h 38"/>
              <a:gd name="T48" fmla="*/ 55 w 93"/>
              <a:gd name="T49" fmla="*/ 11 h 38"/>
              <a:gd name="T50" fmla="*/ 50 w 93"/>
              <a:gd name="T51" fmla="*/ 22 h 38"/>
              <a:gd name="T52" fmla="*/ 44 w 93"/>
              <a:gd name="T53" fmla="*/ 28 h 38"/>
              <a:gd name="T54" fmla="*/ 44 w 93"/>
              <a:gd name="T55" fmla="*/ 38 h 38"/>
              <a:gd name="T56" fmla="*/ 33 w 93"/>
              <a:gd name="T57" fmla="*/ 38 h 38"/>
              <a:gd name="T58" fmla="*/ 33 w 93"/>
              <a:gd name="T59" fmla="*/ 28 h 38"/>
              <a:gd name="T60" fmla="*/ 22 w 93"/>
              <a:gd name="T61" fmla="*/ 33 h 38"/>
              <a:gd name="T62" fmla="*/ 22 w 93"/>
              <a:gd name="T63" fmla="*/ 28 h 38"/>
              <a:gd name="T64" fmla="*/ 22 w 93"/>
              <a:gd name="T65" fmla="*/ 28 h 38"/>
              <a:gd name="T66" fmla="*/ 17 w 93"/>
              <a:gd name="T67" fmla="*/ 28 h 38"/>
              <a:gd name="T68" fmla="*/ 11 w 93"/>
              <a:gd name="T69" fmla="*/ 22 h 38"/>
              <a:gd name="T70" fmla="*/ 6 w 93"/>
              <a:gd name="T71" fmla="*/ 2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3" h="38">
                <a:moveTo>
                  <a:pt x="6" y="28"/>
                </a:moveTo>
                <a:lnTo>
                  <a:pt x="6" y="22"/>
                </a:lnTo>
                <a:lnTo>
                  <a:pt x="0" y="22"/>
                </a:lnTo>
                <a:lnTo>
                  <a:pt x="6" y="22"/>
                </a:lnTo>
                <a:lnTo>
                  <a:pt x="6" y="17"/>
                </a:lnTo>
                <a:lnTo>
                  <a:pt x="11" y="11"/>
                </a:lnTo>
                <a:lnTo>
                  <a:pt x="6" y="11"/>
                </a:lnTo>
                <a:lnTo>
                  <a:pt x="6" y="6"/>
                </a:lnTo>
                <a:lnTo>
                  <a:pt x="6" y="0"/>
                </a:lnTo>
                <a:lnTo>
                  <a:pt x="11" y="0"/>
                </a:lnTo>
                <a:lnTo>
                  <a:pt x="17" y="6"/>
                </a:lnTo>
                <a:lnTo>
                  <a:pt x="17" y="11"/>
                </a:lnTo>
                <a:lnTo>
                  <a:pt x="22" y="11"/>
                </a:lnTo>
                <a:lnTo>
                  <a:pt x="28" y="17"/>
                </a:lnTo>
                <a:lnTo>
                  <a:pt x="33" y="17"/>
                </a:lnTo>
                <a:lnTo>
                  <a:pt x="39" y="11"/>
                </a:lnTo>
                <a:lnTo>
                  <a:pt x="44" y="11"/>
                </a:lnTo>
                <a:lnTo>
                  <a:pt x="50" y="11"/>
                </a:lnTo>
                <a:lnTo>
                  <a:pt x="50" y="6"/>
                </a:lnTo>
                <a:lnTo>
                  <a:pt x="55" y="6"/>
                </a:lnTo>
                <a:lnTo>
                  <a:pt x="55" y="0"/>
                </a:lnTo>
                <a:lnTo>
                  <a:pt x="60" y="0"/>
                </a:lnTo>
                <a:lnTo>
                  <a:pt x="66" y="6"/>
                </a:lnTo>
                <a:lnTo>
                  <a:pt x="71" y="0"/>
                </a:lnTo>
                <a:lnTo>
                  <a:pt x="66" y="6"/>
                </a:lnTo>
                <a:lnTo>
                  <a:pt x="71" y="6"/>
                </a:lnTo>
                <a:lnTo>
                  <a:pt x="77" y="6"/>
                </a:lnTo>
                <a:lnTo>
                  <a:pt x="82" y="6"/>
                </a:lnTo>
                <a:lnTo>
                  <a:pt x="88" y="11"/>
                </a:lnTo>
                <a:lnTo>
                  <a:pt x="88" y="17"/>
                </a:lnTo>
                <a:lnTo>
                  <a:pt x="93" y="17"/>
                </a:lnTo>
                <a:lnTo>
                  <a:pt x="93" y="22"/>
                </a:lnTo>
                <a:lnTo>
                  <a:pt x="93" y="28"/>
                </a:lnTo>
                <a:lnTo>
                  <a:pt x="93" y="33"/>
                </a:lnTo>
                <a:lnTo>
                  <a:pt x="88" y="33"/>
                </a:lnTo>
                <a:lnTo>
                  <a:pt x="82" y="38"/>
                </a:lnTo>
                <a:lnTo>
                  <a:pt x="77" y="38"/>
                </a:lnTo>
                <a:lnTo>
                  <a:pt x="77" y="33"/>
                </a:lnTo>
                <a:lnTo>
                  <a:pt x="77" y="28"/>
                </a:lnTo>
                <a:lnTo>
                  <a:pt x="82" y="22"/>
                </a:lnTo>
                <a:lnTo>
                  <a:pt x="77" y="22"/>
                </a:lnTo>
                <a:lnTo>
                  <a:pt x="77" y="17"/>
                </a:lnTo>
                <a:lnTo>
                  <a:pt x="77" y="22"/>
                </a:lnTo>
                <a:lnTo>
                  <a:pt x="77" y="17"/>
                </a:lnTo>
                <a:lnTo>
                  <a:pt x="71" y="17"/>
                </a:lnTo>
                <a:lnTo>
                  <a:pt x="71" y="11"/>
                </a:lnTo>
                <a:lnTo>
                  <a:pt x="71" y="17"/>
                </a:lnTo>
                <a:lnTo>
                  <a:pt x="66" y="11"/>
                </a:lnTo>
                <a:lnTo>
                  <a:pt x="60" y="11"/>
                </a:lnTo>
                <a:lnTo>
                  <a:pt x="55" y="11"/>
                </a:lnTo>
                <a:lnTo>
                  <a:pt x="55" y="17"/>
                </a:lnTo>
                <a:lnTo>
                  <a:pt x="50" y="22"/>
                </a:lnTo>
                <a:lnTo>
                  <a:pt x="44" y="22"/>
                </a:lnTo>
                <a:lnTo>
                  <a:pt x="44" y="28"/>
                </a:lnTo>
                <a:lnTo>
                  <a:pt x="50" y="33"/>
                </a:lnTo>
                <a:lnTo>
                  <a:pt x="44" y="38"/>
                </a:lnTo>
                <a:lnTo>
                  <a:pt x="39" y="38"/>
                </a:lnTo>
                <a:lnTo>
                  <a:pt x="33" y="38"/>
                </a:lnTo>
                <a:lnTo>
                  <a:pt x="33" y="33"/>
                </a:lnTo>
                <a:lnTo>
                  <a:pt x="33" y="28"/>
                </a:lnTo>
                <a:lnTo>
                  <a:pt x="28" y="33"/>
                </a:lnTo>
                <a:lnTo>
                  <a:pt x="22" y="33"/>
                </a:lnTo>
                <a:lnTo>
                  <a:pt x="28" y="28"/>
                </a:lnTo>
                <a:lnTo>
                  <a:pt x="22" y="28"/>
                </a:lnTo>
                <a:lnTo>
                  <a:pt x="22" y="22"/>
                </a:lnTo>
                <a:lnTo>
                  <a:pt x="22" y="28"/>
                </a:lnTo>
                <a:lnTo>
                  <a:pt x="17" y="22"/>
                </a:lnTo>
                <a:lnTo>
                  <a:pt x="17" y="28"/>
                </a:lnTo>
                <a:lnTo>
                  <a:pt x="17" y="22"/>
                </a:lnTo>
                <a:lnTo>
                  <a:pt x="11" y="22"/>
                </a:lnTo>
                <a:lnTo>
                  <a:pt x="6" y="22"/>
                </a:lnTo>
                <a:lnTo>
                  <a:pt x="6" y="28"/>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3" name="Freeform 33">
            <a:extLst>
              <a:ext uri="{FF2B5EF4-FFF2-40B4-BE49-F238E27FC236}">
                <a16:creationId xmlns:a16="http://schemas.microsoft.com/office/drawing/2014/main" id="{7D09290C-A22F-197D-F1E5-E96A4FB82445}"/>
              </a:ext>
            </a:extLst>
          </p:cNvPr>
          <p:cNvSpPr>
            <a:spLocks/>
          </p:cNvSpPr>
          <p:nvPr/>
        </p:nvSpPr>
        <p:spPr bwMode="auto">
          <a:xfrm>
            <a:off x="1558924" y="3449638"/>
            <a:ext cx="153988" cy="168275"/>
          </a:xfrm>
          <a:custGeom>
            <a:avLst/>
            <a:gdLst>
              <a:gd name="T0" fmla="*/ 136 w 136"/>
              <a:gd name="T1" fmla="*/ 110 h 137"/>
              <a:gd name="T2" fmla="*/ 136 w 136"/>
              <a:gd name="T3" fmla="*/ 120 h 137"/>
              <a:gd name="T4" fmla="*/ 131 w 136"/>
              <a:gd name="T5" fmla="*/ 126 h 137"/>
              <a:gd name="T6" fmla="*/ 125 w 136"/>
              <a:gd name="T7" fmla="*/ 131 h 137"/>
              <a:gd name="T8" fmla="*/ 114 w 136"/>
              <a:gd name="T9" fmla="*/ 131 h 137"/>
              <a:gd name="T10" fmla="*/ 109 w 136"/>
              <a:gd name="T11" fmla="*/ 131 h 137"/>
              <a:gd name="T12" fmla="*/ 98 w 136"/>
              <a:gd name="T13" fmla="*/ 131 h 137"/>
              <a:gd name="T14" fmla="*/ 87 w 136"/>
              <a:gd name="T15" fmla="*/ 131 h 137"/>
              <a:gd name="T16" fmla="*/ 82 w 136"/>
              <a:gd name="T17" fmla="*/ 126 h 137"/>
              <a:gd name="T18" fmla="*/ 82 w 136"/>
              <a:gd name="T19" fmla="*/ 115 h 137"/>
              <a:gd name="T20" fmla="*/ 87 w 136"/>
              <a:gd name="T21" fmla="*/ 104 h 137"/>
              <a:gd name="T22" fmla="*/ 82 w 136"/>
              <a:gd name="T23" fmla="*/ 93 h 137"/>
              <a:gd name="T24" fmla="*/ 71 w 136"/>
              <a:gd name="T25" fmla="*/ 93 h 137"/>
              <a:gd name="T26" fmla="*/ 65 w 136"/>
              <a:gd name="T27" fmla="*/ 88 h 137"/>
              <a:gd name="T28" fmla="*/ 54 w 136"/>
              <a:gd name="T29" fmla="*/ 82 h 137"/>
              <a:gd name="T30" fmla="*/ 44 w 136"/>
              <a:gd name="T31" fmla="*/ 77 h 137"/>
              <a:gd name="T32" fmla="*/ 33 w 136"/>
              <a:gd name="T33" fmla="*/ 77 h 137"/>
              <a:gd name="T34" fmla="*/ 22 w 136"/>
              <a:gd name="T35" fmla="*/ 66 h 137"/>
              <a:gd name="T36" fmla="*/ 16 w 136"/>
              <a:gd name="T37" fmla="*/ 60 h 137"/>
              <a:gd name="T38" fmla="*/ 11 w 136"/>
              <a:gd name="T39" fmla="*/ 55 h 137"/>
              <a:gd name="T40" fmla="*/ 0 w 136"/>
              <a:gd name="T41" fmla="*/ 50 h 137"/>
              <a:gd name="T42" fmla="*/ 5 w 136"/>
              <a:gd name="T43" fmla="*/ 33 h 137"/>
              <a:gd name="T44" fmla="*/ 5 w 136"/>
              <a:gd name="T45" fmla="*/ 17 h 137"/>
              <a:gd name="T46" fmla="*/ 5 w 136"/>
              <a:gd name="T47" fmla="*/ 6 h 137"/>
              <a:gd name="T48" fmla="*/ 33 w 136"/>
              <a:gd name="T49" fmla="*/ 0 h 137"/>
              <a:gd name="T50" fmla="*/ 60 w 136"/>
              <a:gd name="T51" fmla="*/ 11 h 137"/>
              <a:gd name="T52" fmla="*/ 65 w 136"/>
              <a:gd name="T53" fmla="*/ 22 h 137"/>
              <a:gd name="T54" fmla="*/ 71 w 136"/>
              <a:gd name="T55" fmla="*/ 28 h 137"/>
              <a:gd name="T56" fmla="*/ 71 w 136"/>
              <a:gd name="T57" fmla="*/ 39 h 137"/>
              <a:gd name="T58" fmla="*/ 71 w 136"/>
              <a:gd name="T59" fmla="*/ 50 h 137"/>
              <a:gd name="T60" fmla="*/ 82 w 136"/>
              <a:gd name="T61" fmla="*/ 50 h 137"/>
              <a:gd name="T62" fmla="*/ 93 w 136"/>
              <a:gd name="T63" fmla="*/ 50 h 137"/>
              <a:gd name="T64" fmla="*/ 103 w 136"/>
              <a:gd name="T65" fmla="*/ 50 h 137"/>
              <a:gd name="T66" fmla="*/ 109 w 136"/>
              <a:gd name="T67" fmla="*/ 55 h 137"/>
              <a:gd name="T68" fmla="*/ 114 w 136"/>
              <a:gd name="T69" fmla="*/ 66 h 137"/>
              <a:gd name="T70" fmla="*/ 120 w 136"/>
              <a:gd name="T71" fmla="*/ 77 h 137"/>
              <a:gd name="T72" fmla="*/ 131 w 136"/>
              <a:gd name="T73" fmla="*/ 77 h 137"/>
              <a:gd name="T74" fmla="*/ 136 w 136"/>
              <a:gd name="T75" fmla="*/ 82 h 137"/>
              <a:gd name="T76" fmla="*/ 136 w 136"/>
              <a:gd name="T77" fmla="*/ 93 h 137"/>
              <a:gd name="T78" fmla="*/ 136 w 136"/>
              <a:gd name="T79" fmla="*/ 10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6" h="137">
                <a:moveTo>
                  <a:pt x="136" y="104"/>
                </a:moveTo>
                <a:lnTo>
                  <a:pt x="136" y="110"/>
                </a:lnTo>
                <a:lnTo>
                  <a:pt x="136" y="115"/>
                </a:lnTo>
                <a:lnTo>
                  <a:pt x="136" y="120"/>
                </a:lnTo>
                <a:lnTo>
                  <a:pt x="131" y="120"/>
                </a:lnTo>
                <a:lnTo>
                  <a:pt x="131" y="126"/>
                </a:lnTo>
                <a:lnTo>
                  <a:pt x="125" y="126"/>
                </a:lnTo>
                <a:lnTo>
                  <a:pt x="125" y="131"/>
                </a:lnTo>
                <a:lnTo>
                  <a:pt x="120" y="131"/>
                </a:lnTo>
                <a:lnTo>
                  <a:pt x="114" y="131"/>
                </a:lnTo>
                <a:lnTo>
                  <a:pt x="114" y="137"/>
                </a:lnTo>
                <a:lnTo>
                  <a:pt x="109" y="131"/>
                </a:lnTo>
                <a:lnTo>
                  <a:pt x="103" y="131"/>
                </a:lnTo>
                <a:lnTo>
                  <a:pt x="98" y="131"/>
                </a:lnTo>
                <a:lnTo>
                  <a:pt x="93" y="131"/>
                </a:lnTo>
                <a:lnTo>
                  <a:pt x="87" y="131"/>
                </a:lnTo>
                <a:lnTo>
                  <a:pt x="82" y="131"/>
                </a:lnTo>
                <a:lnTo>
                  <a:pt x="82" y="126"/>
                </a:lnTo>
                <a:lnTo>
                  <a:pt x="82" y="120"/>
                </a:lnTo>
                <a:lnTo>
                  <a:pt x="82" y="115"/>
                </a:lnTo>
                <a:lnTo>
                  <a:pt x="87" y="110"/>
                </a:lnTo>
                <a:lnTo>
                  <a:pt x="87" y="104"/>
                </a:lnTo>
                <a:lnTo>
                  <a:pt x="87" y="99"/>
                </a:lnTo>
                <a:lnTo>
                  <a:pt x="82" y="93"/>
                </a:lnTo>
                <a:lnTo>
                  <a:pt x="76" y="93"/>
                </a:lnTo>
                <a:lnTo>
                  <a:pt x="71" y="93"/>
                </a:lnTo>
                <a:lnTo>
                  <a:pt x="71" y="88"/>
                </a:lnTo>
                <a:lnTo>
                  <a:pt x="65" y="88"/>
                </a:lnTo>
                <a:lnTo>
                  <a:pt x="60" y="88"/>
                </a:lnTo>
                <a:lnTo>
                  <a:pt x="54" y="82"/>
                </a:lnTo>
                <a:lnTo>
                  <a:pt x="49" y="77"/>
                </a:lnTo>
                <a:lnTo>
                  <a:pt x="44" y="77"/>
                </a:lnTo>
                <a:lnTo>
                  <a:pt x="38" y="77"/>
                </a:lnTo>
                <a:lnTo>
                  <a:pt x="33" y="77"/>
                </a:lnTo>
                <a:lnTo>
                  <a:pt x="27" y="71"/>
                </a:lnTo>
                <a:lnTo>
                  <a:pt x="22" y="66"/>
                </a:lnTo>
                <a:lnTo>
                  <a:pt x="16" y="66"/>
                </a:lnTo>
                <a:lnTo>
                  <a:pt x="16" y="60"/>
                </a:lnTo>
                <a:lnTo>
                  <a:pt x="11" y="60"/>
                </a:lnTo>
                <a:lnTo>
                  <a:pt x="11" y="55"/>
                </a:lnTo>
                <a:lnTo>
                  <a:pt x="5" y="50"/>
                </a:lnTo>
                <a:lnTo>
                  <a:pt x="0" y="50"/>
                </a:lnTo>
                <a:lnTo>
                  <a:pt x="0" y="39"/>
                </a:lnTo>
                <a:lnTo>
                  <a:pt x="5" y="33"/>
                </a:lnTo>
                <a:lnTo>
                  <a:pt x="0" y="22"/>
                </a:lnTo>
                <a:lnTo>
                  <a:pt x="5" y="17"/>
                </a:lnTo>
                <a:lnTo>
                  <a:pt x="5" y="11"/>
                </a:lnTo>
                <a:lnTo>
                  <a:pt x="5" y="6"/>
                </a:lnTo>
                <a:lnTo>
                  <a:pt x="22" y="6"/>
                </a:lnTo>
                <a:lnTo>
                  <a:pt x="33" y="0"/>
                </a:lnTo>
                <a:lnTo>
                  <a:pt x="49" y="6"/>
                </a:lnTo>
                <a:lnTo>
                  <a:pt x="60" y="11"/>
                </a:lnTo>
                <a:lnTo>
                  <a:pt x="65" y="17"/>
                </a:lnTo>
                <a:lnTo>
                  <a:pt x="65" y="22"/>
                </a:lnTo>
                <a:lnTo>
                  <a:pt x="65" y="28"/>
                </a:lnTo>
                <a:lnTo>
                  <a:pt x="71" y="28"/>
                </a:lnTo>
                <a:lnTo>
                  <a:pt x="71" y="33"/>
                </a:lnTo>
                <a:lnTo>
                  <a:pt x="71" y="39"/>
                </a:lnTo>
                <a:lnTo>
                  <a:pt x="71" y="44"/>
                </a:lnTo>
                <a:lnTo>
                  <a:pt x="71" y="50"/>
                </a:lnTo>
                <a:lnTo>
                  <a:pt x="76" y="50"/>
                </a:lnTo>
                <a:lnTo>
                  <a:pt x="82" y="50"/>
                </a:lnTo>
                <a:lnTo>
                  <a:pt x="87" y="50"/>
                </a:lnTo>
                <a:lnTo>
                  <a:pt x="93" y="50"/>
                </a:lnTo>
                <a:lnTo>
                  <a:pt x="98" y="50"/>
                </a:lnTo>
                <a:lnTo>
                  <a:pt x="103" y="50"/>
                </a:lnTo>
                <a:lnTo>
                  <a:pt x="109" y="50"/>
                </a:lnTo>
                <a:lnTo>
                  <a:pt x="109" y="55"/>
                </a:lnTo>
                <a:lnTo>
                  <a:pt x="109" y="60"/>
                </a:lnTo>
                <a:lnTo>
                  <a:pt x="114" y="66"/>
                </a:lnTo>
                <a:lnTo>
                  <a:pt x="114" y="71"/>
                </a:lnTo>
                <a:lnTo>
                  <a:pt x="120" y="77"/>
                </a:lnTo>
                <a:lnTo>
                  <a:pt x="125" y="77"/>
                </a:lnTo>
                <a:lnTo>
                  <a:pt x="131" y="77"/>
                </a:lnTo>
                <a:lnTo>
                  <a:pt x="136" y="77"/>
                </a:lnTo>
                <a:lnTo>
                  <a:pt x="136" y="82"/>
                </a:lnTo>
                <a:lnTo>
                  <a:pt x="136" y="88"/>
                </a:lnTo>
                <a:lnTo>
                  <a:pt x="136" y="93"/>
                </a:lnTo>
                <a:lnTo>
                  <a:pt x="136" y="99"/>
                </a:lnTo>
                <a:lnTo>
                  <a:pt x="136" y="104"/>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4" name="Freeform 34">
            <a:extLst>
              <a:ext uri="{FF2B5EF4-FFF2-40B4-BE49-F238E27FC236}">
                <a16:creationId xmlns:a16="http://schemas.microsoft.com/office/drawing/2014/main" id="{FCC40E4F-A3B7-B251-6857-EF74DD4334BA}"/>
              </a:ext>
            </a:extLst>
          </p:cNvPr>
          <p:cNvSpPr>
            <a:spLocks/>
          </p:cNvSpPr>
          <p:nvPr/>
        </p:nvSpPr>
        <p:spPr bwMode="auto">
          <a:xfrm>
            <a:off x="1674813" y="3663951"/>
            <a:ext cx="92075" cy="92075"/>
          </a:xfrm>
          <a:custGeom>
            <a:avLst/>
            <a:gdLst>
              <a:gd name="T0" fmla="*/ 82 w 82"/>
              <a:gd name="T1" fmla="*/ 60 h 76"/>
              <a:gd name="T2" fmla="*/ 77 w 82"/>
              <a:gd name="T3" fmla="*/ 60 h 76"/>
              <a:gd name="T4" fmla="*/ 77 w 82"/>
              <a:gd name="T5" fmla="*/ 65 h 76"/>
              <a:gd name="T6" fmla="*/ 71 w 82"/>
              <a:gd name="T7" fmla="*/ 71 h 76"/>
              <a:gd name="T8" fmla="*/ 66 w 82"/>
              <a:gd name="T9" fmla="*/ 76 h 76"/>
              <a:gd name="T10" fmla="*/ 60 w 82"/>
              <a:gd name="T11" fmla="*/ 76 h 76"/>
              <a:gd name="T12" fmla="*/ 55 w 82"/>
              <a:gd name="T13" fmla="*/ 76 h 76"/>
              <a:gd name="T14" fmla="*/ 50 w 82"/>
              <a:gd name="T15" fmla="*/ 71 h 76"/>
              <a:gd name="T16" fmla="*/ 50 w 82"/>
              <a:gd name="T17" fmla="*/ 76 h 76"/>
              <a:gd name="T18" fmla="*/ 44 w 82"/>
              <a:gd name="T19" fmla="*/ 76 h 76"/>
              <a:gd name="T20" fmla="*/ 39 w 82"/>
              <a:gd name="T21" fmla="*/ 76 h 76"/>
              <a:gd name="T22" fmla="*/ 33 w 82"/>
              <a:gd name="T23" fmla="*/ 71 h 76"/>
              <a:gd name="T24" fmla="*/ 28 w 82"/>
              <a:gd name="T25" fmla="*/ 71 h 76"/>
              <a:gd name="T26" fmla="*/ 22 w 82"/>
              <a:gd name="T27" fmla="*/ 71 h 76"/>
              <a:gd name="T28" fmla="*/ 17 w 82"/>
              <a:gd name="T29" fmla="*/ 71 h 76"/>
              <a:gd name="T30" fmla="*/ 11 w 82"/>
              <a:gd name="T31" fmla="*/ 65 h 76"/>
              <a:gd name="T32" fmla="*/ 6 w 82"/>
              <a:gd name="T33" fmla="*/ 60 h 76"/>
              <a:gd name="T34" fmla="*/ 6 w 82"/>
              <a:gd name="T35" fmla="*/ 55 h 76"/>
              <a:gd name="T36" fmla="*/ 6 w 82"/>
              <a:gd name="T37" fmla="*/ 49 h 76"/>
              <a:gd name="T38" fmla="*/ 6 w 82"/>
              <a:gd name="T39" fmla="*/ 44 h 76"/>
              <a:gd name="T40" fmla="*/ 6 w 82"/>
              <a:gd name="T41" fmla="*/ 38 h 76"/>
              <a:gd name="T42" fmla="*/ 6 w 82"/>
              <a:gd name="T43" fmla="*/ 33 h 76"/>
              <a:gd name="T44" fmla="*/ 0 w 82"/>
              <a:gd name="T45" fmla="*/ 33 h 76"/>
              <a:gd name="T46" fmla="*/ 0 w 82"/>
              <a:gd name="T47" fmla="*/ 27 h 76"/>
              <a:gd name="T48" fmla="*/ 6 w 82"/>
              <a:gd name="T49" fmla="*/ 22 h 76"/>
              <a:gd name="T50" fmla="*/ 0 w 82"/>
              <a:gd name="T51" fmla="*/ 22 h 76"/>
              <a:gd name="T52" fmla="*/ 0 w 82"/>
              <a:gd name="T53" fmla="*/ 16 h 76"/>
              <a:gd name="T54" fmla="*/ 0 w 82"/>
              <a:gd name="T55" fmla="*/ 11 h 76"/>
              <a:gd name="T56" fmla="*/ 0 w 82"/>
              <a:gd name="T57" fmla="*/ 5 h 76"/>
              <a:gd name="T58" fmla="*/ 6 w 82"/>
              <a:gd name="T59" fmla="*/ 5 h 76"/>
              <a:gd name="T60" fmla="*/ 0 w 82"/>
              <a:gd name="T61" fmla="*/ 0 h 76"/>
              <a:gd name="T62" fmla="*/ 6 w 82"/>
              <a:gd name="T63" fmla="*/ 5 h 76"/>
              <a:gd name="T64" fmla="*/ 11 w 82"/>
              <a:gd name="T65" fmla="*/ 0 h 76"/>
              <a:gd name="T66" fmla="*/ 17 w 82"/>
              <a:gd name="T67" fmla="*/ 0 h 76"/>
              <a:gd name="T68" fmla="*/ 22 w 82"/>
              <a:gd name="T69" fmla="*/ 5 h 76"/>
              <a:gd name="T70" fmla="*/ 28 w 82"/>
              <a:gd name="T71" fmla="*/ 5 h 76"/>
              <a:gd name="T72" fmla="*/ 28 w 82"/>
              <a:gd name="T73" fmla="*/ 11 h 76"/>
              <a:gd name="T74" fmla="*/ 28 w 82"/>
              <a:gd name="T75" fmla="*/ 16 h 76"/>
              <a:gd name="T76" fmla="*/ 33 w 82"/>
              <a:gd name="T77" fmla="*/ 16 h 76"/>
              <a:gd name="T78" fmla="*/ 33 w 82"/>
              <a:gd name="T79" fmla="*/ 11 h 76"/>
              <a:gd name="T80" fmla="*/ 39 w 82"/>
              <a:gd name="T81" fmla="*/ 16 h 76"/>
              <a:gd name="T82" fmla="*/ 44 w 82"/>
              <a:gd name="T83" fmla="*/ 16 h 76"/>
              <a:gd name="T84" fmla="*/ 50 w 82"/>
              <a:gd name="T85" fmla="*/ 22 h 76"/>
              <a:gd name="T86" fmla="*/ 55 w 82"/>
              <a:gd name="T87" fmla="*/ 22 h 76"/>
              <a:gd name="T88" fmla="*/ 60 w 82"/>
              <a:gd name="T89" fmla="*/ 27 h 76"/>
              <a:gd name="T90" fmla="*/ 66 w 82"/>
              <a:gd name="T91" fmla="*/ 27 h 76"/>
              <a:gd name="T92" fmla="*/ 66 w 82"/>
              <a:gd name="T93" fmla="*/ 33 h 76"/>
              <a:gd name="T94" fmla="*/ 71 w 82"/>
              <a:gd name="T95" fmla="*/ 38 h 76"/>
              <a:gd name="T96" fmla="*/ 77 w 82"/>
              <a:gd name="T97" fmla="*/ 38 h 76"/>
              <a:gd name="T98" fmla="*/ 77 w 82"/>
              <a:gd name="T99" fmla="*/ 44 h 76"/>
              <a:gd name="T100" fmla="*/ 71 w 82"/>
              <a:gd name="T101" fmla="*/ 49 h 76"/>
              <a:gd name="T102" fmla="*/ 77 w 82"/>
              <a:gd name="T103" fmla="*/ 55 h 76"/>
              <a:gd name="T104" fmla="*/ 82 w 82"/>
              <a:gd name="T105" fmla="*/ 6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 h="76">
                <a:moveTo>
                  <a:pt x="82" y="60"/>
                </a:moveTo>
                <a:lnTo>
                  <a:pt x="77" y="60"/>
                </a:lnTo>
                <a:lnTo>
                  <a:pt x="77" y="65"/>
                </a:lnTo>
                <a:lnTo>
                  <a:pt x="71" y="71"/>
                </a:lnTo>
                <a:lnTo>
                  <a:pt x="66" y="76"/>
                </a:lnTo>
                <a:lnTo>
                  <a:pt x="60" y="76"/>
                </a:lnTo>
                <a:lnTo>
                  <a:pt x="55" y="76"/>
                </a:lnTo>
                <a:lnTo>
                  <a:pt x="50" y="71"/>
                </a:lnTo>
                <a:lnTo>
                  <a:pt x="50" y="76"/>
                </a:lnTo>
                <a:lnTo>
                  <a:pt x="44" y="76"/>
                </a:lnTo>
                <a:lnTo>
                  <a:pt x="39" y="76"/>
                </a:lnTo>
                <a:lnTo>
                  <a:pt x="33" y="71"/>
                </a:lnTo>
                <a:lnTo>
                  <a:pt x="28" y="71"/>
                </a:lnTo>
                <a:lnTo>
                  <a:pt x="22" y="71"/>
                </a:lnTo>
                <a:lnTo>
                  <a:pt x="17" y="71"/>
                </a:lnTo>
                <a:lnTo>
                  <a:pt x="11" y="65"/>
                </a:lnTo>
                <a:lnTo>
                  <a:pt x="6" y="60"/>
                </a:lnTo>
                <a:lnTo>
                  <a:pt x="6" y="55"/>
                </a:lnTo>
                <a:lnTo>
                  <a:pt x="6" y="49"/>
                </a:lnTo>
                <a:lnTo>
                  <a:pt x="6" y="44"/>
                </a:lnTo>
                <a:lnTo>
                  <a:pt x="6" y="38"/>
                </a:lnTo>
                <a:lnTo>
                  <a:pt x="6" y="33"/>
                </a:lnTo>
                <a:lnTo>
                  <a:pt x="0" y="33"/>
                </a:lnTo>
                <a:lnTo>
                  <a:pt x="0" y="27"/>
                </a:lnTo>
                <a:lnTo>
                  <a:pt x="6" y="22"/>
                </a:lnTo>
                <a:lnTo>
                  <a:pt x="0" y="22"/>
                </a:lnTo>
                <a:lnTo>
                  <a:pt x="0" y="16"/>
                </a:lnTo>
                <a:lnTo>
                  <a:pt x="0" y="11"/>
                </a:lnTo>
                <a:lnTo>
                  <a:pt x="0" y="5"/>
                </a:lnTo>
                <a:lnTo>
                  <a:pt x="6" y="5"/>
                </a:lnTo>
                <a:lnTo>
                  <a:pt x="0" y="0"/>
                </a:lnTo>
                <a:lnTo>
                  <a:pt x="6" y="5"/>
                </a:lnTo>
                <a:lnTo>
                  <a:pt x="11" y="0"/>
                </a:lnTo>
                <a:lnTo>
                  <a:pt x="17" y="0"/>
                </a:lnTo>
                <a:lnTo>
                  <a:pt x="22" y="5"/>
                </a:lnTo>
                <a:lnTo>
                  <a:pt x="28" y="5"/>
                </a:lnTo>
                <a:lnTo>
                  <a:pt x="28" y="11"/>
                </a:lnTo>
                <a:lnTo>
                  <a:pt x="28" y="16"/>
                </a:lnTo>
                <a:lnTo>
                  <a:pt x="33" y="16"/>
                </a:lnTo>
                <a:lnTo>
                  <a:pt x="33" y="11"/>
                </a:lnTo>
                <a:lnTo>
                  <a:pt x="39" y="16"/>
                </a:lnTo>
                <a:lnTo>
                  <a:pt x="44" y="16"/>
                </a:lnTo>
                <a:lnTo>
                  <a:pt x="50" y="22"/>
                </a:lnTo>
                <a:lnTo>
                  <a:pt x="55" y="22"/>
                </a:lnTo>
                <a:lnTo>
                  <a:pt x="60" y="27"/>
                </a:lnTo>
                <a:lnTo>
                  <a:pt x="66" y="27"/>
                </a:lnTo>
                <a:lnTo>
                  <a:pt x="66" y="33"/>
                </a:lnTo>
                <a:lnTo>
                  <a:pt x="71" y="38"/>
                </a:lnTo>
                <a:lnTo>
                  <a:pt x="77" y="38"/>
                </a:lnTo>
                <a:lnTo>
                  <a:pt x="77" y="44"/>
                </a:lnTo>
                <a:lnTo>
                  <a:pt x="71" y="49"/>
                </a:lnTo>
                <a:lnTo>
                  <a:pt x="77" y="55"/>
                </a:lnTo>
                <a:lnTo>
                  <a:pt x="82" y="60"/>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5" name="Freeform 35">
            <a:extLst>
              <a:ext uri="{FF2B5EF4-FFF2-40B4-BE49-F238E27FC236}">
                <a16:creationId xmlns:a16="http://schemas.microsoft.com/office/drawing/2014/main" id="{3B3B8EAF-DBAF-97E6-E26D-CD7B5FD403CB}"/>
              </a:ext>
            </a:extLst>
          </p:cNvPr>
          <p:cNvSpPr>
            <a:spLocks/>
          </p:cNvSpPr>
          <p:nvPr/>
        </p:nvSpPr>
        <p:spPr bwMode="auto">
          <a:xfrm>
            <a:off x="1466850" y="3503613"/>
            <a:ext cx="265113" cy="593725"/>
          </a:xfrm>
          <a:custGeom>
            <a:avLst/>
            <a:gdLst>
              <a:gd name="T0" fmla="*/ 115 w 235"/>
              <a:gd name="T1" fmla="*/ 475 h 486"/>
              <a:gd name="T2" fmla="*/ 98 w 235"/>
              <a:gd name="T3" fmla="*/ 458 h 486"/>
              <a:gd name="T4" fmla="*/ 76 w 235"/>
              <a:gd name="T5" fmla="*/ 436 h 486"/>
              <a:gd name="T6" fmla="*/ 82 w 235"/>
              <a:gd name="T7" fmla="*/ 415 h 486"/>
              <a:gd name="T8" fmla="*/ 82 w 235"/>
              <a:gd name="T9" fmla="*/ 398 h 486"/>
              <a:gd name="T10" fmla="*/ 76 w 235"/>
              <a:gd name="T11" fmla="*/ 376 h 486"/>
              <a:gd name="T12" fmla="*/ 71 w 235"/>
              <a:gd name="T13" fmla="*/ 366 h 486"/>
              <a:gd name="T14" fmla="*/ 60 w 235"/>
              <a:gd name="T15" fmla="*/ 344 h 486"/>
              <a:gd name="T16" fmla="*/ 44 w 235"/>
              <a:gd name="T17" fmla="*/ 322 h 486"/>
              <a:gd name="T18" fmla="*/ 38 w 235"/>
              <a:gd name="T19" fmla="*/ 295 h 486"/>
              <a:gd name="T20" fmla="*/ 38 w 235"/>
              <a:gd name="T21" fmla="*/ 278 h 486"/>
              <a:gd name="T22" fmla="*/ 27 w 235"/>
              <a:gd name="T23" fmla="*/ 251 h 486"/>
              <a:gd name="T24" fmla="*/ 27 w 235"/>
              <a:gd name="T25" fmla="*/ 235 h 486"/>
              <a:gd name="T26" fmla="*/ 27 w 235"/>
              <a:gd name="T27" fmla="*/ 213 h 486"/>
              <a:gd name="T28" fmla="*/ 27 w 235"/>
              <a:gd name="T29" fmla="*/ 196 h 486"/>
              <a:gd name="T30" fmla="*/ 11 w 235"/>
              <a:gd name="T31" fmla="*/ 164 h 486"/>
              <a:gd name="T32" fmla="*/ 6 w 235"/>
              <a:gd name="T33" fmla="*/ 142 h 486"/>
              <a:gd name="T34" fmla="*/ 0 w 235"/>
              <a:gd name="T35" fmla="*/ 115 h 486"/>
              <a:gd name="T36" fmla="*/ 6 w 235"/>
              <a:gd name="T37" fmla="*/ 87 h 486"/>
              <a:gd name="T38" fmla="*/ 6 w 235"/>
              <a:gd name="T39" fmla="*/ 60 h 486"/>
              <a:gd name="T40" fmla="*/ 6 w 235"/>
              <a:gd name="T41" fmla="*/ 38 h 486"/>
              <a:gd name="T42" fmla="*/ 22 w 235"/>
              <a:gd name="T43" fmla="*/ 6 h 486"/>
              <a:gd name="T44" fmla="*/ 49 w 235"/>
              <a:gd name="T45" fmla="*/ 6 h 486"/>
              <a:gd name="T46" fmla="*/ 60 w 235"/>
              <a:gd name="T47" fmla="*/ 6 h 486"/>
              <a:gd name="T48" fmla="*/ 93 w 235"/>
              <a:gd name="T49" fmla="*/ 16 h 486"/>
              <a:gd name="T50" fmla="*/ 120 w 235"/>
              <a:gd name="T51" fmla="*/ 33 h 486"/>
              <a:gd name="T52" fmla="*/ 153 w 235"/>
              <a:gd name="T53" fmla="*/ 44 h 486"/>
              <a:gd name="T54" fmla="*/ 169 w 235"/>
              <a:gd name="T55" fmla="*/ 66 h 486"/>
              <a:gd name="T56" fmla="*/ 175 w 235"/>
              <a:gd name="T57" fmla="*/ 87 h 486"/>
              <a:gd name="T58" fmla="*/ 202 w 235"/>
              <a:gd name="T59" fmla="*/ 87 h 486"/>
              <a:gd name="T60" fmla="*/ 218 w 235"/>
              <a:gd name="T61" fmla="*/ 71 h 486"/>
              <a:gd name="T62" fmla="*/ 235 w 235"/>
              <a:gd name="T63" fmla="*/ 71 h 486"/>
              <a:gd name="T64" fmla="*/ 218 w 235"/>
              <a:gd name="T65" fmla="*/ 87 h 486"/>
              <a:gd name="T66" fmla="*/ 202 w 235"/>
              <a:gd name="T67" fmla="*/ 115 h 486"/>
              <a:gd name="T68" fmla="*/ 191 w 235"/>
              <a:gd name="T69" fmla="*/ 136 h 486"/>
              <a:gd name="T70" fmla="*/ 185 w 235"/>
              <a:gd name="T71" fmla="*/ 158 h 486"/>
              <a:gd name="T72" fmla="*/ 191 w 235"/>
              <a:gd name="T73" fmla="*/ 186 h 486"/>
              <a:gd name="T74" fmla="*/ 202 w 235"/>
              <a:gd name="T75" fmla="*/ 207 h 486"/>
              <a:gd name="T76" fmla="*/ 224 w 235"/>
              <a:gd name="T77" fmla="*/ 229 h 486"/>
              <a:gd name="T78" fmla="*/ 224 w 235"/>
              <a:gd name="T79" fmla="*/ 256 h 486"/>
              <a:gd name="T80" fmla="*/ 202 w 235"/>
              <a:gd name="T81" fmla="*/ 267 h 486"/>
              <a:gd name="T82" fmla="*/ 169 w 235"/>
              <a:gd name="T83" fmla="*/ 273 h 486"/>
              <a:gd name="T84" fmla="*/ 164 w 235"/>
              <a:gd name="T85" fmla="*/ 278 h 486"/>
              <a:gd name="T86" fmla="*/ 169 w 235"/>
              <a:gd name="T87" fmla="*/ 306 h 486"/>
              <a:gd name="T88" fmla="*/ 136 w 235"/>
              <a:gd name="T89" fmla="*/ 300 h 486"/>
              <a:gd name="T90" fmla="*/ 153 w 235"/>
              <a:gd name="T91" fmla="*/ 322 h 486"/>
              <a:gd name="T92" fmla="*/ 164 w 235"/>
              <a:gd name="T93" fmla="*/ 333 h 486"/>
              <a:gd name="T94" fmla="*/ 158 w 235"/>
              <a:gd name="T95" fmla="*/ 333 h 486"/>
              <a:gd name="T96" fmla="*/ 153 w 235"/>
              <a:gd name="T97" fmla="*/ 360 h 486"/>
              <a:gd name="T98" fmla="*/ 136 w 235"/>
              <a:gd name="T99" fmla="*/ 371 h 486"/>
              <a:gd name="T100" fmla="*/ 142 w 235"/>
              <a:gd name="T101" fmla="*/ 393 h 486"/>
              <a:gd name="T102" fmla="*/ 169 w 235"/>
              <a:gd name="T103" fmla="*/ 409 h 486"/>
              <a:gd name="T104" fmla="*/ 158 w 235"/>
              <a:gd name="T105" fmla="*/ 426 h 486"/>
              <a:gd name="T106" fmla="*/ 147 w 235"/>
              <a:gd name="T107" fmla="*/ 453 h 486"/>
              <a:gd name="T108" fmla="*/ 164 w 235"/>
              <a:gd name="T109" fmla="*/ 480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486">
                <a:moveTo>
                  <a:pt x="164" y="486"/>
                </a:moveTo>
                <a:lnTo>
                  <a:pt x="158" y="480"/>
                </a:lnTo>
                <a:lnTo>
                  <a:pt x="153" y="480"/>
                </a:lnTo>
                <a:lnTo>
                  <a:pt x="142" y="480"/>
                </a:lnTo>
                <a:lnTo>
                  <a:pt x="120" y="480"/>
                </a:lnTo>
                <a:lnTo>
                  <a:pt x="115" y="475"/>
                </a:lnTo>
                <a:lnTo>
                  <a:pt x="109" y="475"/>
                </a:lnTo>
                <a:lnTo>
                  <a:pt x="109" y="469"/>
                </a:lnTo>
                <a:lnTo>
                  <a:pt x="104" y="464"/>
                </a:lnTo>
                <a:lnTo>
                  <a:pt x="109" y="464"/>
                </a:lnTo>
                <a:lnTo>
                  <a:pt x="104" y="458"/>
                </a:lnTo>
                <a:lnTo>
                  <a:pt x="98" y="458"/>
                </a:lnTo>
                <a:lnTo>
                  <a:pt x="93" y="458"/>
                </a:lnTo>
                <a:lnTo>
                  <a:pt x="87" y="453"/>
                </a:lnTo>
                <a:lnTo>
                  <a:pt x="82" y="447"/>
                </a:lnTo>
                <a:lnTo>
                  <a:pt x="82" y="442"/>
                </a:lnTo>
                <a:lnTo>
                  <a:pt x="76" y="442"/>
                </a:lnTo>
                <a:lnTo>
                  <a:pt x="76" y="436"/>
                </a:lnTo>
                <a:lnTo>
                  <a:pt x="82" y="436"/>
                </a:lnTo>
                <a:lnTo>
                  <a:pt x="82" y="431"/>
                </a:lnTo>
                <a:lnTo>
                  <a:pt x="87" y="426"/>
                </a:lnTo>
                <a:lnTo>
                  <a:pt x="82" y="420"/>
                </a:lnTo>
                <a:lnTo>
                  <a:pt x="87" y="420"/>
                </a:lnTo>
                <a:lnTo>
                  <a:pt x="82" y="415"/>
                </a:lnTo>
                <a:lnTo>
                  <a:pt x="76" y="415"/>
                </a:lnTo>
                <a:lnTo>
                  <a:pt x="76" y="409"/>
                </a:lnTo>
                <a:lnTo>
                  <a:pt x="82" y="409"/>
                </a:lnTo>
                <a:lnTo>
                  <a:pt x="76" y="404"/>
                </a:lnTo>
                <a:lnTo>
                  <a:pt x="82" y="404"/>
                </a:lnTo>
                <a:lnTo>
                  <a:pt x="82" y="398"/>
                </a:lnTo>
                <a:lnTo>
                  <a:pt x="76" y="398"/>
                </a:lnTo>
                <a:lnTo>
                  <a:pt x="82" y="393"/>
                </a:lnTo>
                <a:lnTo>
                  <a:pt x="76" y="387"/>
                </a:lnTo>
                <a:lnTo>
                  <a:pt x="76" y="382"/>
                </a:lnTo>
                <a:lnTo>
                  <a:pt x="71" y="376"/>
                </a:lnTo>
                <a:lnTo>
                  <a:pt x="76" y="376"/>
                </a:lnTo>
                <a:lnTo>
                  <a:pt x="76" y="371"/>
                </a:lnTo>
                <a:lnTo>
                  <a:pt x="71" y="366"/>
                </a:lnTo>
                <a:lnTo>
                  <a:pt x="66" y="366"/>
                </a:lnTo>
                <a:lnTo>
                  <a:pt x="60" y="366"/>
                </a:lnTo>
                <a:lnTo>
                  <a:pt x="66" y="366"/>
                </a:lnTo>
                <a:lnTo>
                  <a:pt x="71" y="366"/>
                </a:lnTo>
                <a:lnTo>
                  <a:pt x="76" y="360"/>
                </a:lnTo>
                <a:lnTo>
                  <a:pt x="71" y="360"/>
                </a:lnTo>
                <a:lnTo>
                  <a:pt x="66" y="360"/>
                </a:lnTo>
                <a:lnTo>
                  <a:pt x="60" y="355"/>
                </a:lnTo>
                <a:lnTo>
                  <a:pt x="60" y="349"/>
                </a:lnTo>
                <a:lnTo>
                  <a:pt x="60" y="344"/>
                </a:lnTo>
                <a:lnTo>
                  <a:pt x="55" y="344"/>
                </a:lnTo>
                <a:lnTo>
                  <a:pt x="55" y="338"/>
                </a:lnTo>
                <a:lnTo>
                  <a:pt x="49" y="333"/>
                </a:lnTo>
                <a:lnTo>
                  <a:pt x="49" y="327"/>
                </a:lnTo>
                <a:lnTo>
                  <a:pt x="44" y="327"/>
                </a:lnTo>
                <a:lnTo>
                  <a:pt x="44" y="322"/>
                </a:lnTo>
                <a:lnTo>
                  <a:pt x="49" y="322"/>
                </a:lnTo>
                <a:lnTo>
                  <a:pt x="44" y="316"/>
                </a:lnTo>
                <a:lnTo>
                  <a:pt x="44" y="311"/>
                </a:lnTo>
                <a:lnTo>
                  <a:pt x="38" y="306"/>
                </a:lnTo>
                <a:lnTo>
                  <a:pt x="38" y="300"/>
                </a:lnTo>
                <a:lnTo>
                  <a:pt x="38" y="295"/>
                </a:lnTo>
                <a:lnTo>
                  <a:pt x="33" y="289"/>
                </a:lnTo>
                <a:lnTo>
                  <a:pt x="38" y="284"/>
                </a:lnTo>
                <a:lnTo>
                  <a:pt x="33" y="284"/>
                </a:lnTo>
                <a:lnTo>
                  <a:pt x="38" y="284"/>
                </a:lnTo>
                <a:lnTo>
                  <a:pt x="33" y="278"/>
                </a:lnTo>
                <a:lnTo>
                  <a:pt x="38" y="278"/>
                </a:lnTo>
                <a:lnTo>
                  <a:pt x="33" y="273"/>
                </a:lnTo>
                <a:lnTo>
                  <a:pt x="33" y="267"/>
                </a:lnTo>
                <a:lnTo>
                  <a:pt x="38" y="267"/>
                </a:lnTo>
                <a:lnTo>
                  <a:pt x="38" y="262"/>
                </a:lnTo>
                <a:lnTo>
                  <a:pt x="33" y="256"/>
                </a:lnTo>
                <a:lnTo>
                  <a:pt x="27" y="251"/>
                </a:lnTo>
                <a:lnTo>
                  <a:pt x="27" y="246"/>
                </a:lnTo>
                <a:lnTo>
                  <a:pt x="27" y="240"/>
                </a:lnTo>
                <a:lnTo>
                  <a:pt x="22" y="240"/>
                </a:lnTo>
                <a:lnTo>
                  <a:pt x="27" y="240"/>
                </a:lnTo>
                <a:lnTo>
                  <a:pt x="22" y="240"/>
                </a:lnTo>
                <a:lnTo>
                  <a:pt x="27" y="235"/>
                </a:lnTo>
                <a:lnTo>
                  <a:pt x="22" y="229"/>
                </a:lnTo>
                <a:lnTo>
                  <a:pt x="27" y="229"/>
                </a:lnTo>
                <a:lnTo>
                  <a:pt x="33" y="229"/>
                </a:lnTo>
                <a:lnTo>
                  <a:pt x="33" y="224"/>
                </a:lnTo>
                <a:lnTo>
                  <a:pt x="27" y="218"/>
                </a:lnTo>
                <a:lnTo>
                  <a:pt x="27" y="213"/>
                </a:lnTo>
                <a:lnTo>
                  <a:pt x="22" y="213"/>
                </a:lnTo>
                <a:lnTo>
                  <a:pt x="27" y="213"/>
                </a:lnTo>
                <a:lnTo>
                  <a:pt x="27" y="207"/>
                </a:lnTo>
                <a:lnTo>
                  <a:pt x="22" y="202"/>
                </a:lnTo>
                <a:lnTo>
                  <a:pt x="27" y="202"/>
                </a:lnTo>
                <a:lnTo>
                  <a:pt x="27" y="196"/>
                </a:lnTo>
                <a:lnTo>
                  <a:pt x="27" y="191"/>
                </a:lnTo>
                <a:lnTo>
                  <a:pt x="22" y="186"/>
                </a:lnTo>
                <a:lnTo>
                  <a:pt x="22" y="180"/>
                </a:lnTo>
                <a:lnTo>
                  <a:pt x="16" y="175"/>
                </a:lnTo>
                <a:lnTo>
                  <a:pt x="16" y="169"/>
                </a:lnTo>
                <a:lnTo>
                  <a:pt x="11" y="164"/>
                </a:lnTo>
                <a:lnTo>
                  <a:pt x="11" y="158"/>
                </a:lnTo>
                <a:lnTo>
                  <a:pt x="6" y="158"/>
                </a:lnTo>
                <a:lnTo>
                  <a:pt x="6" y="153"/>
                </a:lnTo>
                <a:lnTo>
                  <a:pt x="0" y="147"/>
                </a:lnTo>
                <a:lnTo>
                  <a:pt x="6" y="147"/>
                </a:lnTo>
                <a:lnTo>
                  <a:pt x="6" y="142"/>
                </a:lnTo>
                <a:lnTo>
                  <a:pt x="6" y="136"/>
                </a:lnTo>
                <a:lnTo>
                  <a:pt x="6" y="131"/>
                </a:lnTo>
                <a:lnTo>
                  <a:pt x="6" y="126"/>
                </a:lnTo>
                <a:lnTo>
                  <a:pt x="0" y="120"/>
                </a:lnTo>
                <a:lnTo>
                  <a:pt x="6" y="115"/>
                </a:lnTo>
                <a:lnTo>
                  <a:pt x="0" y="115"/>
                </a:lnTo>
                <a:lnTo>
                  <a:pt x="6" y="109"/>
                </a:lnTo>
                <a:lnTo>
                  <a:pt x="0" y="109"/>
                </a:lnTo>
                <a:lnTo>
                  <a:pt x="0" y="104"/>
                </a:lnTo>
                <a:lnTo>
                  <a:pt x="6" y="98"/>
                </a:lnTo>
                <a:lnTo>
                  <a:pt x="6" y="93"/>
                </a:lnTo>
                <a:lnTo>
                  <a:pt x="6" y="87"/>
                </a:lnTo>
                <a:lnTo>
                  <a:pt x="11" y="87"/>
                </a:lnTo>
                <a:lnTo>
                  <a:pt x="6" y="82"/>
                </a:lnTo>
                <a:lnTo>
                  <a:pt x="11" y="82"/>
                </a:lnTo>
                <a:lnTo>
                  <a:pt x="16" y="82"/>
                </a:lnTo>
                <a:lnTo>
                  <a:pt x="11" y="71"/>
                </a:lnTo>
                <a:lnTo>
                  <a:pt x="6" y="60"/>
                </a:lnTo>
                <a:lnTo>
                  <a:pt x="6" y="55"/>
                </a:lnTo>
                <a:lnTo>
                  <a:pt x="6" y="49"/>
                </a:lnTo>
                <a:lnTo>
                  <a:pt x="0" y="49"/>
                </a:lnTo>
                <a:lnTo>
                  <a:pt x="0" y="44"/>
                </a:lnTo>
                <a:lnTo>
                  <a:pt x="6" y="44"/>
                </a:lnTo>
                <a:lnTo>
                  <a:pt x="6" y="38"/>
                </a:lnTo>
                <a:lnTo>
                  <a:pt x="16" y="33"/>
                </a:lnTo>
                <a:lnTo>
                  <a:pt x="22" y="16"/>
                </a:lnTo>
                <a:lnTo>
                  <a:pt x="16" y="16"/>
                </a:lnTo>
                <a:lnTo>
                  <a:pt x="16" y="11"/>
                </a:lnTo>
                <a:lnTo>
                  <a:pt x="22" y="11"/>
                </a:lnTo>
                <a:lnTo>
                  <a:pt x="22" y="6"/>
                </a:lnTo>
                <a:lnTo>
                  <a:pt x="27" y="6"/>
                </a:lnTo>
                <a:lnTo>
                  <a:pt x="27" y="0"/>
                </a:lnTo>
                <a:lnTo>
                  <a:pt x="33" y="0"/>
                </a:lnTo>
                <a:lnTo>
                  <a:pt x="33" y="6"/>
                </a:lnTo>
                <a:lnTo>
                  <a:pt x="38" y="6"/>
                </a:lnTo>
                <a:lnTo>
                  <a:pt x="49" y="6"/>
                </a:lnTo>
                <a:lnTo>
                  <a:pt x="55" y="6"/>
                </a:lnTo>
                <a:lnTo>
                  <a:pt x="55" y="11"/>
                </a:lnTo>
                <a:lnTo>
                  <a:pt x="60" y="11"/>
                </a:lnTo>
                <a:lnTo>
                  <a:pt x="60" y="16"/>
                </a:lnTo>
                <a:lnTo>
                  <a:pt x="60" y="11"/>
                </a:lnTo>
                <a:lnTo>
                  <a:pt x="60" y="6"/>
                </a:lnTo>
                <a:lnTo>
                  <a:pt x="66" y="0"/>
                </a:lnTo>
                <a:lnTo>
                  <a:pt x="82" y="0"/>
                </a:lnTo>
                <a:lnTo>
                  <a:pt x="82" y="6"/>
                </a:lnTo>
                <a:lnTo>
                  <a:pt x="87" y="6"/>
                </a:lnTo>
                <a:lnTo>
                  <a:pt x="93" y="11"/>
                </a:lnTo>
                <a:lnTo>
                  <a:pt x="93" y="16"/>
                </a:lnTo>
                <a:lnTo>
                  <a:pt x="98" y="16"/>
                </a:lnTo>
                <a:lnTo>
                  <a:pt x="98" y="22"/>
                </a:lnTo>
                <a:lnTo>
                  <a:pt x="104" y="22"/>
                </a:lnTo>
                <a:lnTo>
                  <a:pt x="109" y="27"/>
                </a:lnTo>
                <a:lnTo>
                  <a:pt x="115" y="33"/>
                </a:lnTo>
                <a:lnTo>
                  <a:pt x="120" y="33"/>
                </a:lnTo>
                <a:lnTo>
                  <a:pt x="126" y="33"/>
                </a:lnTo>
                <a:lnTo>
                  <a:pt x="131" y="33"/>
                </a:lnTo>
                <a:lnTo>
                  <a:pt x="136" y="38"/>
                </a:lnTo>
                <a:lnTo>
                  <a:pt x="142" y="44"/>
                </a:lnTo>
                <a:lnTo>
                  <a:pt x="147" y="44"/>
                </a:lnTo>
                <a:lnTo>
                  <a:pt x="153" y="44"/>
                </a:lnTo>
                <a:lnTo>
                  <a:pt x="153" y="49"/>
                </a:lnTo>
                <a:lnTo>
                  <a:pt x="158" y="49"/>
                </a:lnTo>
                <a:lnTo>
                  <a:pt x="164" y="49"/>
                </a:lnTo>
                <a:lnTo>
                  <a:pt x="169" y="55"/>
                </a:lnTo>
                <a:lnTo>
                  <a:pt x="169" y="60"/>
                </a:lnTo>
                <a:lnTo>
                  <a:pt x="169" y="66"/>
                </a:lnTo>
                <a:lnTo>
                  <a:pt x="164" y="71"/>
                </a:lnTo>
                <a:lnTo>
                  <a:pt x="164" y="76"/>
                </a:lnTo>
                <a:lnTo>
                  <a:pt x="164" y="82"/>
                </a:lnTo>
                <a:lnTo>
                  <a:pt x="164" y="87"/>
                </a:lnTo>
                <a:lnTo>
                  <a:pt x="169" y="87"/>
                </a:lnTo>
                <a:lnTo>
                  <a:pt x="175" y="87"/>
                </a:lnTo>
                <a:lnTo>
                  <a:pt x="180" y="87"/>
                </a:lnTo>
                <a:lnTo>
                  <a:pt x="185" y="87"/>
                </a:lnTo>
                <a:lnTo>
                  <a:pt x="191" y="87"/>
                </a:lnTo>
                <a:lnTo>
                  <a:pt x="196" y="93"/>
                </a:lnTo>
                <a:lnTo>
                  <a:pt x="196" y="87"/>
                </a:lnTo>
                <a:lnTo>
                  <a:pt x="202" y="87"/>
                </a:lnTo>
                <a:lnTo>
                  <a:pt x="207" y="87"/>
                </a:lnTo>
                <a:lnTo>
                  <a:pt x="207" y="82"/>
                </a:lnTo>
                <a:lnTo>
                  <a:pt x="213" y="82"/>
                </a:lnTo>
                <a:lnTo>
                  <a:pt x="213" y="76"/>
                </a:lnTo>
                <a:lnTo>
                  <a:pt x="218" y="76"/>
                </a:lnTo>
                <a:lnTo>
                  <a:pt x="218" y="71"/>
                </a:lnTo>
                <a:lnTo>
                  <a:pt x="218" y="66"/>
                </a:lnTo>
                <a:lnTo>
                  <a:pt x="218" y="60"/>
                </a:lnTo>
                <a:lnTo>
                  <a:pt x="224" y="60"/>
                </a:lnTo>
                <a:lnTo>
                  <a:pt x="229" y="60"/>
                </a:lnTo>
                <a:lnTo>
                  <a:pt x="229" y="66"/>
                </a:lnTo>
                <a:lnTo>
                  <a:pt x="235" y="71"/>
                </a:lnTo>
                <a:lnTo>
                  <a:pt x="235" y="76"/>
                </a:lnTo>
                <a:lnTo>
                  <a:pt x="235" y="82"/>
                </a:lnTo>
                <a:lnTo>
                  <a:pt x="229" y="87"/>
                </a:lnTo>
                <a:lnTo>
                  <a:pt x="224" y="87"/>
                </a:lnTo>
                <a:lnTo>
                  <a:pt x="224" y="93"/>
                </a:lnTo>
                <a:lnTo>
                  <a:pt x="218" y="87"/>
                </a:lnTo>
                <a:lnTo>
                  <a:pt x="218" y="93"/>
                </a:lnTo>
                <a:lnTo>
                  <a:pt x="213" y="98"/>
                </a:lnTo>
                <a:lnTo>
                  <a:pt x="207" y="104"/>
                </a:lnTo>
                <a:lnTo>
                  <a:pt x="207" y="109"/>
                </a:lnTo>
                <a:lnTo>
                  <a:pt x="202" y="109"/>
                </a:lnTo>
                <a:lnTo>
                  <a:pt x="202" y="115"/>
                </a:lnTo>
                <a:lnTo>
                  <a:pt x="196" y="120"/>
                </a:lnTo>
                <a:lnTo>
                  <a:pt x="196" y="126"/>
                </a:lnTo>
                <a:lnTo>
                  <a:pt x="191" y="126"/>
                </a:lnTo>
                <a:lnTo>
                  <a:pt x="191" y="131"/>
                </a:lnTo>
                <a:lnTo>
                  <a:pt x="185" y="131"/>
                </a:lnTo>
                <a:lnTo>
                  <a:pt x="191" y="136"/>
                </a:lnTo>
                <a:lnTo>
                  <a:pt x="185" y="136"/>
                </a:lnTo>
                <a:lnTo>
                  <a:pt x="185" y="142"/>
                </a:lnTo>
                <a:lnTo>
                  <a:pt x="185" y="147"/>
                </a:lnTo>
                <a:lnTo>
                  <a:pt x="185" y="153"/>
                </a:lnTo>
                <a:lnTo>
                  <a:pt x="191" y="153"/>
                </a:lnTo>
                <a:lnTo>
                  <a:pt x="185" y="158"/>
                </a:lnTo>
                <a:lnTo>
                  <a:pt x="185" y="164"/>
                </a:lnTo>
                <a:lnTo>
                  <a:pt x="191" y="164"/>
                </a:lnTo>
                <a:lnTo>
                  <a:pt x="191" y="169"/>
                </a:lnTo>
                <a:lnTo>
                  <a:pt x="191" y="175"/>
                </a:lnTo>
                <a:lnTo>
                  <a:pt x="191" y="180"/>
                </a:lnTo>
                <a:lnTo>
                  <a:pt x="191" y="186"/>
                </a:lnTo>
                <a:lnTo>
                  <a:pt x="191" y="191"/>
                </a:lnTo>
                <a:lnTo>
                  <a:pt x="196" y="196"/>
                </a:lnTo>
                <a:lnTo>
                  <a:pt x="191" y="202"/>
                </a:lnTo>
                <a:lnTo>
                  <a:pt x="196" y="202"/>
                </a:lnTo>
                <a:lnTo>
                  <a:pt x="202" y="202"/>
                </a:lnTo>
                <a:lnTo>
                  <a:pt x="202" y="207"/>
                </a:lnTo>
                <a:lnTo>
                  <a:pt x="213" y="207"/>
                </a:lnTo>
                <a:lnTo>
                  <a:pt x="213" y="213"/>
                </a:lnTo>
                <a:lnTo>
                  <a:pt x="218" y="213"/>
                </a:lnTo>
                <a:lnTo>
                  <a:pt x="218" y="218"/>
                </a:lnTo>
                <a:lnTo>
                  <a:pt x="218" y="224"/>
                </a:lnTo>
                <a:lnTo>
                  <a:pt x="224" y="229"/>
                </a:lnTo>
                <a:lnTo>
                  <a:pt x="229" y="229"/>
                </a:lnTo>
                <a:lnTo>
                  <a:pt x="229" y="235"/>
                </a:lnTo>
                <a:lnTo>
                  <a:pt x="229" y="240"/>
                </a:lnTo>
                <a:lnTo>
                  <a:pt x="229" y="246"/>
                </a:lnTo>
                <a:lnTo>
                  <a:pt x="224" y="251"/>
                </a:lnTo>
                <a:lnTo>
                  <a:pt x="224" y="256"/>
                </a:lnTo>
                <a:lnTo>
                  <a:pt x="224" y="262"/>
                </a:lnTo>
                <a:lnTo>
                  <a:pt x="218" y="262"/>
                </a:lnTo>
                <a:lnTo>
                  <a:pt x="213" y="262"/>
                </a:lnTo>
                <a:lnTo>
                  <a:pt x="213" y="267"/>
                </a:lnTo>
                <a:lnTo>
                  <a:pt x="207" y="267"/>
                </a:lnTo>
                <a:lnTo>
                  <a:pt x="202" y="267"/>
                </a:lnTo>
                <a:lnTo>
                  <a:pt x="196" y="267"/>
                </a:lnTo>
                <a:lnTo>
                  <a:pt x="191" y="273"/>
                </a:lnTo>
                <a:lnTo>
                  <a:pt x="185" y="273"/>
                </a:lnTo>
                <a:lnTo>
                  <a:pt x="180" y="273"/>
                </a:lnTo>
                <a:lnTo>
                  <a:pt x="175" y="273"/>
                </a:lnTo>
                <a:lnTo>
                  <a:pt x="169" y="273"/>
                </a:lnTo>
                <a:lnTo>
                  <a:pt x="164" y="267"/>
                </a:lnTo>
                <a:lnTo>
                  <a:pt x="158" y="267"/>
                </a:lnTo>
                <a:lnTo>
                  <a:pt x="164" y="273"/>
                </a:lnTo>
                <a:lnTo>
                  <a:pt x="164" y="278"/>
                </a:lnTo>
                <a:lnTo>
                  <a:pt x="169" y="278"/>
                </a:lnTo>
                <a:lnTo>
                  <a:pt x="164" y="278"/>
                </a:lnTo>
                <a:lnTo>
                  <a:pt x="169" y="278"/>
                </a:lnTo>
                <a:lnTo>
                  <a:pt x="169" y="284"/>
                </a:lnTo>
                <a:lnTo>
                  <a:pt x="169" y="289"/>
                </a:lnTo>
                <a:lnTo>
                  <a:pt x="169" y="295"/>
                </a:lnTo>
                <a:lnTo>
                  <a:pt x="175" y="300"/>
                </a:lnTo>
                <a:lnTo>
                  <a:pt x="169" y="306"/>
                </a:lnTo>
                <a:lnTo>
                  <a:pt x="164" y="306"/>
                </a:lnTo>
                <a:lnTo>
                  <a:pt x="158" y="306"/>
                </a:lnTo>
                <a:lnTo>
                  <a:pt x="153" y="306"/>
                </a:lnTo>
                <a:lnTo>
                  <a:pt x="147" y="306"/>
                </a:lnTo>
                <a:lnTo>
                  <a:pt x="142" y="300"/>
                </a:lnTo>
                <a:lnTo>
                  <a:pt x="136" y="300"/>
                </a:lnTo>
                <a:lnTo>
                  <a:pt x="131" y="300"/>
                </a:lnTo>
                <a:lnTo>
                  <a:pt x="136" y="306"/>
                </a:lnTo>
                <a:lnTo>
                  <a:pt x="136" y="311"/>
                </a:lnTo>
                <a:lnTo>
                  <a:pt x="142" y="316"/>
                </a:lnTo>
                <a:lnTo>
                  <a:pt x="142" y="322"/>
                </a:lnTo>
                <a:lnTo>
                  <a:pt x="153" y="322"/>
                </a:lnTo>
                <a:lnTo>
                  <a:pt x="153" y="327"/>
                </a:lnTo>
                <a:lnTo>
                  <a:pt x="158" y="327"/>
                </a:lnTo>
                <a:lnTo>
                  <a:pt x="153" y="322"/>
                </a:lnTo>
                <a:lnTo>
                  <a:pt x="158" y="322"/>
                </a:lnTo>
                <a:lnTo>
                  <a:pt x="164" y="327"/>
                </a:lnTo>
                <a:lnTo>
                  <a:pt x="164" y="333"/>
                </a:lnTo>
                <a:lnTo>
                  <a:pt x="158" y="333"/>
                </a:lnTo>
                <a:lnTo>
                  <a:pt x="153" y="327"/>
                </a:lnTo>
                <a:lnTo>
                  <a:pt x="147" y="327"/>
                </a:lnTo>
                <a:lnTo>
                  <a:pt x="147" y="333"/>
                </a:lnTo>
                <a:lnTo>
                  <a:pt x="153" y="333"/>
                </a:lnTo>
                <a:lnTo>
                  <a:pt x="158" y="333"/>
                </a:lnTo>
                <a:lnTo>
                  <a:pt x="153" y="338"/>
                </a:lnTo>
                <a:lnTo>
                  <a:pt x="147" y="338"/>
                </a:lnTo>
                <a:lnTo>
                  <a:pt x="147" y="344"/>
                </a:lnTo>
                <a:lnTo>
                  <a:pt x="147" y="349"/>
                </a:lnTo>
                <a:lnTo>
                  <a:pt x="153" y="355"/>
                </a:lnTo>
                <a:lnTo>
                  <a:pt x="153" y="360"/>
                </a:lnTo>
                <a:lnTo>
                  <a:pt x="147" y="360"/>
                </a:lnTo>
                <a:lnTo>
                  <a:pt x="153" y="366"/>
                </a:lnTo>
                <a:lnTo>
                  <a:pt x="147" y="366"/>
                </a:lnTo>
                <a:lnTo>
                  <a:pt x="142" y="366"/>
                </a:lnTo>
                <a:lnTo>
                  <a:pt x="142" y="371"/>
                </a:lnTo>
                <a:lnTo>
                  <a:pt x="136" y="371"/>
                </a:lnTo>
                <a:lnTo>
                  <a:pt x="136" y="376"/>
                </a:lnTo>
                <a:lnTo>
                  <a:pt x="131" y="376"/>
                </a:lnTo>
                <a:lnTo>
                  <a:pt x="131" y="382"/>
                </a:lnTo>
                <a:lnTo>
                  <a:pt x="131" y="387"/>
                </a:lnTo>
                <a:lnTo>
                  <a:pt x="136" y="393"/>
                </a:lnTo>
                <a:lnTo>
                  <a:pt x="142" y="393"/>
                </a:lnTo>
                <a:lnTo>
                  <a:pt x="147" y="398"/>
                </a:lnTo>
                <a:lnTo>
                  <a:pt x="153" y="398"/>
                </a:lnTo>
                <a:lnTo>
                  <a:pt x="158" y="398"/>
                </a:lnTo>
                <a:lnTo>
                  <a:pt x="164" y="398"/>
                </a:lnTo>
                <a:lnTo>
                  <a:pt x="164" y="404"/>
                </a:lnTo>
                <a:lnTo>
                  <a:pt x="169" y="409"/>
                </a:lnTo>
                <a:lnTo>
                  <a:pt x="164" y="409"/>
                </a:lnTo>
                <a:lnTo>
                  <a:pt x="169" y="415"/>
                </a:lnTo>
                <a:lnTo>
                  <a:pt x="164" y="415"/>
                </a:lnTo>
                <a:lnTo>
                  <a:pt x="164" y="420"/>
                </a:lnTo>
                <a:lnTo>
                  <a:pt x="158" y="420"/>
                </a:lnTo>
                <a:lnTo>
                  <a:pt x="158" y="426"/>
                </a:lnTo>
                <a:lnTo>
                  <a:pt x="153" y="431"/>
                </a:lnTo>
                <a:lnTo>
                  <a:pt x="153" y="436"/>
                </a:lnTo>
                <a:lnTo>
                  <a:pt x="158" y="442"/>
                </a:lnTo>
                <a:lnTo>
                  <a:pt x="158" y="447"/>
                </a:lnTo>
                <a:lnTo>
                  <a:pt x="153" y="447"/>
                </a:lnTo>
                <a:lnTo>
                  <a:pt x="147" y="453"/>
                </a:lnTo>
                <a:lnTo>
                  <a:pt x="142" y="458"/>
                </a:lnTo>
                <a:lnTo>
                  <a:pt x="147" y="464"/>
                </a:lnTo>
                <a:lnTo>
                  <a:pt x="153" y="469"/>
                </a:lnTo>
                <a:lnTo>
                  <a:pt x="153" y="475"/>
                </a:lnTo>
                <a:lnTo>
                  <a:pt x="158" y="475"/>
                </a:lnTo>
                <a:lnTo>
                  <a:pt x="164" y="480"/>
                </a:lnTo>
                <a:lnTo>
                  <a:pt x="164" y="486"/>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6" name="Freeform 36">
            <a:extLst>
              <a:ext uri="{FF2B5EF4-FFF2-40B4-BE49-F238E27FC236}">
                <a16:creationId xmlns:a16="http://schemas.microsoft.com/office/drawing/2014/main" id="{2804F895-F8C7-86EB-49D8-7EDAC067B312}"/>
              </a:ext>
            </a:extLst>
          </p:cNvPr>
          <p:cNvSpPr>
            <a:spLocks/>
          </p:cNvSpPr>
          <p:nvPr/>
        </p:nvSpPr>
        <p:spPr bwMode="auto">
          <a:xfrm>
            <a:off x="1320800" y="2978151"/>
            <a:ext cx="698500" cy="758825"/>
          </a:xfrm>
          <a:custGeom>
            <a:avLst/>
            <a:gdLst>
              <a:gd name="T0" fmla="*/ 55 w 622"/>
              <a:gd name="T1" fmla="*/ 240 h 622"/>
              <a:gd name="T2" fmla="*/ 17 w 622"/>
              <a:gd name="T3" fmla="*/ 218 h 622"/>
              <a:gd name="T4" fmla="*/ 11 w 622"/>
              <a:gd name="T5" fmla="*/ 191 h 622"/>
              <a:gd name="T6" fmla="*/ 17 w 622"/>
              <a:gd name="T7" fmla="*/ 164 h 622"/>
              <a:gd name="T8" fmla="*/ 55 w 622"/>
              <a:gd name="T9" fmla="*/ 153 h 622"/>
              <a:gd name="T10" fmla="*/ 60 w 622"/>
              <a:gd name="T11" fmla="*/ 87 h 622"/>
              <a:gd name="T12" fmla="*/ 66 w 622"/>
              <a:gd name="T13" fmla="*/ 66 h 622"/>
              <a:gd name="T14" fmla="*/ 104 w 622"/>
              <a:gd name="T15" fmla="*/ 49 h 622"/>
              <a:gd name="T16" fmla="*/ 131 w 622"/>
              <a:gd name="T17" fmla="*/ 66 h 622"/>
              <a:gd name="T18" fmla="*/ 158 w 622"/>
              <a:gd name="T19" fmla="*/ 55 h 622"/>
              <a:gd name="T20" fmla="*/ 153 w 622"/>
              <a:gd name="T21" fmla="*/ 22 h 622"/>
              <a:gd name="T22" fmla="*/ 169 w 622"/>
              <a:gd name="T23" fmla="*/ 22 h 622"/>
              <a:gd name="T24" fmla="*/ 207 w 622"/>
              <a:gd name="T25" fmla="*/ 11 h 622"/>
              <a:gd name="T26" fmla="*/ 218 w 622"/>
              <a:gd name="T27" fmla="*/ 11 h 622"/>
              <a:gd name="T28" fmla="*/ 224 w 622"/>
              <a:gd name="T29" fmla="*/ 44 h 622"/>
              <a:gd name="T30" fmla="*/ 246 w 622"/>
              <a:gd name="T31" fmla="*/ 60 h 622"/>
              <a:gd name="T32" fmla="*/ 284 w 622"/>
              <a:gd name="T33" fmla="*/ 55 h 622"/>
              <a:gd name="T34" fmla="*/ 316 w 622"/>
              <a:gd name="T35" fmla="*/ 49 h 622"/>
              <a:gd name="T36" fmla="*/ 349 w 622"/>
              <a:gd name="T37" fmla="*/ 27 h 622"/>
              <a:gd name="T38" fmla="*/ 366 w 622"/>
              <a:gd name="T39" fmla="*/ 38 h 622"/>
              <a:gd name="T40" fmla="*/ 376 w 622"/>
              <a:gd name="T41" fmla="*/ 66 h 622"/>
              <a:gd name="T42" fmla="*/ 404 w 622"/>
              <a:gd name="T43" fmla="*/ 93 h 622"/>
              <a:gd name="T44" fmla="*/ 431 w 622"/>
              <a:gd name="T45" fmla="*/ 98 h 622"/>
              <a:gd name="T46" fmla="*/ 453 w 622"/>
              <a:gd name="T47" fmla="*/ 104 h 622"/>
              <a:gd name="T48" fmla="*/ 469 w 622"/>
              <a:gd name="T49" fmla="*/ 120 h 622"/>
              <a:gd name="T50" fmla="*/ 502 w 622"/>
              <a:gd name="T51" fmla="*/ 126 h 622"/>
              <a:gd name="T52" fmla="*/ 535 w 622"/>
              <a:gd name="T53" fmla="*/ 126 h 622"/>
              <a:gd name="T54" fmla="*/ 567 w 622"/>
              <a:gd name="T55" fmla="*/ 147 h 622"/>
              <a:gd name="T56" fmla="*/ 605 w 622"/>
              <a:gd name="T57" fmla="*/ 164 h 622"/>
              <a:gd name="T58" fmla="*/ 622 w 622"/>
              <a:gd name="T59" fmla="*/ 202 h 622"/>
              <a:gd name="T60" fmla="*/ 605 w 622"/>
              <a:gd name="T61" fmla="*/ 246 h 622"/>
              <a:gd name="T62" fmla="*/ 584 w 622"/>
              <a:gd name="T63" fmla="*/ 273 h 622"/>
              <a:gd name="T64" fmla="*/ 562 w 622"/>
              <a:gd name="T65" fmla="*/ 306 h 622"/>
              <a:gd name="T66" fmla="*/ 567 w 622"/>
              <a:gd name="T67" fmla="*/ 344 h 622"/>
              <a:gd name="T68" fmla="*/ 562 w 622"/>
              <a:gd name="T69" fmla="*/ 371 h 622"/>
              <a:gd name="T70" fmla="*/ 551 w 622"/>
              <a:gd name="T71" fmla="*/ 404 h 622"/>
              <a:gd name="T72" fmla="*/ 535 w 622"/>
              <a:gd name="T73" fmla="*/ 437 h 622"/>
              <a:gd name="T74" fmla="*/ 513 w 622"/>
              <a:gd name="T75" fmla="*/ 447 h 622"/>
              <a:gd name="T76" fmla="*/ 480 w 622"/>
              <a:gd name="T77" fmla="*/ 464 h 622"/>
              <a:gd name="T78" fmla="*/ 447 w 622"/>
              <a:gd name="T79" fmla="*/ 486 h 622"/>
              <a:gd name="T80" fmla="*/ 442 w 622"/>
              <a:gd name="T81" fmla="*/ 518 h 622"/>
              <a:gd name="T82" fmla="*/ 431 w 622"/>
              <a:gd name="T83" fmla="*/ 551 h 622"/>
              <a:gd name="T84" fmla="*/ 409 w 622"/>
              <a:gd name="T85" fmla="*/ 595 h 622"/>
              <a:gd name="T86" fmla="*/ 426 w 622"/>
              <a:gd name="T87" fmla="*/ 567 h 622"/>
              <a:gd name="T88" fmla="*/ 415 w 622"/>
              <a:gd name="T89" fmla="*/ 578 h 622"/>
              <a:gd name="T90" fmla="*/ 404 w 622"/>
              <a:gd name="T91" fmla="*/ 606 h 622"/>
              <a:gd name="T92" fmla="*/ 387 w 622"/>
              <a:gd name="T93" fmla="*/ 600 h 622"/>
              <a:gd name="T94" fmla="*/ 349 w 622"/>
              <a:gd name="T95" fmla="*/ 573 h 622"/>
              <a:gd name="T96" fmla="*/ 322 w 622"/>
              <a:gd name="T97" fmla="*/ 567 h 622"/>
              <a:gd name="T98" fmla="*/ 338 w 622"/>
              <a:gd name="T99" fmla="*/ 540 h 622"/>
              <a:gd name="T100" fmla="*/ 366 w 622"/>
              <a:gd name="T101" fmla="*/ 513 h 622"/>
              <a:gd name="T102" fmla="*/ 349 w 622"/>
              <a:gd name="T103" fmla="*/ 480 h 622"/>
              <a:gd name="T104" fmla="*/ 327 w 622"/>
              <a:gd name="T105" fmla="*/ 453 h 622"/>
              <a:gd name="T106" fmla="*/ 295 w 622"/>
              <a:gd name="T107" fmla="*/ 437 h 622"/>
              <a:gd name="T108" fmla="*/ 278 w 622"/>
              <a:gd name="T109" fmla="*/ 409 h 622"/>
              <a:gd name="T110" fmla="*/ 278 w 622"/>
              <a:gd name="T111" fmla="*/ 366 h 622"/>
              <a:gd name="T112" fmla="*/ 262 w 622"/>
              <a:gd name="T113" fmla="*/ 344 h 622"/>
              <a:gd name="T114" fmla="*/ 224 w 622"/>
              <a:gd name="T115" fmla="*/ 311 h 622"/>
              <a:gd name="T116" fmla="*/ 197 w 622"/>
              <a:gd name="T117" fmla="*/ 295 h 622"/>
              <a:gd name="T118" fmla="*/ 153 w 622"/>
              <a:gd name="T119" fmla="*/ 273 h 622"/>
              <a:gd name="T120" fmla="*/ 137 w 622"/>
              <a:gd name="T121" fmla="*/ 240 h 622"/>
              <a:gd name="T122" fmla="*/ 98 w 622"/>
              <a:gd name="T123" fmla="*/ 251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2" h="622">
                <a:moveTo>
                  <a:pt x="77" y="257"/>
                </a:moveTo>
                <a:lnTo>
                  <a:pt x="71" y="257"/>
                </a:lnTo>
                <a:lnTo>
                  <a:pt x="66" y="262"/>
                </a:lnTo>
                <a:lnTo>
                  <a:pt x="60" y="257"/>
                </a:lnTo>
                <a:lnTo>
                  <a:pt x="60" y="240"/>
                </a:lnTo>
                <a:lnTo>
                  <a:pt x="60" y="235"/>
                </a:lnTo>
                <a:lnTo>
                  <a:pt x="55" y="235"/>
                </a:lnTo>
                <a:lnTo>
                  <a:pt x="55" y="240"/>
                </a:lnTo>
                <a:lnTo>
                  <a:pt x="49" y="240"/>
                </a:lnTo>
                <a:lnTo>
                  <a:pt x="33" y="240"/>
                </a:lnTo>
                <a:lnTo>
                  <a:pt x="33" y="235"/>
                </a:lnTo>
                <a:lnTo>
                  <a:pt x="28" y="235"/>
                </a:lnTo>
                <a:lnTo>
                  <a:pt x="17" y="235"/>
                </a:lnTo>
                <a:lnTo>
                  <a:pt x="22" y="229"/>
                </a:lnTo>
                <a:lnTo>
                  <a:pt x="17" y="224"/>
                </a:lnTo>
                <a:lnTo>
                  <a:pt x="17" y="218"/>
                </a:lnTo>
                <a:lnTo>
                  <a:pt x="11" y="218"/>
                </a:lnTo>
                <a:lnTo>
                  <a:pt x="11" y="213"/>
                </a:lnTo>
                <a:lnTo>
                  <a:pt x="6" y="207"/>
                </a:lnTo>
                <a:lnTo>
                  <a:pt x="0" y="202"/>
                </a:lnTo>
                <a:lnTo>
                  <a:pt x="6" y="202"/>
                </a:lnTo>
                <a:lnTo>
                  <a:pt x="6" y="197"/>
                </a:lnTo>
                <a:lnTo>
                  <a:pt x="6" y="191"/>
                </a:lnTo>
                <a:lnTo>
                  <a:pt x="11" y="191"/>
                </a:lnTo>
                <a:lnTo>
                  <a:pt x="11" y="186"/>
                </a:lnTo>
                <a:lnTo>
                  <a:pt x="17" y="191"/>
                </a:lnTo>
                <a:lnTo>
                  <a:pt x="17" y="186"/>
                </a:lnTo>
                <a:lnTo>
                  <a:pt x="11" y="180"/>
                </a:lnTo>
                <a:lnTo>
                  <a:pt x="11" y="175"/>
                </a:lnTo>
                <a:lnTo>
                  <a:pt x="17" y="175"/>
                </a:lnTo>
                <a:lnTo>
                  <a:pt x="17" y="169"/>
                </a:lnTo>
                <a:lnTo>
                  <a:pt x="17" y="164"/>
                </a:lnTo>
                <a:lnTo>
                  <a:pt x="22" y="164"/>
                </a:lnTo>
                <a:lnTo>
                  <a:pt x="28" y="158"/>
                </a:lnTo>
                <a:lnTo>
                  <a:pt x="33" y="153"/>
                </a:lnTo>
                <a:lnTo>
                  <a:pt x="38" y="153"/>
                </a:lnTo>
                <a:lnTo>
                  <a:pt x="44" y="153"/>
                </a:lnTo>
                <a:lnTo>
                  <a:pt x="49" y="153"/>
                </a:lnTo>
                <a:lnTo>
                  <a:pt x="49" y="147"/>
                </a:lnTo>
                <a:lnTo>
                  <a:pt x="55" y="153"/>
                </a:lnTo>
                <a:lnTo>
                  <a:pt x="55" y="147"/>
                </a:lnTo>
                <a:lnTo>
                  <a:pt x="60" y="153"/>
                </a:lnTo>
                <a:lnTo>
                  <a:pt x="66" y="153"/>
                </a:lnTo>
                <a:lnTo>
                  <a:pt x="71" y="109"/>
                </a:lnTo>
                <a:lnTo>
                  <a:pt x="71" y="104"/>
                </a:lnTo>
                <a:lnTo>
                  <a:pt x="71" y="98"/>
                </a:lnTo>
                <a:lnTo>
                  <a:pt x="66" y="93"/>
                </a:lnTo>
                <a:lnTo>
                  <a:pt x="60" y="87"/>
                </a:lnTo>
                <a:lnTo>
                  <a:pt x="60" y="82"/>
                </a:lnTo>
                <a:lnTo>
                  <a:pt x="60" y="77"/>
                </a:lnTo>
                <a:lnTo>
                  <a:pt x="66" y="77"/>
                </a:lnTo>
                <a:lnTo>
                  <a:pt x="66" y="71"/>
                </a:lnTo>
                <a:lnTo>
                  <a:pt x="71" y="71"/>
                </a:lnTo>
                <a:lnTo>
                  <a:pt x="77" y="71"/>
                </a:lnTo>
                <a:lnTo>
                  <a:pt x="71" y="66"/>
                </a:lnTo>
                <a:lnTo>
                  <a:pt x="66" y="66"/>
                </a:lnTo>
                <a:lnTo>
                  <a:pt x="66" y="55"/>
                </a:lnTo>
                <a:lnTo>
                  <a:pt x="71" y="55"/>
                </a:lnTo>
                <a:lnTo>
                  <a:pt x="87" y="55"/>
                </a:lnTo>
                <a:lnTo>
                  <a:pt x="93" y="55"/>
                </a:lnTo>
                <a:lnTo>
                  <a:pt x="87" y="49"/>
                </a:lnTo>
                <a:lnTo>
                  <a:pt x="93" y="55"/>
                </a:lnTo>
                <a:lnTo>
                  <a:pt x="98" y="49"/>
                </a:lnTo>
                <a:lnTo>
                  <a:pt x="104" y="49"/>
                </a:lnTo>
                <a:lnTo>
                  <a:pt x="104" y="55"/>
                </a:lnTo>
                <a:lnTo>
                  <a:pt x="109" y="55"/>
                </a:lnTo>
                <a:lnTo>
                  <a:pt x="109" y="60"/>
                </a:lnTo>
                <a:lnTo>
                  <a:pt x="109" y="66"/>
                </a:lnTo>
                <a:lnTo>
                  <a:pt x="120" y="71"/>
                </a:lnTo>
                <a:lnTo>
                  <a:pt x="126" y="71"/>
                </a:lnTo>
                <a:lnTo>
                  <a:pt x="126" y="66"/>
                </a:lnTo>
                <a:lnTo>
                  <a:pt x="131" y="66"/>
                </a:lnTo>
                <a:lnTo>
                  <a:pt x="131" y="71"/>
                </a:lnTo>
                <a:lnTo>
                  <a:pt x="137" y="71"/>
                </a:lnTo>
                <a:lnTo>
                  <a:pt x="137" y="66"/>
                </a:lnTo>
                <a:lnTo>
                  <a:pt x="142" y="66"/>
                </a:lnTo>
                <a:lnTo>
                  <a:pt x="147" y="66"/>
                </a:lnTo>
                <a:lnTo>
                  <a:pt x="147" y="60"/>
                </a:lnTo>
                <a:lnTo>
                  <a:pt x="153" y="60"/>
                </a:lnTo>
                <a:lnTo>
                  <a:pt x="158" y="55"/>
                </a:lnTo>
                <a:lnTo>
                  <a:pt x="164" y="49"/>
                </a:lnTo>
                <a:lnTo>
                  <a:pt x="169" y="44"/>
                </a:lnTo>
                <a:lnTo>
                  <a:pt x="164" y="44"/>
                </a:lnTo>
                <a:lnTo>
                  <a:pt x="158" y="44"/>
                </a:lnTo>
                <a:lnTo>
                  <a:pt x="158" y="38"/>
                </a:lnTo>
                <a:lnTo>
                  <a:pt x="153" y="33"/>
                </a:lnTo>
                <a:lnTo>
                  <a:pt x="153" y="27"/>
                </a:lnTo>
                <a:lnTo>
                  <a:pt x="153" y="22"/>
                </a:lnTo>
                <a:lnTo>
                  <a:pt x="147" y="22"/>
                </a:lnTo>
                <a:lnTo>
                  <a:pt x="147" y="17"/>
                </a:lnTo>
                <a:lnTo>
                  <a:pt x="142" y="17"/>
                </a:lnTo>
                <a:lnTo>
                  <a:pt x="147" y="17"/>
                </a:lnTo>
                <a:lnTo>
                  <a:pt x="153" y="17"/>
                </a:lnTo>
                <a:lnTo>
                  <a:pt x="158" y="22"/>
                </a:lnTo>
                <a:lnTo>
                  <a:pt x="164" y="22"/>
                </a:lnTo>
                <a:lnTo>
                  <a:pt x="169" y="22"/>
                </a:lnTo>
                <a:lnTo>
                  <a:pt x="175" y="27"/>
                </a:lnTo>
                <a:lnTo>
                  <a:pt x="175" y="22"/>
                </a:lnTo>
                <a:lnTo>
                  <a:pt x="180" y="17"/>
                </a:lnTo>
                <a:lnTo>
                  <a:pt x="186" y="17"/>
                </a:lnTo>
                <a:lnTo>
                  <a:pt x="191" y="17"/>
                </a:lnTo>
                <a:lnTo>
                  <a:pt x="197" y="17"/>
                </a:lnTo>
                <a:lnTo>
                  <a:pt x="202" y="11"/>
                </a:lnTo>
                <a:lnTo>
                  <a:pt x="207" y="11"/>
                </a:lnTo>
                <a:lnTo>
                  <a:pt x="207" y="6"/>
                </a:lnTo>
                <a:lnTo>
                  <a:pt x="213" y="6"/>
                </a:lnTo>
                <a:lnTo>
                  <a:pt x="207" y="0"/>
                </a:lnTo>
                <a:lnTo>
                  <a:pt x="213" y="0"/>
                </a:lnTo>
                <a:lnTo>
                  <a:pt x="218" y="0"/>
                </a:lnTo>
                <a:lnTo>
                  <a:pt x="224" y="6"/>
                </a:lnTo>
                <a:lnTo>
                  <a:pt x="218" y="6"/>
                </a:lnTo>
                <a:lnTo>
                  <a:pt x="218" y="11"/>
                </a:lnTo>
                <a:lnTo>
                  <a:pt x="224" y="11"/>
                </a:lnTo>
                <a:lnTo>
                  <a:pt x="224" y="17"/>
                </a:lnTo>
                <a:lnTo>
                  <a:pt x="229" y="22"/>
                </a:lnTo>
                <a:lnTo>
                  <a:pt x="224" y="27"/>
                </a:lnTo>
                <a:lnTo>
                  <a:pt x="224" y="33"/>
                </a:lnTo>
                <a:lnTo>
                  <a:pt x="218" y="33"/>
                </a:lnTo>
                <a:lnTo>
                  <a:pt x="218" y="38"/>
                </a:lnTo>
                <a:lnTo>
                  <a:pt x="224" y="44"/>
                </a:lnTo>
                <a:lnTo>
                  <a:pt x="224" y="49"/>
                </a:lnTo>
                <a:lnTo>
                  <a:pt x="224" y="55"/>
                </a:lnTo>
                <a:lnTo>
                  <a:pt x="229" y="55"/>
                </a:lnTo>
                <a:lnTo>
                  <a:pt x="229" y="60"/>
                </a:lnTo>
                <a:lnTo>
                  <a:pt x="235" y="66"/>
                </a:lnTo>
                <a:lnTo>
                  <a:pt x="240" y="66"/>
                </a:lnTo>
                <a:lnTo>
                  <a:pt x="246" y="66"/>
                </a:lnTo>
                <a:lnTo>
                  <a:pt x="246" y="60"/>
                </a:lnTo>
                <a:lnTo>
                  <a:pt x="251" y="60"/>
                </a:lnTo>
                <a:lnTo>
                  <a:pt x="251" y="55"/>
                </a:lnTo>
                <a:lnTo>
                  <a:pt x="257" y="55"/>
                </a:lnTo>
                <a:lnTo>
                  <a:pt x="262" y="55"/>
                </a:lnTo>
                <a:lnTo>
                  <a:pt x="267" y="49"/>
                </a:lnTo>
                <a:lnTo>
                  <a:pt x="273" y="55"/>
                </a:lnTo>
                <a:lnTo>
                  <a:pt x="278" y="55"/>
                </a:lnTo>
                <a:lnTo>
                  <a:pt x="284" y="55"/>
                </a:lnTo>
                <a:lnTo>
                  <a:pt x="284" y="49"/>
                </a:lnTo>
                <a:lnTo>
                  <a:pt x="284" y="44"/>
                </a:lnTo>
                <a:lnTo>
                  <a:pt x="289" y="44"/>
                </a:lnTo>
                <a:lnTo>
                  <a:pt x="295" y="44"/>
                </a:lnTo>
                <a:lnTo>
                  <a:pt x="300" y="44"/>
                </a:lnTo>
                <a:lnTo>
                  <a:pt x="306" y="49"/>
                </a:lnTo>
                <a:lnTo>
                  <a:pt x="311" y="49"/>
                </a:lnTo>
                <a:lnTo>
                  <a:pt x="316" y="49"/>
                </a:lnTo>
                <a:lnTo>
                  <a:pt x="316" y="44"/>
                </a:lnTo>
                <a:lnTo>
                  <a:pt x="322" y="49"/>
                </a:lnTo>
                <a:lnTo>
                  <a:pt x="327" y="49"/>
                </a:lnTo>
                <a:lnTo>
                  <a:pt x="333" y="49"/>
                </a:lnTo>
                <a:lnTo>
                  <a:pt x="338" y="44"/>
                </a:lnTo>
                <a:lnTo>
                  <a:pt x="338" y="38"/>
                </a:lnTo>
                <a:lnTo>
                  <a:pt x="344" y="33"/>
                </a:lnTo>
                <a:lnTo>
                  <a:pt x="349" y="27"/>
                </a:lnTo>
                <a:lnTo>
                  <a:pt x="349" y="22"/>
                </a:lnTo>
                <a:lnTo>
                  <a:pt x="355" y="17"/>
                </a:lnTo>
                <a:lnTo>
                  <a:pt x="355" y="11"/>
                </a:lnTo>
                <a:lnTo>
                  <a:pt x="360" y="17"/>
                </a:lnTo>
                <a:lnTo>
                  <a:pt x="360" y="22"/>
                </a:lnTo>
                <a:lnTo>
                  <a:pt x="360" y="27"/>
                </a:lnTo>
                <a:lnTo>
                  <a:pt x="360" y="33"/>
                </a:lnTo>
                <a:lnTo>
                  <a:pt x="366" y="38"/>
                </a:lnTo>
                <a:lnTo>
                  <a:pt x="366" y="44"/>
                </a:lnTo>
                <a:lnTo>
                  <a:pt x="366" y="49"/>
                </a:lnTo>
                <a:lnTo>
                  <a:pt x="371" y="49"/>
                </a:lnTo>
                <a:lnTo>
                  <a:pt x="376" y="55"/>
                </a:lnTo>
                <a:lnTo>
                  <a:pt x="382" y="55"/>
                </a:lnTo>
                <a:lnTo>
                  <a:pt x="382" y="60"/>
                </a:lnTo>
                <a:lnTo>
                  <a:pt x="382" y="66"/>
                </a:lnTo>
                <a:lnTo>
                  <a:pt x="376" y="66"/>
                </a:lnTo>
                <a:lnTo>
                  <a:pt x="376" y="71"/>
                </a:lnTo>
                <a:lnTo>
                  <a:pt x="376" y="77"/>
                </a:lnTo>
                <a:lnTo>
                  <a:pt x="382" y="77"/>
                </a:lnTo>
                <a:lnTo>
                  <a:pt x="387" y="82"/>
                </a:lnTo>
                <a:lnTo>
                  <a:pt x="393" y="87"/>
                </a:lnTo>
                <a:lnTo>
                  <a:pt x="398" y="87"/>
                </a:lnTo>
                <a:lnTo>
                  <a:pt x="404" y="87"/>
                </a:lnTo>
                <a:lnTo>
                  <a:pt x="404" y="93"/>
                </a:lnTo>
                <a:lnTo>
                  <a:pt x="409" y="93"/>
                </a:lnTo>
                <a:lnTo>
                  <a:pt x="415" y="93"/>
                </a:lnTo>
                <a:lnTo>
                  <a:pt x="420" y="98"/>
                </a:lnTo>
                <a:lnTo>
                  <a:pt x="420" y="93"/>
                </a:lnTo>
                <a:lnTo>
                  <a:pt x="426" y="98"/>
                </a:lnTo>
                <a:lnTo>
                  <a:pt x="426" y="93"/>
                </a:lnTo>
                <a:lnTo>
                  <a:pt x="426" y="98"/>
                </a:lnTo>
                <a:lnTo>
                  <a:pt x="431" y="98"/>
                </a:lnTo>
                <a:lnTo>
                  <a:pt x="436" y="98"/>
                </a:lnTo>
                <a:lnTo>
                  <a:pt x="442" y="104"/>
                </a:lnTo>
                <a:lnTo>
                  <a:pt x="442" y="98"/>
                </a:lnTo>
                <a:lnTo>
                  <a:pt x="442" y="104"/>
                </a:lnTo>
                <a:lnTo>
                  <a:pt x="447" y="104"/>
                </a:lnTo>
                <a:lnTo>
                  <a:pt x="453" y="104"/>
                </a:lnTo>
                <a:lnTo>
                  <a:pt x="453" y="109"/>
                </a:lnTo>
                <a:lnTo>
                  <a:pt x="453" y="104"/>
                </a:lnTo>
                <a:lnTo>
                  <a:pt x="453" y="109"/>
                </a:lnTo>
                <a:lnTo>
                  <a:pt x="458" y="104"/>
                </a:lnTo>
                <a:lnTo>
                  <a:pt x="458" y="109"/>
                </a:lnTo>
                <a:lnTo>
                  <a:pt x="458" y="104"/>
                </a:lnTo>
                <a:lnTo>
                  <a:pt x="458" y="109"/>
                </a:lnTo>
                <a:lnTo>
                  <a:pt x="464" y="115"/>
                </a:lnTo>
                <a:lnTo>
                  <a:pt x="464" y="120"/>
                </a:lnTo>
                <a:lnTo>
                  <a:pt x="469" y="120"/>
                </a:lnTo>
                <a:lnTo>
                  <a:pt x="469" y="126"/>
                </a:lnTo>
                <a:lnTo>
                  <a:pt x="475" y="120"/>
                </a:lnTo>
                <a:lnTo>
                  <a:pt x="480" y="120"/>
                </a:lnTo>
                <a:lnTo>
                  <a:pt x="486" y="120"/>
                </a:lnTo>
                <a:lnTo>
                  <a:pt x="491" y="120"/>
                </a:lnTo>
                <a:lnTo>
                  <a:pt x="491" y="126"/>
                </a:lnTo>
                <a:lnTo>
                  <a:pt x="496" y="126"/>
                </a:lnTo>
                <a:lnTo>
                  <a:pt x="502" y="126"/>
                </a:lnTo>
                <a:lnTo>
                  <a:pt x="502" y="131"/>
                </a:lnTo>
                <a:lnTo>
                  <a:pt x="502" y="126"/>
                </a:lnTo>
                <a:lnTo>
                  <a:pt x="507" y="126"/>
                </a:lnTo>
                <a:lnTo>
                  <a:pt x="513" y="131"/>
                </a:lnTo>
                <a:lnTo>
                  <a:pt x="518" y="131"/>
                </a:lnTo>
                <a:lnTo>
                  <a:pt x="524" y="131"/>
                </a:lnTo>
                <a:lnTo>
                  <a:pt x="529" y="126"/>
                </a:lnTo>
                <a:lnTo>
                  <a:pt x="535" y="126"/>
                </a:lnTo>
                <a:lnTo>
                  <a:pt x="540" y="131"/>
                </a:lnTo>
                <a:lnTo>
                  <a:pt x="545" y="131"/>
                </a:lnTo>
                <a:lnTo>
                  <a:pt x="551" y="137"/>
                </a:lnTo>
                <a:lnTo>
                  <a:pt x="556" y="137"/>
                </a:lnTo>
                <a:lnTo>
                  <a:pt x="556" y="142"/>
                </a:lnTo>
                <a:lnTo>
                  <a:pt x="562" y="142"/>
                </a:lnTo>
                <a:lnTo>
                  <a:pt x="562" y="147"/>
                </a:lnTo>
                <a:lnTo>
                  <a:pt x="567" y="147"/>
                </a:lnTo>
                <a:lnTo>
                  <a:pt x="567" y="153"/>
                </a:lnTo>
                <a:lnTo>
                  <a:pt x="573" y="153"/>
                </a:lnTo>
                <a:lnTo>
                  <a:pt x="578" y="158"/>
                </a:lnTo>
                <a:lnTo>
                  <a:pt x="584" y="164"/>
                </a:lnTo>
                <a:lnTo>
                  <a:pt x="589" y="164"/>
                </a:lnTo>
                <a:lnTo>
                  <a:pt x="595" y="164"/>
                </a:lnTo>
                <a:lnTo>
                  <a:pt x="600" y="164"/>
                </a:lnTo>
                <a:lnTo>
                  <a:pt x="605" y="164"/>
                </a:lnTo>
                <a:lnTo>
                  <a:pt x="611" y="164"/>
                </a:lnTo>
                <a:lnTo>
                  <a:pt x="611" y="169"/>
                </a:lnTo>
                <a:lnTo>
                  <a:pt x="616" y="175"/>
                </a:lnTo>
                <a:lnTo>
                  <a:pt x="616" y="180"/>
                </a:lnTo>
                <a:lnTo>
                  <a:pt x="616" y="186"/>
                </a:lnTo>
                <a:lnTo>
                  <a:pt x="622" y="191"/>
                </a:lnTo>
                <a:lnTo>
                  <a:pt x="622" y="197"/>
                </a:lnTo>
                <a:lnTo>
                  <a:pt x="622" y="202"/>
                </a:lnTo>
                <a:lnTo>
                  <a:pt x="622" y="207"/>
                </a:lnTo>
                <a:lnTo>
                  <a:pt x="622" y="213"/>
                </a:lnTo>
                <a:lnTo>
                  <a:pt x="622" y="218"/>
                </a:lnTo>
                <a:lnTo>
                  <a:pt x="616" y="224"/>
                </a:lnTo>
                <a:lnTo>
                  <a:pt x="616" y="229"/>
                </a:lnTo>
                <a:lnTo>
                  <a:pt x="611" y="235"/>
                </a:lnTo>
                <a:lnTo>
                  <a:pt x="605" y="240"/>
                </a:lnTo>
                <a:lnTo>
                  <a:pt x="605" y="246"/>
                </a:lnTo>
                <a:lnTo>
                  <a:pt x="600" y="246"/>
                </a:lnTo>
                <a:lnTo>
                  <a:pt x="600" y="251"/>
                </a:lnTo>
                <a:lnTo>
                  <a:pt x="595" y="251"/>
                </a:lnTo>
                <a:lnTo>
                  <a:pt x="589" y="257"/>
                </a:lnTo>
                <a:lnTo>
                  <a:pt x="589" y="262"/>
                </a:lnTo>
                <a:lnTo>
                  <a:pt x="584" y="262"/>
                </a:lnTo>
                <a:lnTo>
                  <a:pt x="584" y="267"/>
                </a:lnTo>
                <a:lnTo>
                  <a:pt x="584" y="273"/>
                </a:lnTo>
                <a:lnTo>
                  <a:pt x="578" y="278"/>
                </a:lnTo>
                <a:lnTo>
                  <a:pt x="573" y="284"/>
                </a:lnTo>
                <a:lnTo>
                  <a:pt x="573" y="289"/>
                </a:lnTo>
                <a:lnTo>
                  <a:pt x="567" y="289"/>
                </a:lnTo>
                <a:lnTo>
                  <a:pt x="567" y="295"/>
                </a:lnTo>
                <a:lnTo>
                  <a:pt x="562" y="295"/>
                </a:lnTo>
                <a:lnTo>
                  <a:pt x="562" y="300"/>
                </a:lnTo>
                <a:lnTo>
                  <a:pt x="562" y="306"/>
                </a:lnTo>
                <a:lnTo>
                  <a:pt x="562" y="311"/>
                </a:lnTo>
                <a:lnTo>
                  <a:pt x="562" y="317"/>
                </a:lnTo>
                <a:lnTo>
                  <a:pt x="562" y="322"/>
                </a:lnTo>
                <a:lnTo>
                  <a:pt x="562" y="327"/>
                </a:lnTo>
                <a:lnTo>
                  <a:pt x="567" y="327"/>
                </a:lnTo>
                <a:lnTo>
                  <a:pt x="567" y="333"/>
                </a:lnTo>
                <a:lnTo>
                  <a:pt x="567" y="338"/>
                </a:lnTo>
                <a:lnTo>
                  <a:pt x="567" y="344"/>
                </a:lnTo>
                <a:lnTo>
                  <a:pt x="562" y="344"/>
                </a:lnTo>
                <a:lnTo>
                  <a:pt x="562" y="349"/>
                </a:lnTo>
                <a:lnTo>
                  <a:pt x="562" y="355"/>
                </a:lnTo>
                <a:lnTo>
                  <a:pt x="562" y="360"/>
                </a:lnTo>
                <a:lnTo>
                  <a:pt x="562" y="366"/>
                </a:lnTo>
                <a:lnTo>
                  <a:pt x="567" y="366"/>
                </a:lnTo>
                <a:lnTo>
                  <a:pt x="562" y="366"/>
                </a:lnTo>
                <a:lnTo>
                  <a:pt x="562" y="371"/>
                </a:lnTo>
                <a:lnTo>
                  <a:pt x="556" y="371"/>
                </a:lnTo>
                <a:lnTo>
                  <a:pt x="556" y="377"/>
                </a:lnTo>
                <a:lnTo>
                  <a:pt x="556" y="382"/>
                </a:lnTo>
                <a:lnTo>
                  <a:pt x="562" y="387"/>
                </a:lnTo>
                <a:lnTo>
                  <a:pt x="562" y="393"/>
                </a:lnTo>
                <a:lnTo>
                  <a:pt x="556" y="398"/>
                </a:lnTo>
                <a:lnTo>
                  <a:pt x="551" y="398"/>
                </a:lnTo>
                <a:lnTo>
                  <a:pt x="551" y="404"/>
                </a:lnTo>
                <a:lnTo>
                  <a:pt x="551" y="409"/>
                </a:lnTo>
                <a:lnTo>
                  <a:pt x="545" y="415"/>
                </a:lnTo>
                <a:lnTo>
                  <a:pt x="545" y="420"/>
                </a:lnTo>
                <a:lnTo>
                  <a:pt x="540" y="426"/>
                </a:lnTo>
                <a:lnTo>
                  <a:pt x="545" y="426"/>
                </a:lnTo>
                <a:lnTo>
                  <a:pt x="545" y="431"/>
                </a:lnTo>
                <a:lnTo>
                  <a:pt x="540" y="437"/>
                </a:lnTo>
                <a:lnTo>
                  <a:pt x="535" y="437"/>
                </a:lnTo>
                <a:lnTo>
                  <a:pt x="529" y="442"/>
                </a:lnTo>
                <a:lnTo>
                  <a:pt x="535" y="447"/>
                </a:lnTo>
                <a:lnTo>
                  <a:pt x="529" y="447"/>
                </a:lnTo>
                <a:lnTo>
                  <a:pt x="524" y="447"/>
                </a:lnTo>
                <a:lnTo>
                  <a:pt x="518" y="447"/>
                </a:lnTo>
                <a:lnTo>
                  <a:pt x="513" y="447"/>
                </a:lnTo>
                <a:lnTo>
                  <a:pt x="513" y="442"/>
                </a:lnTo>
                <a:lnTo>
                  <a:pt x="513" y="447"/>
                </a:lnTo>
                <a:lnTo>
                  <a:pt x="507" y="447"/>
                </a:lnTo>
                <a:lnTo>
                  <a:pt x="502" y="447"/>
                </a:lnTo>
                <a:lnTo>
                  <a:pt x="496" y="447"/>
                </a:lnTo>
                <a:lnTo>
                  <a:pt x="491" y="453"/>
                </a:lnTo>
                <a:lnTo>
                  <a:pt x="486" y="453"/>
                </a:lnTo>
                <a:lnTo>
                  <a:pt x="486" y="458"/>
                </a:lnTo>
                <a:lnTo>
                  <a:pt x="480" y="458"/>
                </a:lnTo>
                <a:lnTo>
                  <a:pt x="480" y="464"/>
                </a:lnTo>
                <a:lnTo>
                  <a:pt x="475" y="458"/>
                </a:lnTo>
                <a:lnTo>
                  <a:pt x="469" y="464"/>
                </a:lnTo>
                <a:lnTo>
                  <a:pt x="464" y="469"/>
                </a:lnTo>
                <a:lnTo>
                  <a:pt x="458" y="469"/>
                </a:lnTo>
                <a:lnTo>
                  <a:pt x="458" y="475"/>
                </a:lnTo>
                <a:lnTo>
                  <a:pt x="453" y="475"/>
                </a:lnTo>
                <a:lnTo>
                  <a:pt x="447" y="480"/>
                </a:lnTo>
                <a:lnTo>
                  <a:pt x="447" y="486"/>
                </a:lnTo>
                <a:lnTo>
                  <a:pt x="442" y="486"/>
                </a:lnTo>
                <a:lnTo>
                  <a:pt x="442" y="491"/>
                </a:lnTo>
                <a:lnTo>
                  <a:pt x="442" y="497"/>
                </a:lnTo>
                <a:lnTo>
                  <a:pt x="442" y="502"/>
                </a:lnTo>
                <a:lnTo>
                  <a:pt x="442" y="507"/>
                </a:lnTo>
                <a:lnTo>
                  <a:pt x="442" y="513"/>
                </a:lnTo>
                <a:lnTo>
                  <a:pt x="447" y="513"/>
                </a:lnTo>
                <a:lnTo>
                  <a:pt x="442" y="518"/>
                </a:lnTo>
                <a:lnTo>
                  <a:pt x="447" y="524"/>
                </a:lnTo>
                <a:lnTo>
                  <a:pt x="442" y="524"/>
                </a:lnTo>
                <a:lnTo>
                  <a:pt x="447" y="524"/>
                </a:lnTo>
                <a:lnTo>
                  <a:pt x="447" y="529"/>
                </a:lnTo>
                <a:lnTo>
                  <a:pt x="447" y="535"/>
                </a:lnTo>
                <a:lnTo>
                  <a:pt x="442" y="540"/>
                </a:lnTo>
                <a:lnTo>
                  <a:pt x="436" y="546"/>
                </a:lnTo>
                <a:lnTo>
                  <a:pt x="431" y="551"/>
                </a:lnTo>
                <a:lnTo>
                  <a:pt x="431" y="557"/>
                </a:lnTo>
                <a:lnTo>
                  <a:pt x="426" y="567"/>
                </a:lnTo>
                <a:lnTo>
                  <a:pt x="426" y="578"/>
                </a:lnTo>
                <a:lnTo>
                  <a:pt x="420" y="578"/>
                </a:lnTo>
                <a:lnTo>
                  <a:pt x="420" y="584"/>
                </a:lnTo>
                <a:lnTo>
                  <a:pt x="415" y="589"/>
                </a:lnTo>
                <a:lnTo>
                  <a:pt x="409" y="589"/>
                </a:lnTo>
                <a:lnTo>
                  <a:pt x="409" y="595"/>
                </a:lnTo>
                <a:lnTo>
                  <a:pt x="409" y="589"/>
                </a:lnTo>
                <a:lnTo>
                  <a:pt x="415" y="589"/>
                </a:lnTo>
                <a:lnTo>
                  <a:pt x="415" y="584"/>
                </a:lnTo>
                <a:lnTo>
                  <a:pt x="420" y="584"/>
                </a:lnTo>
                <a:lnTo>
                  <a:pt x="420" y="578"/>
                </a:lnTo>
                <a:lnTo>
                  <a:pt x="420" y="573"/>
                </a:lnTo>
                <a:lnTo>
                  <a:pt x="426" y="573"/>
                </a:lnTo>
                <a:lnTo>
                  <a:pt x="426" y="567"/>
                </a:lnTo>
                <a:lnTo>
                  <a:pt x="420" y="567"/>
                </a:lnTo>
                <a:lnTo>
                  <a:pt x="426" y="567"/>
                </a:lnTo>
                <a:lnTo>
                  <a:pt x="426" y="562"/>
                </a:lnTo>
                <a:lnTo>
                  <a:pt x="420" y="567"/>
                </a:lnTo>
                <a:lnTo>
                  <a:pt x="415" y="562"/>
                </a:lnTo>
                <a:lnTo>
                  <a:pt x="415" y="567"/>
                </a:lnTo>
                <a:lnTo>
                  <a:pt x="415" y="573"/>
                </a:lnTo>
                <a:lnTo>
                  <a:pt x="415" y="578"/>
                </a:lnTo>
                <a:lnTo>
                  <a:pt x="409" y="578"/>
                </a:lnTo>
                <a:lnTo>
                  <a:pt x="409" y="584"/>
                </a:lnTo>
                <a:lnTo>
                  <a:pt x="409" y="589"/>
                </a:lnTo>
                <a:lnTo>
                  <a:pt x="404" y="584"/>
                </a:lnTo>
                <a:lnTo>
                  <a:pt x="404" y="589"/>
                </a:lnTo>
                <a:lnTo>
                  <a:pt x="409" y="595"/>
                </a:lnTo>
                <a:lnTo>
                  <a:pt x="404" y="600"/>
                </a:lnTo>
                <a:lnTo>
                  <a:pt x="404" y="606"/>
                </a:lnTo>
                <a:lnTo>
                  <a:pt x="404" y="611"/>
                </a:lnTo>
                <a:lnTo>
                  <a:pt x="398" y="617"/>
                </a:lnTo>
                <a:lnTo>
                  <a:pt x="398" y="622"/>
                </a:lnTo>
                <a:lnTo>
                  <a:pt x="393" y="617"/>
                </a:lnTo>
                <a:lnTo>
                  <a:pt x="387" y="611"/>
                </a:lnTo>
                <a:lnTo>
                  <a:pt x="393" y="606"/>
                </a:lnTo>
                <a:lnTo>
                  <a:pt x="393" y="600"/>
                </a:lnTo>
                <a:lnTo>
                  <a:pt x="387" y="600"/>
                </a:lnTo>
                <a:lnTo>
                  <a:pt x="382" y="595"/>
                </a:lnTo>
                <a:lnTo>
                  <a:pt x="382" y="589"/>
                </a:lnTo>
                <a:lnTo>
                  <a:pt x="376" y="589"/>
                </a:lnTo>
                <a:lnTo>
                  <a:pt x="371" y="584"/>
                </a:lnTo>
                <a:lnTo>
                  <a:pt x="366" y="584"/>
                </a:lnTo>
                <a:lnTo>
                  <a:pt x="360" y="578"/>
                </a:lnTo>
                <a:lnTo>
                  <a:pt x="355" y="578"/>
                </a:lnTo>
                <a:lnTo>
                  <a:pt x="349" y="573"/>
                </a:lnTo>
                <a:lnTo>
                  <a:pt x="349" y="578"/>
                </a:lnTo>
                <a:lnTo>
                  <a:pt x="344" y="578"/>
                </a:lnTo>
                <a:lnTo>
                  <a:pt x="344" y="573"/>
                </a:lnTo>
                <a:lnTo>
                  <a:pt x="344" y="567"/>
                </a:lnTo>
                <a:lnTo>
                  <a:pt x="338" y="567"/>
                </a:lnTo>
                <a:lnTo>
                  <a:pt x="333" y="562"/>
                </a:lnTo>
                <a:lnTo>
                  <a:pt x="327" y="562"/>
                </a:lnTo>
                <a:lnTo>
                  <a:pt x="322" y="567"/>
                </a:lnTo>
                <a:lnTo>
                  <a:pt x="316" y="562"/>
                </a:lnTo>
                <a:lnTo>
                  <a:pt x="322" y="562"/>
                </a:lnTo>
                <a:lnTo>
                  <a:pt x="322" y="557"/>
                </a:lnTo>
                <a:lnTo>
                  <a:pt x="327" y="557"/>
                </a:lnTo>
                <a:lnTo>
                  <a:pt x="327" y="551"/>
                </a:lnTo>
                <a:lnTo>
                  <a:pt x="333" y="546"/>
                </a:lnTo>
                <a:lnTo>
                  <a:pt x="333" y="540"/>
                </a:lnTo>
                <a:lnTo>
                  <a:pt x="338" y="540"/>
                </a:lnTo>
                <a:lnTo>
                  <a:pt x="338" y="535"/>
                </a:lnTo>
                <a:lnTo>
                  <a:pt x="344" y="529"/>
                </a:lnTo>
                <a:lnTo>
                  <a:pt x="349" y="524"/>
                </a:lnTo>
                <a:lnTo>
                  <a:pt x="349" y="518"/>
                </a:lnTo>
                <a:lnTo>
                  <a:pt x="355" y="524"/>
                </a:lnTo>
                <a:lnTo>
                  <a:pt x="355" y="518"/>
                </a:lnTo>
                <a:lnTo>
                  <a:pt x="360" y="518"/>
                </a:lnTo>
                <a:lnTo>
                  <a:pt x="366" y="513"/>
                </a:lnTo>
                <a:lnTo>
                  <a:pt x="366" y="507"/>
                </a:lnTo>
                <a:lnTo>
                  <a:pt x="366" y="502"/>
                </a:lnTo>
                <a:lnTo>
                  <a:pt x="360" y="497"/>
                </a:lnTo>
                <a:lnTo>
                  <a:pt x="360" y="491"/>
                </a:lnTo>
                <a:lnTo>
                  <a:pt x="355" y="491"/>
                </a:lnTo>
                <a:lnTo>
                  <a:pt x="349" y="491"/>
                </a:lnTo>
                <a:lnTo>
                  <a:pt x="349" y="486"/>
                </a:lnTo>
                <a:lnTo>
                  <a:pt x="349" y="480"/>
                </a:lnTo>
                <a:lnTo>
                  <a:pt x="349" y="475"/>
                </a:lnTo>
                <a:lnTo>
                  <a:pt x="349" y="469"/>
                </a:lnTo>
                <a:lnTo>
                  <a:pt x="349" y="464"/>
                </a:lnTo>
                <a:lnTo>
                  <a:pt x="344" y="464"/>
                </a:lnTo>
                <a:lnTo>
                  <a:pt x="338" y="464"/>
                </a:lnTo>
                <a:lnTo>
                  <a:pt x="333" y="464"/>
                </a:lnTo>
                <a:lnTo>
                  <a:pt x="327" y="458"/>
                </a:lnTo>
                <a:lnTo>
                  <a:pt x="327" y="453"/>
                </a:lnTo>
                <a:lnTo>
                  <a:pt x="322" y="447"/>
                </a:lnTo>
                <a:lnTo>
                  <a:pt x="322" y="442"/>
                </a:lnTo>
                <a:lnTo>
                  <a:pt x="322" y="437"/>
                </a:lnTo>
                <a:lnTo>
                  <a:pt x="316" y="437"/>
                </a:lnTo>
                <a:lnTo>
                  <a:pt x="311" y="437"/>
                </a:lnTo>
                <a:lnTo>
                  <a:pt x="306" y="437"/>
                </a:lnTo>
                <a:lnTo>
                  <a:pt x="300" y="437"/>
                </a:lnTo>
                <a:lnTo>
                  <a:pt x="295" y="437"/>
                </a:lnTo>
                <a:lnTo>
                  <a:pt x="289" y="437"/>
                </a:lnTo>
                <a:lnTo>
                  <a:pt x="284" y="437"/>
                </a:lnTo>
                <a:lnTo>
                  <a:pt x="284" y="431"/>
                </a:lnTo>
                <a:lnTo>
                  <a:pt x="284" y="426"/>
                </a:lnTo>
                <a:lnTo>
                  <a:pt x="284" y="420"/>
                </a:lnTo>
                <a:lnTo>
                  <a:pt x="284" y="415"/>
                </a:lnTo>
                <a:lnTo>
                  <a:pt x="278" y="415"/>
                </a:lnTo>
                <a:lnTo>
                  <a:pt x="278" y="409"/>
                </a:lnTo>
                <a:lnTo>
                  <a:pt x="278" y="404"/>
                </a:lnTo>
                <a:lnTo>
                  <a:pt x="284" y="398"/>
                </a:lnTo>
                <a:lnTo>
                  <a:pt x="278" y="398"/>
                </a:lnTo>
                <a:lnTo>
                  <a:pt x="278" y="387"/>
                </a:lnTo>
                <a:lnTo>
                  <a:pt x="278" y="382"/>
                </a:lnTo>
                <a:lnTo>
                  <a:pt x="284" y="371"/>
                </a:lnTo>
                <a:lnTo>
                  <a:pt x="278" y="371"/>
                </a:lnTo>
                <a:lnTo>
                  <a:pt x="278" y="366"/>
                </a:lnTo>
                <a:lnTo>
                  <a:pt x="278" y="360"/>
                </a:lnTo>
                <a:lnTo>
                  <a:pt x="273" y="360"/>
                </a:lnTo>
                <a:lnTo>
                  <a:pt x="267" y="360"/>
                </a:lnTo>
                <a:lnTo>
                  <a:pt x="267" y="355"/>
                </a:lnTo>
                <a:lnTo>
                  <a:pt x="262" y="355"/>
                </a:lnTo>
                <a:lnTo>
                  <a:pt x="262" y="349"/>
                </a:lnTo>
                <a:lnTo>
                  <a:pt x="267" y="344"/>
                </a:lnTo>
                <a:lnTo>
                  <a:pt x="262" y="344"/>
                </a:lnTo>
                <a:lnTo>
                  <a:pt x="251" y="344"/>
                </a:lnTo>
                <a:lnTo>
                  <a:pt x="240" y="344"/>
                </a:lnTo>
                <a:lnTo>
                  <a:pt x="235" y="344"/>
                </a:lnTo>
                <a:lnTo>
                  <a:pt x="235" y="327"/>
                </a:lnTo>
                <a:lnTo>
                  <a:pt x="229" y="322"/>
                </a:lnTo>
                <a:lnTo>
                  <a:pt x="229" y="317"/>
                </a:lnTo>
                <a:lnTo>
                  <a:pt x="229" y="311"/>
                </a:lnTo>
                <a:lnTo>
                  <a:pt x="224" y="311"/>
                </a:lnTo>
                <a:lnTo>
                  <a:pt x="229" y="306"/>
                </a:lnTo>
                <a:lnTo>
                  <a:pt x="224" y="300"/>
                </a:lnTo>
                <a:lnTo>
                  <a:pt x="218" y="300"/>
                </a:lnTo>
                <a:lnTo>
                  <a:pt x="213" y="300"/>
                </a:lnTo>
                <a:lnTo>
                  <a:pt x="207" y="300"/>
                </a:lnTo>
                <a:lnTo>
                  <a:pt x="202" y="300"/>
                </a:lnTo>
                <a:lnTo>
                  <a:pt x="202" y="295"/>
                </a:lnTo>
                <a:lnTo>
                  <a:pt x="197" y="295"/>
                </a:lnTo>
                <a:lnTo>
                  <a:pt x="191" y="289"/>
                </a:lnTo>
                <a:lnTo>
                  <a:pt x="186" y="289"/>
                </a:lnTo>
                <a:lnTo>
                  <a:pt x="180" y="284"/>
                </a:lnTo>
                <a:lnTo>
                  <a:pt x="175" y="284"/>
                </a:lnTo>
                <a:lnTo>
                  <a:pt x="169" y="284"/>
                </a:lnTo>
                <a:lnTo>
                  <a:pt x="164" y="284"/>
                </a:lnTo>
                <a:lnTo>
                  <a:pt x="158" y="278"/>
                </a:lnTo>
                <a:lnTo>
                  <a:pt x="153" y="273"/>
                </a:lnTo>
                <a:lnTo>
                  <a:pt x="147" y="267"/>
                </a:lnTo>
                <a:lnTo>
                  <a:pt x="142" y="262"/>
                </a:lnTo>
                <a:lnTo>
                  <a:pt x="147" y="257"/>
                </a:lnTo>
                <a:lnTo>
                  <a:pt x="142" y="257"/>
                </a:lnTo>
                <a:lnTo>
                  <a:pt x="142" y="251"/>
                </a:lnTo>
                <a:lnTo>
                  <a:pt x="142" y="246"/>
                </a:lnTo>
                <a:lnTo>
                  <a:pt x="142" y="240"/>
                </a:lnTo>
                <a:lnTo>
                  <a:pt x="137" y="240"/>
                </a:lnTo>
                <a:lnTo>
                  <a:pt x="131" y="240"/>
                </a:lnTo>
                <a:lnTo>
                  <a:pt x="126" y="240"/>
                </a:lnTo>
                <a:lnTo>
                  <a:pt x="120" y="240"/>
                </a:lnTo>
                <a:lnTo>
                  <a:pt x="120" y="246"/>
                </a:lnTo>
                <a:lnTo>
                  <a:pt x="115" y="246"/>
                </a:lnTo>
                <a:lnTo>
                  <a:pt x="109" y="251"/>
                </a:lnTo>
                <a:lnTo>
                  <a:pt x="104" y="251"/>
                </a:lnTo>
                <a:lnTo>
                  <a:pt x="98" y="251"/>
                </a:lnTo>
                <a:lnTo>
                  <a:pt x="98" y="257"/>
                </a:lnTo>
                <a:lnTo>
                  <a:pt x="93" y="262"/>
                </a:lnTo>
                <a:lnTo>
                  <a:pt x="87" y="257"/>
                </a:lnTo>
                <a:lnTo>
                  <a:pt x="82" y="257"/>
                </a:lnTo>
                <a:lnTo>
                  <a:pt x="77" y="257"/>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7" name="Freeform 38">
            <a:extLst>
              <a:ext uri="{FF2B5EF4-FFF2-40B4-BE49-F238E27FC236}">
                <a16:creationId xmlns:a16="http://schemas.microsoft.com/office/drawing/2014/main" id="{3B21B13A-F63F-67DD-4618-EF54E08AED25}"/>
              </a:ext>
            </a:extLst>
          </p:cNvPr>
          <p:cNvSpPr>
            <a:spLocks/>
          </p:cNvSpPr>
          <p:nvPr/>
        </p:nvSpPr>
        <p:spPr bwMode="auto">
          <a:xfrm>
            <a:off x="1406525" y="3270251"/>
            <a:ext cx="233363" cy="252413"/>
          </a:xfrm>
          <a:custGeom>
            <a:avLst/>
            <a:gdLst>
              <a:gd name="T0" fmla="*/ 10 w 207"/>
              <a:gd name="T1" fmla="*/ 17 h 207"/>
              <a:gd name="T2" fmla="*/ 21 w 207"/>
              <a:gd name="T3" fmla="*/ 11 h 207"/>
              <a:gd name="T4" fmla="*/ 38 w 207"/>
              <a:gd name="T5" fmla="*/ 6 h 207"/>
              <a:gd name="T6" fmla="*/ 49 w 207"/>
              <a:gd name="T7" fmla="*/ 0 h 207"/>
              <a:gd name="T8" fmla="*/ 65 w 207"/>
              <a:gd name="T9" fmla="*/ 0 h 207"/>
              <a:gd name="T10" fmla="*/ 65 w 207"/>
              <a:gd name="T11" fmla="*/ 17 h 207"/>
              <a:gd name="T12" fmla="*/ 70 w 207"/>
              <a:gd name="T13" fmla="*/ 27 h 207"/>
              <a:gd name="T14" fmla="*/ 87 w 207"/>
              <a:gd name="T15" fmla="*/ 44 h 207"/>
              <a:gd name="T16" fmla="*/ 103 w 207"/>
              <a:gd name="T17" fmla="*/ 44 h 207"/>
              <a:gd name="T18" fmla="*/ 120 w 207"/>
              <a:gd name="T19" fmla="*/ 55 h 207"/>
              <a:gd name="T20" fmla="*/ 130 w 207"/>
              <a:gd name="T21" fmla="*/ 60 h 207"/>
              <a:gd name="T22" fmla="*/ 147 w 207"/>
              <a:gd name="T23" fmla="*/ 60 h 207"/>
              <a:gd name="T24" fmla="*/ 152 w 207"/>
              <a:gd name="T25" fmla="*/ 71 h 207"/>
              <a:gd name="T26" fmla="*/ 158 w 207"/>
              <a:gd name="T27" fmla="*/ 87 h 207"/>
              <a:gd name="T28" fmla="*/ 174 w 207"/>
              <a:gd name="T29" fmla="*/ 104 h 207"/>
              <a:gd name="T30" fmla="*/ 185 w 207"/>
              <a:gd name="T31" fmla="*/ 109 h 207"/>
              <a:gd name="T32" fmla="*/ 190 w 207"/>
              <a:gd name="T33" fmla="*/ 120 h 207"/>
              <a:gd name="T34" fmla="*/ 201 w 207"/>
              <a:gd name="T35" fmla="*/ 126 h 207"/>
              <a:gd name="T36" fmla="*/ 201 w 207"/>
              <a:gd name="T37" fmla="*/ 142 h 207"/>
              <a:gd name="T38" fmla="*/ 207 w 207"/>
              <a:gd name="T39" fmla="*/ 158 h 207"/>
              <a:gd name="T40" fmla="*/ 185 w 207"/>
              <a:gd name="T41" fmla="*/ 153 h 207"/>
              <a:gd name="T42" fmla="*/ 141 w 207"/>
              <a:gd name="T43" fmla="*/ 153 h 207"/>
              <a:gd name="T44" fmla="*/ 136 w 207"/>
              <a:gd name="T45" fmla="*/ 169 h 207"/>
              <a:gd name="T46" fmla="*/ 136 w 207"/>
              <a:gd name="T47" fmla="*/ 197 h 207"/>
              <a:gd name="T48" fmla="*/ 114 w 207"/>
              <a:gd name="T49" fmla="*/ 197 h 207"/>
              <a:gd name="T50" fmla="*/ 114 w 207"/>
              <a:gd name="T51" fmla="*/ 202 h 207"/>
              <a:gd name="T52" fmla="*/ 103 w 207"/>
              <a:gd name="T53" fmla="*/ 197 h 207"/>
              <a:gd name="T54" fmla="*/ 87 w 207"/>
              <a:gd name="T55" fmla="*/ 191 h 207"/>
              <a:gd name="T56" fmla="*/ 76 w 207"/>
              <a:gd name="T57" fmla="*/ 197 h 207"/>
              <a:gd name="T58" fmla="*/ 70 w 207"/>
              <a:gd name="T59" fmla="*/ 207 h 207"/>
              <a:gd name="T60" fmla="*/ 60 w 207"/>
              <a:gd name="T61" fmla="*/ 202 h 207"/>
              <a:gd name="T62" fmla="*/ 49 w 207"/>
              <a:gd name="T63" fmla="*/ 186 h 207"/>
              <a:gd name="T64" fmla="*/ 43 w 207"/>
              <a:gd name="T65" fmla="*/ 169 h 207"/>
              <a:gd name="T66" fmla="*/ 38 w 207"/>
              <a:gd name="T67" fmla="*/ 158 h 207"/>
              <a:gd name="T68" fmla="*/ 32 w 207"/>
              <a:gd name="T69" fmla="*/ 147 h 207"/>
              <a:gd name="T70" fmla="*/ 27 w 207"/>
              <a:gd name="T71" fmla="*/ 137 h 207"/>
              <a:gd name="T72" fmla="*/ 21 w 207"/>
              <a:gd name="T73" fmla="*/ 126 h 207"/>
              <a:gd name="T74" fmla="*/ 16 w 207"/>
              <a:gd name="T75" fmla="*/ 115 h 207"/>
              <a:gd name="T76" fmla="*/ 21 w 207"/>
              <a:gd name="T77" fmla="*/ 104 h 207"/>
              <a:gd name="T78" fmla="*/ 27 w 207"/>
              <a:gd name="T79" fmla="*/ 98 h 207"/>
              <a:gd name="T80" fmla="*/ 16 w 207"/>
              <a:gd name="T81" fmla="*/ 87 h 207"/>
              <a:gd name="T82" fmla="*/ 16 w 207"/>
              <a:gd name="T83" fmla="*/ 77 h 207"/>
              <a:gd name="T84" fmla="*/ 16 w 207"/>
              <a:gd name="T85" fmla="*/ 66 h 207"/>
              <a:gd name="T86" fmla="*/ 16 w 207"/>
              <a:gd name="T87" fmla="*/ 49 h 207"/>
              <a:gd name="T88" fmla="*/ 0 w 207"/>
              <a:gd name="T89" fmla="*/ 1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7" h="207">
                <a:moveTo>
                  <a:pt x="0" y="17"/>
                </a:moveTo>
                <a:lnTo>
                  <a:pt x="5" y="17"/>
                </a:lnTo>
                <a:lnTo>
                  <a:pt x="10" y="17"/>
                </a:lnTo>
                <a:lnTo>
                  <a:pt x="16" y="22"/>
                </a:lnTo>
                <a:lnTo>
                  <a:pt x="21" y="17"/>
                </a:lnTo>
                <a:lnTo>
                  <a:pt x="21" y="11"/>
                </a:lnTo>
                <a:lnTo>
                  <a:pt x="27" y="11"/>
                </a:lnTo>
                <a:lnTo>
                  <a:pt x="32" y="11"/>
                </a:lnTo>
                <a:lnTo>
                  <a:pt x="38" y="6"/>
                </a:lnTo>
                <a:lnTo>
                  <a:pt x="43" y="6"/>
                </a:lnTo>
                <a:lnTo>
                  <a:pt x="43" y="0"/>
                </a:lnTo>
                <a:lnTo>
                  <a:pt x="49" y="0"/>
                </a:lnTo>
                <a:lnTo>
                  <a:pt x="54" y="0"/>
                </a:lnTo>
                <a:lnTo>
                  <a:pt x="60" y="0"/>
                </a:lnTo>
                <a:lnTo>
                  <a:pt x="65" y="0"/>
                </a:lnTo>
                <a:lnTo>
                  <a:pt x="65" y="6"/>
                </a:lnTo>
                <a:lnTo>
                  <a:pt x="65" y="11"/>
                </a:lnTo>
                <a:lnTo>
                  <a:pt x="65" y="17"/>
                </a:lnTo>
                <a:lnTo>
                  <a:pt x="70" y="17"/>
                </a:lnTo>
                <a:lnTo>
                  <a:pt x="65" y="22"/>
                </a:lnTo>
                <a:lnTo>
                  <a:pt x="70" y="27"/>
                </a:lnTo>
                <a:lnTo>
                  <a:pt x="76" y="33"/>
                </a:lnTo>
                <a:lnTo>
                  <a:pt x="81" y="38"/>
                </a:lnTo>
                <a:lnTo>
                  <a:pt x="87" y="44"/>
                </a:lnTo>
                <a:lnTo>
                  <a:pt x="92" y="44"/>
                </a:lnTo>
                <a:lnTo>
                  <a:pt x="98" y="44"/>
                </a:lnTo>
                <a:lnTo>
                  <a:pt x="103" y="44"/>
                </a:lnTo>
                <a:lnTo>
                  <a:pt x="109" y="49"/>
                </a:lnTo>
                <a:lnTo>
                  <a:pt x="114" y="49"/>
                </a:lnTo>
                <a:lnTo>
                  <a:pt x="120" y="55"/>
                </a:lnTo>
                <a:lnTo>
                  <a:pt x="125" y="55"/>
                </a:lnTo>
                <a:lnTo>
                  <a:pt x="125" y="60"/>
                </a:lnTo>
                <a:lnTo>
                  <a:pt x="130" y="60"/>
                </a:lnTo>
                <a:lnTo>
                  <a:pt x="136" y="60"/>
                </a:lnTo>
                <a:lnTo>
                  <a:pt x="141" y="60"/>
                </a:lnTo>
                <a:lnTo>
                  <a:pt x="147" y="60"/>
                </a:lnTo>
                <a:lnTo>
                  <a:pt x="152" y="66"/>
                </a:lnTo>
                <a:lnTo>
                  <a:pt x="147" y="71"/>
                </a:lnTo>
                <a:lnTo>
                  <a:pt x="152" y="71"/>
                </a:lnTo>
                <a:lnTo>
                  <a:pt x="152" y="77"/>
                </a:lnTo>
                <a:lnTo>
                  <a:pt x="152" y="82"/>
                </a:lnTo>
                <a:lnTo>
                  <a:pt x="158" y="87"/>
                </a:lnTo>
                <a:lnTo>
                  <a:pt x="158" y="104"/>
                </a:lnTo>
                <a:lnTo>
                  <a:pt x="163" y="104"/>
                </a:lnTo>
                <a:lnTo>
                  <a:pt x="174" y="104"/>
                </a:lnTo>
                <a:lnTo>
                  <a:pt x="185" y="104"/>
                </a:lnTo>
                <a:lnTo>
                  <a:pt x="190" y="104"/>
                </a:lnTo>
                <a:lnTo>
                  <a:pt x="185" y="109"/>
                </a:lnTo>
                <a:lnTo>
                  <a:pt x="185" y="115"/>
                </a:lnTo>
                <a:lnTo>
                  <a:pt x="190" y="115"/>
                </a:lnTo>
                <a:lnTo>
                  <a:pt x="190" y="120"/>
                </a:lnTo>
                <a:lnTo>
                  <a:pt x="196" y="120"/>
                </a:lnTo>
                <a:lnTo>
                  <a:pt x="201" y="120"/>
                </a:lnTo>
                <a:lnTo>
                  <a:pt x="201" y="126"/>
                </a:lnTo>
                <a:lnTo>
                  <a:pt x="201" y="131"/>
                </a:lnTo>
                <a:lnTo>
                  <a:pt x="207" y="131"/>
                </a:lnTo>
                <a:lnTo>
                  <a:pt x="201" y="142"/>
                </a:lnTo>
                <a:lnTo>
                  <a:pt x="201" y="147"/>
                </a:lnTo>
                <a:lnTo>
                  <a:pt x="201" y="158"/>
                </a:lnTo>
                <a:lnTo>
                  <a:pt x="207" y="158"/>
                </a:lnTo>
                <a:lnTo>
                  <a:pt x="201" y="164"/>
                </a:lnTo>
                <a:lnTo>
                  <a:pt x="196" y="158"/>
                </a:lnTo>
                <a:lnTo>
                  <a:pt x="185" y="153"/>
                </a:lnTo>
                <a:lnTo>
                  <a:pt x="169" y="147"/>
                </a:lnTo>
                <a:lnTo>
                  <a:pt x="158" y="153"/>
                </a:lnTo>
                <a:lnTo>
                  <a:pt x="141" y="153"/>
                </a:lnTo>
                <a:lnTo>
                  <a:pt x="141" y="158"/>
                </a:lnTo>
                <a:lnTo>
                  <a:pt x="141" y="164"/>
                </a:lnTo>
                <a:lnTo>
                  <a:pt x="136" y="169"/>
                </a:lnTo>
                <a:lnTo>
                  <a:pt x="141" y="180"/>
                </a:lnTo>
                <a:lnTo>
                  <a:pt x="136" y="186"/>
                </a:lnTo>
                <a:lnTo>
                  <a:pt x="136" y="197"/>
                </a:lnTo>
                <a:lnTo>
                  <a:pt x="136" y="191"/>
                </a:lnTo>
                <a:lnTo>
                  <a:pt x="120" y="191"/>
                </a:lnTo>
                <a:lnTo>
                  <a:pt x="114" y="197"/>
                </a:lnTo>
                <a:lnTo>
                  <a:pt x="114" y="202"/>
                </a:lnTo>
                <a:lnTo>
                  <a:pt x="114" y="207"/>
                </a:lnTo>
                <a:lnTo>
                  <a:pt x="114" y="202"/>
                </a:lnTo>
                <a:lnTo>
                  <a:pt x="109" y="202"/>
                </a:lnTo>
                <a:lnTo>
                  <a:pt x="109" y="197"/>
                </a:lnTo>
                <a:lnTo>
                  <a:pt x="103" y="197"/>
                </a:lnTo>
                <a:lnTo>
                  <a:pt x="92" y="197"/>
                </a:lnTo>
                <a:lnTo>
                  <a:pt x="87" y="197"/>
                </a:lnTo>
                <a:lnTo>
                  <a:pt x="87" y="191"/>
                </a:lnTo>
                <a:lnTo>
                  <a:pt x="81" y="191"/>
                </a:lnTo>
                <a:lnTo>
                  <a:pt x="81" y="197"/>
                </a:lnTo>
                <a:lnTo>
                  <a:pt x="76" y="197"/>
                </a:lnTo>
                <a:lnTo>
                  <a:pt x="76" y="202"/>
                </a:lnTo>
                <a:lnTo>
                  <a:pt x="70" y="202"/>
                </a:lnTo>
                <a:lnTo>
                  <a:pt x="70" y="207"/>
                </a:lnTo>
                <a:lnTo>
                  <a:pt x="65" y="207"/>
                </a:lnTo>
                <a:lnTo>
                  <a:pt x="60" y="207"/>
                </a:lnTo>
                <a:lnTo>
                  <a:pt x="60" y="202"/>
                </a:lnTo>
                <a:lnTo>
                  <a:pt x="54" y="197"/>
                </a:lnTo>
                <a:lnTo>
                  <a:pt x="54" y="191"/>
                </a:lnTo>
                <a:lnTo>
                  <a:pt x="49" y="186"/>
                </a:lnTo>
                <a:lnTo>
                  <a:pt x="49" y="180"/>
                </a:lnTo>
                <a:lnTo>
                  <a:pt x="43" y="175"/>
                </a:lnTo>
                <a:lnTo>
                  <a:pt x="43" y="169"/>
                </a:lnTo>
                <a:lnTo>
                  <a:pt x="38" y="169"/>
                </a:lnTo>
                <a:lnTo>
                  <a:pt x="38" y="164"/>
                </a:lnTo>
                <a:lnTo>
                  <a:pt x="38" y="158"/>
                </a:lnTo>
                <a:lnTo>
                  <a:pt x="38" y="153"/>
                </a:lnTo>
                <a:lnTo>
                  <a:pt x="38" y="147"/>
                </a:lnTo>
                <a:lnTo>
                  <a:pt x="32" y="147"/>
                </a:lnTo>
                <a:lnTo>
                  <a:pt x="32" y="142"/>
                </a:lnTo>
                <a:lnTo>
                  <a:pt x="27" y="142"/>
                </a:lnTo>
                <a:lnTo>
                  <a:pt x="27" y="137"/>
                </a:lnTo>
                <a:lnTo>
                  <a:pt x="27" y="131"/>
                </a:lnTo>
                <a:lnTo>
                  <a:pt x="21" y="131"/>
                </a:lnTo>
                <a:lnTo>
                  <a:pt x="21" y="126"/>
                </a:lnTo>
                <a:lnTo>
                  <a:pt x="16" y="126"/>
                </a:lnTo>
                <a:lnTo>
                  <a:pt x="16" y="120"/>
                </a:lnTo>
                <a:lnTo>
                  <a:pt x="16" y="115"/>
                </a:lnTo>
                <a:lnTo>
                  <a:pt x="21" y="109"/>
                </a:lnTo>
                <a:lnTo>
                  <a:pt x="27" y="109"/>
                </a:lnTo>
                <a:lnTo>
                  <a:pt x="21" y="104"/>
                </a:lnTo>
                <a:lnTo>
                  <a:pt x="27" y="104"/>
                </a:lnTo>
                <a:lnTo>
                  <a:pt x="21" y="98"/>
                </a:lnTo>
                <a:lnTo>
                  <a:pt x="27" y="98"/>
                </a:lnTo>
                <a:lnTo>
                  <a:pt x="21" y="98"/>
                </a:lnTo>
                <a:lnTo>
                  <a:pt x="16" y="93"/>
                </a:lnTo>
                <a:lnTo>
                  <a:pt x="16" y="87"/>
                </a:lnTo>
                <a:lnTo>
                  <a:pt x="16" y="82"/>
                </a:lnTo>
                <a:lnTo>
                  <a:pt x="10" y="82"/>
                </a:lnTo>
                <a:lnTo>
                  <a:pt x="16" y="77"/>
                </a:lnTo>
                <a:lnTo>
                  <a:pt x="16" y="71"/>
                </a:lnTo>
                <a:lnTo>
                  <a:pt x="21" y="71"/>
                </a:lnTo>
                <a:lnTo>
                  <a:pt x="16" y="66"/>
                </a:lnTo>
                <a:lnTo>
                  <a:pt x="16" y="60"/>
                </a:lnTo>
                <a:lnTo>
                  <a:pt x="16" y="55"/>
                </a:lnTo>
                <a:lnTo>
                  <a:pt x="16" y="49"/>
                </a:lnTo>
                <a:lnTo>
                  <a:pt x="16" y="44"/>
                </a:lnTo>
                <a:lnTo>
                  <a:pt x="10" y="33"/>
                </a:lnTo>
                <a:lnTo>
                  <a:pt x="0" y="17"/>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8" name="Freeform 161">
            <a:extLst>
              <a:ext uri="{FF2B5EF4-FFF2-40B4-BE49-F238E27FC236}">
                <a16:creationId xmlns:a16="http://schemas.microsoft.com/office/drawing/2014/main" id="{93BBBB3B-AA8A-4D96-484A-73F086E42D87}"/>
              </a:ext>
            </a:extLst>
          </p:cNvPr>
          <p:cNvSpPr>
            <a:spLocks/>
          </p:cNvSpPr>
          <p:nvPr/>
        </p:nvSpPr>
        <p:spPr bwMode="auto">
          <a:xfrm>
            <a:off x="1547813" y="2911475"/>
            <a:ext cx="79375" cy="146050"/>
          </a:xfrm>
          <a:custGeom>
            <a:avLst/>
            <a:gdLst>
              <a:gd name="T0" fmla="*/ 0 w 71"/>
              <a:gd name="T1" fmla="*/ 43 h 120"/>
              <a:gd name="T2" fmla="*/ 0 w 71"/>
              <a:gd name="T3" fmla="*/ 32 h 120"/>
              <a:gd name="T4" fmla="*/ 11 w 71"/>
              <a:gd name="T5" fmla="*/ 32 h 120"/>
              <a:gd name="T6" fmla="*/ 11 w 71"/>
              <a:gd name="T7" fmla="*/ 27 h 120"/>
              <a:gd name="T8" fmla="*/ 11 w 71"/>
              <a:gd name="T9" fmla="*/ 16 h 120"/>
              <a:gd name="T10" fmla="*/ 22 w 71"/>
              <a:gd name="T11" fmla="*/ 11 h 120"/>
              <a:gd name="T12" fmla="*/ 22 w 71"/>
              <a:gd name="T13" fmla="*/ 0 h 120"/>
              <a:gd name="T14" fmla="*/ 38 w 71"/>
              <a:gd name="T15" fmla="*/ 11 h 120"/>
              <a:gd name="T16" fmla="*/ 44 w 71"/>
              <a:gd name="T17" fmla="*/ 16 h 120"/>
              <a:gd name="T18" fmla="*/ 44 w 71"/>
              <a:gd name="T19" fmla="*/ 27 h 120"/>
              <a:gd name="T20" fmla="*/ 44 w 71"/>
              <a:gd name="T21" fmla="*/ 38 h 120"/>
              <a:gd name="T22" fmla="*/ 44 w 71"/>
              <a:gd name="T23" fmla="*/ 27 h 120"/>
              <a:gd name="T24" fmla="*/ 55 w 71"/>
              <a:gd name="T25" fmla="*/ 32 h 120"/>
              <a:gd name="T26" fmla="*/ 60 w 71"/>
              <a:gd name="T27" fmla="*/ 38 h 120"/>
              <a:gd name="T28" fmla="*/ 65 w 71"/>
              <a:gd name="T29" fmla="*/ 43 h 120"/>
              <a:gd name="T30" fmla="*/ 60 w 71"/>
              <a:gd name="T31" fmla="*/ 54 h 120"/>
              <a:gd name="T32" fmla="*/ 60 w 71"/>
              <a:gd name="T33" fmla="*/ 60 h 120"/>
              <a:gd name="T34" fmla="*/ 55 w 71"/>
              <a:gd name="T35" fmla="*/ 65 h 120"/>
              <a:gd name="T36" fmla="*/ 49 w 71"/>
              <a:gd name="T37" fmla="*/ 76 h 120"/>
              <a:gd name="T38" fmla="*/ 60 w 71"/>
              <a:gd name="T39" fmla="*/ 87 h 120"/>
              <a:gd name="T40" fmla="*/ 60 w 71"/>
              <a:gd name="T41" fmla="*/ 87 h 120"/>
              <a:gd name="T42" fmla="*/ 60 w 71"/>
              <a:gd name="T43" fmla="*/ 92 h 120"/>
              <a:gd name="T44" fmla="*/ 65 w 71"/>
              <a:gd name="T45" fmla="*/ 98 h 120"/>
              <a:gd name="T46" fmla="*/ 71 w 71"/>
              <a:gd name="T47" fmla="*/ 109 h 120"/>
              <a:gd name="T48" fmla="*/ 60 w 71"/>
              <a:gd name="T49" fmla="*/ 109 h 120"/>
              <a:gd name="T50" fmla="*/ 49 w 71"/>
              <a:gd name="T51" fmla="*/ 109 h 120"/>
              <a:gd name="T52" fmla="*/ 44 w 71"/>
              <a:gd name="T53" fmla="*/ 114 h 120"/>
              <a:gd name="T54" fmla="*/ 38 w 71"/>
              <a:gd name="T55" fmla="*/ 120 h 120"/>
              <a:gd name="T56" fmla="*/ 27 w 71"/>
              <a:gd name="T57" fmla="*/ 114 h 120"/>
              <a:gd name="T58" fmla="*/ 22 w 71"/>
              <a:gd name="T59" fmla="*/ 109 h 120"/>
              <a:gd name="T60" fmla="*/ 22 w 71"/>
              <a:gd name="T61" fmla="*/ 98 h 120"/>
              <a:gd name="T62" fmla="*/ 16 w 71"/>
              <a:gd name="T63" fmla="*/ 87 h 120"/>
              <a:gd name="T64" fmla="*/ 22 w 71"/>
              <a:gd name="T65" fmla="*/ 81 h 120"/>
              <a:gd name="T66" fmla="*/ 22 w 71"/>
              <a:gd name="T67" fmla="*/ 71 h 120"/>
              <a:gd name="T68" fmla="*/ 16 w 71"/>
              <a:gd name="T69" fmla="*/ 65 h 120"/>
              <a:gd name="T70" fmla="*/ 22 w 71"/>
              <a:gd name="T71" fmla="*/ 60 h 120"/>
              <a:gd name="T72" fmla="*/ 11 w 71"/>
              <a:gd name="T73" fmla="*/ 5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1" h="120">
                <a:moveTo>
                  <a:pt x="5" y="54"/>
                </a:moveTo>
                <a:lnTo>
                  <a:pt x="0" y="43"/>
                </a:lnTo>
                <a:lnTo>
                  <a:pt x="0" y="38"/>
                </a:lnTo>
                <a:lnTo>
                  <a:pt x="0" y="32"/>
                </a:lnTo>
                <a:lnTo>
                  <a:pt x="5" y="27"/>
                </a:lnTo>
                <a:lnTo>
                  <a:pt x="11" y="32"/>
                </a:lnTo>
                <a:lnTo>
                  <a:pt x="16" y="27"/>
                </a:lnTo>
                <a:lnTo>
                  <a:pt x="11" y="27"/>
                </a:lnTo>
                <a:lnTo>
                  <a:pt x="11" y="21"/>
                </a:lnTo>
                <a:lnTo>
                  <a:pt x="11" y="16"/>
                </a:lnTo>
                <a:lnTo>
                  <a:pt x="16" y="16"/>
                </a:lnTo>
                <a:lnTo>
                  <a:pt x="22" y="11"/>
                </a:lnTo>
                <a:lnTo>
                  <a:pt x="27" y="5"/>
                </a:lnTo>
                <a:lnTo>
                  <a:pt x="22" y="0"/>
                </a:lnTo>
                <a:lnTo>
                  <a:pt x="27" y="5"/>
                </a:lnTo>
                <a:lnTo>
                  <a:pt x="38" y="11"/>
                </a:lnTo>
                <a:lnTo>
                  <a:pt x="38" y="16"/>
                </a:lnTo>
                <a:lnTo>
                  <a:pt x="44" y="16"/>
                </a:lnTo>
                <a:lnTo>
                  <a:pt x="44" y="21"/>
                </a:lnTo>
                <a:lnTo>
                  <a:pt x="44" y="27"/>
                </a:lnTo>
                <a:lnTo>
                  <a:pt x="44" y="32"/>
                </a:lnTo>
                <a:lnTo>
                  <a:pt x="44" y="38"/>
                </a:lnTo>
                <a:lnTo>
                  <a:pt x="44" y="32"/>
                </a:lnTo>
                <a:lnTo>
                  <a:pt x="44" y="27"/>
                </a:lnTo>
                <a:lnTo>
                  <a:pt x="49" y="27"/>
                </a:lnTo>
                <a:lnTo>
                  <a:pt x="55" y="32"/>
                </a:lnTo>
                <a:lnTo>
                  <a:pt x="60" y="32"/>
                </a:lnTo>
                <a:lnTo>
                  <a:pt x="60" y="38"/>
                </a:lnTo>
                <a:lnTo>
                  <a:pt x="65" y="38"/>
                </a:lnTo>
                <a:lnTo>
                  <a:pt x="65" y="43"/>
                </a:lnTo>
                <a:lnTo>
                  <a:pt x="65" y="49"/>
                </a:lnTo>
                <a:lnTo>
                  <a:pt x="60" y="54"/>
                </a:lnTo>
                <a:lnTo>
                  <a:pt x="65" y="54"/>
                </a:lnTo>
                <a:lnTo>
                  <a:pt x="60" y="60"/>
                </a:lnTo>
                <a:lnTo>
                  <a:pt x="55" y="60"/>
                </a:lnTo>
                <a:lnTo>
                  <a:pt x="55" y="65"/>
                </a:lnTo>
                <a:lnTo>
                  <a:pt x="49" y="71"/>
                </a:lnTo>
                <a:lnTo>
                  <a:pt x="49" y="76"/>
                </a:lnTo>
                <a:lnTo>
                  <a:pt x="55" y="81"/>
                </a:lnTo>
                <a:lnTo>
                  <a:pt x="60" y="87"/>
                </a:lnTo>
                <a:lnTo>
                  <a:pt x="60" y="81"/>
                </a:lnTo>
                <a:lnTo>
                  <a:pt x="60" y="87"/>
                </a:lnTo>
                <a:lnTo>
                  <a:pt x="65" y="92"/>
                </a:lnTo>
                <a:lnTo>
                  <a:pt x="60" y="92"/>
                </a:lnTo>
                <a:lnTo>
                  <a:pt x="65" y="92"/>
                </a:lnTo>
                <a:lnTo>
                  <a:pt x="65" y="98"/>
                </a:lnTo>
                <a:lnTo>
                  <a:pt x="71" y="103"/>
                </a:lnTo>
                <a:lnTo>
                  <a:pt x="71" y="109"/>
                </a:lnTo>
                <a:lnTo>
                  <a:pt x="65" y="103"/>
                </a:lnTo>
                <a:lnTo>
                  <a:pt x="60" y="109"/>
                </a:lnTo>
                <a:lnTo>
                  <a:pt x="55" y="109"/>
                </a:lnTo>
                <a:lnTo>
                  <a:pt x="49" y="109"/>
                </a:lnTo>
                <a:lnTo>
                  <a:pt x="49" y="114"/>
                </a:lnTo>
                <a:lnTo>
                  <a:pt x="44" y="114"/>
                </a:lnTo>
                <a:lnTo>
                  <a:pt x="44" y="120"/>
                </a:lnTo>
                <a:lnTo>
                  <a:pt x="38" y="120"/>
                </a:lnTo>
                <a:lnTo>
                  <a:pt x="33" y="120"/>
                </a:lnTo>
                <a:lnTo>
                  <a:pt x="27" y="114"/>
                </a:lnTo>
                <a:lnTo>
                  <a:pt x="27" y="109"/>
                </a:lnTo>
                <a:lnTo>
                  <a:pt x="22" y="109"/>
                </a:lnTo>
                <a:lnTo>
                  <a:pt x="22" y="103"/>
                </a:lnTo>
                <a:lnTo>
                  <a:pt x="22" y="98"/>
                </a:lnTo>
                <a:lnTo>
                  <a:pt x="16" y="92"/>
                </a:lnTo>
                <a:lnTo>
                  <a:pt x="16" y="87"/>
                </a:lnTo>
                <a:lnTo>
                  <a:pt x="22" y="87"/>
                </a:lnTo>
                <a:lnTo>
                  <a:pt x="22" y="81"/>
                </a:lnTo>
                <a:lnTo>
                  <a:pt x="27" y="76"/>
                </a:lnTo>
                <a:lnTo>
                  <a:pt x="22" y="71"/>
                </a:lnTo>
                <a:lnTo>
                  <a:pt x="22" y="65"/>
                </a:lnTo>
                <a:lnTo>
                  <a:pt x="16" y="65"/>
                </a:lnTo>
                <a:lnTo>
                  <a:pt x="16" y="60"/>
                </a:lnTo>
                <a:lnTo>
                  <a:pt x="22" y="60"/>
                </a:lnTo>
                <a:lnTo>
                  <a:pt x="16" y="54"/>
                </a:lnTo>
                <a:lnTo>
                  <a:pt x="11" y="54"/>
                </a:lnTo>
                <a:lnTo>
                  <a:pt x="5" y="54"/>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79" name="Freeform 162">
            <a:extLst>
              <a:ext uri="{FF2B5EF4-FFF2-40B4-BE49-F238E27FC236}">
                <a16:creationId xmlns:a16="http://schemas.microsoft.com/office/drawing/2014/main" id="{C0B38124-1C4A-DC49-1E58-AAB79A2DA7C1}"/>
              </a:ext>
            </a:extLst>
          </p:cNvPr>
          <p:cNvSpPr>
            <a:spLocks/>
          </p:cNvSpPr>
          <p:nvPr/>
        </p:nvSpPr>
        <p:spPr bwMode="auto">
          <a:xfrm>
            <a:off x="1339850" y="2844800"/>
            <a:ext cx="238125" cy="219075"/>
          </a:xfrm>
          <a:custGeom>
            <a:avLst/>
            <a:gdLst>
              <a:gd name="T0" fmla="*/ 92 w 212"/>
              <a:gd name="T1" fmla="*/ 164 h 180"/>
              <a:gd name="T2" fmla="*/ 87 w 212"/>
              <a:gd name="T3" fmla="*/ 153 h 180"/>
              <a:gd name="T4" fmla="*/ 76 w 212"/>
              <a:gd name="T5" fmla="*/ 147 h 180"/>
              <a:gd name="T6" fmla="*/ 87 w 212"/>
              <a:gd name="T7" fmla="*/ 131 h 180"/>
              <a:gd name="T8" fmla="*/ 81 w 212"/>
              <a:gd name="T9" fmla="*/ 120 h 180"/>
              <a:gd name="T10" fmla="*/ 81 w 212"/>
              <a:gd name="T11" fmla="*/ 104 h 180"/>
              <a:gd name="T12" fmla="*/ 81 w 212"/>
              <a:gd name="T13" fmla="*/ 93 h 180"/>
              <a:gd name="T14" fmla="*/ 65 w 212"/>
              <a:gd name="T15" fmla="*/ 93 h 180"/>
              <a:gd name="T16" fmla="*/ 54 w 212"/>
              <a:gd name="T17" fmla="*/ 98 h 180"/>
              <a:gd name="T18" fmla="*/ 43 w 212"/>
              <a:gd name="T19" fmla="*/ 82 h 180"/>
              <a:gd name="T20" fmla="*/ 27 w 212"/>
              <a:gd name="T21" fmla="*/ 82 h 180"/>
              <a:gd name="T22" fmla="*/ 16 w 212"/>
              <a:gd name="T23" fmla="*/ 76 h 180"/>
              <a:gd name="T24" fmla="*/ 11 w 212"/>
              <a:gd name="T25" fmla="*/ 66 h 180"/>
              <a:gd name="T26" fmla="*/ 5 w 212"/>
              <a:gd name="T27" fmla="*/ 49 h 180"/>
              <a:gd name="T28" fmla="*/ 0 w 212"/>
              <a:gd name="T29" fmla="*/ 44 h 180"/>
              <a:gd name="T30" fmla="*/ 5 w 212"/>
              <a:gd name="T31" fmla="*/ 27 h 180"/>
              <a:gd name="T32" fmla="*/ 21 w 212"/>
              <a:gd name="T33" fmla="*/ 16 h 180"/>
              <a:gd name="T34" fmla="*/ 27 w 212"/>
              <a:gd name="T35" fmla="*/ 6 h 180"/>
              <a:gd name="T36" fmla="*/ 27 w 212"/>
              <a:gd name="T37" fmla="*/ 22 h 180"/>
              <a:gd name="T38" fmla="*/ 16 w 212"/>
              <a:gd name="T39" fmla="*/ 38 h 180"/>
              <a:gd name="T40" fmla="*/ 27 w 212"/>
              <a:gd name="T41" fmla="*/ 49 h 180"/>
              <a:gd name="T42" fmla="*/ 38 w 212"/>
              <a:gd name="T43" fmla="*/ 38 h 180"/>
              <a:gd name="T44" fmla="*/ 27 w 212"/>
              <a:gd name="T45" fmla="*/ 27 h 180"/>
              <a:gd name="T46" fmla="*/ 32 w 212"/>
              <a:gd name="T47" fmla="*/ 16 h 180"/>
              <a:gd name="T48" fmla="*/ 49 w 212"/>
              <a:gd name="T49" fmla="*/ 16 h 180"/>
              <a:gd name="T50" fmla="*/ 60 w 212"/>
              <a:gd name="T51" fmla="*/ 11 h 180"/>
              <a:gd name="T52" fmla="*/ 49 w 212"/>
              <a:gd name="T53" fmla="*/ 6 h 180"/>
              <a:gd name="T54" fmla="*/ 60 w 212"/>
              <a:gd name="T55" fmla="*/ 6 h 180"/>
              <a:gd name="T56" fmla="*/ 70 w 212"/>
              <a:gd name="T57" fmla="*/ 11 h 180"/>
              <a:gd name="T58" fmla="*/ 81 w 212"/>
              <a:gd name="T59" fmla="*/ 16 h 180"/>
              <a:gd name="T60" fmla="*/ 87 w 212"/>
              <a:gd name="T61" fmla="*/ 27 h 180"/>
              <a:gd name="T62" fmla="*/ 98 w 212"/>
              <a:gd name="T63" fmla="*/ 22 h 180"/>
              <a:gd name="T64" fmla="*/ 114 w 212"/>
              <a:gd name="T65" fmla="*/ 22 h 180"/>
              <a:gd name="T66" fmla="*/ 125 w 212"/>
              <a:gd name="T67" fmla="*/ 33 h 180"/>
              <a:gd name="T68" fmla="*/ 141 w 212"/>
              <a:gd name="T69" fmla="*/ 27 h 180"/>
              <a:gd name="T70" fmla="*/ 147 w 212"/>
              <a:gd name="T71" fmla="*/ 22 h 180"/>
              <a:gd name="T72" fmla="*/ 147 w 212"/>
              <a:gd name="T73" fmla="*/ 22 h 180"/>
              <a:gd name="T74" fmla="*/ 163 w 212"/>
              <a:gd name="T75" fmla="*/ 22 h 180"/>
              <a:gd name="T76" fmla="*/ 180 w 212"/>
              <a:gd name="T77" fmla="*/ 22 h 180"/>
              <a:gd name="T78" fmla="*/ 169 w 212"/>
              <a:gd name="T79" fmla="*/ 27 h 180"/>
              <a:gd name="T80" fmla="*/ 169 w 212"/>
              <a:gd name="T81" fmla="*/ 33 h 180"/>
              <a:gd name="T82" fmla="*/ 180 w 212"/>
              <a:gd name="T83" fmla="*/ 38 h 180"/>
              <a:gd name="T84" fmla="*/ 190 w 212"/>
              <a:gd name="T85" fmla="*/ 38 h 180"/>
              <a:gd name="T86" fmla="*/ 196 w 212"/>
              <a:gd name="T87" fmla="*/ 55 h 180"/>
              <a:gd name="T88" fmla="*/ 212 w 212"/>
              <a:gd name="T89" fmla="*/ 60 h 180"/>
              <a:gd name="T90" fmla="*/ 196 w 212"/>
              <a:gd name="T91" fmla="*/ 71 h 180"/>
              <a:gd name="T92" fmla="*/ 201 w 212"/>
              <a:gd name="T93" fmla="*/ 82 h 180"/>
              <a:gd name="T94" fmla="*/ 185 w 212"/>
              <a:gd name="T95" fmla="*/ 87 h 180"/>
              <a:gd name="T96" fmla="*/ 190 w 212"/>
              <a:gd name="T97" fmla="*/ 109 h 180"/>
              <a:gd name="T98" fmla="*/ 190 w 212"/>
              <a:gd name="T99" fmla="*/ 120 h 180"/>
              <a:gd name="T100" fmla="*/ 174 w 212"/>
              <a:gd name="T101" fmla="*/ 126 h 180"/>
              <a:gd name="T102" fmla="*/ 158 w 212"/>
              <a:gd name="T103" fmla="*/ 131 h 180"/>
              <a:gd name="T104" fmla="*/ 147 w 212"/>
              <a:gd name="T105" fmla="*/ 131 h 180"/>
              <a:gd name="T106" fmla="*/ 130 w 212"/>
              <a:gd name="T107" fmla="*/ 126 h 180"/>
              <a:gd name="T108" fmla="*/ 130 w 212"/>
              <a:gd name="T109" fmla="*/ 131 h 180"/>
              <a:gd name="T110" fmla="*/ 136 w 212"/>
              <a:gd name="T111" fmla="*/ 142 h 180"/>
              <a:gd name="T112" fmla="*/ 147 w 212"/>
              <a:gd name="T113" fmla="*/ 153 h 180"/>
              <a:gd name="T114" fmla="*/ 141 w 212"/>
              <a:gd name="T115" fmla="*/ 164 h 180"/>
              <a:gd name="T116" fmla="*/ 130 w 212"/>
              <a:gd name="T117" fmla="*/ 175 h 180"/>
              <a:gd name="T118" fmla="*/ 120 w 212"/>
              <a:gd name="T119" fmla="*/ 180 h 180"/>
              <a:gd name="T120" fmla="*/ 109 w 212"/>
              <a:gd name="T121" fmla="*/ 175 h 180"/>
              <a:gd name="T122" fmla="*/ 92 w 212"/>
              <a:gd name="T123" fmla="*/ 17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2" h="180">
                <a:moveTo>
                  <a:pt x="92" y="175"/>
                </a:moveTo>
                <a:lnTo>
                  <a:pt x="92" y="169"/>
                </a:lnTo>
                <a:lnTo>
                  <a:pt x="92" y="164"/>
                </a:lnTo>
                <a:lnTo>
                  <a:pt x="92" y="158"/>
                </a:lnTo>
                <a:lnTo>
                  <a:pt x="87" y="158"/>
                </a:lnTo>
                <a:lnTo>
                  <a:pt x="87" y="153"/>
                </a:lnTo>
                <a:lnTo>
                  <a:pt x="81" y="153"/>
                </a:lnTo>
                <a:lnTo>
                  <a:pt x="81" y="147"/>
                </a:lnTo>
                <a:lnTo>
                  <a:pt x="76" y="147"/>
                </a:lnTo>
                <a:lnTo>
                  <a:pt x="87" y="142"/>
                </a:lnTo>
                <a:lnTo>
                  <a:pt x="87" y="136"/>
                </a:lnTo>
                <a:lnTo>
                  <a:pt x="87" y="131"/>
                </a:lnTo>
                <a:lnTo>
                  <a:pt x="81" y="131"/>
                </a:lnTo>
                <a:lnTo>
                  <a:pt x="81" y="126"/>
                </a:lnTo>
                <a:lnTo>
                  <a:pt x="81" y="120"/>
                </a:lnTo>
                <a:lnTo>
                  <a:pt x="81" y="115"/>
                </a:lnTo>
                <a:lnTo>
                  <a:pt x="81" y="109"/>
                </a:lnTo>
                <a:lnTo>
                  <a:pt x="81" y="104"/>
                </a:lnTo>
                <a:lnTo>
                  <a:pt x="87" y="98"/>
                </a:lnTo>
                <a:lnTo>
                  <a:pt x="87" y="93"/>
                </a:lnTo>
                <a:lnTo>
                  <a:pt x="81" y="93"/>
                </a:lnTo>
                <a:lnTo>
                  <a:pt x="76" y="93"/>
                </a:lnTo>
                <a:lnTo>
                  <a:pt x="70" y="93"/>
                </a:lnTo>
                <a:lnTo>
                  <a:pt x="65" y="93"/>
                </a:lnTo>
                <a:lnTo>
                  <a:pt x="60" y="93"/>
                </a:lnTo>
                <a:lnTo>
                  <a:pt x="60" y="98"/>
                </a:lnTo>
                <a:lnTo>
                  <a:pt x="54" y="98"/>
                </a:lnTo>
                <a:lnTo>
                  <a:pt x="54" y="93"/>
                </a:lnTo>
                <a:lnTo>
                  <a:pt x="49" y="82"/>
                </a:lnTo>
                <a:lnTo>
                  <a:pt x="43" y="82"/>
                </a:lnTo>
                <a:lnTo>
                  <a:pt x="38" y="82"/>
                </a:lnTo>
                <a:lnTo>
                  <a:pt x="32" y="82"/>
                </a:lnTo>
                <a:lnTo>
                  <a:pt x="27" y="82"/>
                </a:lnTo>
                <a:lnTo>
                  <a:pt x="21" y="82"/>
                </a:lnTo>
                <a:lnTo>
                  <a:pt x="16" y="82"/>
                </a:lnTo>
                <a:lnTo>
                  <a:pt x="16" y="76"/>
                </a:lnTo>
                <a:lnTo>
                  <a:pt x="11" y="76"/>
                </a:lnTo>
                <a:lnTo>
                  <a:pt x="11" y="71"/>
                </a:lnTo>
                <a:lnTo>
                  <a:pt x="11" y="66"/>
                </a:lnTo>
                <a:lnTo>
                  <a:pt x="11" y="60"/>
                </a:lnTo>
                <a:lnTo>
                  <a:pt x="11" y="55"/>
                </a:lnTo>
                <a:lnTo>
                  <a:pt x="5" y="49"/>
                </a:lnTo>
                <a:lnTo>
                  <a:pt x="5" y="44"/>
                </a:lnTo>
                <a:lnTo>
                  <a:pt x="0" y="49"/>
                </a:lnTo>
                <a:lnTo>
                  <a:pt x="0" y="44"/>
                </a:lnTo>
                <a:lnTo>
                  <a:pt x="5" y="38"/>
                </a:lnTo>
                <a:lnTo>
                  <a:pt x="5" y="33"/>
                </a:lnTo>
                <a:lnTo>
                  <a:pt x="5" y="27"/>
                </a:lnTo>
                <a:lnTo>
                  <a:pt x="11" y="22"/>
                </a:lnTo>
                <a:lnTo>
                  <a:pt x="16" y="16"/>
                </a:lnTo>
                <a:lnTo>
                  <a:pt x="21" y="16"/>
                </a:lnTo>
                <a:lnTo>
                  <a:pt x="27" y="6"/>
                </a:lnTo>
                <a:lnTo>
                  <a:pt x="32" y="6"/>
                </a:lnTo>
                <a:lnTo>
                  <a:pt x="27" y="6"/>
                </a:lnTo>
                <a:lnTo>
                  <a:pt x="27" y="11"/>
                </a:lnTo>
                <a:lnTo>
                  <a:pt x="27" y="16"/>
                </a:lnTo>
                <a:lnTo>
                  <a:pt x="27" y="22"/>
                </a:lnTo>
                <a:lnTo>
                  <a:pt x="27" y="27"/>
                </a:lnTo>
                <a:lnTo>
                  <a:pt x="21" y="33"/>
                </a:lnTo>
                <a:lnTo>
                  <a:pt x="16" y="38"/>
                </a:lnTo>
                <a:lnTo>
                  <a:pt x="21" y="44"/>
                </a:lnTo>
                <a:lnTo>
                  <a:pt x="21" y="49"/>
                </a:lnTo>
                <a:lnTo>
                  <a:pt x="27" y="49"/>
                </a:lnTo>
                <a:lnTo>
                  <a:pt x="32" y="49"/>
                </a:lnTo>
                <a:lnTo>
                  <a:pt x="32" y="44"/>
                </a:lnTo>
                <a:lnTo>
                  <a:pt x="38" y="38"/>
                </a:lnTo>
                <a:lnTo>
                  <a:pt x="32" y="38"/>
                </a:lnTo>
                <a:lnTo>
                  <a:pt x="32" y="33"/>
                </a:lnTo>
                <a:lnTo>
                  <a:pt x="27" y="27"/>
                </a:lnTo>
                <a:lnTo>
                  <a:pt x="32" y="22"/>
                </a:lnTo>
                <a:lnTo>
                  <a:pt x="27" y="22"/>
                </a:lnTo>
                <a:lnTo>
                  <a:pt x="32" y="16"/>
                </a:lnTo>
                <a:lnTo>
                  <a:pt x="38" y="16"/>
                </a:lnTo>
                <a:lnTo>
                  <a:pt x="43" y="16"/>
                </a:lnTo>
                <a:lnTo>
                  <a:pt x="49" y="16"/>
                </a:lnTo>
                <a:lnTo>
                  <a:pt x="49" y="11"/>
                </a:lnTo>
                <a:lnTo>
                  <a:pt x="54" y="11"/>
                </a:lnTo>
                <a:lnTo>
                  <a:pt x="60" y="11"/>
                </a:lnTo>
                <a:lnTo>
                  <a:pt x="60" y="6"/>
                </a:lnTo>
                <a:lnTo>
                  <a:pt x="54" y="11"/>
                </a:lnTo>
                <a:lnTo>
                  <a:pt x="49" y="6"/>
                </a:lnTo>
                <a:lnTo>
                  <a:pt x="54" y="0"/>
                </a:lnTo>
                <a:lnTo>
                  <a:pt x="60" y="0"/>
                </a:lnTo>
                <a:lnTo>
                  <a:pt x="60" y="6"/>
                </a:lnTo>
                <a:lnTo>
                  <a:pt x="60" y="11"/>
                </a:lnTo>
                <a:lnTo>
                  <a:pt x="65" y="11"/>
                </a:lnTo>
                <a:lnTo>
                  <a:pt x="70" y="11"/>
                </a:lnTo>
                <a:lnTo>
                  <a:pt x="76" y="11"/>
                </a:lnTo>
                <a:lnTo>
                  <a:pt x="76" y="16"/>
                </a:lnTo>
                <a:lnTo>
                  <a:pt x="81" y="16"/>
                </a:lnTo>
                <a:lnTo>
                  <a:pt x="81" y="22"/>
                </a:lnTo>
                <a:lnTo>
                  <a:pt x="81" y="27"/>
                </a:lnTo>
                <a:lnTo>
                  <a:pt x="87" y="27"/>
                </a:lnTo>
                <a:lnTo>
                  <a:pt x="92" y="27"/>
                </a:lnTo>
                <a:lnTo>
                  <a:pt x="98" y="27"/>
                </a:lnTo>
                <a:lnTo>
                  <a:pt x="98" y="22"/>
                </a:lnTo>
                <a:lnTo>
                  <a:pt x="103" y="22"/>
                </a:lnTo>
                <a:lnTo>
                  <a:pt x="109" y="22"/>
                </a:lnTo>
                <a:lnTo>
                  <a:pt x="114" y="22"/>
                </a:lnTo>
                <a:lnTo>
                  <a:pt x="114" y="27"/>
                </a:lnTo>
                <a:lnTo>
                  <a:pt x="120" y="27"/>
                </a:lnTo>
                <a:lnTo>
                  <a:pt x="125" y="33"/>
                </a:lnTo>
                <a:lnTo>
                  <a:pt x="130" y="33"/>
                </a:lnTo>
                <a:lnTo>
                  <a:pt x="136" y="33"/>
                </a:lnTo>
                <a:lnTo>
                  <a:pt x="141" y="27"/>
                </a:lnTo>
                <a:lnTo>
                  <a:pt x="147" y="27"/>
                </a:lnTo>
                <a:lnTo>
                  <a:pt x="152" y="27"/>
                </a:lnTo>
                <a:lnTo>
                  <a:pt x="147" y="22"/>
                </a:lnTo>
                <a:lnTo>
                  <a:pt x="141" y="27"/>
                </a:lnTo>
                <a:lnTo>
                  <a:pt x="141" y="22"/>
                </a:lnTo>
                <a:lnTo>
                  <a:pt x="147" y="22"/>
                </a:lnTo>
                <a:lnTo>
                  <a:pt x="152" y="22"/>
                </a:lnTo>
                <a:lnTo>
                  <a:pt x="158" y="22"/>
                </a:lnTo>
                <a:lnTo>
                  <a:pt x="163" y="22"/>
                </a:lnTo>
                <a:lnTo>
                  <a:pt x="169" y="22"/>
                </a:lnTo>
                <a:lnTo>
                  <a:pt x="174" y="22"/>
                </a:lnTo>
                <a:lnTo>
                  <a:pt x="180" y="22"/>
                </a:lnTo>
                <a:lnTo>
                  <a:pt x="174" y="22"/>
                </a:lnTo>
                <a:lnTo>
                  <a:pt x="174" y="27"/>
                </a:lnTo>
                <a:lnTo>
                  <a:pt x="169" y="27"/>
                </a:lnTo>
                <a:lnTo>
                  <a:pt x="163" y="27"/>
                </a:lnTo>
                <a:lnTo>
                  <a:pt x="169" y="27"/>
                </a:lnTo>
                <a:lnTo>
                  <a:pt x="169" y="33"/>
                </a:lnTo>
                <a:lnTo>
                  <a:pt x="174" y="33"/>
                </a:lnTo>
                <a:lnTo>
                  <a:pt x="180" y="33"/>
                </a:lnTo>
                <a:lnTo>
                  <a:pt x="180" y="38"/>
                </a:lnTo>
                <a:lnTo>
                  <a:pt x="185" y="33"/>
                </a:lnTo>
                <a:lnTo>
                  <a:pt x="185" y="38"/>
                </a:lnTo>
                <a:lnTo>
                  <a:pt x="190" y="38"/>
                </a:lnTo>
                <a:lnTo>
                  <a:pt x="196" y="44"/>
                </a:lnTo>
                <a:lnTo>
                  <a:pt x="196" y="49"/>
                </a:lnTo>
                <a:lnTo>
                  <a:pt x="196" y="55"/>
                </a:lnTo>
                <a:lnTo>
                  <a:pt x="201" y="55"/>
                </a:lnTo>
                <a:lnTo>
                  <a:pt x="207" y="55"/>
                </a:lnTo>
                <a:lnTo>
                  <a:pt x="212" y="60"/>
                </a:lnTo>
                <a:lnTo>
                  <a:pt x="207" y="66"/>
                </a:lnTo>
                <a:lnTo>
                  <a:pt x="201" y="71"/>
                </a:lnTo>
                <a:lnTo>
                  <a:pt x="196" y="71"/>
                </a:lnTo>
                <a:lnTo>
                  <a:pt x="196" y="76"/>
                </a:lnTo>
                <a:lnTo>
                  <a:pt x="196" y="82"/>
                </a:lnTo>
                <a:lnTo>
                  <a:pt x="201" y="82"/>
                </a:lnTo>
                <a:lnTo>
                  <a:pt x="196" y="87"/>
                </a:lnTo>
                <a:lnTo>
                  <a:pt x="190" y="82"/>
                </a:lnTo>
                <a:lnTo>
                  <a:pt x="185" y="87"/>
                </a:lnTo>
                <a:lnTo>
                  <a:pt x="185" y="93"/>
                </a:lnTo>
                <a:lnTo>
                  <a:pt x="185" y="98"/>
                </a:lnTo>
                <a:lnTo>
                  <a:pt x="190" y="109"/>
                </a:lnTo>
                <a:lnTo>
                  <a:pt x="196" y="115"/>
                </a:lnTo>
                <a:lnTo>
                  <a:pt x="190" y="115"/>
                </a:lnTo>
                <a:lnTo>
                  <a:pt x="190" y="120"/>
                </a:lnTo>
                <a:lnTo>
                  <a:pt x="185" y="120"/>
                </a:lnTo>
                <a:lnTo>
                  <a:pt x="180" y="126"/>
                </a:lnTo>
                <a:lnTo>
                  <a:pt x="174" y="126"/>
                </a:lnTo>
                <a:lnTo>
                  <a:pt x="169" y="126"/>
                </a:lnTo>
                <a:lnTo>
                  <a:pt x="163" y="126"/>
                </a:lnTo>
                <a:lnTo>
                  <a:pt x="158" y="131"/>
                </a:lnTo>
                <a:lnTo>
                  <a:pt x="158" y="136"/>
                </a:lnTo>
                <a:lnTo>
                  <a:pt x="152" y="131"/>
                </a:lnTo>
                <a:lnTo>
                  <a:pt x="147" y="131"/>
                </a:lnTo>
                <a:lnTo>
                  <a:pt x="141" y="131"/>
                </a:lnTo>
                <a:lnTo>
                  <a:pt x="136" y="126"/>
                </a:lnTo>
                <a:lnTo>
                  <a:pt x="130" y="126"/>
                </a:lnTo>
                <a:lnTo>
                  <a:pt x="125" y="126"/>
                </a:lnTo>
                <a:lnTo>
                  <a:pt x="130" y="126"/>
                </a:lnTo>
                <a:lnTo>
                  <a:pt x="130" y="131"/>
                </a:lnTo>
                <a:lnTo>
                  <a:pt x="136" y="131"/>
                </a:lnTo>
                <a:lnTo>
                  <a:pt x="136" y="136"/>
                </a:lnTo>
                <a:lnTo>
                  <a:pt x="136" y="142"/>
                </a:lnTo>
                <a:lnTo>
                  <a:pt x="141" y="147"/>
                </a:lnTo>
                <a:lnTo>
                  <a:pt x="141" y="153"/>
                </a:lnTo>
                <a:lnTo>
                  <a:pt x="147" y="153"/>
                </a:lnTo>
                <a:lnTo>
                  <a:pt x="152" y="153"/>
                </a:lnTo>
                <a:lnTo>
                  <a:pt x="147" y="158"/>
                </a:lnTo>
                <a:lnTo>
                  <a:pt x="141" y="164"/>
                </a:lnTo>
                <a:lnTo>
                  <a:pt x="136" y="169"/>
                </a:lnTo>
                <a:lnTo>
                  <a:pt x="130" y="169"/>
                </a:lnTo>
                <a:lnTo>
                  <a:pt x="130" y="175"/>
                </a:lnTo>
                <a:lnTo>
                  <a:pt x="125" y="175"/>
                </a:lnTo>
                <a:lnTo>
                  <a:pt x="120" y="175"/>
                </a:lnTo>
                <a:lnTo>
                  <a:pt x="120" y="180"/>
                </a:lnTo>
                <a:lnTo>
                  <a:pt x="114" y="180"/>
                </a:lnTo>
                <a:lnTo>
                  <a:pt x="114" y="175"/>
                </a:lnTo>
                <a:lnTo>
                  <a:pt x="109" y="175"/>
                </a:lnTo>
                <a:lnTo>
                  <a:pt x="109" y="180"/>
                </a:lnTo>
                <a:lnTo>
                  <a:pt x="103" y="180"/>
                </a:lnTo>
                <a:lnTo>
                  <a:pt x="92" y="175"/>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0" name="Freeform 164">
            <a:extLst>
              <a:ext uri="{FF2B5EF4-FFF2-40B4-BE49-F238E27FC236}">
                <a16:creationId xmlns:a16="http://schemas.microsoft.com/office/drawing/2014/main" id="{1832F00A-75A5-01EB-AE3D-1D056BBF3519}"/>
              </a:ext>
            </a:extLst>
          </p:cNvPr>
          <p:cNvSpPr>
            <a:spLocks/>
          </p:cNvSpPr>
          <p:nvPr/>
        </p:nvSpPr>
        <p:spPr bwMode="auto">
          <a:xfrm>
            <a:off x="1601788" y="2963863"/>
            <a:ext cx="73025" cy="80963"/>
          </a:xfrm>
          <a:custGeom>
            <a:avLst/>
            <a:gdLst>
              <a:gd name="T0" fmla="*/ 22 w 65"/>
              <a:gd name="T1" fmla="*/ 66 h 66"/>
              <a:gd name="T2" fmla="*/ 22 w 65"/>
              <a:gd name="T3" fmla="*/ 60 h 66"/>
              <a:gd name="T4" fmla="*/ 16 w 65"/>
              <a:gd name="T5" fmla="*/ 55 h 66"/>
              <a:gd name="T6" fmla="*/ 16 w 65"/>
              <a:gd name="T7" fmla="*/ 49 h 66"/>
              <a:gd name="T8" fmla="*/ 11 w 65"/>
              <a:gd name="T9" fmla="*/ 49 h 66"/>
              <a:gd name="T10" fmla="*/ 16 w 65"/>
              <a:gd name="T11" fmla="*/ 49 h 66"/>
              <a:gd name="T12" fmla="*/ 11 w 65"/>
              <a:gd name="T13" fmla="*/ 44 h 66"/>
              <a:gd name="T14" fmla="*/ 11 w 65"/>
              <a:gd name="T15" fmla="*/ 38 h 66"/>
              <a:gd name="T16" fmla="*/ 11 w 65"/>
              <a:gd name="T17" fmla="*/ 44 h 66"/>
              <a:gd name="T18" fmla="*/ 6 w 65"/>
              <a:gd name="T19" fmla="*/ 38 h 66"/>
              <a:gd name="T20" fmla="*/ 0 w 65"/>
              <a:gd name="T21" fmla="*/ 33 h 66"/>
              <a:gd name="T22" fmla="*/ 0 w 65"/>
              <a:gd name="T23" fmla="*/ 28 h 66"/>
              <a:gd name="T24" fmla="*/ 6 w 65"/>
              <a:gd name="T25" fmla="*/ 22 h 66"/>
              <a:gd name="T26" fmla="*/ 6 w 65"/>
              <a:gd name="T27" fmla="*/ 17 h 66"/>
              <a:gd name="T28" fmla="*/ 11 w 65"/>
              <a:gd name="T29" fmla="*/ 17 h 66"/>
              <a:gd name="T30" fmla="*/ 16 w 65"/>
              <a:gd name="T31" fmla="*/ 11 h 66"/>
              <a:gd name="T32" fmla="*/ 11 w 65"/>
              <a:gd name="T33" fmla="*/ 11 h 66"/>
              <a:gd name="T34" fmla="*/ 16 w 65"/>
              <a:gd name="T35" fmla="*/ 6 h 66"/>
              <a:gd name="T36" fmla="*/ 16 w 65"/>
              <a:gd name="T37" fmla="*/ 0 h 66"/>
              <a:gd name="T38" fmla="*/ 22 w 65"/>
              <a:gd name="T39" fmla="*/ 0 h 66"/>
              <a:gd name="T40" fmla="*/ 27 w 65"/>
              <a:gd name="T41" fmla="*/ 0 h 66"/>
              <a:gd name="T42" fmla="*/ 33 w 65"/>
              <a:gd name="T43" fmla="*/ 0 h 66"/>
              <a:gd name="T44" fmla="*/ 38 w 65"/>
              <a:gd name="T45" fmla="*/ 0 h 66"/>
              <a:gd name="T46" fmla="*/ 44 w 65"/>
              <a:gd name="T47" fmla="*/ 0 h 66"/>
              <a:gd name="T48" fmla="*/ 49 w 65"/>
              <a:gd name="T49" fmla="*/ 0 h 66"/>
              <a:gd name="T50" fmla="*/ 55 w 65"/>
              <a:gd name="T51" fmla="*/ 0 h 66"/>
              <a:gd name="T52" fmla="*/ 60 w 65"/>
              <a:gd name="T53" fmla="*/ 0 h 66"/>
              <a:gd name="T54" fmla="*/ 65 w 65"/>
              <a:gd name="T55" fmla="*/ 0 h 66"/>
              <a:gd name="T56" fmla="*/ 65 w 65"/>
              <a:gd name="T57" fmla="*/ 6 h 66"/>
              <a:gd name="T58" fmla="*/ 60 w 65"/>
              <a:gd name="T59" fmla="*/ 11 h 66"/>
              <a:gd name="T60" fmla="*/ 60 w 65"/>
              <a:gd name="T61" fmla="*/ 17 h 66"/>
              <a:gd name="T62" fmla="*/ 60 w 65"/>
              <a:gd name="T63" fmla="*/ 22 h 66"/>
              <a:gd name="T64" fmla="*/ 60 w 65"/>
              <a:gd name="T65" fmla="*/ 28 h 66"/>
              <a:gd name="T66" fmla="*/ 60 w 65"/>
              <a:gd name="T67" fmla="*/ 33 h 66"/>
              <a:gd name="T68" fmla="*/ 65 w 65"/>
              <a:gd name="T69" fmla="*/ 38 h 66"/>
              <a:gd name="T70" fmla="*/ 60 w 65"/>
              <a:gd name="T71" fmla="*/ 44 h 66"/>
              <a:gd name="T72" fmla="*/ 60 w 65"/>
              <a:gd name="T73" fmla="*/ 49 h 66"/>
              <a:gd name="T74" fmla="*/ 60 w 65"/>
              <a:gd name="T75" fmla="*/ 55 h 66"/>
              <a:gd name="T76" fmla="*/ 55 w 65"/>
              <a:gd name="T77" fmla="*/ 60 h 66"/>
              <a:gd name="T78" fmla="*/ 49 w 65"/>
              <a:gd name="T79" fmla="*/ 55 h 66"/>
              <a:gd name="T80" fmla="*/ 44 w 65"/>
              <a:gd name="T81" fmla="*/ 55 h 66"/>
              <a:gd name="T82" fmla="*/ 38 w 65"/>
              <a:gd name="T83" fmla="*/ 55 h 66"/>
              <a:gd name="T84" fmla="*/ 33 w 65"/>
              <a:gd name="T85" fmla="*/ 55 h 66"/>
              <a:gd name="T86" fmla="*/ 33 w 65"/>
              <a:gd name="T87" fmla="*/ 60 h 66"/>
              <a:gd name="T88" fmla="*/ 33 w 65"/>
              <a:gd name="T89" fmla="*/ 66 h 66"/>
              <a:gd name="T90" fmla="*/ 27 w 65"/>
              <a:gd name="T91" fmla="*/ 66 h 66"/>
              <a:gd name="T92" fmla="*/ 22 w 65"/>
              <a:gd name="T9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5" h="66">
                <a:moveTo>
                  <a:pt x="22" y="66"/>
                </a:moveTo>
                <a:lnTo>
                  <a:pt x="22" y="60"/>
                </a:lnTo>
                <a:lnTo>
                  <a:pt x="16" y="55"/>
                </a:lnTo>
                <a:lnTo>
                  <a:pt x="16" y="49"/>
                </a:lnTo>
                <a:lnTo>
                  <a:pt x="11" y="49"/>
                </a:lnTo>
                <a:lnTo>
                  <a:pt x="16" y="49"/>
                </a:lnTo>
                <a:lnTo>
                  <a:pt x="11" y="44"/>
                </a:lnTo>
                <a:lnTo>
                  <a:pt x="11" y="38"/>
                </a:lnTo>
                <a:lnTo>
                  <a:pt x="11" y="44"/>
                </a:lnTo>
                <a:lnTo>
                  <a:pt x="6" y="38"/>
                </a:lnTo>
                <a:lnTo>
                  <a:pt x="0" y="33"/>
                </a:lnTo>
                <a:lnTo>
                  <a:pt x="0" y="28"/>
                </a:lnTo>
                <a:lnTo>
                  <a:pt x="6" y="22"/>
                </a:lnTo>
                <a:lnTo>
                  <a:pt x="6" y="17"/>
                </a:lnTo>
                <a:lnTo>
                  <a:pt x="11" y="17"/>
                </a:lnTo>
                <a:lnTo>
                  <a:pt x="16" y="11"/>
                </a:lnTo>
                <a:lnTo>
                  <a:pt x="11" y="11"/>
                </a:lnTo>
                <a:lnTo>
                  <a:pt x="16" y="6"/>
                </a:lnTo>
                <a:lnTo>
                  <a:pt x="16" y="0"/>
                </a:lnTo>
                <a:lnTo>
                  <a:pt x="22" y="0"/>
                </a:lnTo>
                <a:lnTo>
                  <a:pt x="27" y="0"/>
                </a:lnTo>
                <a:lnTo>
                  <a:pt x="33" y="0"/>
                </a:lnTo>
                <a:lnTo>
                  <a:pt x="38" y="0"/>
                </a:lnTo>
                <a:lnTo>
                  <a:pt x="44" y="0"/>
                </a:lnTo>
                <a:lnTo>
                  <a:pt x="49" y="0"/>
                </a:lnTo>
                <a:lnTo>
                  <a:pt x="55" y="0"/>
                </a:lnTo>
                <a:lnTo>
                  <a:pt x="60" y="0"/>
                </a:lnTo>
                <a:lnTo>
                  <a:pt x="65" y="0"/>
                </a:lnTo>
                <a:lnTo>
                  <a:pt x="65" y="6"/>
                </a:lnTo>
                <a:lnTo>
                  <a:pt x="60" y="11"/>
                </a:lnTo>
                <a:lnTo>
                  <a:pt x="60" y="17"/>
                </a:lnTo>
                <a:lnTo>
                  <a:pt x="60" y="22"/>
                </a:lnTo>
                <a:lnTo>
                  <a:pt x="60" y="28"/>
                </a:lnTo>
                <a:lnTo>
                  <a:pt x="60" y="33"/>
                </a:lnTo>
                <a:lnTo>
                  <a:pt x="65" y="38"/>
                </a:lnTo>
                <a:lnTo>
                  <a:pt x="60" y="44"/>
                </a:lnTo>
                <a:lnTo>
                  <a:pt x="60" y="49"/>
                </a:lnTo>
                <a:lnTo>
                  <a:pt x="60" y="55"/>
                </a:lnTo>
                <a:lnTo>
                  <a:pt x="55" y="60"/>
                </a:lnTo>
                <a:lnTo>
                  <a:pt x="49" y="55"/>
                </a:lnTo>
                <a:lnTo>
                  <a:pt x="44" y="55"/>
                </a:lnTo>
                <a:lnTo>
                  <a:pt x="38" y="55"/>
                </a:lnTo>
                <a:lnTo>
                  <a:pt x="33" y="55"/>
                </a:lnTo>
                <a:lnTo>
                  <a:pt x="33" y="60"/>
                </a:lnTo>
                <a:lnTo>
                  <a:pt x="33" y="66"/>
                </a:lnTo>
                <a:lnTo>
                  <a:pt x="27" y="66"/>
                </a:lnTo>
                <a:lnTo>
                  <a:pt x="22" y="66"/>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1" name="Freeform 165">
            <a:extLst>
              <a:ext uri="{FF2B5EF4-FFF2-40B4-BE49-F238E27FC236}">
                <a16:creationId xmlns:a16="http://schemas.microsoft.com/office/drawing/2014/main" id="{C1FA7FFD-E5DB-6C70-4797-C3E51629B811}"/>
              </a:ext>
            </a:extLst>
          </p:cNvPr>
          <p:cNvSpPr>
            <a:spLocks/>
          </p:cNvSpPr>
          <p:nvPr/>
        </p:nvSpPr>
        <p:spPr bwMode="auto">
          <a:xfrm>
            <a:off x="1663700" y="2971800"/>
            <a:ext cx="55563" cy="65088"/>
          </a:xfrm>
          <a:custGeom>
            <a:avLst/>
            <a:gdLst>
              <a:gd name="T0" fmla="*/ 0 w 49"/>
              <a:gd name="T1" fmla="*/ 54 h 54"/>
              <a:gd name="T2" fmla="*/ 5 w 49"/>
              <a:gd name="T3" fmla="*/ 49 h 54"/>
              <a:gd name="T4" fmla="*/ 5 w 49"/>
              <a:gd name="T5" fmla="*/ 43 h 54"/>
              <a:gd name="T6" fmla="*/ 5 w 49"/>
              <a:gd name="T7" fmla="*/ 38 h 54"/>
              <a:gd name="T8" fmla="*/ 10 w 49"/>
              <a:gd name="T9" fmla="*/ 32 h 54"/>
              <a:gd name="T10" fmla="*/ 5 w 49"/>
              <a:gd name="T11" fmla="*/ 27 h 54"/>
              <a:gd name="T12" fmla="*/ 5 w 49"/>
              <a:gd name="T13" fmla="*/ 22 h 54"/>
              <a:gd name="T14" fmla="*/ 5 w 49"/>
              <a:gd name="T15" fmla="*/ 16 h 54"/>
              <a:gd name="T16" fmla="*/ 5 w 49"/>
              <a:gd name="T17" fmla="*/ 11 h 54"/>
              <a:gd name="T18" fmla="*/ 5 w 49"/>
              <a:gd name="T19" fmla="*/ 5 h 54"/>
              <a:gd name="T20" fmla="*/ 10 w 49"/>
              <a:gd name="T21" fmla="*/ 0 h 54"/>
              <a:gd name="T22" fmla="*/ 16 w 49"/>
              <a:gd name="T23" fmla="*/ 0 h 54"/>
              <a:gd name="T24" fmla="*/ 21 w 49"/>
              <a:gd name="T25" fmla="*/ 0 h 54"/>
              <a:gd name="T26" fmla="*/ 27 w 49"/>
              <a:gd name="T27" fmla="*/ 0 h 54"/>
              <a:gd name="T28" fmla="*/ 27 w 49"/>
              <a:gd name="T29" fmla="*/ 5 h 54"/>
              <a:gd name="T30" fmla="*/ 32 w 49"/>
              <a:gd name="T31" fmla="*/ 5 h 54"/>
              <a:gd name="T32" fmla="*/ 38 w 49"/>
              <a:gd name="T33" fmla="*/ 11 h 54"/>
              <a:gd name="T34" fmla="*/ 43 w 49"/>
              <a:gd name="T35" fmla="*/ 16 h 54"/>
              <a:gd name="T36" fmla="*/ 38 w 49"/>
              <a:gd name="T37" fmla="*/ 22 h 54"/>
              <a:gd name="T38" fmla="*/ 43 w 49"/>
              <a:gd name="T39" fmla="*/ 16 h 54"/>
              <a:gd name="T40" fmla="*/ 43 w 49"/>
              <a:gd name="T41" fmla="*/ 22 h 54"/>
              <a:gd name="T42" fmla="*/ 49 w 49"/>
              <a:gd name="T43" fmla="*/ 22 h 54"/>
              <a:gd name="T44" fmla="*/ 43 w 49"/>
              <a:gd name="T45" fmla="*/ 27 h 54"/>
              <a:gd name="T46" fmla="*/ 43 w 49"/>
              <a:gd name="T47" fmla="*/ 32 h 54"/>
              <a:gd name="T48" fmla="*/ 38 w 49"/>
              <a:gd name="T49" fmla="*/ 38 h 54"/>
              <a:gd name="T50" fmla="*/ 32 w 49"/>
              <a:gd name="T51" fmla="*/ 43 h 54"/>
              <a:gd name="T52" fmla="*/ 32 w 49"/>
              <a:gd name="T53" fmla="*/ 49 h 54"/>
              <a:gd name="T54" fmla="*/ 27 w 49"/>
              <a:gd name="T55" fmla="*/ 54 h 54"/>
              <a:gd name="T56" fmla="*/ 21 w 49"/>
              <a:gd name="T57" fmla="*/ 54 h 54"/>
              <a:gd name="T58" fmla="*/ 16 w 49"/>
              <a:gd name="T59" fmla="*/ 54 h 54"/>
              <a:gd name="T60" fmla="*/ 10 w 49"/>
              <a:gd name="T61" fmla="*/ 49 h 54"/>
              <a:gd name="T62" fmla="*/ 10 w 49"/>
              <a:gd name="T63" fmla="*/ 54 h 54"/>
              <a:gd name="T64" fmla="*/ 5 w 49"/>
              <a:gd name="T65" fmla="*/ 54 h 54"/>
              <a:gd name="T66" fmla="*/ 0 w 49"/>
              <a:gd name="T6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54">
                <a:moveTo>
                  <a:pt x="0" y="54"/>
                </a:moveTo>
                <a:lnTo>
                  <a:pt x="5" y="49"/>
                </a:lnTo>
                <a:lnTo>
                  <a:pt x="5" y="43"/>
                </a:lnTo>
                <a:lnTo>
                  <a:pt x="5" y="38"/>
                </a:lnTo>
                <a:lnTo>
                  <a:pt x="10" y="32"/>
                </a:lnTo>
                <a:lnTo>
                  <a:pt x="5" y="27"/>
                </a:lnTo>
                <a:lnTo>
                  <a:pt x="5" y="22"/>
                </a:lnTo>
                <a:lnTo>
                  <a:pt x="5" y="16"/>
                </a:lnTo>
                <a:lnTo>
                  <a:pt x="5" y="11"/>
                </a:lnTo>
                <a:lnTo>
                  <a:pt x="5" y="5"/>
                </a:lnTo>
                <a:lnTo>
                  <a:pt x="10" y="0"/>
                </a:lnTo>
                <a:lnTo>
                  <a:pt x="16" y="0"/>
                </a:lnTo>
                <a:lnTo>
                  <a:pt x="21" y="0"/>
                </a:lnTo>
                <a:lnTo>
                  <a:pt x="27" y="0"/>
                </a:lnTo>
                <a:lnTo>
                  <a:pt x="27" y="5"/>
                </a:lnTo>
                <a:lnTo>
                  <a:pt x="32" y="5"/>
                </a:lnTo>
                <a:lnTo>
                  <a:pt x="38" y="11"/>
                </a:lnTo>
                <a:lnTo>
                  <a:pt x="43" y="16"/>
                </a:lnTo>
                <a:lnTo>
                  <a:pt x="38" y="22"/>
                </a:lnTo>
                <a:lnTo>
                  <a:pt x="43" y="16"/>
                </a:lnTo>
                <a:lnTo>
                  <a:pt x="43" y="22"/>
                </a:lnTo>
                <a:lnTo>
                  <a:pt x="49" y="22"/>
                </a:lnTo>
                <a:lnTo>
                  <a:pt x="43" y="27"/>
                </a:lnTo>
                <a:lnTo>
                  <a:pt x="43" y="32"/>
                </a:lnTo>
                <a:lnTo>
                  <a:pt x="38" y="38"/>
                </a:lnTo>
                <a:lnTo>
                  <a:pt x="32" y="43"/>
                </a:lnTo>
                <a:lnTo>
                  <a:pt x="32" y="49"/>
                </a:lnTo>
                <a:lnTo>
                  <a:pt x="27" y="54"/>
                </a:lnTo>
                <a:lnTo>
                  <a:pt x="21" y="54"/>
                </a:lnTo>
                <a:lnTo>
                  <a:pt x="16" y="54"/>
                </a:lnTo>
                <a:lnTo>
                  <a:pt x="10" y="49"/>
                </a:lnTo>
                <a:lnTo>
                  <a:pt x="10" y="54"/>
                </a:lnTo>
                <a:lnTo>
                  <a:pt x="5" y="54"/>
                </a:lnTo>
                <a:lnTo>
                  <a:pt x="0" y="54"/>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2" name="Freeform 235">
            <a:extLst>
              <a:ext uri="{FF2B5EF4-FFF2-40B4-BE49-F238E27FC236}">
                <a16:creationId xmlns:a16="http://schemas.microsoft.com/office/drawing/2014/main" id="{8F22BF5D-4E7B-F7BD-4B46-4E53D80398F3}"/>
              </a:ext>
            </a:extLst>
          </p:cNvPr>
          <p:cNvSpPr>
            <a:spLocks/>
          </p:cNvSpPr>
          <p:nvPr/>
        </p:nvSpPr>
        <p:spPr bwMode="auto">
          <a:xfrm>
            <a:off x="1412876" y="3416299"/>
            <a:ext cx="238125" cy="706438"/>
          </a:xfrm>
          <a:custGeom>
            <a:avLst/>
            <a:gdLst>
              <a:gd name="T0" fmla="*/ 196 w 213"/>
              <a:gd name="T1" fmla="*/ 562 h 578"/>
              <a:gd name="T2" fmla="*/ 191 w 213"/>
              <a:gd name="T3" fmla="*/ 578 h 578"/>
              <a:gd name="T4" fmla="*/ 185 w 213"/>
              <a:gd name="T5" fmla="*/ 562 h 578"/>
              <a:gd name="T6" fmla="*/ 158 w 213"/>
              <a:gd name="T7" fmla="*/ 562 h 578"/>
              <a:gd name="T8" fmla="*/ 153 w 213"/>
              <a:gd name="T9" fmla="*/ 562 h 578"/>
              <a:gd name="T10" fmla="*/ 153 w 213"/>
              <a:gd name="T11" fmla="*/ 551 h 578"/>
              <a:gd name="T12" fmla="*/ 147 w 213"/>
              <a:gd name="T13" fmla="*/ 546 h 578"/>
              <a:gd name="T14" fmla="*/ 136 w 213"/>
              <a:gd name="T15" fmla="*/ 540 h 578"/>
              <a:gd name="T16" fmla="*/ 125 w 213"/>
              <a:gd name="T17" fmla="*/ 524 h 578"/>
              <a:gd name="T18" fmla="*/ 120 w 213"/>
              <a:gd name="T19" fmla="*/ 518 h 578"/>
              <a:gd name="T20" fmla="*/ 109 w 213"/>
              <a:gd name="T21" fmla="*/ 497 h 578"/>
              <a:gd name="T22" fmla="*/ 104 w 213"/>
              <a:gd name="T23" fmla="*/ 486 h 578"/>
              <a:gd name="T24" fmla="*/ 109 w 213"/>
              <a:gd name="T25" fmla="*/ 486 h 578"/>
              <a:gd name="T26" fmla="*/ 104 w 213"/>
              <a:gd name="T27" fmla="*/ 475 h 578"/>
              <a:gd name="T28" fmla="*/ 87 w 213"/>
              <a:gd name="T29" fmla="*/ 464 h 578"/>
              <a:gd name="T30" fmla="*/ 87 w 213"/>
              <a:gd name="T31" fmla="*/ 458 h 578"/>
              <a:gd name="T32" fmla="*/ 98 w 213"/>
              <a:gd name="T33" fmla="*/ 447 h 578"/>
              <a:gd name="T34" fmla="*/ 104 w 213"/>
              <a:gd name="T35" fmla="*/ 431 h 578"/>
              <a:gd name="T36" fmla="*/ 93 w 213"/>
              <a:gd name="T37" fmla="*/ 409 h 578"/>
              <a:gd name="T38" fmla="*/ 93 w 213"/>
              <a:gd name="T39" fmla="*/ 398 h 578"/>
              <a:gd name="T40" fmla="*/ 65 w 213"/>
              <a:gd name="T41" fmla="*/ 387 h 578"/>
              <a:gd name="T42" fmla="*/ 55 w 213"/>
              <a:gd name="T43" fmla="*/ 360 h 578"/>
              <a:gd name="T44" fmla="*/ 49 w 213"/>
              <a:gd name="T45" fmla="*/ 333 h 578"/>
              <a:gd name="T46" fmla="*/ 38 w 213"/>
              <a:gd name="T47" fmla="*/ 311 h 578"/>
              <a:gd name="T48" fmla="*/ 44 w 213"/>
              <a:gd name="T49" fmla="*/ 289 h 578"/>
              <a:gd name="T50" fmla="*/ 44 w 213"/>
              <a:gd name="T51" fmla="*/ 267 h 578"/>
              <a:gd name="T52" fmla="*/ 44 w 213"/>
              <a:gd name="T53" fmla="*/ 240 h 578"/>
              <a:gd name="T54" fmla="*/ 33 w 213"/>
              <a:gd name="T55" fmla="*/ 207 h 578"/>
              <a:gd name="T56" fmla="*/ 27 w 213"/>
              <a:gd name="T57" fmla="*/ 175 h 578"/>
              <a:gd name="T58" fmla="*/ 27 w 213"/>
              <a:gd name="T59" fmla="*/ 142 h 578"/>
              <a:gd name="T60" fmla="*/ 22 w 213"/>
              <a:gd name="T61" fmla="*/ 109 h 578"/>
              <a:gd name="T62" fmla="*/ 16 w 213"/>
              <a:gd name="T63" fmla="*/ 82 h 578"/>
              <a:gd name="T64" fmla="*/ 11 w 213"/>
              <a:gd name="T65" fmla="*/ 55 h 578"/>
              <a:gd name="T66" fmla="*/ 5 w 213"/>
              <a:gd name="T67" fmla="*/ 22 h 578"/>
              <a:gd name="T68" fmla="*/ 11 w 213"/>
              <a:gd name="T69" fmla="*/ 6 h 578"/>
              <a:gd name="T70" fmla="*/ 27 w 213"/>
              <a:gd name="T71" fmla="*/ 22 h 578"/>
              <a:gd name="T72" fmla="*/ 33 w 213"/>
              <a:gd name="T73" fmla="*/ 49 h 578"/>
              <a:gd name="T74" fmla="*/ 49 w 213"/>
              <a:gd name="T75" fmla="*/ 77 h 578"/>
              <a:gd name="T76" fmla="*/ 65 w 213"/>
              <a:gd name="T77" fmla="*/ 104 h 578"/>
              <a:gd name="T78" fmla="*/ 55 w 213"/>
              <a:gd name="T79" fmla="*/ 126 h 578"/>
              <a:gd name="T80" fmla="*/ 60 w 213"/>
              <a:gd name="T81" fmla="*/ 158 h 578"/>
              <a:gd name="T82" fmla="*/ 55 w 213"/>
              <a:gd name="T83" fmla="*/ 180 h 578"/>
              <a:gd name="T84" fmla="*/ 55 w 213"/>
              <a:gd name="T85" fmla="*/ 207 h 578"/>
              <a:gd name="T86" fmla="*/ 60 w 213"/>
              <a:gd name="T87" fmla="*/ 229 h 578"/>
              <a:gd name="T88" fmla="*/ 76 w 213"/>
              <a:gd name="T89" fmla="*/ 262 h 578"/>
              <a:gd name="T90" fmla="*/ 71 w 213"/>
              <a:gd name="T91" fmla="*/ 284 h 578"/>
              <a:gd name="T92" fmla="*/ 71 w 213"/>
              <a:gd name="T93" fmla="*/ 300 h 578"/>
              <a:gd name="T94" fmla="*/ 76 w 213"/>
              <a:gd name="T95" fmla="*/ 317 h 578"/>
              <a:gd name="T96" fmla="*/ 82 w 213"/>
              <a:gd name="T97" fmla="*/ 344 h 578"/>
              <a:gd name="T98" fmla="*/ 82 w 213"/>
              <a:gd name="T99" fmla="*/ 360 h 578"/>
              <a:gd name="T100" fmla="*/ 98 w 213"/>
              <a:gd name="T101" fmla="*/ 393 h 578"/>
              <a:gd name="T102" fmla="*/ 104 w 213"/>
              <a:gd name="T103" fmla="*/ 415 h 578"/>
              <a:gd name="T104" fmla="*/ 125 w 213"/>
              <a:gd name="T105" fmla="*/ 431 h 578"/>
              <a:gd name="T106" fmla="*/ 125 w 213"/>
              <a:gd name="T107" fmla="*/ 442 h 578"/>
              <a:gd name="T108" fmla="*/ 125 w 213"/>
              <a:gd name="T109" fmla="*/ 469 h 578"/>
              <a:gd name="T110" fmla="*/ 125 w 213"/>
              <a:gd name="T111" fmla="*/ 486 h 578"/>
              <a:gd name="T112" fmla="*/ 131 w 213"/>
              <a:gd name="T113" fmla="*/ 507 h 578"/>
              <a:gd name="T114" fmla="*/ 142 w 213"/>
              <a:gd name="T115" fmla="*/ 529 h 578"/>
              <a:gd name="T116" fmla="*/ 158 w 213"/>
              <a:gd name="T117" fmla="*/ 546 h 578"/>
              <a:gd name="T118" fmla="*/ 213 w 213"/>
              <a:gd name="T119" fmla="*/ 557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3" h="578">
                <a:moveTo>
                  <a:pt x="213" y="557"/>
                </a:moveTo>
                <a:lnTo>
                  <a:pt x="207" y="557"/>
                </a:lnTo>
                <a:lnTo>
                  <a:pt x="202" y="551"/>
                </a:lnTo>
                <a:lnTo>
                  <a:pt x="202" y="557"/>
                </a:lnTo>
                <a:lnTo>
                  <a:pt x="196" y="557"/>
                </a:lnTo>
                <a:lnTo>
                  <a:pt x="196" y="562"/>
                </a:lnTo>
                <a:lnTo>
                  <a:pt x="185" y="562"/>
                </a:lnTo>
                <a:lnTo>
                  <a:pt x="191" y="562"/>
                </a:lnTo>
                <a:lnTo>
                  <a:pt x="191" y="567"/>
                </a:lnTo>
                <a:lnTo>
                  <a:pt x="191" y="573"/>
                </a:lnTo>
                <a:lnTo>
                  <a:pt x="196" y="578"/>
                </a:lnTo>
                <a:lnTo>
                  <a:pt x="191" y="578"/>
                </a:lnTo>
                <a:lnTo>
                  <a:pt x="180" y="578"/>
                </a:lnTo>
                <a:lnTo>
                  <a:pt x="175" y="573"/>
                </a:lnTo>
                <a:lnTo>
                  <a:pt x="175" y="567"/>
                </a:lnTo>
                <a:lnTo>
                  <a:pt x="180" y="567"/>
                </a:lnTo>
                <a:lnTo>
                  <a:pt x="185" y="567"/>
                </a:lnTo>
                <a:lnTo>
                  <a:pt x="185" y="562"/>
                </a:lnTo>
                <a:lnTo>
                  <a:pt x="180" y="562"/>
                </a:lnTo>
                <a:lnTo>
                  <a:pt x="175" y="557"/>
                </a:lnTo>
                <a:lnTo>
                  <a:pt x="169" y="557"/>
                </a:lnTo>
                <a:lnTo>
                  <a:pt x="169" y="562"/>
                </a:lnTo>
                <a:lnTo>
                  <a:pt x="158" y="557"/>
                </a:lnTo>
                <a:lnTo>
                  <a:pt x="158" y="562"/>
                </a:lnTo>
                <a:lnTo>
                  <a:pt x="164" y="562"/>
                </a:lnTo>
                <a:lnTo>
                  <a:pt x="158" y="562"/>
                </a:lnTo>
                <a:lnTo>
                  <a:pt x="164" y="567"/>
                </a:lnTo>
                <a:lnTo>
                  <a:pt x="158" y="562"/>
                </a:lnTo>
                <a:lnTo>
                  <a:pt x="158" y="567"/>
                </a:lnTo>
                <a:lnTo>
                  <a:pt x="153" y="562"/>
                </a:lnTo>
                <a:lnTo>
                  <a:pt x="158" y="562"/>
                </a:lnTo>
                <a:lnTo>
                  <a:pt x="153" y="562"/>
                </a:lnTo>
                <a:lnTo>
                  <a:pt x="153" y="557"/>
                </a:lnTo>
                <a:lnTo>
                  <a:pt x="147" y="557"/>
                </a:lnTo>
                <a:lnTo>
                  <a:pt x="147" y="551"/>
                </a:lnTo>
                <a:lnTo>
                  <a:pt x="153" y="551"/>
                </a:lnTo>
                <a:lnTo>
                  <a:pt x="158" y="557"/>
                </a:lnTo>
                <a:lnTo>
                  <a:pt x="153" y="551"/>
                </a:lnTo>
                <a:lnTo>
                  <a:pt x="158" y="546"/>
                </a:lnTo>
                <a:lnTo>
                  <a:pt x="153" y="546"/>
                </a:lnTo>
                <a:lnTo>
                  <a:pt x="153" y="551"/>
                </a:lnTo>
                <a:lnTo>
                  <a:pt x="147" y="546"/>
                </a:lnTo>
                <a:lnTo>
                  <a:pt x="153" y="551"/>
                </a:lnTo>
                <a:lnTo>
                  <a:pt x="147" y="551"/>
                </a:lnTo>
                <a:lnTo>
                  <a:pt x="142" y="546"/>
                </a:lnTo>
                <a:lnTo>
                  <a:pt x="147" y="546"/>
                </a:lnTo>
                <a:lnTo>
                  <a:pt x="142" y="546"/>
                </a:lnTo>
                <a:lnTo>
                  <a:pt x="136" y="540"/>
                </a:lnTo>
                <a:lnTo>
                  <a:pt x="142" y="546"/>
                </a:lnTo>
                <a:lnTo>
                  <a:pt x="142" y="540"/>
                </a:lnTo>
                <a:lnTo>
                  <a:pt x="136" y="535"/>
                </a:lnTo>
                <a:lnTo>
                  <a:pt x="131" y="535"/>
                </a:lnTo>
                <a:lnTo>
                  <a:pt x="131" y="529"/>
                </a:lnTo>
                <a:lnTo>
                  <a:pt x="125" y="524"/>
                </a:lnTo>
                <a:lnTo>
                  <a:pt x="120" y="524"/>
                </a:lnTo>
                <a:lnTo>
                  <a:pt x="120" y="518"/>
                </a:lnTo>
                <a:lnTo>
                  <a:pt x="125" y="524"/>
                </a:lnTo>
                <a:lnTo>
                  <a:pt x="131" y="524"/>
                </a:lnTo>
                <a:lnTo>
                  <a:pt x="125" y="518"/>
                </a:lnTo>
                <a:lnTo>
                  <a:pt x="120" y="518"/>
                </a:lnTo>
                <a:lnTo>
                  <a:pt x="125" y="518"/>
                </a:lnTo>
                <a:lnTo>
                  <a:pt x="120" y="513"/>
                </a:lnTo>
                <a:lnTo>
                  <a:pt x="115" y="507"/>
                </a:lnTo>
                <a:lnTo>
                  <a:pt x="115" y="502"/>
                </a:lnTo>
                <a:lnTo>
                  <a:pt x="109" y="502"/>
                </a:lnTo>
                <a:lnTo>
                  <a:pt x="109" y="497"/>
                </a:lnTo>
                <a:lnTo>
                  <a:pt x="115" y="497"/>
                </a:lnTo>
                <a:lnTo>
                  <a:pt x="109" y="497"/>
                </a:lnTo>
                <a:lnTo>
                  <a:pt x="115" y="497"/>
                </a:lnTo>
                <a:lnTo>
                  <a:pt x="115" y="491"/>
                </a:lnTo>
                <a:lnTo>
                  <a:pt x="109" y="491"/>
                </a:lnTo>
                <a:lnTo>
                  <a:pt x="104" y="486"/>
                </a:lnTo>
                <a:lnTo>
                  <a:pt x="109" y="486"/>
                </a:lnTo>
                <a:lnTo>
                  <a:pt x="115" y="486"/>
                </a:lnTo>
                <a:lnTo>
                  <a:pt x="120" y="491"/>
                </a:lnTo>
                <a:lnTo>
                  <a:pt x="115" y="486"/>
                </a:lnTo>
                <a:lnTo>
                  <a:pt x="115" y="480"/>
                </a:lnTo>
                <a:lnTo>
                  <a:pt x="109" y="486"/>
                </a:lnTo>
                <a:lnTo>
                  <a:pt x="109" y="480"/>
                </a:lnTo>
                <a:lnTo>
                  <a:pt x="104" y="480"/>
                </a:lnTo>
                <a:lnTo>
                  <a:pt x="98" y="480"/>
                </a:lnTo>
                <a:lnTo>
                  <a:pt x="104" y="480"/>
                </a:lnTo>
                <a:lnTo>
                  <a:pt x="98" y="475"/>
                </a:lnTo>
                <a:lnTo>
                  <a:pt x="104" y="475"/>
                </a:lnTo>
                <a:lnTo>
                  <a:pt x="98" y="469"/>
                </a:lnTo>
                <a:lnTo>
                  <a:pt x="104" y="469"/>
                </a:lnTo>
                <a:lnTo>
                  <a:pt x="98" y="464"/>
                </a:lnTo>
                <a:lnTo>
                  <a:pt x="98" y="469"/>
                </a:lnTo>
                <a:lnTo>
                  <a:pt x="93" y="469"/>
                </a:lnTo>
                <a:lnTo>
                  <a:pt x="87" y="464"/>
                </a:lnTo>
                <a:lnTo>
                  <a:pt x="82" y="464"/>
                </a:lnTo>
                <a:lnTo>
                  <a:pt x="82" y="469"/>
                </a:lnTo>
                <a:lnTo>
                  <a:pt x="76" y="464"/>
                </a:lnTo>
                <a:lnTo>
                  <a:pt x="82" y="464"/>
                </a:lnTo>
                <a:lnTo>
                  <a:pt x="82" y="458"/>
                </a:lnTo>
                <a:lnTo>
                  <a:pt x="87" y="458"/>
                </a:lnTo>
                <a:lnTo>
                  <a:pt x="82" y="453"/>
                </a:lnTo>
                <a:lnTo>
                  <a:pt x="87" y="453"/>
                </a:lnTo>
                <a:lnTo>
                  <a:pt x="93" y="453"/>
                </a:lnTo>
                <a:lnTo>
                  <a:pt x="98" y="458"/>
                </a:lnTo>
                <a:lnTo>
                  <a:pt x="98" y="453"/>
                </a:lnTo>
                <a:lnTo>
                  <a:pt x="98" y="447"/>
                </a:lnTo>
                <a:lnTo>
                  <a:pt x="98" y="442"/>
                </a:lnTo>
                <a:lnTo>
                  <a:pt x="93" y="442"/>
                </a:lnTo>
                <a:lnTo>
                  <a:pt x="98" y="442"/>
                </a:lnTo>
                <a:lnTo>
                  <a:pt x="98" y="437"/>
                </a:lnTo>
                <a:lnTo>
                  <a:pt x="104" y="437"/>
                </a:lnTo>
                <a:lnTo>
                  <a:pt x="104" y="431"/>
                </a:lnTo>
                <a:lnTo>
                  <a:pt x="98" y="426"/>
                </a:lnTo>
                <a:lnTo>
                  <a:pt x="93" y="426"/>
                </a:lnTo>
                <a:lnTo>
                  <a:pt x="93" y="420"/>
                </a:lnTo>
                <a:lnTo>
                  <a:pt x="93" y="415"/>
                </a:lnTo>
                <a:lnTo>
                  <a:pt x="87" y="409"/>
                </a:lnTo>
                <a:lnTo>
                  <a:pt x="93" y="409"/>
                </a:lnTo>
                <a:lnTo>
                  <a:pt x="87" y="404"/>
                </a:lnTo>
                <a:lnTo>
                  <a:pt x="87" y="398"/>
                </a:lnTo>
                <a:lnTo>
                  <a:pt x="93" y="398"/>
                </a:lnTo>
                <a:lnTo>
                  <a:pt x="82" y="393"/>
                </a:lnTo>
                <a:lnTo>
                  <a:pt x="87" y="393"/>
                </a:lnTo>
                <a:lnTo>
                  <a:pt x="93" y="398"/>
                </a:lnTo>
                <a:lnTo>
                  <a:pt x="87" y="393"/>
                </a:lnTo>
                <a:lnTo>
                  <a:pt x="87" y="387"/>
                </a:lnTo>
                <a:lnTo>
                  <a:pt x="82" y="387"/>
                </a:lnTo>
                <a:lnTo>
                  <a:pt x="76" y="382"/>
                </a:lnTo>
                <a:lnTo>
                  <a:pt x="76" y="387"/>
                </a:lnTo>
                <a:lnTo>
                  <a:pt x="65" y="387"/>
                </a:lnTo>
                <a:lnTo>
                  <a:pt x="65" y="382"/>
                </a:lnTo>
                <a:lnTo>
                  <a:pt x="60" y="377"/>
                </a:lnTo>
                <a:lnTo>
                  <a:pt x="60" y="371"/>
                </a:lnTo>
                <a:lnTo>
                  <a:pt x="60" y="366"/>
                </a:lnTo>
                <a:lnTo>
                  <a:pt x="60" y="360"/>
                </a:lnTo>
                <a:lnTo>
                  <a:pt x="55" y="360"/>
                </a:lnTo>
                <a:lnTo>
                  <a:pt x="60" y="355"/>
                </a:lnTo>
                <a:lnTo>
                  <a:pt x="60" y="349"/>
                </a:lnTo>
                <a:lnTo>
                  <a:pt x="55" y="344"/>
                </a:lnTo>
                <a:lnTo>
                  <a:pt x="55" y="338"/>
                </a:lnTo>
                <a:lnTo>
                  <a:pt x="49" y="338"/>
                </a:lnTo>
                <a:lnTo>
                  <a:pt x="49" y="333"/>
                </a:lnTo>
                <a:lnTo>
                  <a:pt x="49" y="327"/>
                </a:lnTo>
                <a:lnTo>
                  <a:pt x="44" y="327"/>
                </a:lnTo>
                <a:lnTo>
                  <a:pt x="44" y="322"/>
                </a:lnTo>
                <a:lnTo>
                  <a:pt x="44" y="317"/>
                </a:lnTo>
                <a:lnTo>
                  <a:pt x="38" y="317"/>
                </a:lnTo>
                <a:lnTo>
                  <a:pt x="38" y="311"/>
                </a:lnTo>
                <a:lnTo>
                  <a:pt x="44" y="311"/>
                </a:lnTo>
                <a:lnTo>
                  <a:pt x="44" y="306"/>
                </a:lnTo>
                <a:lnTo>
                  <a:pt x="44" y="300"/>
                </a:lnTo>
                <a:lnTo>
                  <a:pt x="44" y="295"/>
                </a:lnTo>
                <a:lnTo>
                  <a:pt x="49" y="289"/>
                </a:lnTo>
                <a:lnTo>
                  <a:pt x="44" y="289"/>
                </a:lnTo>
                <a:lnTo>
                  <a:pt x="44" y="284"/>
                </a:lnTo>
                <a:lnTo>
                  <a:pt x="49" y="278"/>
                </a:lnTo>
                <a:lnTo>
                  <a:pt x="49" y="273"/>
                </a:lnTo>
                <a:lnTo>
                  <a:pt x="44" y="273"/>
                </a:lnTo>
                <a:lnTo>
                  <a:pt x="49" y="267"/>
                </a:lnTo>
                <a:lnTo>
                  <a:pt x="44" y="267"/>
                </a:lnTo>
                <a:lnTo>
                  <a:pt x="49" y="262"/>
                </a:lnTo>
                <a:lnTo>
                  <a:pt x="49" y="257"/>
                </a:lnTo>
                <a:lnTo>
                  <a:pt x="44" y="257"/>
                </a:lnTo>
                <a:lnTo>
                  <a:pt x="44" y="251"/>
                </a:lnTo>
                <a:lnTo>
                  <a:pt x="44" y="246"/>
                </a:lnTo>
                <a:lnTo>
                  <a:pt x="44" y="240"/>
                </a:lnTo>
                <a:lnTo>
                  <a:pt x="44" y="235"/>
                </a:lnTo>
                <a:lnTo>
                  <a:pt x="38" y="229"/>
                </a:lnTo>
                <a:lnTo>
                  <a:pt x="38" y="224"/>
                </a:lnTo>
                <a:lnTo>
                  <a:pt x="33" y="218"/>
                </a:lnTo>
                <a:lnTo>
                  <a:pt x="33" y="213"/>
                </a:lnTo>
                <a:lnTo>
                  <a:pt x="33" y="207"/>
                </a:lnTo>
                <a:lnTo>
                  <a:pt x="33" y="202"/>
                </a:lnTo>
                <a:lnTo>
                  <a:pt x="33" y="197"/>
                </a:lnTo>
                <a:lnTo>
                  <a:pt x="33" y="191"/>
                </a:lnTo>
                <a:lnTo>
                  <a:pt x="27" y="186"/>
                </a:lnTo>
                <a:lnTo>
                  <a:pt x="27" y="180"/>
                </a:lnTo>
                <a:lnTo>
                  <a:pt x="27" y="175"/>
                </a:lnTo>
                <a:lnTo>
                  <a:pt x="27" y="169"/>
                </a:lnTo>
                <a:lnTo>
                  <a:pt x="27" y="164"/>
                </a:lnTo>
                <a:lnTo>
                  <a:pt x="27" y="158"/>
                </a:lnTo>
                <a:lnTo>
                  <a:pt x="27" y="153"/>
                </a:lnTo>
                <a:lnTo>
                  <a:pt x="27" y="147"/>
                </a:lnTo>
                <a:lnTo>
                  <a:pt x="27" y="142"/>
                </a:lnTo>
                <a:lnTo>
                  <a:pt x="27" y="137"/>
                </a:lnTo>
                <a:lnTo>
                  <a:pt x="22" y="131"/>
                </a:lnTo>
                <a:lnTo>
                  <a:pt x="27" y="126"/>
                </a:lnTo>
                <a:lnTo>
                  <a:pt x="22" y="120"/>
                </a:lnTo>
                <a:lnTo>
                  <a:pt x="22" y="115"/>
                </a:lnTo>
                <a:lnTo>
                  <a:pt x="22" y="109"/>
                </a:lnTo>
                <a:lnTo>
                  <a:pt x="16" y="104"/>
                </a:lnTo>
                <a:lnTo>
                  <a:pt x="22" y="98"/>
                </a:lnTo>
                <a:lnTo>
                  <a:pt x="16" y="98"/>
                </a:lnTo>
                <a:lnTo>
                  <a:pt x="16" y="93"/>
                </a:lnTo>
                <a:lnTo>
                  <a:pt x="16" y="87"/>
                </a:lnTo>
                <a:lnTo>
                  <a:pt x="16" y="82"/>
                </a:lnTo>
                <a:lnTo>
                  <a:pt x="16" y="77"/>
                </a:lnTo>
                <a:lnTo>
                  <a:pt x="16" y="71"/>
                </a:lnTo>
                <a:lnTo>
                  <a:pt x="16" y="66"/>
                </a:lnTo>
                <a:lnTo>
                  <a:pt x="16" y="60"/>
                </a:lnTo>
                <a:lnTo>
                  <a:pt x="11" y="60"/>
                </a:lnTo>
                <a:lnTo>
                  <a:pt x="11" y="55"/>
                </a:lnTo>
                <a:lnTo>
                  <a:pt x="11" y="49"/>
                </a:lnTo>
                <a:lnTo>
                  <a:pt x="11" y="44"/>
                </a:lnTo>
                <a:lnTo>
                  <a:pt x="11" y="38"/>
                </a:lnTo>
                <a:lnTo>
                  <a:pt x="5" y="33"/>
                </a:lnTo>
                <a:lnTo>
                  <a:pt x="5" y="27"/>
                </a:lnTo>
                <a:lnTo>
                  <a:pt x="5" y="22"/>
                </a:lnTo>
                <a:lnTo>
                  <a:pt x="0" y="17"/>
                </a:lnTo>
                <a:lnTo>
                  <a:pt x="5" y="17"/>
                </a:lnTo>
                <a:lnTo>
                  <a:pt x="11" y="11"/>
                </a:lnTo>
                <a:lnTo>
                  <a:pt x="5" y="6"/>
                </a:lnTo>
                <a:lnTo>
                  <a:pt x="11" y="0"/>
                </a:lnTo>
                <a:lnTo>
                  <a:pt x="11" y="6"/>
                </a:lnTo>
                <a:lnTo>
                  <a:pt x="16" y="6"/>
                </a:lnTo>
                <a:lnTo>
                  <a:pt x="16" y="11"/>
                </a:lnTo>
                <a:lnTo>
                  <a:pt x="22" y="11"/>
                </a:lnTo>
                <a:lnTo>
                  <a:pt x="22" y="17"/>
                </a:lnTo>
                <a:lnTo>
                  <a:pt x="22" y="22"/>
                </a:lnTo>
                <a:lnTo>
                  <a:pt x="27" y="22"/>
                </a:lnTo>
                <a:lnTo>
                  <a:pt x="27" y="27"/>
                </a:lnTo>
                <a:lnTo>
                  <a:pt x="33" y="27"/>
                </a:lnTo>
                <a:lnTo>
                  <a:pt x="33" y="33"/>
                </a:lnTo>
                <a:lnTo>
                  <a:pt x="33" y="38"/>
                </a:lnTo>
                <a:lnTo>
                  <a:pt x="33" y="44"/>
                </a:lnTo>
                <a:lnTo>
                  <a:pt x="33" y="49"/>
                </a:lnTo>
                <a:lnTo>
                  <a:pt x="38" y="49"/>
                </a:lnTo>
                <a:lnTo>
                  <a:pt x="38" y="55"/>
                </a:lnTo>
                <a:lnTo>
                  <a:pt x="44" y="60"/>
                </a:lnTo>
                <a:lnTo>
                  <a:pt x="44" y="66"/>
                </a:lnTo>
                <a:lnTo>
                  <a:pt x="49" y="71"/>
                </a:lnTo>
                <a:lnTo>
                  <a:pt x="49" y="77"/>
                </a:lnTo>
                <a:lnTo>
                  <a:pt x="55" y="82"/>
                </a:lnTo>
                <a:lnTo>
                  <a:pt x="55" y="87"/>
                </a:lnTo>
                <a:lnTo>
                  <a:pt x="60" y="87"/>
                </a:lnTo>
                <a:lnTo>
                  <a:pt x="65" y="87"/>
                </a:lnTo>
                <a:lnTo>
                  <a:pt x="71" y="87"/>
                </a:lnTo>
                <a:lnTo>
                  <a:pt x="65" y="104"/>
                </a:lnTo>
                <a:lnTo>
                  <a:pt x="55" y="109"/>
                </a:lnTo>
                <a:lnTo>
                  <a:pt x="55" y="115"/>
                </a:lnTo>
                <a:lnTo>
                  <a:pt x="49" y="115"/>
                </a:lnTo>
                <a:lnTo>
                  <a:pt x="49" y="120"/>
                </a:lnTo>
                <a:lnTo>
                  <a:pt x="55" y="120"/>
                </a:lnTo>
                <a:lnTo>
                  <a:pt x="55" y="126"/>
                </a:lnTo>
                <a:lnTo>
                  <a:pt x="55" y="131"/>
                </a:lnTo>
                <a:lnTo>
                  <a:pt x="60" y="142"/>
                </a:lnTo>
                <a:lnTo>
                  <a:pt x="65" y="153"/>
                </a:lnTo>
                <a:lnTo>
                  <a:pt x="60" y="153"/>
                </a:lnTo>
                <a:lnTo>
                  <a:pt x="55" y="153"/>
                </a:lnTo>
                <a:lnTo>
                  <a:pt x="60" y="158"/>
                </a:lnTo>
                <a:lnTo>
                  <a:pt x="55" y="158"/>
                </a:lnTo>
                <a:lnTo>
                  <a:pt x="55" y="164"/>
                </a:lnTo>
                <a:lnTo>
                  <a:pt x="55" y="169"/>
                </a:lnTo>
                <a:lnTo>
                  <a:pt x="49" y="175"/>
                </a:lnTo>
                <a:lnTo>
                  <a:pt x="49" y="180"/>
                </a:lnTo>
                <a:lnTo>
                  <a:pt x="55" y="180"/>
                </a:lnTo>
                <a:lnTo>
                  <a:pt x="49" y="186"/>
                </a:lnTo>
                <a:lnTo>
                  <a:pt x="55" y="186"/>
                </a:lnTo>
                <a:lnTo>
                  <a:pt x="49" y="191"/>
                </a:lnTo>
                <a:lnTo>
                  <a:pt x="55" y="197"/>
                </a:lnTo>
                <a:lnTo>
                  <a:pt x="55" y="202"/>
                </a:lnTo>
                <a:lnTo>
                  <a:pt x="55" y="207"/>
                </a:lnTo>
                <a:lnTo>
                  <a:pt x="55" y="213"/>
                </a:lnTo>
                <a:lnTo>
                  <a:pt x="55" y="218"/>
                </a:lnTo>
                <a:lnTo>
                  <a:pt x="49" y="218"/>
                </a:lnTo>
                <a:lnTo>
                  <a:pt x="55" y="224"/>
                </a:lnTo>
                <a:lnTo>
                  <a:pt x="55" y="229"/>
                </a:lnTo>
                <a:lnTo>
                  <a:pt x="60" y="229"/>
                </a:lnTo>
                <a:lnTo>
                  <a:pt x="60" y="235"/>
                </a:lnTo>
                <a:lnTo>
                  <a:pt x="65" y="240"/>
                </a:lnTo>
                <a:lnTo>
                  <a:pt x="65" y="246"/>
                </a:lnTo>
                <a:lnTo>
                  <a:pt x="71" y="251"/>
                </a:lnTo>
                <a:lnTo>
                  <a:pt x="71" y="257"/>
                </a:lnTo>
                <a:lnTo>
                  <a:pt x="76" y="262"/>
                </a:lnTo>
                <a:lnTo>
                  <a:pt x="76" y="267"/>
                </a:lnTo>
                <a:lnTo>
                  <a:pt x="76" y="273"/>
                </a:lnTo>
                <a:lnTo>
                  <a:pt x="71" y="273"/>
                </a:lnTo>
                <a:lnTo>
                  <a:pt x="76" y="278"/>
                </a:lnTo>
                <a:lnTo>
                  <a:pt x="76" y="284"/>
                </a:lnTo>
                <a:lnTo>
                  <a:pt x="71" y="284"/>
                </a:lnTo>
                <a:lnTo>
                  <a:pt x="76" y="284"/>
                </a:lnTo>
                <a:lnTo>
                  <a:pt x="76" y="289"/>
                </a:lnTo>
                <a:lnTo>
                  <a:pt x="82" y="295"/>
                </a:lnTo>
                <a:lnTo>
                  <a:pt x="82" y="300"/>
                </a:lnTo>
                <a:lnTo>
                  <a:pt x="76" y="300"/>
                </a:lnTo>
                <a:lnTo>
                  <a:pt x="71" y="300"/>
                </a:lnTo>
                <a:lnTo>
                  <a:pt x="76" y="306"/>
                </a:lnTo>
                <a:lnTo>
                  <a:pt x="71" y="311"/>
                </a:lnTo>
                <a:lnTo>
                  <a:pt x="76" y="311"/>
                </a:lnTo>
                <a:lnTo>
                  <a:pt x="71" y="311"/>
                </a:lnTo>
                <a:lnTo>
                  <a:pt x="76" y="311"/>
                </a:lnTo>
                <a:lnTo>
                  <a:pt x="76" y="317"/>
                </a:lnTo>
                <a:lnTo>
                  <a:pt x="76" y="322"/>
                </a:lnTo>
                <a:lnTo>
                  <a:pt x="82" y="327"/>
                </a:lnTo>
                <a:lnTo>
                  <a:pt x="87" y="333"/>
                </a:lnTo>
                <a:lnTo>
                  <a:pt x="87" y="338"/>
                </a:lnTo>
                <a:lnTo>
                  <a:pt x="82" y="338"/>
                </a:lnTo>
                <a:lnTo>
                  <a:pt x="82" y="344"/>
                </a:lnTo>
                <a:lnTo>
                  <a:pt x="87" y="349"/>
                </a:lnTo>
                <a:lnTo>
                  <a:pt x="82" y="349"/>
                </a:lnTo>
                <a:lnTo>
                  <a:pt x="87" y="355"/>
                </a:lnTo>
                <a:lnTo>
                  <a:pt x="82" y="355"/>
                </a:lnTo>
                <a:lnTo>
                  <a:pt x="87" y="355"/>
                </a:lnTo>
                <a:lnTo>
                  <a:pt x="82" y="360"/>
                </a:lnTo>
                <a:lnTo>
                  <a:pt x="87" y="366"/>
                </a:lnTo>
                <a:lnTo>
                  <a:pt x="87" y="371"/>
                </a:lnTo>
                <a:lnTo>
                  <a:pt x="87" y="377"/>
                </a:lnTo>
                <a:lnTo>
                  <a:pt x="93" y="382"/>
                </a:lnTo>
                <a:lnTo>
                  <a:pt x="93" y="387"/>
                </a:lnTo>
                <a:lnTo>
                  <a:pt x="98" y="393"/>
                </a:lnTo>
                <a:lnTo>
                  <a:pt x="93" y="393"/>
                </a:lnTo>
                <a:lnTo>
                  <a:pt x="93" y="398"/>
                </a:lnTo>
                <a:lnTo>
                  <a:pt x="98" y="398"/>
                </a:lnTo>
                <a:lnTo>
                  <a:pt x="98" y="404"/>
                </a:lnTo>
                <a:lnTo>
                  <a:pt x="104" y="409"/>
                </a:lnTo>
                <a:lnTo>
                  <a:pt x="104" y="415"/>
                </a:lnTo>
                <a:lnTo>
                  <a:pt x="109" y="415"/>
                </a:lnTo>
                <a:lnTo>
                  <a:pt x="109" y="420"/>
                </a:lnTo>
                <a:lnTo>
                  <a:pt x="109" y="426"/>
                </a:lnTo>
                <a:lnTo>
                  <a:pt x="115" y="431"/>
                </a:lnTo>
                <a:lnTo>
                  <a:pt x="120" y="431"/>
                </a:lnTo>
                <a:lnTo>
                  <a:pt x="125" y="431"/>
                </a:lnTo>
                <a:lnTo>
                  <a:pt x="120" y="437"/>
                </a:lnTo>
                <a:lnTo>
                  <a:pt x="115" y="437"/>
                </a:lnTo>
                <a:lnTo>
                  <a:pt x="109" y="437"/>
                </a:lnTo>
                <a:lnTo>
                  <a:pt x="115" y="437"/>
                </a:lnTo>
                <a:lnTo>
                  <a:pt x="120" y="437"/>
                </a:lnTo>
                <a:lnTo>
                  <a:pt x="125" y="442"/>
                </a:lnTo>
                <a:lnTo>
                  <a:pt x="125" y="447"/>
                </a:lnTo>
                <a:lnTo>
                  <a:pt x="120" y="447"/>
                </a:lnTo>
                <a:lnTo>
                  <a:pt x="125" y="453"/>
                </a:lnTo>
                <a:lnTo>
                  <a:pt x="125" y="458"/>
                </a:lnTo>
                <a:lnTo>
                  <a:pt x="131" y="464"/>
                </a:lnTo>
                <a:lnTo>
                  <a:pt x="125" y="469"/>
                </a:lnTo>
                <a:lnTo>
                  <a:pt x="131" y="469"/>
                </a:lnTo>
                <a:lnTo>
                  <a:pt x="131" y="475"/>
                </a:lnTo>
                <a:lnTo>
                  <a:pt x="125" y="475"/>
                </a:lnTo>
                <a:lnTo>
                  <a:pt x="131" y="480"/>
                </a:lnTo>
                <a:lnTo>
                  <a:pt x="125" y="480"/>
                </a:lnTo>
                <a:lnTo>
                  <a:pt x="125" y="486"/>
                </a:lnTo>
                <a:lnTo>
                  <a:pt x="131" y="486"/>
                </a:lnTo>
                <a:lnTo>
                  <a:pt x="136" y="491"/>
                </a:lnTo>
                <a:lnTo>
                  <a:pt x="131" y="491"/>
                </a:lnTo>
                <a:lnTo>
                  <a:pt x="136" y="497"/>
                </a:lnTo>
                <a:lnTo>
                  <a:pt x="131" y="502"/>
                </a:lnTo>
                <a:lnTo>
                  <a:pt x="131" y="507"/>
                </a:lnTo>
                <a:lnTo>
                  <a:pt x="125" y="507"/>
                </a:lnTo>
                <a:lnTo>
                  <a:pt x="125" y="513"/>
                </a:lnTo>
                <a:lnTo>
                  <a:pt x="131" y="513"/>
                </a:lnTo>
                <a:lnTo>
                  <a:pt x="131" y="518"/>
                </a:lnTo>
                <a:lnTo>
                  <a:pt x="136" y="524"/>
                </a:lnTo>
                <a:lnTo>
                  <a:pt x="142" y="529"/>
                </a:lnTo>
                <a:lnTo>
                  <a:pt x="147" y="529"/>
                </a:lnTo>
                <a:lnTo>
                  <a:pt x="153" y="529"/>
                </a:lnTo>
                <a:lnTo>
                  <a:pt x="158" y="535"/>
                </a:lnTo>
                <a:lnTo>
                  <a:pt x="153" y="535"/>
                </a:lnTo>
                <a:lnTo>
                  <a:pt x="158" y="540"/>
                </a:lnTo>
                <a:lnTo>
                  <a:pt x="158" y="546"/>
                </a:lnTo>
                <a:lnTo>
                  <a:pt x="164" y="546"/>
                </a:lnTo>
                <a:lnTo>
                  <a:pt x="169" y="551"/>
                </a:lnTo>
                <a:lnTo>
                  <a:pt x="191" y="551"/>
                </a:lnTo>
                <a:lnTo>
                  <a:pt x="202" y="551"/>
                </a:lnTo>
                <a:lnTo>
                  <a:pt x="207" y="551"/>
                </a:lnTo>
                <a:lnTo>
                  <a:pt x="213" y="557"/>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3" name="Freeform 494">
            <a:extLst>
              <a:ext uri="{FF2B5EF4-FFF2-40B4-BE49-F238E27FC236}">
                <a16:creationId xmlns:a16="http://schemas.microsoft.com/office/drawing/2014/main" id="{5516C1D6-DACF-46BB-092E-E8979CF1AA1A}"/>
              </a:ext>
            </a:extLst>
          </p:cNvPr>
          <p:cNvSpPr>
            <a:spLocks/>
          </p:cNvSpPr>
          <p:nvPr/>
        </p:nvSpPr>
        <p:spPr bwMode="auto">
          <a:xfrm>
            <a:off x="1615574" y="3949755"/>
            <a:ext cx="53975" cy="46038"/>
          </a:xfrm>
          <a:custGeom>
            <a:avLst/>
            <a:gdLst>
              <a:gd name="T0" fmla="*/ 49 w 49"/>
              <a:gd name="T1" fmla="*/ 38 h 38"/>
              <a:gd name="T2" fmla="*/ 44 w 49"/>
              <a:gd name="T3" fmla="*/ 38 h 38"/>
              <a:gd name="T4" fmla="*/ 33 w 49"/>
              <a:gd name="T5" fmla="*/ 38 h 38"/>
              <a:gd name="T6" fmla="*/ 28 w 49"/>
              <a:gd name="T7" fmla="*/ 32 h 38"/>
              <a:gd name="T8" fmla="*/ 28 w 49"/>
              <a:gd name="T9" fmla="*/ 38 h 38"/>
              <a:gd name="T10" fmla="*/ 28 w 49"/>
              <a:gd name="T11" fmla="*/ 32 h 38"/>
              <a:gd name="T12" fmla="*/ 22 w 49"/>
              <a:gd name="T13" fmla="*/ 38 h 38"/>
              <a:gd name="T14" fmla="*/ 11 w 49"/>
              <a:gd name="T15" fmla="*/ 32 h 38"/>
              <a:gd name="T16" fmla="*/ 0 w 49"/>
              <a:gd name="T17" fmla="*/ 32 h 38"/>
              <a:gd name="T18" fmla="*/ 6 w 49"/>
              <a:gd name="T19" fmla="*/ 32 h 38"/>
              <a:gd name="T20" fmla="*/ 11 w 49"/>
              <a:gd name="T21" fmla="*/ 32 h 38"/>
              <a:gd name="T22" fmla="*/ 17 w 49"/>
              <a:gd name="T23" fmla="*/ 32 h 38"/>
              <a:gd name="T24" fmla="*/ 17 w 49"/>
              <a:gd name="T25" fmla="*/ 27 h 38"/>
              <a:gd name="T26" fmla="*/ 11 w 49"/>
              <a:gd name="T27" fmla="*/ 27 h 38"/>
              <a:gd name="T28" fmla="*/ 17 w 49"/>
              <a:gd name="T29" fmla="*/ 27 h 38"/>
              <a:gd name="T30" fmla="*/ 22 w 49"/>
              <a:gd name="T31" fmla="*/ 27 h 38"/>
              <a:gd name="T32" fmla="*/ 22 w 49"/>
              <a:gd name="T33" fmla="*/ 32 h 38"/>
              <a:gd name="T34" fmla="*/ 22 w 49"/>
              <a:gd name="T35" fmla="*/ 27 h 38"/>
              <a:gd name="T36" fmla="*/ 33 w 49"/>
              <a:gd name="T37" fmla="*/ 32 h 38"/>
              <a:gd name="T38" fmla="*/ 39 w 49"/>
              <a:gd name="T39" fmla="*/ 32 h 38"/>
              <a:gd name="T40" fmla="*/ 33 w 49"/>
              <a:gd name="T41" fmla="*/ 27 h 38"/>
              <a:gd name="T42" fmla="*/ 28 w 49"/>
              <a:gd name="T43" fmla="*/ 27 h 38"/>
              <a:gd name="T44" fmla="*/ 22 w 49"/>
              <a:gd name="T45" fmla="*/ 27 h 38"/>
              <a:gd name="T46" fmla="*/ 17 w 49"/>
              <a:gd name="T47" fmla="*/ 21 h 38"/>
              <a:gd name="T48" fmla="*/ 22 w 49"/>
              <a:gd name="T49" fmla="*/ 16 h 38"/>
              <a:gd name="T50" fmla="*/ 28 w 49"/>
              <a:gd name="T51" fmla="*/ 16 h 38"/>
              <a:gd name="T52" fmla="*/ 22 w 49"/>
              <a:gd name="T53" fmla="*/ 16 h 38"/>
              <a:gd name="T54" fmla="*/ 17 w 49"/>
              <a:gd name="T55" fmla="*/ 16 h 38"/>
              <a:gd name="T56" fmla="*/ 11 w 49"/>
              <a:gd name="T57" fmla="*/ 16 h 38"/>
              <a:gd name="T58" fmla="*/ 11 w 49"/>
              <a:gd name="T59" fmla="*/ 10 h 38"/>
              <a:gd name="T60" fmla="*/ 11 w 49"/>
              <a:gd name="T61" fmla="*/ 5 h 38"/>
              <a:gd name="T62" fmla="*/ 6 w 49"/>
              <a:gd name="T63" fmla="*/ 5 h 38"/>
              <a:gd name="T64" fmla="*/ 17 w 49"/>
              <a:gd name="T65" fmla="*/ 5 h 38"/>
              <a:gd name="T66" fmla="*/ 17 w 49"/>
              <a:gd name="T67" fmla="*/ 0 h 38"/>
              <a:gd name="T68" fmla="*/ 22 w 49"/>
              <a:gd name="T69" fmla="*/ 5 h 38"/>
              <a:gd name="T70" fmla="*/ 28 w 49"/>
              <a:gd name="T71" fmla="*/ 5 h 38"/>
              <a:gd name="T72" fmla="*/ 33 w 49"/>
              <a:gd name="T73" fmla="*/ 10 h 38"/>
              <a:gd name="T74" fmla="*/ 39 w 49"/>
              <a:gd name="T75" fmla="*/ 21 h 38"/>
              <a:gd name="T76" fmla="*/ 44 w 49"/>
              <a:gd name="T77" fmla="*/ 32 h 38"/>
              <a:gd name="T78" fmla="*/ 44 w 49"/>
              <a:gd name="T79" fmla="*/ 38 h 38"/>
              <a:gd name="T80" fmla="*/ 49 w 49"/>
              <a:gd name="T8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 h="38">
                <a:moveTo>
                  <a:pt x="49" y="38"/>
                </a:moveTo>
                <a:lnTo>
                  <a:pt x="44" y="38"/>
                </a:lnTo>
                <a:lnTo>
                  <a:pt x="33" y="38"/>
                </a:lnTo>
                <a:lnTo>
                  <a:pt x="28" y="32"/>
                </a:lnTo>
                <a:lnTo>
                  <a:pt x="28" y="38"/>
                </a:lnTo>
                <a:lnTo>
                  <a:pt x="28" y="32"/>
                </a:lnTo>
                <a:lnTo>
                  <a:pt x="22" y="38"/>
                </a:lnTo>
                <a:lnTo>
                  <a:pt x="11" y="32"/>
                </a:lnTo>
                <a:lnTo>
                  <a:pt x="0" y="32"/>
                </a:lnTo>
                <a:lnTo>
                  <a:pt x="6" y="32"/>
                </a:lnTo>
                <a:lnTo>
                  <a:pt x="11" y="32"/>
                </a:lnTo>
                <a:lnTo>
                  <a:pt x="17" y="32"/>
                </a:lnTo>
                <a:lnTo>
                  <a:pt x="17" y="27"/>
                </a:lnTo>
                <a:lnTo>
                  <a:pt x="11" y="27"/>
                </a:lnTo>
                <a:lnTo>
                  <a:pt x="17" y="27"/>
                </a:lnTo>
                <a:lnTo>
                  <a:pt x="22" y="27"/>
                </a:lnTo>
                <a:lnTo>
                  <a:pt x="22" y="32"/>
                </a:lnTo>
                <a:lnTo>
                  <a:pt x="22" y="27"/>
                </a:lnTo>
                <a:lnTo>
                  <a:pt x="33" y="32"/>
                </a:lnTo>
                <a:lnTo>
                  <a:pt x="39" y="32"/>
                </a:lnTo>
                <a:lnTo>
                  <a:pt x="33" y="27"/>
                </a:lnTo>
                <a:lnTo>
                  <a:pt x="28" y="27"/>
                </a:lnTo>
                <a:lnTo>
                  <a:pt x="22" y="27"/>
                </a:lnTo>
                <a:lnTo>
                  <a:pt x="17" y="21"/>
                </a:lnTo>
                <a:lnTo>
                  <a:pt x="22" y="16"/>
                </a:lnTo>
                <a:lnTo>
                  <a:pt x="28" y="16"/>
                </a:lnTo>
                <a:lnTo>
                  <a:pt x="22" y="16"/>
                </a:lnTo>
                <a:lnTo>
                  <a:pt x="17" y="16"/>
                </a:lnTo>
                <a:lnTo>
                  <a:pt x="11" y="16"/>
                </a:lnTo>
                <a:lnTo>
                  <a:pt x="11" y="10"/>
                </a:lnTo>
                <a:lnTo>
                  <a:pt x="11" y="5"/>
                </a:lnTo>
                <a:lnTo>
                  <a:pt x="6" y="5"/>
                </a:lnTo>
                <a:lnTo>
                  <a:pt x="17" y="5"/>
                </a:lnTo>
                <a:lnTo>
                  <a:pt x="17" y="0"/>
                </a:lnTo>
                <a:lnTo>
                  <a:pt x="22" y="5"/>
                </a:lnTo>
                <a:lnTo>
                  <a:pt x="28" y="5"/>
                </a:lnTo>
                <a:lnTo>
                  <a:pt x="33" y="10"/>
                </a:lnTo>
                <a:lnTo>
                  <a:pt x="39" y="21"/>
                </a:lnTo>
                <a:lnTo>
                  <a:pt x="44" y="32"/>
                </a:lnTo>
                <a:lnTo>
                  <a:pt x="44" y="38"/>
                </a:lnTo>
                <a:lnTo>
                  <a:pt x="49" y="38"/>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4" name="Freeform 499">
            <a:extLst>
              <a:ext uri="{FF2B5EF4-FFF2-40B4-BE49-F238E27FC236}">
                <a16:creationId xmlns:a16="http://schemas.microsoft.com/office/drawing/2014/main" id="{90FA367E-A9E6-A883-01F6-1DB283E91106}"/>
              </a:ext>
            </a:extLst>
          </p:cNvPr>
          <p:cNvSpPr>
            <a:spLocks/>
          </p:cNvSpPr>
          <p:nvPr/>
        </p:nvSpPr>
        <p:spPr bwMode="auto">
          <a:xfrm>
            <a:off x="1645736" y="3956105"/>
            <a:ext cx="68263" cy="46038"/>
          </a:xfrm>
          <a:custGeom>
            <a:avLst/>
            <a:gdLst>
              <a:gd name="T0" fmla="*/ 0 w 60"/>
              <a:gd name="T1" fmla="*/ 0 h 38"/>
              <a:gd name="T2" fmla="*/ 5 w 60"/>
              <a:gd name="T3" fmla="*/ 0 h 38"/>
              <a:gd name="T4" fmla="*/ 11 w 60"/>
              <a:gd name="T5" fmla="*/ 0 h 38"/>
              <a:gd name="T6" fmla="*/ 11 w 60"/>
              <a:gd name="T7" fmla="*/ 5 h 38"/>
              <a:gd name="T8" fmla="*/ 5 w 60"/>
              <a:gd name="T9" fmla="*/ 5 h 38"/>
              <a:gd name="T10" fmla="*/ 11 w 60"/>
              <a:gd name="T11" fmla="*/ 11 h 38"/>
              <a:gd name="T12" fmla="*/ 16 w 60"/>
              <a:gd name="T13" fmla="*/ 11 h 38"/>
              <a:gd name="T14" fmla="*/ 27 w 60"/>
              <a:gd name="T15" fmla="*/ 16 h 38"/>
              <a:gd name="T16" fmla="*/ 27 w 60"/>
              <a:gd name="T17" fmla="*/ 22 h 38"/>
              <a:gd name="T18" fmla="*/ 38 w 60"/>
              <a:gd name="T19" fmla="*/ 22 h 38"/>
              <a:gd name="T20" fmla="*/ 43 w 60"/>
              <a:gd name="T21" fmla="*/ 27 h 38"/>
              <a:gd name="T22" fmla="*/ 49 w 60"/>
              <a:gd name="T23" fmla="*/ 27 h 38"/>
              <a:gd name="T24" fmla="*/ 54 w 60"/>
              <a:gd name="T25" fmla="*/ 27 h 38"/>
              <a:gd name="T26" fmla="*/ 60 w 60"/>
              <a:gd name="T27" fmla="*/ 27 h 38"/>
              <a:gd name="T28" fmla="*/ 60 w 60"/>
              <a:gd name="T29" fmla="*/ 33 h 38"/>
              <a:gd name="T30" fmla="*/ 54 w 60"/>
              <a:gd name="T31" fmla="*/ 33 h 38"/>
              <a:gd name="T32" fmla="*/ 49 w 60"/>
              <a:gd name="T33" fmla="*/ 38 h 38"/>
              <a:gd name="T34" fmla="*/ 43 w 60"/>
              <a:gd name="T35" fmla="*/ 33 h 38"/>
              <a:gd name="T36" fmla="*/ 32 w 60"/>
              <a:gd name="T37" fmla="*/ 33 h 38"/>
              <a:gd name="T38" fmla="*/ 27 w 60"/>
              <a:gd name="T39" fmla="*/ 33 h 38"/>
              <a:gd name="T40" fmla="*/ 21 w 60"/>
              <a:gd name="T41" fmla="*/ 33 h 38"/>
              <a:gd name="T42" fmla="*/ 16 w 60"/>
              <a:gd name="T43" fmla="*/ 33 h 38"/>
              <a:gd name="T44" fmla="*/ 16 w 60"/>
              <a:gd name="T45" fmla="*/ 27 h 38"/>
              <a:gd name="T46" fmla="*/ 11 w 60"/>
              <a:gd name="T47" fmla="*/ 16 h 38"/>
              <a:gd name="T48" fmla="*/ 5 w 60"/>
              <a:gd name="T49" fmla="*/ 5 h 38"/>
              <a:gd name="T50" fmla="*/ 0 w 60"/>
              <a:gd name="T5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8">
                <a:moveTo>
                  <a:pt x="0" y="0"/>
                </a:moveTo>
                <a:lnTo>
                  <a:pt x="5" y="0"/>
                </a:lnTo>
                <a:lnTo>
                  <a:pt x="11" y="0"/>
                </a:lnTo>
                <a:lnTo>
                  <a:pt x="11" y="5"/>
                </a:lnTo>
                <a:lnTo>
                  <a:pt x="5" y="5"/>
                </a:lnTo>
                <a:lnTo>
                  <a:pt x="11" y="11"/>
                </a:lnTo>
                <a:lnTo>
                  <a:pt x="16" y="11"/>
                </a:lnTo>
                <a:lnTo>
                  <a:pt x="27" y="16"/>
                </a:lnTo>
                <a:lnTo>
                  <a:pt x="27" y="22"/>
                </a:lnTo>
                <a:lnTo>
                  <a:pt x="38" y="22"/>
                </a:lnTo>
                <a:lnTo>
                  <a:pt x="43" y="27"/>
                </a:lnTo>
                <a:lnTo>
                  <a:pt x="49" y="27"/>
                </a:lnTo>
                <a:lnTo>
                  <a:pt x="54" y="27"/>
                </a:lnTo>
                <a:lnTo>
                  <a:pt x="60" y="27"/>
                </a:lnTo>
                <a:lnTo>
                  <a:pt x="60" y="33"/>
                </a:lnTo>
                <a:lnTo>
                  <a:pt x="54" y="33"/>
                </a:lnTo>
                <a:lnTo>
                  <a:pt x="49" y="38"/>
                </a:lnTo>
                <a:lnTo>
                  <a:pt x="43" y="33"/>
                </a:lnTo>
                <a:lnTo>
                  <a:pt x="32" y="33"/>
                </a:lnTo>
                <a:lnTo>
                  <a:pt x="27" y="33"/>
                </a:lnTo>
                <a:lnTo>
                  <a:pt x="21" y="33"/>
                </a:lnTo>
                <a:lnTo>
                  <a:pt x="16" y="33"/>
                </a:lnTo>
                <a:lnTo>
                  <a:pt x="16" y="27"/>
                </a:lnTo>
                <a:lnTo>
                  <a:pt x="11" y="16"/>
                </a:lnTo>
                <a:lnTo>
                  <a:pt x="5" y="5"/>
                </a:lnTo>
                <a:lnTo>
                  <a:pt x="0" y="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5" name="Freeform 501">
            <a:extLst>
              <a:ext uri="{FF2B5EF4-FFF2-40B4-BE49-F238E27FC236}">
                <a16:creationId xmlns:a16="http://schemas.microsoft.com/office/drawing/2014/main" id="{159B168D-7113-7ACA-2434-382F3BCEF5F9}"/>
              </a:ext>
            </a:extLst>
          </p:cNvPr>
          <p:cNvSpPr>
            <a:spLocks/>
          </p:cNvSpPr>
          <p:nvPr/>
        </p:nvSpPr>
        <p:spPr bwMode="auto">
          <a:xfrm>
            <a:off x="1185864" y="3078163"/>
            <a:ext cx="244475" cy="360363"/>
          </a:xfrm>
          <a:custGeom>
            <a:avLst/>
            <a:gdLst>
              <a:gd name="T0" fmla="*/ 191 w 218"/>
              <a:gd name="T1" fmla="*/ 289 h 295"/>
              <a:gd name="T2" fmla="*/ 180 w 218"/>
              <a:gd name="T3" fmla="*/ 278 h 295"/>
              <a:gd name="T4" fmla="*/ 158 w 218"/>
              <a:gd name="T5" fmla="*/ 262 h 295"/>
              <a:gd name="T6" fmla="*/ 137 w 218"/>
              <a:gd name="T7" fmla="*/ 256 h 295"/>
              <a:gd name="T8" fmla="*/ 120 w 218"/>
              <a:gd name="T9" fmla="*/ 245 h 295"/>
              <a:gd name="T10" fmla="*/ 98 w 218"/>
              <a:gd name="T11" fmla="*/ 229 h 295"/>
              <a:gd name="T12" fmla="*/ 93 w 218"/>
              <a:gd name="T13" fmla="*/ 207 h 295"/>
              <a:gd name="T14" fmla="*/ 82 w 218"/>
              <a:gd name="T15" fmla="*/ 191 h 295"/>
              <a:gd name="T16" fmla="*/ 71 w 218"/>
              <a:gd name="T17" fmla="*/ 175 h 295"/>
              <a:gd name="T18" fmla="*/ 60 w 218"/>
              <a:gd name="T19" fmla="*/ 158 h 295"/>
              <a:gd name="T20" fmla="*/ 55 w 218"/>
              <a:gd name="T21" fmla="*/ 147 h 295"/>
              <a:gd name="T22" fmla="*/ 44 w 218"/>
              <a:gd name="T23" fmla="*/ 136 h 295"/>
              <a:gd name="T24" fmla="*/ 33 w 218"/>
              <a:gd name="T25" fmla="*/ 115 h 295"/>
              <a:gd name="T26" fmla="*/ 11 w 218"/>
              <a:gd name="T27" fmla="*/ 98 h 295"/>
              <a:gd name="T28" fmla="*/ 11 w 218"/>
              <a:gd name="T29" fmla="*/ 87 h 295"/>
              <a:gd name="T30" fmla="*/ 6 w 218"/>
              <a:gd name="T31" fmla="*/ 76 h 295"/>
              <a:gd name="T32" fmla="*/ 11 w 218"/>
              <a:gd name="T33" fmla="*/ 60 h 295"/>
              <a:gd name="T34" fmla="*/ 22 w 218"/>
              <a:gd name="T35" fmla="*/ 65 h 295"/>
              <a:gd name="T36" fmla="*/ 28 w 218"/>
              <a:gd name="T37" fmla="*/ 71 h 295"/>
              <a:gd name="T38" fmla="*/ 44 w 218"/>
              <a:gd name="T39" fmla="*/ 82 h 295"/>
              <a:gd name="T40" fmla="*/ 49 w 218"/>
              <a:gd name="T41" fmla="*/ 65 h 295"/>
              <a:gd name="T42" fmla="*/ 55 w 218"/>
              <a:gd name="T43" fmla="*/ 49 h 295"/>
              <a:gd name="T44" fmla="*/ 93 w 218"/>
              <a:gd name="T45" fmla="*/ 16 h 295"/>
              <a:gd name="T46" fmla="*/ 98 w 218"/>
              <a:gd name="T47" fmla="*/ 5 h 295"/>
              <a:gd name="T48" fmla="*/ 109 w 218"/>
              <a:gd name="T49" fmla="*/ 11 h 295"/>
              <a:gd name="T50" fmla="*/ 126 w 218"/>
              <a:gd name="T51" fmla="*/ 27 h 295"/>
              <a:gd name="T52" fmla="*/ 137 w 218"/>
              <a:gd name="T53" fmla="*/ 44 h 295"/>
              <a:gd name="T54" fmla="*/ 153 w 218"/>
              <a:gd name="T55" fmla="*/ 38 h 295"/>
              <a:gd name="T56" fmla="*/ 175 w 218"/>
              <a:gd name="T57" fmla="*/ 44 h 295"/>
              <a:gd name="T58" fmla="*/ 180 w 218"/>
              <a:gd name="T59" fmla="*/ 60 h 295"/>
              <a:gd name="T60" fmla="*/ 175 w 218"/>
              <a:gd name="T61" fmla="*/ 65 h 295"/>
              <a:gd name="T62" fmla="*/ 164 w 218"/>
              <a:gd name="T63" fmla="*/ 71 h 295"/>
              <a:gd name="T64" fmla="*/ 142 w 218"/>
              <a:gd name="T65" fmla="*/ 82 h 295"/>
              <a:gd name="T66" fmla="*/ 131 w 218"/>
              <a:gd name="T67" fmla="*/ 93 h 295"/>
              <a:gd name="T68" fmla="*/ 131 w 218"/>
              <a:gd name="T69" fmla="*/ 104 h 295"/>
              <a:gd name="T70" fmla="*/ 126 w 218"/>
              <a:gd name="T71" fmla="*/ 120 h 295"/>
              <a:gd name="T72" fmla="*/ 131 w 218"/>
              <a:gd name="T73" fmla="*/ 136 h 295"/>
              <a:gd name="T74" fmla="*/ 137 w 218"/>
              <a:gd name="T75" fmla="*/ 153 h 295"/>
              <a:gd name="T76" fmla="*/ 169 w 218"/>
              <a:gd name="T77" fmla="*/ 158 h 295"/>
              <a:gd name="T78" fmla="*/ 180 w 218"/>
              <a:gd name="T79" fmla="*/ 158 h 295"/>
              <a:gd name="T80" fmla="*/ 197 w 218"/>
              <a:gd name="T81" fmla="*/ 175 h 295"/>
              <a:gd name="T82" fmla="*/ 213 w 218"/>
              <a:gd name="T83" fmla="*/ 213 h 295"/>
              <a:gd name="T84" fmla="*/ 213 w 218"/>
              <a:gd name="T85" fmla="*/ 229 h 295"/>
              <a:gd name="T86" fmla="*/ 213 w 218"/>
              <a:gd name="T87" fmla="*/ 245 h 295"/>
              <a:gd name="T88" fmla="*/ 202 w 218"/>
              <a:gd name="T89" fmla="*/ 251 h 295"/>
              <a:gd name="T90" fmla="*/ 213 w 218"/>
              <a:gd name="T91" fmla="*/ 262 h 295"/>
              <a:gd name="T92" fmla="*/ 213 w 218"/>
              <a:gd name="T93" fmla="*/ 278 h 295"/>
              <a:gd name="T94" fmla="*/ 202 w 218"/>
              <a:gd name="T95"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8" h="295">
                <a:moveTo>
                  <a:pt x="202" y="295"/>
                </a:moveTo>
                <a:lnTo>
                  <a:pt x="202" y="289"/>
                </a:lnTo>
                <a:lnTo>
                  <a:pt x="197" y="289"/>
                </a:lnTo>
                <a:lnTo>
                  <a:pt x="191" y="289"/>
                </a:lnTo>
                <a:lnTo>
                  <a:pt x="191" y="284"/>
                </a:lnTo>
                <a:lnTo>
                  <a:pt x="186" y="284"/>
                </a:lnTo>
                <a:lnTo>
                  <a:pt x="186" y="278"/>
                </a:lnTo>
                <a:lnTo>
                  <a:pt x="180" y="278"/>
                </a:lnTo>
                <a:lnTo>
                  <a:pt x="175" y="273"/>
                </a:lnTo>
                <a:lnTo>
                  <a:pt x="169" y="273"/>
                </a:lnTo>
                <a:lnTo>
                  <a:pt x="164" y="267"/>
                </a:lnTo>
                <a:lnTo>
                  <a:pt x="158" y="262"/>
                </a:lnTo>
                <a:lnTo>
                  <a:pt x="153" y="262"/>
                </a:lnTo>
                <a:lnTo>
                  <a:pt x="148" y="262"/>
                </a:lnTo>
                <a:lnTo>
                  <a:pt x="142" y="256"/>
                </a:lnTo>
                <a:lnTo>
                  <a:pt x="137" y="256"/>
                </a:lnTo>
                <a:lnTo>
                  <a:pt x="131" y="251"/>
                </a:lnTo>
                <a:lnTo>
                  <a:pt x="126" y="251"/>
                </a:lnTo>
                <a:lnTo>
                  <a:pt x="126" y="245"/>
                </a:lnTo>
                <a:lnTo>
                  <a:pt x="120" y="245"/>
                </a:lnTo>
                <a:lnTo>
                  <a:pt x="115" y="240"/>
                </a:lnTo>
                <a:lnTo>
                  <a:pt x="109" y="235"/>
                </a:lnTo>
                <a:lnTo>
                  <a:pt x="104" y="229"/>
                </a:lnTo>
                <a:lnTo>
                  <a:pt x="98" y="229"/>
                </a:lnTo>
                <a:lnTo>
                  <a:pt x="98" y="224"/>
                </a:lnTo>
                <a:lnTo>
                  <a:pt x="98" y="218"/>
                </a:lnTo>
                <a:lnTo>
                  <a:pt x="98" y="213"/>
                </a:lnTo>
                <a:lnTo>
                  <a:pt x="93" y="207"/>
                </a:lnTo>
                <a:lnTo>
                  <a:pt x="88" y="202"/>
                </a:lnTo>
                <a:lnTo>
                  <a:pt x="88" y="196"/>
                </a:lnTo>
                <a:lnTo>
                  <a:pt x="82" y="196"/>
                </a:lnTo>
                <a:lnTo>
                  <a:pt x="82" y="191"/>
                </a:lnTo>
                <a:lnTo>
                  <a:pt x="82" y="185"/>
                </a:lnTo>
                <a:lnTo>
                  <a:pt x="77" y="185"/>
                </a:lnTo>
                <a:lnTo>
                  <a:pt x="71" y="180"/>
                </a:lnTo>
                <a:lnTo>
                  <a:pt x="71" y="175"/>
                </a:lnTo>
                <a:lnTo>
                  <a:pt x="66" y="175"/>
                </a:lnTo>
                <a:lnTo>
                  <a:pt x="66" y="169"/>
                </a:lnTo>
                <a:lnTo>
                  <a:pt x="60" y="164"/>
                </a:lnTo>
                <a:lnTo>
                  <a:pt x="60" y="158"/>
                </a:lnTo>
                <a:lnTo>
                  <a:pt x="55" y="153"/>
                </a:lnTo>
                <a:lnTo>
                  <a:pt x="55" y="147"/>
                </a:lnTo>
                <a:lnTo>
                  <a:pt x="49" y="147"/>
                </a:lnTo>
                <a:lnTo>
                  <a:pt x="55" y="147"/>
                </a:lnTo>
                <a:lnTo>
                  <a:pt x="49" y="147"/>
                </a:lnTo>
                <a:lnTo>
                  <a:pt x="49" y="142"/>
                </a:lnTo>
                <a:lnTo>
                  <a:pt x="49" y="136"/>
                </a:lnTo>
                <a:lnTo>
                  <a:pt x="44" y="136"/>
                </a:lnTo>
                <a:lnTo>
                  <a:pt x="44" y="131"/>
                </a:lnTo>
                <a:lnTo>
                  <a:pt x="38" y="125"/>
                </a:lnTo>
                <a:lnTo>
                  <a:pt x="33" y="120"/>
                </a:lnTo>
                <a:lnTo>
                  <a:pt x="33" y="115"/>
                </a:lnTo>
                <a:lnTo>
                  <a:pt x="28" y="109"/>
                </a:lnTo>
                <a:lnTo>
                  <a:pt x="22" y="104"/>
                </a:lnTo>
                <a:lnTo>
                  <a:pt x="11" y="104"/>
                </a:lnTo>
                <a:lnTo>
                  <a:pt x="11" y="98"/>
                </a:lnTo>
                <a:lnTo>
                  <a:pt x="6" y="98"/>
                </a:lnTo>
                <a:lnTo>
                  <a:pt x="6" y="93"/>
                </a:lnTo>
                <a:lnTo>
                  <a:pt x="11" y="93"/>
                </a:lnTo>
                <a:lnTo>
                  <a:pt x="11" y="87"/>
                </a:lnTo>
                <a:lnTo>
                  <a:pt x="6" y="87"/>
                </a:lnTo>
                <a:lnTo>
                  <a:pt x="6" y="82"/>
                </a:lnTo>
                <a:lnTo>
                  <a:pt x="0" y="76"/>
                </a:lnTo>
                <a:lnTo>
                  <a:pt x="6" y="76"/>
                </a:lnTo>
                <a:lnTo>
                  <a:pt x="6" y="71"/>
                </a:lnTo>
                <a:lnTo>
                  <a:pt x="6" y="65"/>
                </a:lnTo>
                <a:lnTo>
                  <a:pt x="11" y="65"/>
                </a:lnTo>
                <a:lnTo>
                  <a:pt x="11" y="60"/>
                </a:lnTo>
                <a:lnTo>
                  <a:pt x="17" y="60"/>
                </a:lnTo>
                <a:lnTo>
                  <a:pt x="17" y="55"/>
                </a:lnTo>
                <a:lnTo>
                  <a:pt x="22" y="60"/>
                </a:lnTo>
                <a:lnTo>
                  <a:pt x="22" y="65"/>
                </a:lnTo>
                <a:lnTo>
                  <a:pt x="17" y="65"/>
                </a:lnTo>
                <a:lnTo>
                  <a:pt x="17" y="71"/>
                </a:lnTo>
                <a:lnTo>
                  <a:pt x="22" y="71"/>
                </a:lnTo>
                <a:lnTo>
                  <a:pt x="28" y="71"/>
                </a:lnTo>
                <a:lnTo>
                  <a:pt x="33" y="71"/>
                </a:lnTo>
                <a:lnTo>
                  <a:pt x="33" y="76"/>
                </a:lnTo>
                <a:lnTo>
                  <a:pt x="38" y="82"/>
                </a:lnTo>
                <a:lnTo>
                  <a:pt x="44" y="82"/>
                </a:lnTo>
                <a:lnTo>
                  <a:pt x="44" y="76"/>
                </a:lnTo>
                <a:lnTo>
                  <a:pt x="44" y="71"/>
                </a:lnTo>
                <a:lnTo>
                  <a:pt x="44" y="65"/>
                </a:lnTo>
                <a:lnTo>
                  <a:pt x="49" y="65"/>
                </a:lnTo>
                <a:lnTo>
                  <a:pt x="49" y="60"/>
                </a:lnTo>
                <a:lnTo>
                  <a:pt x="49" y="55"/>
                </a:lnTo>
                <a:lnTo>
                  <a:pt x="55" y="55"/>
                </a:lnTo>
                <a:lnTo>
                  <a:pt x="55" y="49"/>
                </a:lnTo>
                <a:lnTo>
                  <a:pt x="77" y="44"/>
                </a:lnTo>
                <a:lnTo>
                  <a:pt x="88" y="38"/>
                </a:lnTo>
                <a:lnTo>
                  <a:pt x="93" y="27"/>
                </a:lnTo>
                <a:lnTo>
                  <a:pt x="93" y="16"/>
                </a:lnTo>
                <a:lnTo>
                  <a:pt x="98" y="16"/>
                </a:lnTo>
                <a:lnTo>
                  <a:pt x="98" y="11"/>
                </a:lnTo>
                <a:lnTo>
                  <a:pt x="93" y="5"/>
                </a:lnTo>
                <a:lnTo>
                  <a:pt x="98" y="5"/>
                </a:lnTo>
                <a:lnTo>
                  <a:pt x="98" y="0"/>
                </a:lnTo>
                <a:lnTo>
                  <a:pt x="104" y="5"/>
                </a:lnTo>
                <a:lnTo>
                  <a:pt x="109" y="5"/>
                </a:lnTo>
                <a:lnTo>
                  <a:pt x="109" y="11"/>
                </a:lnTo>
                <a:lnTo>
                  <a:pt x="115" y="16"/>
                </a:lnTo>
                <a:lnTo>
                  <a:pt x="120" y="22"/>
                </a:lnTo>
                <a:lnTo>
                  <a:pt x="126" y="22"/>
                </a:lnTo>
                <a:lnTo>
                  <a:pt x="126" y="27"/>
                </a:lnTo>
                <a:lnTo>
                  <a:pt x="126" y="33"/>
                </a:lnTo>
                <a:lnTo>
                  <a:pt x="131" y="33"/>
                </a:lnTo>
                <a:lnTo>
                  <a:pt x="131" y="38"/>
                </a:lnTo>
                <a:lnTo>
                  <a:pt x="137" y="44"/>
                </a:lnTo>
                <a:lnTo>
                  <a:pt x="142" y="38"/>
                </a:lnTo>
                <a:lnTo>
                  <a:pt x="142" y="44"/>
                </a:lnTo>
                <a:lnTo>
                  <a:pt x="148" y="44"/>
                </a:lnTo>
                <a:lnTo>
                  <a:pt x="153" y="38"/>
                </a:lnTo>
                <a:lnTo>
                  <a:pt x="158" y="38"/>
                </a:lnTo>
                <a:lnTo>
                  <a:pt x="164" y="38"/>
                </a:lnTo>
                <a:lnTo>
                  <a:pt x="169" y="38"/>
                </a:lnTo>
                <a:lnTo>
                  <a:pt x="175" y="44"/>
                </a:lnTo>
                <a:lnTo>
                  <a:pt x="180" y="44"/>
                </a:lnTo>
                <a:lnTo>
                  <a:pt x="169" y="60"/>
                </a:lnTo>
                <a:lnTo>
                  <a:pt x="175" y="65"/>
                </a:lnTo>
                <a:lnTo>
                  <a:pt x="180" y="60"/>
                </a:lnTo>
                <a:lnTo>
                  <a:pt x="180" y="65"/>
                </a:lnTo>
                <a:lnTo>
                  <a:pt x="186" y="71"/>
                </a:lnTo>
                <a:lnTo>
                  <a:pt x="180" y="71"/>
                </a:lnTo>
                <a:lnTo>
                  <a:pt x="175" y="65"/>
                </a:lnTo>
                <a:lnTo>
                  <a:pt x="175" y="71"/>
                </a:lnTo>
                <a:lnTo>
                  <a:pt x="169" y="65"/>
                </a:lnTo>
                <a:lnTo>
                  <a:pt x="169" y="71"/>
                </a:lnTo>
                <a:lnTo>
                  <a:pt x="164" y="71"/>
                </a:lnTo>
                <a:lnTo>
                  <a:pt x="158" y="71"/>
                </a:lnTo>
                <a:lnTo>
                  <a:pt x="153" y="71"/>
                </a:lnTo>
                <a:lnTo>
                  <a:pt x="148" y="76"/>
                </a:lnTo>
                <a:lnTo>
                  <a:pt x="142" y="82"/>
                </a:lnTo>
                <a:lnTo>
                  <a:pt x="137" y="82"/>
                </a:lnTo>
                <a:lnTo>
                  <a:pt x="137" y="87"/>
                </a:lnTo>
                <a:lnTo>
                  <a:pt x="137" y="93"/>
                </a:lnTo>
                <a:lnTo>
                  <a:pt x="131" y="93"/>
                </a:lnTo>
                <a:lnTo>
                  <a:pt x="131" y="98"/>
                </a:lnTo>
                <a:lnTo>
                  <a:pt x="137" y="104"/>
                </a:lnTo>
                <a:lnTo>
                  <a:pt x="137" y="109"/>
                </a:lnTo>
                <a:lnTo>
                  <a:pt x="131" y="104"/>
                </a:lnTo>
                <a:lnTo>
                  <a:pt x="131" y="109"/>
                </a:lnTo>
                <a:lnTo>
                  <a:pt x="126" y="109"/>
                </a:lnTo>
                <a:lnTo>
                  <a:pt x="126" y="115"/>
                </a:lnTo>
                <a:lnTo>
                  <a:pt x="126" y="120"/>
                </a:lnTo>
                <a:lnTo>
                  <a:pt x="120" y="120"/>
                </a:lnTo>
                <a:lnTo>
                  <a:pt x="126" y="125"/>
                </a:lnTo>
                <a:lnTo>
                  <a:pt x="131" y="131"/>
                </a:lnTo>
                <a:lnTo>
                  <a:pt x="131" y="136"/>
                </a:lnTo>
                <a:lnTo>
                  <a:pt x="137" y="136"/>
                </a:lnTo>
                <a:lnTo>
                  <a:pt x="137" y="142"/>
                </a:lnTo>
                <a:lnTo>
                  <a:pt x="142" y="147"/>
                </a:lnTo>
                <a:lnTo>
                  <a:pt x="137" y="153"/>
                </a:lnTo>
                <a:lnTo>
                  <a:pt x="148" y="153"/>
                </a:lnTo>
                <a:lnTo>
                  <a:pt x="153" y="153"/>
                </a:lnTo>
                <a:lnTo>
                  <a:pt x="153" y="158"/>
                </a:lnTo>
                <a:lnTo>
                  <a:pt x="169" y="158"/>
                </a:lnTo>
                <a:lnTo>
                  <a:pt x="175" y="158"/>
                </a:lnTo>
                <a:lnTo>
                  <a:pt x="175" y="153"/>
                </a:lnTo>
                <a:lnTo>
                  <a:pt x="180" y="153"/>
                </a:lnTo>
                <a:lnTo>
                  <a:pt x="180" y="158"/>
                </a:lnTo>
                <a:lnTo>
                  <a:pt x="180" y="175"/>
                </a:lnTo>
                <a:lnTo>
                  <a:pt x="186" y="180"/>
                </a:lnTo>
                <a:lnTo>
                  <a:pt x="191" y="175"/>
                </a:lnTo>
                <a:lnTo>
                  <a:pt x="197" y="175"/>
                </a:lnTo>
                <a:lnTo>
                  <a:pt x="207" y="191"/>
                </a:lnTo>
                <a:lnTo>
                  <a:pt x="213" y="202"/>
                </a:lnTo>
                <a:lnTo>
                  <a:pt x="213" y="207"/>
                </a:lnTo>
                <a:lnTo>
                  <a:pt x="213" y="213"/>
                </a:lnTo>
                <a:lnTo>
                  <a:pt x="213" y="218"/>
                </a:lnTo>
                <a:lnTo>
                  <a:pt x="213" y="224"/>
                </a:lnTo>
                <a:lnTo>
                  <a:pt x="218" y="229"/>
                </a:lnTo>
                <a:lnTo>
                  <a:pt x="213" y="229"/>
                </a:lnTo>
                <a:lnTo>
                  <a:pt x="213" y="235"/>
                </a:lnTo>
                <a:lnTo>
                  <a:pt x="207" y="240"/>
                </a:lnTo>
                <a:lnTo>
                  <a:pt x="213" y="240"/>
                </a:lnTo>
                <a:lnTo>
                  <a:pt x="213" y="245"/>
                </a:lnTo>
                <a:lnTo>
                  <a:pt x="213" y="251"/>
                </a:lnTo>
                <a:lnTo>
                  <a:pt x="207" y="245"/>
                </a:lnTo>
                <a:lnTo>
                  <a:pt x="202" y="245"/>
                </a:lnTo>
                <a:lnTo>
                  <a:pt x="202" y="251"/>
                </a:lnTo>
                <a:lnTo>
                  <a:pt x="202" y="256"/>
                </a:lnTo>
                <a:lnTo>
                  <a:pt x="207" y="256"/>
                </a:lnTo>
                <a:lnTo>
                  <a:pt x="213" y="256"/>
                </a:lnTo>
                <a:lnTo>
                  <a:pt x="213" y="262"/>
                </a:lnTo>
                <a:lnTo>
                  <a:pt x="218" y="262"/>
                </a:lnTo>
                <a:lnTo>
                  <a:pt x="218" y="267"/>
                </a:lnTo>
                <a:lnTo>
                  <a:pt x="213" y="273"/>
                </a:lnTo>
                <a:lnTo>
                  <a:pt x="213" y="278"/>
                </a:lnTo>
                <a:lnTo>
                  <a:pt x="207" y="284"/>
                </a:lnTo>
                <a:lnTo>
                  <a:pt x="213" y="289"/>
                </a:lnTo>
                <a:lnTo>
                  <a:pt x="207" y="295"/>
                </a:lnTo>
                <a:lnTo>
                  <a:pt x="202" y="295"/>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6" name="Freeform 503">
            <a:extLst>
              <a:ext uri="{FF2B5EF4-FFF2-40B4-BE49-F238E27FC236}">
                <a16:creationId xmlns:a16="http://schemas.microsoft.com/office/drawing/2014/main" id="{F357FBF8-E2B9-5308-1CB5-E2A88E56E2DC}"/>
              </a:ext>
            </a:extLst>
          </p:cNvPr>
          <p:cNvSpPr>
            <a:spLocks/>
          </p:cNvSpPr>
          <p:nvPr/>
        </p:nvSpPr>
        <p:spPr bwMode="auto">
          <a:xfrm>
            <a:off x="1192213" y="3051175"/>
            <a:ext cx="103188" cy="127000"/>
          </a:xfrm>
          <a:custGeom>
            <a:avLst/>
            <a:gdLst>
              <a:gd name="T0" fmla="*/ 16 w 92"/>
              <a:gd name="T1" fmla="*/ 77 h 104"/>
              <a:gd name="T2" fmla="*/ 22 w 92"/>
              <a:gd name="T3" fmla="*/ 66 h 104"/>
              <a:gd name="T4" fmla="*/ 16 w 92"/>
              <a:gd name="T5" fmla="*/ 60 h 104"/>
              <a:gd name="T6" fmla="*/ 16 w 92"/>
              <a:gd name="T7" fmla="*/ 55 h 104"/>
              <a:gd name="T8" fmla="*/ 16 w 92"/>
              <a:gd name="T9" fmla="*/ 66 h 104"/>
              <a:gd name="T10" fmla="*/ 11 w 92"/>
              <a:gd name="T11" fmla="*/ 66 h 104"/>
              <a:gd name="T12" fmla="*/ 0 w 92"/>
              <a:gd name="T13" fmla="*/ 60 h 104"/>
              <a:gd name="T14" fmla="*/ 5 w 92"/>
              <a:gd name="T15" fmla="*/ 55 h 104"/>
              <a:gd name="T16" fmla="*/ 5 w 92"/>
              <a:gd name="T17" fmla="*/ 44 h 104"/>
              <a:gd name="T18" fmla="*/ 5 w 92"/>
              <a:gd name="T19" fmla="*/ 38 h 104"/>
              <a:gd name="T20" fmla="*/ 11 w 92"/>
              <a:gd name="T21" fmla="*/ 27 h 104"/>
              <a:gd name="T22" fmla="*/ 16 w 92"/>
              <a:gd name="T23" fmla="*/ 17 h 104"/>
              <a:gd name="T24" fmla="*/ 16 w 92"/>
              <a:gd name="T25" fmla="*/ 17 h 104"/>
              <a:gd name="T26" fmla="*/ 22 w 92"/>
              <a:gd name="T27" fmla="*/ 11 h 104"/>
              <a:gd name="T28" fmla="*/ 27 w 92"/>
              <a:gd name="T29" fmla="*/ 6 h 104"/>
              <a:gd name="T30" fmla="*/ 38 w 92"/>
              <a:gd name="T31" fmla="*/ 0 h 104"/>
              <a:gd name="T32" fmla="*/ 49 w 92"/>
              <a:gd name="T33" fmla="*/ 11 h 104"/>
              <a:gd name="T34" fmla="*/ 54 w 92"/>
              <a:gd name="T35" fmla="*/ 17 h 104"/>
              <a:gd name="T36" fmla="*/ 65 w 92"/>
              <a:gd name="T37" fmla="*/ 22 h 104"/>
              <a:gd name="T38" fmla="*/ 76 w 92"/>
              <a:gd name="T39" fmla="*/ 17 h 104"/>
              <a:gd name="T40" fmla="*/ 82 w 92"/>
              <a:gd name="T41" fmla="*/ 22 h 104"/>
              <a:gd name="T42" fmla="*/ 87 w 92"/>
              <a:gd name="T43" fmla="*/ 27 h 104"/>
              <a:gd name="T44" fmla="*/ 87 w 92"/>
              <a:gd name="T45" fmla="*/ 27 h 104"/>
              <a:gd name="T46" fmla="*/ 92 w 92"/>
              <a:gd name="T47" fmla="*/ 38 h 104"/>
              <a:gd name="T48" fmla="*/ 87 w 92"/>
              <a:gd name="T49" fmla="*/ 49 h 104"/>
              <a:gd name="T50" fmla="*/ 71 w 92"/>
              <a:gd name="T51" fmla="*/ 66 h 104"/>
              <a:gd name="T52" fmla="*/ 49 w 92"/>
              <a:gd name="T53" fmla="*/ 77 h 104"/>
              <a:gd name="T54" fmla="*/ 43 w 92"/>
              <a:gd name="T55" fmla="*/ 82 h 104"/>
              <a:gd name="T56" fmla="*/ 38 w 92"/>
              <a:gd name="T57" fmla="*/ 87 h 104"/>
              <a:gd name="T58" fmla="*/ 38 w 92"/>
              <a:gd name="T59" fmla="*/ 98 h 104"/>
              <a:gd name="T60" fmla="*/ 32 w 92"/>
              <a:gd name="T61" fmla="*/ 104 h 104"/>
              <a:gd name="T62" fmla="*/ 27 w 92"/>
              <a:gd name="T63" fmla="*/ 93 h 104"/>
              <a:gd name="T64" fmla="*/ 16 w 92"/>
              <a:gd name="T65" fmla="*/ 93 h 104"/>
              <a:gd name="T66" fmla="*/ 11 w 92"/>
              <a:gd name="T67" fmla="*/ 87 h 104"/>
              <a:gd name="T68" fmla="*/ 16 w 92"/>
              <a:gd name="T69" fmla="*/ 8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2" h="104">
                <a:moveTo>
                  <a:pt x="11" y="77"/>
                </a:moveTo>
                <a:lnTo>
                  <a:pt x="16" y="77"/>
                </a:lnTo>
                <a:lnTo>
                  <a:pt x="22" y="71"/>
                </a:lnTo>
                <a:lnTo>
                  <a:pt x="22" y="66"/>
                </a:lnTo>
                <a:lnTo>
                  <a:pt x="22" y="60"/>
                </a:lnTo>
                <a:lnTo>
                  <a:pt x="16" y="60"/>
                </a:lnTo>
                <a:lnTo>
                  <a:pt x="22" y="55"/>
                </a:lnTo>
                <a:lnTo>
                  <a:pt x="16" y="55"/>
                </a:lnTo>
                <a:lnTo>
                  <a:pt x="22" y="60"/>
                </a:lnTo>
                <a:lnTo>
                  <a:pt x="16" y="66"/>
                </a:lnTo>
                <a:lnTo>
                  <a:pt x="16" y="60"/>
                </a:lnTo>
                <a:lnTo>
                  <a:pt x="11" y="66"/>
                </a:lnTo>
                <a:lnTo>
                  <a:pt x="5" y="60"/>
                </a:lnTo>
                <a:lnTo>
                  <a:pt x="0" y="60"/>
                </a:lnTo>
                <a:lnTo>
                  <a:pt x="5" y="60"/>
                </a:lnTo>
                <a:lnTo>
                  <a:pt x="5" y="55"/>
                </a:lnTo>
                <a:lnTo>
                  <a:pt x="5" y="49"/>
                </a:lnTo>
                <a:lnTo>
                  <a:pt x="5" y="44"/>
                </a:lnTo>
                <a:lnTo>
                  <a:pt x="0" y="38"/>
                </a:lnTo>
                <a:lnTo>
                  <a:pt x="5" y="38"/>
                </a:lnTo>
                <a:lnTo>
                  <a:pt x="11" y="33"/>
                </a:lnTo>
                <a:lnTo>
                  <a:pt x="11" y="27"/>
                </a:lnTo>
                <a:lnTo>
                  <a:pt x="16" y="22"/>
                </a:lnTo>
                <a:lnTo>
                  <a:pt x="16" y="17"/>
                </a:lnTo>
                <a:lnTo>
                  <a:pt x="16" y="22"/>
                </a:lnTo>
                <a:lnTo>
                  <a:pt x="16" y="17"/>
                </a:lnTo>
                <a:lnTo>
                  <a:pt x="16" y="11"/>
                </a:lnTo>
                <a:lnTo>
                  <a:pt x="22" y="11"/>
                </a:lnTo>
                <a:lnTo>
                  <a:pt x="22" y="6"/>
                </a:lnTo>
                <a:lnTo>
                  <a:pt x="27" y="6"/>
                </a:lnTo>
                <a:lnTo>
                  <a:pt x="32" y="6"/>
                </a:lnTo>
                <a:lnTo>
                  <a:pt x="38" y="0"/>
                </a:lnTo>
                <a:lnTo>
                  <a:pt x="43" y="6"/>
                </a:lnTo>
                <a:lnTo>
                  <a:pt x="49" y="11"/>
                </a:lnTo>
                <a:lnTo>
                  <a:pt x="54" y="11"/>
                </a:lnTo>
                <a:lnTo>
                  <a:pt x="54" y="17"/>
                </a:lnTo>
                <a:lnTo>
                  <a:pt x="60" y="17"/>
                </a:lnTo>
                <a:lnTo>
                  <a:pt x="65" y="22"/>
                </a:lnTo>
                <a:lnTo>
                  <a:pt x="71" y="22"/>
                </a:lnTo>
                <a:lnTo>
                  <a:pt x="76" y="17"/>
                </a:lnTo>
                <a:lnTo>
                  <a:pt x="82" y="17"/>
                </a:lnTo>
                <a:lnTo>
                  <a:pt x="82" y="22"/>
                </a:lnTo>
                <a:lnTo>
                  <a:pt x="87" y="22"/>
                </a:lnTo>
                <a:lnTo>
                  <a:pt x="87" y="27"/>
                </a:lnTo>
                <a:lnTo>
                  <a:pt x="92" y="27"/>
                </a:lnTo>
                <a:lnTo>
                  <a:pt x="87" y="27"/>
                </a:lnTo>
                <a:lnTo>
                  <a:pt x="92" y="33"/>
                </a:lnTo>
                <a:lnTo>
                  <a:pt x="92" y="38"/>
                </a:lnTo>
                <a:lnTo>
                  <a:pt x="87" y="38"/>
                </a:lnTo>
                <a:lnTo>
                  <a:pt x="87" y="49"/>
                </a:lnTo>
                <a:lnTo>
                  <a:pt x="82" y="60"/>
                </a:lnTo>
                <a:lnTo>
                  <a:pt x="71" y="66"/>
                </a:lnTo>
                <a:lnTo>
                  <a:pt x="49" y="71"/>
                </a:lnTo>
                <a:lnTo>
                  <a:pt x="49" y="77"/>
                </a:lnTo>
                <a:lnTo>
                  <a:pt x="43" y="77"/>
                </a:lnTo>
                <a:lnTo>
                  <a:pt x="43" y="82"/>
                </a:lnTo>
                <a:lnTo>
                  <a:pt x="43" y="87"/>
                </a:lnTo>
                <a:lnTo>
                  <a:pt x="38" y="87"/>
                </a:lnTo>
                <a:lnTo>
                  <a:pt x="38" y="93"/>
                </a:lnTo>
                <a:lnTo>
                  <a:pt x="38" y="98"/>
                </a:lnTo>
                <a:lnTo>
                  <a:pt x="38" y="104"/>
                </a:lnTo>
                <a:lnTo>
                  <a:pt x="32" y="104"/>
                </a:lnTo>
                <a:lnTo>
                  <a:pt x="27" y="98"/>
                </a:lnTo>
                <a:lnTo>
                  <a:pt x="27" y="93"/>
                </a:lnTo>
                <a:lnTo>
                  <a:pt x="22" y="93"/>
                </a:lnTo>
                <a:lnTo>
                  <a:pt x="16" y="93"/>
                </a:lnTo>
                <a:lnTo>
                  <a:pt x="11" y="93"/>
                </a:lnTo>
                <a:lnTo>
                  <a:pt x="11" y="87"/>
                </a:lnTo>
                <a:lnTo>
                  <a:pt x="16" y="87"/>
                </a:lnTo>
                <a:lnTo>
                  <a:pt x="16" y="82"/>
                </a:lnTo>
                <a:lnTo>
                  <a:pt x="11" y="77"/>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7" name="Freeform 618">
            <a:extLst>
              <a:ext uri="{FF2B5EF4-FFF2-40B4-BE49-F238E27FC236}">
                <a16:creationId xmlns:a16="http://schemas.microsoft.com/office/drawing/2014/main" id="{7A038EF6-AF4C-A8CB-16F3-B48DE9FE75AB}"/>
              </a:ext>
            </a:extLst>
          </p:cNvPr>
          <p:cNvSpPr>
            <a:spLocks/>
          </p:cNvSpPr>
          <p:nvPr/>
        </p:nvSpPr>
        <p:spPr bwMode="auto">
          <a:xfrm>
            <a:off x="1228726" y="2838450"/>
            <a:ext cx="214313" cy="325438"/>
          </a:xfrm>
          <a:custGeom>
            <a:avLst/>
            <a:gdLst>
              <a:gd name="T0" fmla="*/ 0 w 191"/>
              <a:gd name="T1" fmla="*/ 169 h 267"/>
              <a:gd name="T2" fmla="*/ 6 w 191"/>
              <a:gd name="T3" fmla="*/ 158 h 267"/>
              <a:gd name="T4" fmla="*/ 22 w 191"/>
              <a:gd name="T5" fmla="*/ 158 h 267"/>
              <a:gd name="T6" fmla="*/ 28 w 191"/>
              <a:gd name="T7" fmla="*/ 147 h 267"/>
              <a:gd name="T8" fmla="*/ 33 w 191"/>
              <a:gd name="T9" fmla="*/ 136 h 267"/>
              <a:gd name="T10" fmla="*/ 22 w 191"/>
              <a:gd name="T11" fmla="*/ 131 h 267"/>
              <a:gd name="T12" fmla="*/ 28 w 191"/>
              <a:gd name="T13" fmla="*/ 120 h 267"/>
              <a:gd name="T14" fmla="*/ 33 w 191"/>
              <a:gd name="T15" fmla="*/ 103 h 267"/>
              <a:gd name="T16" fmla="*/ 28 w 191"/>
              <a:gd name="T17" fmla="*/ 98 h 267"/>
              <a:gd name="T18" fmla="*/ 28 w 191"/>
              <a:gd name="T19" fmla="*/ 87 h 267"/>
              <a:gd name="T20" fmla="*/ 33 w 191"/>
              <a:gd name="T21" fmla="*/ 76 h 267"/>
              <a:gd name="T22" fmla="*/ 33 w 191"/>
              <a:gd name="T23" fmla="*/ 60 h 267"/>
              <a:gd name="T24" fmla="*/ 39 w 191"/>
              <a:gd name="T25" fmla="*/ 71 h 267"/>
              <a:gd name="T26" fmla="*/ 39 w 191"/>
              <a:gd name="T27" fmla="*/ 60 h 267"/>
              <a:gd name="T28" fmla="*/ 55 w 191"/>
              <a:gd name="T29" fmla="*/ 49 h 267"/>
              <a:gd name="T30" fmla="*/ 66 w 191"/>
              <a:gd name="T31" fmla="*/ 38 h 267"/>
              <a:gd name="T32" fmla="*/ 71 w 191"/>
              <a:gd name="T33" fmla="*/ 27 h 267"/>
              <a:gd name="T34" fmla="*/ 88 w 191"/>
              <a:gd name="T35" fmla="*/ 21 h 267"/>
              <a:gd name="T36" fmla="*/ 93 w 191"/>
              <a:gd name="T37" fmla="*/ 21 h 267"/>
              <a:gd name="T38" fmla="*/ 110 w 191"/>
              <a:gd name="T39" fmla="*/ 16 h 267"/>
              <a:gd name="T40" fmla="*/ 120 w 191"/>
              <a:gd name="T41" fmla="*/ 11 h 267"/>
              <a:gd name="T42" fmla="*/ 131 w 191"/>
              <a:gd name="T43" fmla="*/ 0 h 267"/>
              <a:gd name="T44" fmla="*/ 131 w 191"/>
              <a:gd name="T45" fmla="*/ 11 h 267"/>
              <a:gd name="T46" fmla="*/ 115 w 191"/>
              <a:gd name="T47" fmla="*/ 21 h 267"/>
              <a:gd name="T48" fmla="*/ 104 w 191"/>
              <a:gd name="T49" fmla="*/ 38 h 267"/>
              <a:gd name="T50" fmla="*/ 99 w 191"/>
              <a:gd name="T51" fmla="*/ 54 h 267"/>
              <a:gd name="T52" fmla="*/ 110 w 191"/>
              <a:gd name="T53" fmla="*/ 60 h 267"/>
              <a:gd name="T54" fmla="*/ 110 w 191"/>
              <a:gd name="T55" fmla="*/ 76 h 267"/>
              <a:gd name="T56" fmla="*/ 115 w 191"/>
              <a:gd name="T57" fmla="*/ 87 h 267"/>
              <a:gd name="T58" fmla="*/ 131 w 191"/>
              <a:gd name="T59" fmla="*/ 87 h 267"/>
              <a:gd name="T60" fmla="*/ 148 w 191"/>
              <a:gd name="T61" fmla="*/ 87 h 267"/>
              <a:gd name="T62" fmla="*/ 159 w 191"/>
              <a:gd name="T63" fmla="*/ 103 h 267"/>
              <a:gd name="T64" fmla="*/ 169 w 191"/>
              <a:gd name="T65" fmla="*/ 98 h 267"/>
              <a:gd name="T66" fmla="*/ 186 w 191"/>
              <a:gd name="T67" fmla="*/ 98 h 267"/>
              <a:gd name="T68" fmla="*/ 180 w 191"/>
              <a:gd name="T69" fmla="*/ 114 h 267"/>
              <a:gd name="T70" fmla="*/ 180 w 191"/>
              <a:gd name="T71" fmla="*/ 131 h 267"/>
              <a:gd name="T72" fmla="*/ 186 w 191"/>
              <a:gd name="T73" fmla="*/ 141 h 267"/>
              <a:gd name="T74" fmla="*/ 180 w 191"/>
              <a:gd name="T75" fmla="*/ 152 h 267"/>
              <a:gd name="T76" fmla="*/ 186 w 191"/>
              <a:gd name="T77" fmla="*/ 163 h 267"/>
              <a:gd name="T78" fmla="*/ 191 w 191"/>
              <a:gd name="T79" fmla="*/ 174 h 267"/>
              <a:gd name="T80" fmla="*/ 191 w 191"/>
              <a:gd name="T81" fmla="*/ 169 h 267"/>
              <a:gd name="T82" fmla="*/ 180 w 191"/>
              <a:gd name="T83" fmla="*/ 163 h 267"/>
              <a:gd name="T84" fmla="*/ 175 w 191"/>
              <a:gd name="T85" fmla="*/ 169 h 267"/>
              <a:gd name="T86" fmla="*/ 148 w 191"/>
              <a:gd name="T87" fmla="*/ 169 h 267"/>
              <a:gd name="T88" fmla="*/ 159 w 191"/>
              <a:gd name="T89" fmla="*/ 185 h 267"/>
              <a:gd name="T90" fmla="*/ 148 w 191"/>
              <a:gd name="T91" fmla="*/ 191 h 267"/>
              <a:gd name="T92" fmla="*/ 142 w 191"/>
              <a:gd name="T93" fmla="*/ 201 h 267"/>
              <a:gd name="T94" fmla="*/ 153 w 191"/>
              <a:gd name="T95" fmla="*/ 218 h 267"/>
              <a:gd name="T96" fmla="*/ 142 w 191"/>
              <a:gd name="T97" fmla="*/ 261 h 267"/>
              <a:gd name="T98" fmla="*/ 131 w 191"/>
              <a:gd name="T99" fmla="*/ 256 h 267"/>
              <a:gd name="T100" fmla="*/ 131 w 191"/>
              <a:gd name="T101" fmla="*/ 234 h 267"/>
              <a:gd name="T102" fmla="*/ 115 w 191"/>
              <a:gd name="T103" fmla="*/ 234 h 267"/>
              <a:gd name="T104" fmla="*/ 104 w 191"/>
              <a:gd name="T105" fmla="*/ 234 h 267"/>
              <a:gd name="T106" fmla="*/ 93 w 191"/>
              <a:gd name="T107" fmla="*/ 229 h 267"/>
              <a:gd name="T108" fmla="*/ 88 w 191"/>
              <a:gd name="T109" fmla="*/ 218 h 267"/>
              <a:gd name="T110" fmla="*/ 71 w 191"/>
              <a:gd name="T111" fmla="*/ 207 h 267"/>
              <a:gd name="T112" fmla="*/ 60 w 191"/>
              <a:gd name="T113" fmla="*/ 196 h 267"/>
              <a:gd name="T114" fmla="*/ 55 w 191"/>
              <a:gd name="T115" fmla="*/ 196 h 267"/>
              <a:gd name="T116" fmla="*/ 44 w 191"/>
              <a:gd name="T117" fmla="*/ 191 h 267"/>
              <a:gd name="T118" fmla="*/ 28 w 191"/>
              <a:gd name="T119" fmla="*/ 191 h 267"/>
              <a:gd name="T120" fmla="*/ 17 w 191"/>
              <a:gd name="T121" fmla="*/ 18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1" h="267">
                <a:moveTo>
                  <a:pt x="6" y="174"/>
                </a:moveTo>
                <a:lnTo>
                  <a:pt x="0" y="174"/>
                </a:lnTo>
                <a:lnTo>
                  <a:pt x="0" y="169"/>
                </a:lnTo>
                <a:lnTo>
                  <a:pt x="6" y="169"/>
                </a:lnTo>
                <a:lnTo>
                  <a:pt x="6" y="163"/>
                </a:lnTo>
                <a:lnTo>
                  <a:pt x="6" y="158"/>
                </a:lnTo>
                <a:lnTo>
                  <a:pt x="11" y="158"/>
                </a:lnTo>
                <a:lnTo>
                  <a:pt x="17" y="158"/>
                </a:lnTo>
                <a:lnTo>
                  <a:pt x="22" y="158"/>
                </a:lnTo>
                <a:lnTo>
                  <a:pt x="22" y="152"/>
                </a:lnTo>
                <a:lnTo>
                  <a:pt x="22" y="147"/>
                </a:lnTo>
                <a:lnTo>
                  <a:pt x="28" y="147"/>
                </a:lnTo>
                <a:lnTo>
                  <a:pt x="28" y="141"/>
                </a:lnTo>
                <a:lnTo>
                  <a:pt x="28" y="136"/>
                </a:lnTo>
                <a:lnTo>
                  <a:pt x="33" y="136"/>
                </a:lnTo>
                <a:lnTo>
                  <a:pt x="28" y="136"/>
                </a:lnTo>
                <a:lnTo>
                  <a:pt x="28" y="131"/>
                </a:lnTo>
                <a:lnTo>
                  <a:pt x="22" y="131"/>
                </a:lnTo>
                <a:lnTo>
                  <a:pt x="28" y="131"/>
                </a:lnTo>
                <a:lnTo>
                  <a:pt x="28" y="125"/>
                </a:lnTo>
                <a:lnTo>
                  <a:pt x="28" y="120"/>
                </a:lnTo>
                <a:lnTo>
                  <a:pt x="28" y="114"/>
                </a:lnTo>
                <a:lnTo>
                  <a:pt x="28" y="109"/>
                </a:lnTo>
                <a:lnTo>
                  <a:pt x="33" y="103"/>
                </a:lnTo>
                <a:lnTo>
                  <a:pt x="28" y="109"/>
                </a:lnTo>
                <a:lnTo>
                  <a:pt x="28" y="103"/>
                </a:lnTo>
                <a:lnTo>
                  <a:pt x="28" y="98"/>
                </a:lnTo>
                <a:lnTo>
                  <a:pt x="28" y="92"/>
                </a:lnTo>
                <a:lnTo>
                  <a:pt x="22" y="87"/>
                </a:lnTo>
                <a:lnTo>
                  <a:pt x="28" y="87"/>
                </a:lnTo>
                <a:lnTo>
                  <a:pt x="22" y="81"/>
                </a:lnTo>
                <a:lnTo>
                  <a:pt x="28" y="76"/>
                </a:lnTo>
                <a:lnTo>
                  <a:pt x="33" y="76"/>
                </a:lnTo>
                <a:lnTo>
                  <a:pt x="33" y="71"/>
                </a:lnTo>
                <a:lnTo>
                  <a:pt x="33" y="65"/>
                </a:lnTo>
                <a:lnTo>
                  <a:pt x="33" y="60"/>
                </a:lnTo>
                <a:lnTo>
                  <a:pt x="33" y="65"/>
                </a:lnTo>
                <a:lnTo>
                  <a:pt x="39" y="65"/>
                </a:lnTo>
                <a:lnTo>
                  <a:pt x="39" y="71"/>
                </a:lnTo>
                <a:lnTo>
                  <a:pt x="44" y="71"/>
                </a:lnTo>
                <a:lnTo>
                  <a:pt x="44" y="65"/>
                </a:lnTo>
                <a:lnTo>
                  <a:pt x="39" y="60"/>
                </a:lnTo>
                <a:lnTo>
                  <a:pt x="44" y="60"/>
                </a:lnTo>
                <a:lnTo>
                  <a:pt x="50" y="54"/>
                </a:lnTo>
                <a:lnTo>
                  <a:pt x="55" y="49"/>
                </a:lnTo>
                <a:lnTo>
                  <a:pt x="60" y="49"/>
                </a:lnTo>
                <a:lnTo>
                  <a:pt x="60" y="43"/>
                </a:lnTo>
                <a:lnTo>
                  <a:pt x="66" y="38"/>
                </a:lnTo>
                <a:lnTo>
                  <a:pt x="60" y="38"/>
                </a:lnTo>
                <a:lnTo>
                  <a:pt x="66" y="32"/>
                </a:lnTo>
                <a:lnTo>
                  <a:pt x="71" y="27"/>
                </a:lnTo>
                <a:lnTo>
                  <a:pt x="77" y="21"/>
                </a:lnTo>
                <a:lnTo>
                  <a:pt x="82" y="21"/>
                </a:lnTo>
                <a:lnTo>
                  <a:pt x="88" y="21"/>
                </a:lnTo>
                <a:lnTo>
                  <a:pt x="88" y="16"/>
                </a:lnTo>
                <a:lnTo>
                  <a:pt x="93" y="16"/>
                </a:lnTo>
                <a:lnTo>
                  <a:pt x="93" y="21"/>
                </a:lnTo>
                <a:lnTo>
                  <a:pt x="99" y="16"/>
                </a:lnTo>
                <a:lnTo>
                  <a:pt x="104" y="16"/>
                </a:lnTo>
                <a:lnTo>
                  <a:pt x="110" y="16"/>
                </a:lnTo>
                <a:lnTo>
                  <a:pt x="110" y="11"/>
                </a:lnTo>
                <a:lnTo>
                  <a:pt x="115" y="11"/>
                </a:lnTo>
                <a:lnTo>
                  <a:pt x="120" y="11"/>
                </a:lnTo>
                <a:lnTo>
                  <a:pt x="120" y="5"/>
                </a:lnTo>
                <a:lnTo>
                  <a:pt x="126" y="5"/>
                </a:lnTo>
                <a:lnTo>
                  <a:pt x="131" y="0"/>
                </a:lnTo>
                <a:lnTo>
                  <a:pt x="137" y="0"/>
                </a:lnTo>
                <a:lnTo>
                  <a:pt x="137" y="5"/>
                </a:lnTo>
                <a:lnTo>
                  <a:pt x="131" y="11"/>
                </a:lnTo>
                <a:lnTo>
                  <a:pt x="126" y="11"/>
                </a:lnTo>
                <a:lnTo>
                  <a:pt x="120" y="21"/>
                </a:lnTo>
                <a:lnTo>
                  <a:pt x="115" y="21"/>
                </a:lnTo>
                <a:lnTo>
                  <a:pt x="110" y="27"/>
                </a:lnTo>
                <a:lnTo>
                  <a:pt x="104" y="32"/>
                </a:lnTo>
                <a:lnTo>
                  <a:pt x="104" y="38"/>
                </a:lnTo>
                <a:lnTo>
                  <a:pt x="104" y="43"/>
                </a:lnTo>
                <a:lnTo>
                  <a:pt x="99" y="49"/>
                </a:lnTo>
                <a:lnTo>
                  <a:pt x="99" y="54"/>
                </a:lnTo>
                <a:lnTo>
                  <a:pt x="104" y="49"/>
                </a:lnTo>
                <a:lnTo>
                  <a:pt x="104" y="54"/>
                </a:lnTo>
                <a:lnTo>
                  <a:pt x="110" y="60"/>
                </a:lnTo>
                <a:lnTo>
                  <a:pt x="110" y="65"/>
                </a:lnTo>
                <a:lnTo>
                  <a:pt x="110" y="71"/>
                </a:lnTo>
                <a:lnTo>
                  <a:pt x="110" y="76"/>
                </a:lnTo>
                <a:lnTo>
                  <a:pt x="110" y="81"/>
                </a:lnTo>
                <a:lnTo>
                  <a:pt x="115" y="81"/>
                </a:lnTo>
                <a:lnTo>
                  <a:pt x="115" y="87"/>
                </a:lnTo>
                <a:lnTo>
                  <a:pt x="120" y="87"/>
                </a:lnTo>
                <a:lnTo>
                  <a:pt x="126" y="87"/>
                </a:lnTo>
                <a:lnTo>
                  <a:pt x="131" y="87"/>
                </a:lnTo>
                <a:lnTo>
                  <a:pt x="137" y="87"/>
                </a:lnTo>
                <a:lnTo>
                  <a:pt x="142" y="87"/>
                </a:lnTo>
                <a:lnTo>
                  <a:pt x="148" y="87"/>
                </a:lnTo>
                <a:lnTo>
                  <a:pt x="153" y="98"/>
                </a:lnTo>
                <a:lnTo>
                  <a:pt x="153" y="103"/>
                </a:lnTo>
                <a:lnTo>
                  <a:pt x="159" y="103"/>
                </a:lnTo>
                <a:lnTo>
                  <a:pt x="159" y="98"/>
                </a:lnTo>
                <a:lnTo>
                  <a:pt x="164" y="98"/>
                </a:lnTo>
                <a:lnTo>
                  <a:pt x="169" y="98"/>
                </a:lnTo>
                <a:lnTo>
                  <a:pt x="175" y="98"/>
                </a:lnTo>
                <a:lnTo>
                  <a:pt x="180" y="98"/>
                </a:lnTo>
                <a:lnTo>
                  <a:pt x="186" y="98"/>
                </a:lnTo>
                <a:lnTo>
                  <a:pt x="186" y="103"/>
                </a:lnTo>
                <a:lnTo>
                  <a:pt x="180" y="109"/>
                </a:lnTo>
                <a:lnTo>
                  <a:pt x="180" y="114"/>
                </a:lnTo>
                <a:lnTo>
                  <a:pt x="180" y="120"/>
                </a:lnTo>
                <a:lnTo>
                  <a:pt x="180" y="125"/>
                </a:lnTo>
                <a:lnTo>
                  <a:pt x="180" y="131"/>
                </a:lnTo>
                <a:lnTo>
                  <a:pt x="180" y="136"/>
                </a:lnTo>
                <a:lnTo>
                  <a:pt x="186" y="136"/>
                </a:lnTo>
                <a:lnTo>
                  <a:pt x="186" y="141"/>
                </a:lnTo>
                <a:lnTo>
                  <a:pt x="186" y="147"/>
                </a:lnTo>
                <a:lnTo>
                  <a:pt x="175" y="152"/>
                </a:lnTo>
                <a:lnTo>
                  <a:pt x="180" y="152"/>
                </a:lnTo>
                <a:lnTo>
                  <a:pt x="180" y="158"/>
                </a:lnTo>
                <a:lnTo>
                  <a:pt x="186" y="158"/>
                </a:lnTo>
                <a:lnTo>
                  <a:pt x="186" y="163"/>
                </a:lnTo>
                <a:lnTo>
                  <a:pt x="191" y="163"/>
                </a:lnTo>
                <a:lnTo>
                  <a:pt x="191" y="169"/>
                </a:lnTo>
                <a:lnTo>
                  <a:pt x="191" y="174"/>
                </a:lnTo>
                <a:lnTo>
                  <a:pt x="191" y="180"/>
                </a:lnTo>
                <a:lnTo>
                  <a:pt x="191" y="174"/>
                </a:lnTo>
                <a:lnTo>
                  <a:pt x="191" y="169"/>
                </a:lnTo>
                <a:lnTo>
                  <a:pt x="186" y="169"/>
                </a:lnTo>
                <a:lnTo>
                  <a:pt x="186" y="163"/>
                </a:lnTo>
                <a:lnTo>
                  <a:pt x="180" y="163"/>
                </a:lnTo>
                <a:lnTo>
                  <a:pt x="175" y="169"/>
                </a:lnTo>
                <a:lnTo>
                  <a:pt x="169" y="163"/>
                </a:lnTo>
                <a:lnTo>
                  <a:pt x="175" y="169"/>
                </a:lnTo>
                <a:lnTo>
                  <a:pt x="169" y="169"/>
                </a:lnTo>
                <a:lnTo>
                  <a:pt x="153" y="169"/>
                </a:lnTo>
                <a:lnTo>
                  <a:pt x="148" y="169"/>
                </a:lnTo>
                <a:lnTo>
                  <a:pt x="148" y="180"/>
                </a:lnTo>
                <a:lnTo>
                  <a:pt x="153" y="180"/>
                </a:lnTo>
                <a:lnTo>
                  <a:pt x="159" y="185"/>
                </a:lnTo>
                <a:lnTo>
                  <a:pt x="153" y="185"/>
                </a:lnTo>
                <a:lnTo>
                  <a:pt x="148" y="185"/>
                </a:lnTo>
                <a:lnTo>
                  <a:pt x="148" y="191"/>
                </a:lnTo>
                <a:lnTo>
                  <a:pt x="142" y="191"/>
                </a:lnTo>
                <a:lnTo>
                  <a:pt x="142" y="196"/>
                </a:lnTo>
                <a:lnTo>
                  <a:pt x="142" y="201"/>
                </a:lnTo>
                <a:lnTo>
                  <a:pt x="148" y="207"/>
                </a:lnTo>
                <a:lnTo>
                  <a:pt x="153" y="212"/>
                </a:lnTo>
                <a:lnTo>
                  <a:pt x="153" y="218"/>
                </a:lnTo>
                <a:lnTo>
                  <a:pt x="153" y="223"/>
                </a:lnTo>
                <a:lnTo>
                  <a:pt x="148" y="267"/>
                </a:lnTo>
                <a:lnTo>
                  <a:pt x="142" y="261"/>
                </a:lnTo>
                <a:lnTo>
                  <a:pt x="142" y="256"/>
                </a:lnTo>
                <a:lnTo>
                  <a:pt x="137" y="261"/>
                </a:lnTo>
                <a:lnTo>
                  <a:pt x="131" y="256"/>
                </a:lnTo>
                <a:lnTo>
                  <a:pt x="142" y="240"/>
                </a:lnTo>
                <a:lnTo>
                  <a:pt x="137" y="240"/>
                </a:lnTo>
                <a:lnTo>
                  <a:pt x="131" y="234"/>
                </a:lnTo>
                <a:lnTo>
                  <a:pt x="126" y="234"/>
                </a:lnTo>
                <a:lnTo>
                  <a:pt x="120" y="234"/>
                </a:lnTo>
                <a:lnTo>
                  <a:pt x="115" y="234"/>
                </a:lnTo>
                <a:lnTo>
                  <a:pt x="110" y="240"/>
                </a:lnTo>
                <a:lnTo>
                  <a:pt x="104" y="240"/>
                </a:lnTo>
                <a:lnTo>
                  <a:pt x="104" y="234"/>
                </a:lnTo>
                <a:lnTo>
                  <a:pt x="99" y="240"/>
                </a:lnTo>
                <a:lnTo>
                  <a:pt x="93" y="234"/>
                </a:lnTo>
                <a:lnTo>
                  <a:pt x="93" y="229"/>
                </a:lnTo>
                <a:lnTo>
                  <a:pt x="88" y="229"/>
                </a:lnTo>
                <a:lnTo>
                  <a:pt x="88" y="223"/>
                </a:lnTo>
                <a:lnTo>
                  <a:pt x="88" y="218"/>
                </a:lnTo>
                <a:lnTo>
                  <a:pt x="82" y="218"/>
                </a:lnTo>
                <a:lnTo>
                  <a:pt x="77" y="212"/>
                </a:lnTo>
                <a:lnTo>
                  <a:pt x="71" y="207"/>
                </a:lnTo>
                <a:lnTo>
                  <a:pt x="71" y="201"/>
                </a:lnTo>
                <a:lnTo>
                  <a:pt x="66" y="201"/>
                </a:lnTo>
                <a:lnTo>
                  <a:pt x="60" y="196"/>
                </a:lnTo>
                <a:lnTo>
                  <a:pt x="60" y="201"/>
                </a:lnTo>
                <a:lnTo>
                  <a:pt x="55" y="201"/>
                </a:lnTo>
                <a:lnTo>
                  <a:pt x="55" y="196"/>
                </a:lnTo>
                <a:lnTo>
                  <a:pt x="50" y="196"/>
                </a:lnTo>
                <a:lnTo>
                  <a:pt x="50" y="191"/>
                </a:lnTo>
                <a:lnTo>
                  <a:pt x="44" y="191"/>
                </a:lnTo>
                <a:lnTo>
                  <a:pt x="39" y="196"/>
                </a:lnTo>
                <a:lnTo>
                  <a:pt x="33" y="196"/>
                </a:lnTo>
                <a:lnTo>
                  <a:pt x="28" y="191"/>
                </a:lnTo>
                <a:lnTo>
                  <a:pt x="22" y="191"/>
                </a:lnTo>
                <a:lnTo>
                  <a:pt x="22" y="185"/>
                </a:lnTo>
                <a:lnTo>
                  <a:pt x="17" y="185"/>
                </a:lnTo>
                <a:lnTo>
                  <a:pt x="11" y="180"/>
                </a:lnTo>
                <a:lnTo>
                  <a:pt x="6" y="174"/>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8" name="Freeform 201">
            <a:extLst>
              <a:ext uri="{FF2B5EF4-FFF2-40B4-BE49-F238E27FC236}">
                <a16:creationId xmlns:a16="http://schemas.microsoft.com/office/drawing/2014/main" id="{534A3AAB-FF2F-22C1-CDFB-DE77D92BEA82}"/>
              </a:ext>
            </a:extLst>
          </p:cNvPr>
          <p:cNvSpPr>
            <a:spLocks/>
          </p:cNvSpPr>
          <p:nvPr/>
        </p:nvSpPr>
        <p:spPr bwMode="auto">
          <a:xfrm>
            <a:off x="3384549" y="2711450"/>
            <a:ext cx="177800" cy="127000"/>
          </a:xfrm>
          <a:custGeom>
            <a:avLst/>
            <a:gdLst>
              <a:gd name="T0" fmla="*/ 158 w 158"/>
              <a:gd name="T1" fmla="*/ 38 h 104"/>
              <a:gd name="T2" fmla="*/ 147 w 158"/>
              <a:gd name="T3" fmla="*/ 44 h 104"/>
              <a:gd name="T4" fmla="*/ 147 w 158"/>
              <a:gd name="T5" fmla="*/ 49 h 104"/>
              <a:gd name="T6" fmla="*/ 147 w 158"/>
              <a:gd name="T7" fmla="*/ 55 h 104"/>
              <a:gd name="T8" fmla="*/ 141 w 158"/>
              <a:gd name="T9" fmla="*/ 55 h 104"/>
              <a:gd name="T10" fmla="*/ 141 w 158"/>
              <a:gd name="T11" fmla="*/ 60 h 104"/>
              <a:gd name="T12" fmla="*/ 136 w 158"/>
              <a:gd name="T13" fmla="*/ 60 h 104"/>
              <a:gd name="T14" fmla="*/ 131 w 158"/>
              <a:gd name="T15" fmla="*/ 60 h 104"/>
              <a:gd name="T16" fmla="*/ 125 w 158"/>
              <a:gd name="T17" fmla="*/ 60 h 104"/>
              <a:gd name="T18" fmla="*/ 120 w 158"/>
              <a:gd name="T19" fmla="*/ 65 h 104"/>
              <a:gd name="T20" fmla="*/ 114 w 158"/>
              <a:gd name="T21" fmla="*/ 65 h 104"/>
              <a:gd name="T22" fmla="*/ 109 w 158"/>
              <a:gd name="T23" fmla="*/ 65 h 104"/>
              <a:gd name="T24" fmla="*/ 103 w 158"/>
              <a:gd name="T25" fmla="*/ 71 h 104"/>
              <a:gd name="T26" fmla="*/ 98 w 158"/>
              <a:gd name="T27" fmla="*/ 71 h 104"/>
              <a:gd name="T28" fmla="*/ 98 w 158"/>
              <a:gd name="T29" fmla="*/ 76 h 104"/>
              <a:gd name="T30" fmla="*/ 92 w 158"/>
              <a:gd name="T31" fmla="*/ 76 h 104"/>
              <a:gd name="T32" fmla="*/ 87 w 158"/>
              <a:gd name="T33" fmla="*/ 82 h 104"/>
              <a:gd name="T34" fmla="*/ 81 w 158"/>
              <a:gd name="T35" fmla="*/ 76 h 104"/>
              <a:gd name="T36" fmla="*/ 81 w 158"/>
              <a:gd name="T37" fmla="*/ 82 h 104"/>
              <a:gd name="T38" fmla="*/ 76 w 158"/>
              <a:gd name="T39" fmla="*/ 87 h 104"/>
              <a:gd name="T40" fmla="*/ 71 w 158"/>
              <a:gd name="T41" fmla="*/ 87 h 104"/>
              <a:gd name="T42" fmla="*/ 65 w 158"/>
              <a:gd name="T43" fmla="*/ 87 h 104"/>
              <a:gd name="T44" fmla="*/ 60 w 158"/>
              <a:gd name="T45" fmla="*/ 87 h 104"/>
              <a:gd name="T46" fmla="*/ 54 w 158"/>
              <a:gd name="T47" fmla="*/ 87 h 104"/>
              <a:gd name="T48" fmla="*/ 49 w 158"/>
              <a:gd name="T49" fmla="*/ 87 h 104"/>
              <a:gd name="T50" fmla="*/ 49 w 158"/>
              <a:gd name="T51" fmla="*/ 93 h 104"/>
              <a:gd name="T52" fmla="*/ 43 w 158"/>
              <a:gd name="T53" fmla="*/ 93 h 104"/>
              <a:gd name="T54" fmla="*/ 43 w 158"/>
              <a:gd name="T55" fmla="*/ 98 h 104"/>
              <a:gd name="T56" fmla="*/ 38 w 158"/>
              <a:gd name="T57" fmla="*/ 98 h 104"/>
              <a:gd name="T58" fmla="*/ 32 w 158"/>
              <a:gd name="T59" fmla="*/ 98 h 104"/>
              <a:gd name="T60" fmla="*/ 27 w 158"/>
              <a:gd name="T61" fmla="*/ 104 h 104"/>
              <a:gd name="T62" fmla="*/ 21 w 158"/>
              <a:gd name="T63" fmla="*/ 104 h 104"/>
              <a:gd name="T64" fmla="*/ 21 w 158"/>
              <a:gd name="T65" fmla="*/ 98 h 104"/>
              <a:gd name="T66" fmla="*/ 16 w 158"/>
              <a:gd name="T67" fmla="*/ 98 h 104"/>
              <a:gd name="T68" fmla="*/ 11 w 158"/>
              <a:gd name="T69" fmla="*/ 93 h 104"/>
              <a:gd name="T70" fmla="*/ 11 w 158"/>
              <a:gd name="T71" fmla="*/ 82 h 104"/>
              <a:gd name="T72" fmla="*/ 11 w 158"/>
              <a:gd name="T73" fmla="*/ 76 h 104"/>
              <a:gd name="T74" fmla="*/ 5 w 158"/>
              <a:gd name="T75" fmla="*/ 76 h 104"/>
              <a:gd name="T76" fmla="*/ 5 w 158"/>
              <a:gd name="T77" fmla="*/ 71 h 104"/>
              <a:gd name="T78" fmla="*/ 5 w 158"/>
              <a:gd name="T79" fmla="*/ 65 h 104"/>
              <a:gd name="T80" fmla="*/ 0 w 158"/>
              <a:gd name="T81" fmla="*/ 60 h 104"/>
              <a:gd name="T82" fmla="*/ 0 w 158"/>
              <a:gd name="T83" fmla="*/ 55 h 104"/>
              <a:gd name="T84" fmla="*/ 0 w 158"/>
              <a:gd name="T85" fmla="*/ 49 h 104"/>
              <a:gd name="T86" fmla="*/ 0 w 158"/>
              <a:gd name="T87" fmla="*/ 44 h 104"/>
              <a:gd name="T88" fmla="*/ 5 w 158"/>
              <a:gd name="T89" fmla="*/ 38 h 104"/>
              <a:gd name="T90" fmla="*/ 5 w 158"/>
              <a:gd name="T91" fmla="*/ 33 h 104"/>
              <a:gd name="T92" fmla="*/ 5 w 158"/>
              <a:gd name="T93" fmla="*/ 27 h 104"/>
              <a:gd name="T94" fmla="*/ 5 w 158"/>
              <a:gd name="T95" fmla="*/ 22 h 104"/>
              <a:gd name="T96" fmla="*/ 11 w 158"/>
              <a:gd name="T97" fmla="*/ 27 h 104"/>
              <a:gd name="T98" fmla="*/ 16 w 158"/>
              <a:gd name="T99" fmla="*/ 27 h 104"/>
              <a:gd name="T100" fmla="*/ 21 w 158"/>
              <a:gd name="T101" fmla="*/ 27 h 104"/>
              <a:gd name="T102" fmla="*/ 54 w 158"/>
              <a:gd name="T103" fmla="*/ 44 h 104"/>
              <a:gd name="T104" fmla="*/ 54 w 158"/>
              <a:gd name="T105" fmla="*/ 55 h 104"/>
              <a:gd name="T106" fmla="*/ 87 w 158"/>
              <a:gd name="T107" fmla="*/ 11 h 104"/>
              <a:gd name="T108" fmla="*/ 92 w 158"/>
              <a:gd name="T109" fmla="*/ 11 h 104"/>
              <a:gd name="T110" fmla="*/ 136 w 158"/>
              <a:gd name="T111" fmla="*/ 0 h 104"/>
              <a:gd name="T112" fmla="*/ 136 w 158"/>
              <a:gd name="T113" fmla="*/ 5 h 104"/>
              <a:gd name="T114" fmla="*/ 152 w 158"/>
              <a:gd name="T115" fmla="*/ 27 h 104"/>
              <a:gd name="T116" fmla="*/ 152 w 158"/>
              <a:gd name="T117" fmla="*/ 33 h 104"/>
              <a:gd name="T118" fmla="*/ 158 w 158"/>
              <a:gd name="T119" fmla="*/ 3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8" h="104">
                <a:moveTo>
                  <a:pt x="158" y="38"/>
                </a:moveTo>
                <a:lnTo>
                  <a:pt x="147" y="44"/>
                </a:lnTo>
                <a:lnTo>
                  <a:pt x="147" y="49"/>
                </a:lnTo>
                <a:lnTo>
                  <a:pt x="147" y="55"/>
                </a:lnTo>
                <a:lnTo>
                  <a:pt x="141" y="55"/>
                </a:lnTo>
                <a:lnTo>
                  <a:pt x="141" y="60"/>
                </a:lnTo>
                <a:lnTo>
                  <a:pt x="136" y="60"/>
                </a:lnTo>
                <a:lnTo>
                  <a:pt x="131" y="60"/>
                </a:lnTo>
                <a:lnTo>
                  <a:pt x="125" y="60"/>
                </a:lnTo>
                <a:lnTo>
                  <a:pt x="120" y="65"/>
                </a:lnTo>
                <a:lnTo>
                  <a:pt x="114" y="65"/>
                </a:lnTo>
                <a:lnTo>
                  <a:pt x="109" y="65"/>
                </a:lnTo>
                <a:lnTo>
                  <a:pt x="103" y="71"/>
                </a:lnTo>
                <a:lnTo>
                  <a:pt x="98" y="71"/>
                </a:lnTo>
                <a:lnTo>
                  <a:pt x="98" y="76"/>
                </a:lnTo>
                <a:lnTo>
                  <a:pt x="92" y="76"/>
                </a:lnTo>
                <a:lnTo>
                  <a:pt x="87" y="82"/>
                </a:lnTo>
                <a:lnTo>
                  <a:pt x="81" y="76"/>
                </a:lnTo>
                <a:lnTo>
                  <a:pt x="81" y="82"/>
                </a:lnTo>
                <a:lnTo>
                  <a:pt x="76" y="87"/>
                </a:lnTo>
                <a:lnTo>
                  <a:pt x="71" y="87"/>
                </a:lnTo>
                <a:lnTo>
                  <a:pt x="65" y="87"/>
                </a:lnTo>
                <a:lnTo>
                  <a:pt x="60" y="87"/>
                </a:lnTo>
                <a:lnTo>
                  <a:pt x="54" y="87"/>
                </a:lnTo>
                <a:lnTo>
                  <a:pt x="49" y="87"/>
                </a:lnTo>
                <a:lnTo>
                  <a:pt x="49" y="93"/>
                </a:lnTo>
                <a:lnTo>
                  <a:pt x="43" y="93"/>
                </a:lnTo>
                <a:lnTo>
                  <a:pt x="43" y="98"/>
                </a:lnTo>
                <a:lnTo>
                  <a:pt x="38" y="98"/>
                </a:lnTo>
                <a:lnTo>
                  <a:pt x="32" y="98"/>
                </a:lnTo>
                <a:lnTo>
                  <a:pt x="27" y="104"/>
                </a:lnTo>
                <a:lnTo>
                  <a:pt x="21" y="104"/>
                </a:lnTo>
                <a:lnTo>
                  <a:pt x="21" y="98"/>
                </a:lnTo>
                <a:lnTo>
                  <a:pt x="16" y="98"/>
                </a:lnTo>
                <a:lnTo>
                  <a:pt x="11" y="93"/>
                </a:lnTo>
                <a:lnTo>
                  <a:pt x="11" y="82"/>
                </a:lnTo>
                <a:lnTo>
                  <a:pt x="11" y="76"/>
                </a:lnTo>
                <a:lnTo>
                  <a:pt x="5" y="76"/>
                </a:lnTo>
                <a:lnTo>
                  <a:pt x="5" y="71"/>
                </a:lnTo>
                <a:lnTo>
                  <a:pt x="5" y="65"/>
                </a:lnTo>
                <a:lnTo>
                  <a:pt x="0" y="60"/>
                </a:lnTo>
                <a:lnTo>
                  <a:pt x="0" y="55"/>
                </a:lnTo>
                <a:lnTo>
                  <a:pt x="0" y="49"/>
                </a:lnTo>
                <a:lnTo>
                  <a:pt x="0" y="44"/>
                </a:lnTo>
                <a:lnTo>
                  <a:pt x="5" y="38"/>
                </a:lnTo>
                <a:lnTo>
                  <a:pt x="5" y="33"/>
                </a:lnTo>
                <a:lnTo>
                  <a:pt x="5" y="27"/>
                </a:lnTo>
                <a:lnTo>
                  <a:pt x="5" y="22"/>
                </a:lnTo>
                <a:lnTo>
                  <a:pt x="11" y="27"/>
                </a:lnTo>
                <a:lnTo>
                  <a:pt x="16" y="27"/>
                </a:lnTo>
                <a:lnTo>
                  <a:pt x="21" y="27"/>
                </a:lnTo>
                <a:lnTo>
                  <a:pt x="54" y="44"/>
                </a:lnTo>
                <a:lnTo>
                  <a:pt x="54" y="55"/>
                </a:lnTo>
                <a:lnTo>
                  <a:pt x="87" y="11"/>
                </a:lnTo>
                <a:lnTo>
                  <a:pt x="92" y="11"/>
                </a:lnTo>
                <a:lnTo>
                  <a:pt x="136" y="0"/>
                </a:lnTo>
                <a:lnTo>
                  <a:pt x="136" y="5"/>
                </a:lnTo>
                <a:lnTo>
                  <a:pt x="152" y="27"/>
                </a:lnTo>
                <a:lnTo>
                  <a:pt x="152" y="33"/>
                </a:lnTo>
                <a:lnTo>
                  <a:pt x="158" y="38"/>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89" name="Freeform 229">
            <a:extLst>
              <a:ext uri="{FF2B5EF4-FFF2-40B4-BE49-F238E27FC236}">
                <a16:creationId xmlns:a16="http://schemas.microsoft.com/office/drawing/2014/main" id="{392D48EB-8DB8-38EF-9465-F1A53A44D2A7}"/>
              </a:ext>
            </a:extLst>
          </p:cNvPr>
          <p:cNvSpPr>
            <a:spLocks/>
          </p:cNvSpPr>
          <p:nvPr/>
        </p:nvSpPr>
        <p:spPr bwMode="auto">
          <a:xfrm>
            <a:off x="3213101" y="2405063"/>
            <a:ext cx="17463" cy="33338"/>
          </a:xfrm>
          <a:custGeom>
            <a:avLst/>
            <a:gdLst>
              <a:gd name="T0" fmla="*/ 5 w 16"/>
              <a:gd name="T1" fmla="*/ 0 h 27"/>
              <a:gd name="T2" fmla="*/ 11 w 16"/>
              <a:gd name="T3" fmla="*/ 0 h 27"/>
              <a:gd name="T4" fmla="*/ 16 w 16"/>
              <a:gd name="T5" fmla="*/ 0 h 27"/>
              <a:gd name="T6" fmla="*/ 11 w 16"/>
              <a:gd name="T7" fmla="*/ 6 h 27"/>
              <a:gd name="T8" fmla="*/ 16 w 16"/>
              <a:gd name="T9" fmla="*/ 6 h 27"/>
              <a:gd name="T10" fmla="*/ 16 w 16"/>
              <a:gd name="T11" fmla="*/ 11 h 27"/>
              <a:gd name="T12" fmla="*/ 16 w 16"/>
              <a:gd name="T13" fmla="*/ 16 h 27"/>
              <a:gd name="T14" fmla="*/ 11 w 16"/>
              <a:gd name="T15" fmla="*/ 16 h 27"/>
              <a:gd name="T16" fmla="*/ 11 w 16"/>
              <a:gd name="T17" fmla="*/ 22 h 27"/>
              <a:gd name="T18" fmla="*/ 5 w 16"/>
              <a:gd name="T19" fmla="*/ 27 h 27"/>
              <a:gd name="T20" fmla="*/ 0 w 16"/>
              <a:gd name="T21" fmla="*/ 27 h 27"/>
              <a:gd name="T22" fmla="*/ 0 w 16"/>
              <a:gd name="T23" fmla="*/ 22 h 27"/>
              <a:gd name="T24" fmla="*/ 0 w 16"/>
              <a:gd name="T25" fmla="*/ 16 h 27"/>
              <a:gd name="T26" fmla="*/ 5 w 16"/>
              <a:gd name="T27" fmla="*/ 11 h 27"/>
              <a:gd name="T28" fmla="*/ 5 w 16"/>
              <a:gd name="T29" fmla="*/ 6 h 27"/>
              <a:gd name="T30" fmla="*/ 5 w 16"/>
              <a:gd name="T3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7">
                <a:moveTo>
                  <a:pt x="5" y="0"/>
                </a:moveTo>
                <a:lnTo>
                  <a:pt x="11" y="0"/>
                </a:lnTo>
                <a:lnTo>
                  <a:pt x="16" y="0"/>
                </a:lnTo>
                <a:lnTo>
                  <a:pt x="11" y="6"/>
                </a:lnTo>
                <a:lnTo>
                  <a:pt x="16" y="6"/>
                </a:lnTo>
                <a:lnTo>
                  <a:pt x="16" y="11"/>
                </a:lnTo>
                <a:lnTo>
                  <a:pt x="16" y="16"/>
                </a:lnTo>
                <a:lnTo>
                  <a:pt x="11" y="16"/>
                </a:lnTo>
                <a:lnTo>
                  <a:pt x="11" y="22"/>
                </a:lnTo>
                <a:lnTo>
                  <a:pt x="5" y="27"/>
                </a:lnTo>
                <a:lnTo>
                  <a:pt x="0" y="27"/>
                </a:lnTo>
                <a:lnTo>
                  <a:pt x="0" y="22"/>
                </a:lnTo>
                <a:lnTo>
                  <a:pt x="0" y="16"/>
                </a:lnTo>
                <a:lnTo>
                  <a:pt x="5" y="11"/>
                </a:lnTo>
                <a:lnTo>
                  <a:pt x="5" y="6"/>
                </a:lnTo>
                <a:lnTo>
                  <a:pt x="5" y="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0" name="Freeform 230">
            <a:extLst>
              <a:ext uri="{FF2B5EF4-FFF2-40B4-BE49-F238E27FC236}">
                <a16:creationId xmlns:a16="http://schemas.microsoft.com/office/drawing/2014/main" id="{050ADF82-9FF5-9358-9F41-F0B4484E896C}"/>
              </a:ext>
            </a:extLst>
          </p:cNvPr>
          <p:cNvSpPr>
            <a:spLocks/>
          </p:cNvSpPr>
          <p:nvPr/>
        </p:nvSpPr>
        <p:spPr bwMode="auto">
          <a:xfrm>
            <a:off x="3213100" y="2359026"/>
            <a:ext cx="104775" cy="92075"/>
          </a:xfrm>
          <a:custGeom>
            <a:avLst/>
            <a:gdLst>
              <a:gd name="T0" fmla="*/ 5 w 93"/>
              <a:gd name="T1" fmla="*/ 38 h 76"/>
              <a:gd name="T2" fmla="*/ 5 w 93"/>
              <a:gd name="T3" fmla="*/ 33 h 76"/>
              <a:gd name="T4" fmla="*/ 5 w 93"/>
              <a:gd name="T5" fmla="*/ 27 h 76"/>
              <a:gd name="T6" fmla="*/ 0 w 93"/>
              <a:gd name="T7" fmla="*/ 27 h 76"/>
              <a:gd name="T8" fmla="*/ 0 w 93"/>
              <a:gd name="T9" fmla="*/ 22 h 76"/>
              <a:gd name="T10" fmla="*/ 5 w 93"/>
              <a:gd name="T11" fmla="*/ 22 h 76"/>
              <a:gd name="T12" fmla="*/ 11 w 93"/>
              <a:gd name="T13" fmla="*/ 22 h 76"/>
              <a:gd name="T14" fmla="*/ 11 w 93"/>
              <a:gd name="T15" fmla="*/ 16 h 76"/>
              <a:gd name="T16" fmla="*/ 11 w 93"/>
              <a:gd name="T17" fmla="*/ 11 h 76"/>
              <a:gd name="T18" fmla="*/ 11 w 93"/>
              <a:gd name="T19" fmla="*/ 5 h 76"/>
              <a:gd name="T20" fmla="*/ 16 w 93"/>
              <a:gd name="T21" fmla="*/ 5 h 76"/>
              <a:gd name="T22" fmla="*/ 16 w 93"/>
              <a:gd name="T23" fmla="*/ 11 h 76"/>
              <a:gd name="T24" fmla="*/ 22 w 93"/>
              <a:gd name="T25" fmla="*/ 11 h 76"/>
              <a:gd name="T26" fmla="*/ 27 w 93"/>
              <a:gd name="T27" fmla="*/ 5 h 76"/>
              <a:gd name="T28" fmla="*/ 33 w 93"/>
              <a:gd name="T29" fmla="*/ 5 h 76"/>
              <a:gd name="T30" fmla="*/ 38 w 93"/>
              <a:gd name="T31" fmla="*/ 5 h 76"/>
              <a:gd name="T32" fmla="*/ 44 w 93"/>
              <a:gd name="T33" fmla="*/ 5 h 76"/>
              <a:gd name="T34" fmla="*/ 49 w 93"/>
              <a:gd name="T35" fmla="*/ 11 h 76"/>
              <a:gd name="T36" fmla="*/ 55 w 93"/>
              <a:gd name="T37" fmla="*/ 5 h 76"/>
              <a:gd name="T38" fmla="*/ 60 w 93"/>
              <a:gd name="T39" fmla="*/ 5 h 76"/>
              <a:gd name="T40" fmla="*/ 65 w 93"/>
              <a:gd name="T41" fmla="*/ 5 h 76"/>
              <a:gd name="T42" fmla="*/ 71 w 93"/>
              <a:gd name="T43" fmla="*/ 0 h 76"/>
              <a:gd name="T44" fmla="*/ 76 w 93"/>
              <a:gd name="T45" fmla="*/ 0 h 76"/>
              <a:gd name="T46" fmla="*/ 82 w 93"/>
              <a:gd name="T47" fmla="*/ 0 h 76"/>
              <a:gd name="T48" fmla="*/ 87 w 93"/>
              <a:gd name="T49" fmla="*/ 0 h 76"/>
              <a:gd name="T50" fmla="*/ 93 w 93"/>
              <a:gd name="T51" fmla="*/ 0 h 76"/>
              <a:gd name="T52" fmla="*/ 87 w 93"/>
              <a:gd name="T53" fmla="*/ 11 h 76"/>
              <a:gd name="T54" fmla="*/ 82 w 93"/>
              <a:gd name="T55" fmla="*/ 11 h 76"/>
              <a:gd name="T56" fmla="*/ 76 w 93"/>
              <a:gd name="T57" fmla="*/ 11 h 76"/>
              <a:gd name="T58" fmla="*/ 76 w 93"/>
              <a:gd name="T59" fmla="*/ 16 h 76"/>
              <a:gd name="T60" fmla="*/ 82 w 93"/>
              <a:gd name="T61" fmla="*/ 22 h 76"/>
              <a:gd name="T62" fmla="*/ 82 w 93"/>
              <a:gd name="T63" fmla="*/ 27 h 76"/>
              <a:gd name="T64" fmla="*/ 82 w 93"/>
              <a:gd name="T65" fmla="*/ 33 h 76"/>
              <a:gd name="T66" fmla="*/ 82 w 93"/>
              <a:gd name="T67" fmla="*/ 38 h 76"/>
              <a:gd name="T68" fmla="*/ 82 w 93"/>
              <a:gd name="T69" fmla="*/ 44 h 76"/>
              <a:gd name="T70" fmla="*/ 49 w 93"/>
              <a:gd name="T71" fmla="*/ 60 h 76"/>
              <a:gd name="T72" fmla="*/ 33 w 93"/>
              <a:gd name="T73" fmla="*/ 76 h 76"/>
              <a:gd name="T74" fmla="*/ 27 w 93"/>
              <a:gd name="T75" fmla="*/ 76 h 76"/>
              <a:gd name="T76" fmla="*/ 22 w 93"/>
              <a:gd name="T77" fmla="*/ 76 h 76"/>
              <a:gd name="T78" fmla="*/ 16 w 93"/>
              <a:gd name="T79" fmla="*/ 76 h 76"/>
              <a:gd name="T80" fmla="*/ 11 w 93"/>
              <a:gd name="T81" fmla="*/ 71 h 76"/>
              <a:gd name="T82" fmla="*/ 5 w 93"/>
              <a:gd name="T83" fmla="*/ 71 h 76"/>
              <a:gd name="T84" fmla="*/ 5 w 93"/>
              <a:gd name="T85" fmla="*/ 65 h 76"/>
              <a:gd name="T86" fmla="*/ 11 w 93"/>
              <a:gd name="T87" fmla="*/ 60 h 76"/>
              <a:gd name="T88" fmla="*/ 11 w 93"/>
              <a:gd name="T89" fmla="*/ 54 h 76"/>
              <a:gd name="T90" fmla="*/ 16 w 93"/>
              <a:gd name="T91" fmla="*/ 54 h 76"/>
              <a:gd name="T92" fmla="*/ 16 w 93"/>
              <a:gd name="T93" fmla="*/ 49 h 76"/>
              <a:gd name="T94" fmla="*/ 16 w 93"/>
              <a:gd name="T95" fmla="*/ 44 h 76"/>
              <a:gd name="T96" fmla="*/ 11 w 93"/>
              <a:gd name="T97" fmla="*/ 44 h 76"/>
              <a:gd name="T98" fmla="*/ 16 w 93"/>
              <a:gd name="T99" fmla="*/ 38 h 76"/>
              <a:gd name="T100" fmla="*/ 11 w 93"/>
              <a:gd name="T101" fmla="*/ 38 h 76"/>
              <a:gd name="T102" fmla="*/ 5 w 93"/>
              <a:gd name="T103"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 h="76">
                <a:moveTo>
                  <a:pt x="5" y="38"/>
                </a:moveTo>
                <a:lnTo>
                  <a:pt x="5" y="33"/>
                </a:lnTo>
                <a:lnTo>
                  <a:pt x="5" y="27"/>
                </a:lnTo>
                <a:lnTo>
                  <a:pt x="0" y="27"/>
                </a:lnTo>
                <a:lnTo>
                  <a:pt x="0" y="22"/>
                </a:lnTo>
                <a:lnTo>
                  <a:pt x="5" y="22"/>
                </a:lnTo>
                <a:lnTo>
                  <a:pt x="11" y="22"/>
                </a:lnTo>
                <a:lnTo>
                  <a:pt x="11" y="16"/>
                </a:lnTo>
                <a:lnTo>
                  <a:pt x="11" y="11"/>
                </a:lnTo>
                <a:lnTo>
                  <a:pt x="11" y="5"/>
                </a:lnTo>
                <a:lnTo>
                  <a:pt x="16" y="5"/>
                </a:lnTo>
                <a:lnTo>
                  <a:pt x="16" y="11"/>
                </a:lnTo>
                <a:lnTo>
                  <a:pt x="22" y="11"/>
                </a:lnTo>
                <a:lnTo>
                  <a:pt x="27" y="5"/>
                </a:lnTo>
                <a:lnTo>
                  <a:pt x="33" y="5"/>
                </a:lnTo>
                <a:lnTo>
                  <a:pt x="38" y="5"/>
                </a:lnTo>
                <a:lnTo>
                  <a:pt x="44" y="5"/>
                </a:lnTo>
                <a:lnTo>
                  <a:pt x="49" y="11"/>
                </a:lnTo>
                <a:lnTo>
                  <a:pt x="55" y="5"/>
                </a:lnTo>
                <a:lnTo>
                  <a:pt x="60" y="5"/>
                </a:lnTo>
                <a:lnTo>
                  <a:pt x="65" y="5"/>
                </a:lnTo>
                <a:lnTo>
                  <a:pt x="71" y="0"/>
                </a:lnTo>
                <a:lnTo>
                  <a:pt x="76" y="0"/>
                </a:lnTo>
                <a:lnTo>
                  <a:pt x="82" y="0"/>
                </a:lnTo>
                <a:lnTo>
                  <a:pt x="87" y="0"/>
                </a:lnTo>
                <a:lnTo>
                  <a:pt x="93" y="0"/>
                </a:lnTo>
                <a:lnTo>
                  <a:pt x="87" y="11"/>
                </a:lnTo>
                <a:lnTo>
                  <a:pt x="82" y="11"/>
                </a:lnTo>
                <a:lnTo>
                  <a:pt x="76" y="11"/>
                </a:lnTo>
                <a:lnTo>
                  <a:pt x="76" y="16"/>
                </a:lnTo>
                <a:lnTo>
                  <a:pt x="82" y="22"/>
                </a:lnTo>
                <a:lnTo>
                  <a:pt x="82" y="27"/>
                </a:lnTo>
                <a:lnTo>
                  <a:pt x="82" y="33"/>
                </a:lnTo>
                <a:lnTo>
                  <a:pt x="82" y="38"/>
                </a:lnTo>
                <a:lnTo>
                  <a:pt x="82" y="44"/>
                </a:lnTo>
                <a:lnTo>
                  <a:pt x="49" y="60"/>
                </a:lnTo>
                <a:lnTo>
                  <a:pt x="33" y="76"/>
                </a:lnTo>
                <a:lnTo>
                  <a:pt x="27" y="76"/>
                </a:lnTo>
                <a:lnTo>
                  <a:pt x="22" y="76"/>
                </a:lnTo>
                <a:lnTo>
                  <a:pt x="16" y="76"/>
                </a:lnTo>
                <a:lnTo>
                  <a:pt x="11" y="71"/>
                </a:lnTo>
                <a:lnTo>
                  <a:pt x="5" y="71"/>
                </a:lnTo>
                <a:lnTo>
                  <a:pt x="5" y="65"/>
                </a:lnTo>
                <a:lnTo>
                  <a:pt x="11" y="60"/>
                </a:lnTo>
                <a:lnTo>
                  <a:pt x="11" y="54"/>
                </a:lnTo>
                <a:lnTo>
                  <a:pt x="16" y="54"/>
                </a:lnTo>
                <a:lnTo>
                  <a:pt x="16" y="49"/>
                </a:lnTo>
                <a:lnTo>
                  <a:pt x="16" y="44"/>
                </a:lnTo>
                <a:lnTo>
                  <a:pt x="11" y="44"/>
                </a:lnTo>
                <a:lnTo>
                  <a:pt x="16" y="38"/>
                </a:lnTo>
                <a:lnTo>
                  <a:pt x="11" y="38"/>
                </a:lnTo>
                <a:lnTo>
                  <a:pt x="5" y="38"/>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1" name="Freeform 232">
            <a:extLst>
              <a:ext uri="{FF2B5EF4-FFF2-40B4-BE49-F238E27FC236}">
                <a16:creationId xmlns:a16="http://schemas.microsoft.com/office/drawing/2014/main" id="{97566690-2D39-5049-0B52-D951C7DEB941}"/>
              </a:ext>
            </a:extLst>
          </p:cNvPr>
          <p:cNvSpPr>
            <a:spLocks/>
          </p:cNvSpPr>
          <p:nvPr/>
        </p:nvSpPr>
        <p:spPr bwMode="auto">
          <a:xfrm>
            <a:off x="3268663" y="2359024"/>
            <a:ext cx="176213" cy="160338"/>
          </a:xfrm>
          <a:custGeom>
            <a:avLst/>
            <a:gdLst>
              <a:gd name="T0" fmla="*/ 33 w 158"/>
              <a:gd name="T1" fmla="*/ 44 h 131"/>
              <a:gd name="T2" fmla="*/ 33 w 158"/>
              <a:gd name="T3" fmla="*/ 33 h 131"/>
              <a:gd name="T4" fmla="*/ 33 w 158"/>
              <a:gd name="T5" fmla="*/ 22 h 131"/>
              <a:gd name="T6" fmla="*/ 27 w 158"/>
              <a:gd name="T7" fmla="*/ 11 h 131"/>
              <a:gd name="T8" fmla="*/ 38 w 158"/>
              <a:gd name="T9" fmla="*/ 11 h 131"/>
              <a:gd name="T10" fmla="*/ 49 w 158"/>
              <a:gd name="T11" fmla="*/ 0 h 131"/>
              <a:gd name="T12" fmla="*/ 60 w 158"/>
              <a:gd name="T13" fmla="*/ 0 h 131"/>
              <a:gd name="T14" fmla="*/ 71 w 158"/>
              <a:gd name="T15" fmla="*/ 0 h 131"/>
              <a:gd name="T16" fmla="*/ 76 w 158"/>
              <a:gd name="T17" fmla="*/ 0 h 131"/>
              <a:gd name="T18" fmla="*/ 82 w 158"/>
              <a:gd name="T19" fmla="*/ 11 h 131"/>
              <a:gd name="T20" fmla="*/ 87 w 158"/>
              <a:gd name="T21" fmla="*/ 16 h 131"/>
              <a:gd name="T22" fmla="*/ 93 w 158"/>
              <a:gd name="T23" fmla="*/ 22 h 131"/>
              <a:gd name="T24" fmla="*/ 104 w 158"/>
              <a:gd name="T25" fmla="*/ 22 h 131"/>
              <a:gd name="T26" fmla="*/ 104 w 158"/>
              <a:gd name="T27" fmla="*/ 33 h 131"/>
              <a:gd name="T28" fmla="*/ 98 w 158"/>
              <a:gd name="T29" fmla="*/ 38 h 131"/>
              <a:gd name="T30" fmla="*/ 98 w 158"/>
              <a:gd name="T31" fmla="*/ 49 h 131"/>
              <a:gd name="T32" fmla="*/ 104 w 158"/>
              <a:gd name="T33" fmla="*/ 54 h 131"/>
              <a:gd name="T34" fmla="*/ 104 w 158"/>
              <a:gd name="T35" fmla="*/ 54 h 131"/>
              <a:gd name="T36" fmla="*/ 109 w 158"/>
              <a:gd name="T37" fmla="*/ 60 h 131"/>
              <a:gd name="T38" fmla="*/ 115 w 158"/>
              <a:gd name="T39" fmla="*/ 65 h 131"/>
              <a:gd name="T40" fmla="*/ 125 w 158"/>
              <a:gd name="T41" fmla="*/ 76 h 131"/>
              <a:gd name="T42" fmla="*/ 136 w 158"/>
              <a:gd name="T43" fmla="*/ 82 h 131"/>
              <a:gd name="T44" fmla="*/ 142 w 158"/>
              <a:gd name="T45" fmla="*/ 93 h 131"/>
              <a:gd name="T46" fmla="*/ 147 w 158"/>
              <a:gd name="T47" fmla="*/ 98 h 131"/>
              <a:gd name="T48" fmla="*/ 153 w 158"/>
              <a:gd name="T49" fmla="*/ 109 h 131"/>
              <a:gd name="T50" fmla="*/ 153 w 158"/>
              <a:gd name="T51" fmla="*/ 114 h 131"/>
              <a:gd name="T52" fmla="*/ 142 w 158"/>
              <a:gd name="T53" fmla="*/ 114 h 131"/>
              <a:gd name="T54" fmla="*/ 136 w 158"/>
              <a:gd name="T55" fmla="*/ 125 h 131"/>
              <a:gd name="T56" fmla="*/ 104 w 158"/>
              <a:gd name="T57" fmla="*/ 125 h 131"/>
              <a:gd name="T58" fmla="*/ 82 w 158"/>
              <a:gd name="T59" fmla="*/ 114 h 131"/>
              <a:gd name="T60" fmla="*/ 44 w 158"/>
              <a:gd name="T61" fmla="*/ 93 h 131"/>
              <a:gd name="T62" fmla="*/ 11 w 158"/>
              <a:gd name="T63" fmla="*/ 82 h 131"/>
              <a:gd name="T64" fmla="*/ 0 w 158"/>
              <a:gd name="T65" fmla="*/ 6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8" h="131">
                <a:moveTo>
                  <a:pt x="0" y="60"/>
                </a:moveTo>
                <a:lnTo>
                  <a:pt x="33" y="44"/>
                </a:lnTo>
                <a:lnTo>
                  <a:pt x="33" y="38"/>
                </a:lnTo>
                <a:lnTo>
                  <a:pt x="33" y="33"/>
                </a:lnTo>
                <a:lnTo>
                  <a:pt x="33" y="27"/>
                </a:lnTo>
                <a:lnTo>
                  <a:pt x="33" y="22"/>
                </a:lnTo>
                <a:lnTo>
                  <a:pt x="27" y="16"/>
                </a:lnTo>
                <a:lnTo>
                  <a:pt x="27" y="11"/>
                </a:lnTo>
                <a:lnTo>
                  <a:pt x="33" y="11"/>
                </a:lnTo>
                <a:lnTo>
                  <a:pt x="38" y="11"/>
                </a:lnTo>
                <a:lnTo>
                  <a:pt x="44" y="0"/>
                </a:lnTo>
                <a:lnTo>
                  <a:pt x="49" y="0"/>
                </a:lnTo>
                <a:lnTo>
                  <a:pt x="55" y="0"/>
                </a:lnTo>
                <a:lnTo>
                  <a:pt x="60" y="0"/>
                </a:lnTo>
                <a:lnTo>
                  <a:pt x="66" y="0"/>
                </a:lnTo>
                <a:lnTo>
                  <a:pt x="71" y="0"/>
                </a:lnTo>
                <a:lnTo>
                  <a:pt x="71" y="5"/>
                </a:lnTo>
                <a:lnTo>
                  <a:pt x="76" y="0"/>
                </a:lnTo>
                <a:lnTo>
                  <a:pt x="76" y="5"/>
                </a:lnTo>
                <a:lnTo>
                  <a:pt x="82" y="11"/>
                </a:lnTo>
                <a:lnTo>
                  <a:pt x="87" y="11"/>
                </a:lnTo>
                <a:lnTo>
                  <a:pt x="87" y="16"/>
                </a:lnTo>
                <a:lnTo>
                  <a:pt x="87" y="22"/>
                </a:lnTo>
                <a:lnTo>
                  <a:pt x="93" y="22"/>
                </a:lnTo>
                <a:lnTo>
                  <a:pt x="98" y="22"/>
                </a:lnTo>
                <a:lnTo>
                  <a:pt x="104" y="22"/>
                </a:lnTo>
                <a:lnTo>
                  <a:pt x="98" y="27"/>
                </a:lnTo>
                <a:lnTo>
                  <a:pt x="104" y="33"/>
                </a:lnTo>
                <a:lnTo>
                  <a:pt x="98" y="33"/>
                </a:lnTo>
                <a:lnTo>
                  <a:pt x="98" y="38"/>
                </a:lnTo>
                <a:lnTo>
                  <a:pt x="98" y="44"/>
                </a:lnTo>
                <a:lnTo>
                  <a:pt x="98" y="49"/>
                </a:lnTo>
                <a:lnTo>
                  <a:pt x="98" y="54"/>
                </a:lnTo>
                <a:lnTo>
                  <a:pt x="104" y="54"/>
                </a:lnTo>
                <a:lnTo>
                  <a:pt x="104" y="60"/>
                </a:lnTo>
                <a:lnTo>
                  <a:pt x="104" y="54"/>
                </a:lnTo>
                <a:lnTo>
                  <a:pt x="104" y="60"/>
                </a:lnTo>
                <a:lnTo>
                  <a:pt x="109" y="60"/>
                </a:lnTo>
                <a:lnTo>
                  <a:pt x="109" y="65"/>
                </a:lnTo>
                <a:lnTo>
                  <a:pt x="115" y="65"/>
                </a:lnTo>
                <a:lnTo>
                  <a:pt x="120" y="71"/>
                </a:lnTo>
                <a:lnTo>
                  <a:pt x="125" y="76"/>
                </a:lnTo>
                <a:lnTo>
                  <a:pt x="131" y="76"/>
                </a:lnTo>
                <a:lnTo>
                  <a:pt x="136" y="82"/>
                </a:lnTo>
                <a:lnTo>
                  <a:pt x="142" y="87"/>
                </a:lnTo>
                <a:lnTo>
                  <a:pt x="142" y="93"/>
                </a:lnTo>
                <a:lnTo>
                  <a:pt x="142" y="98"/>
                </a:lnTo>
                <a:lnTo>
                  <a:pt x="147" y="98"/>
                </a:lnTo>
                <a:lnTo>
                  <a:pt x="147" y="109"/>
                </a:lnTo>
                <a:lnTo>
                  <a:pt x="153" y="109"/>
                </a:lnTo>
                <a:lnTo>
                  <a:pt x="158" y="114"/>
                </a:lnTo>
                <a:lnTo>
                  <a:pt x="153" y="114"/>
                </a:lnTo>
                <a:lnTo>
                  <a:pt x="147" y="114"/>
                </a:lnTo>
                <a:lnTo>
                  <a:pt x="142" y="114"/>
                </a:lnTo>
                <a:lnTo>
                  <a:pt x="136" y="114"/>
                </a:lnTo>
                <a:lnTo>
                  <a:pt x="136" y="125"/>
                </a:lnTo>
                <a:lnTo>
                  <a:pt x="131" y="131"/>
                </a:lnTo>
                <a:lnTo>
                  <a:pt x="104" y="125"/>
                </a:lnTo>
                <a:lnTo>
                  <a:pt x="82" y="120"/>
                </a:lnTo>
                <a:lnTo>
                  <a:pt x="82" y="114"/>
                </a:lnTo>
                <a:lnTo>
                  <a:pt x="60" y="98"/>
                </a:lnTo>
                <a:lnTo>
                  <a:pt x="44" y="93"/>
                </a:lnTo>
                <a:lnTo>
                  <a:pt x="33" y="82"/>
                </a:lnTo>
                <a:lnTo>
                  <a:pt x="11" y="82"/>
                </a:lnTo>
                <a:lnTo>
                  <a:pt x="11" y="76"/>
                </a:lnTo>
                <a:lnTo>
                  <a:pt x="0" y="60"/>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2" name="Rectangle 234">
            <a:extLst>
              <a:ext uri="{FF2B5EF4-FFF2-40B4-BE49-F238E27FC236}">
                <a16:creationId xmlns:a16="http://schemas.microsoft.com/office/drawing/2014/main" id="{0BD26E37-59CE-2A71-9506-A8F066C2F073}"/>
              </a:ext>
            </a:extLst>
          </p:cNvPr>
          <p:cNvSpPr>
            <a:spLocks noChangeArrowheads="1"/>
          </p:cNvSpPr>
          <p:nvPr/>
        </p:nvSpPr>
        <p:spPr bwMode="auto">
          <a:xfrm>
            <a:off x="3200400" y="2465388"/>
            <a:ext cx="6350" cy="6350"/>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93" name="Freeform 449">
            <a:extLst>
              <a:ext uri="{FF2B5EF4-FFF2-40B4-BE49-F238E27FC236}">
                <a16:creationId xmlns:a16="http://schemas.microsoft.com/office/drawing/2014/main" id="{E8961414-F355-1048-40B1-C4CD4F7AE933}"/>
              </a:ext>
            </a:extLst>
          </p:cNvPr>
          <p:cNvSpPr>
            <a:spLocks/>
          </p:cNvSpPr>
          <p:nvPr/>
        </p:nvSpPr>
        <p:spPr bwMode="auto">
          <a:xfrm>
            <a:off x="3213099" y="2451100"/>
            <a:ext cx="12700" cy="20638"/>
          </a:xfrm>
          <a:custGeom>
            <a:avLst/>
            <a:gdLst>
              <a:gd name="T0" fmla="*/ 5 w 11"/>
              <a:gd name="T1" fmla="*/ 0 h 17"/>
              <a:gd name="T2" fmla="*/ 0 w 11"/>
              <a:gd name="T3" fmla="*/ 0 h 17"/>
              <a:gd name="T4" fmla="*/ 0 w 11"/>
              <a:gd name="T5" fmla="*/ 6 h 17"/>
              <a:gd name="T6" fmla="*/ 0 w 11"/>
              <a:gd name="T7" fmla="*/ 11 h 17"/>
              <a:gd name="T8" fmla="*/ 5 w 11"/>
              <a:gd name="T9" fmla="*/ 11 h 17"/>
              <a:gd name="T10" fmla="*/ 0 w 11"/>
              <a:gd name="T11" fmla="*/ 11 h 17"/>
              <a:gd name="T12" fmla="*/ 0 w 11"/>
              <a:gd name="T13" fmla="*/ 17 h 17"/>
              <a:gd name="T14" fmla="*/ 5 w 11"/>
              <a:gd name="T15" fmla="*/ 17 h 17"/>
              <a:gd name="T16" fmla="*/ 11 w 11"/>
              <a:gd name="T17" fmla="*/ 17 h 17"/>
              <a:gd name="T18" fmla="*/ 5 w 11"/>
              <a:gd name="T19" fmla="*/ 11 h 17"/>
              <a:gd name="T20" fmla="*/ 11 w 11"/>
              <a:gd name="T21" fmla="*/ 11 h 17"/>
              <a:gd name="T22" fmla="*/ 11 w 11"/>
              <a:gd name="T23" fmla="*/ 6 h 17"/>
              <a:gd name="T24" fmla="*/ 5 w 11"/>
              <a:gd name="T25" fmla="*/ 6 h 17"/>
              <a:gd name="T26" fmla="*/ 11 w 11"/>
              <a:gd name="T27" fmla="*/ 6 h 17"/>
              <a:gd name="T28" fmla="*/ 5 w 11"/>
              <a:gd name="T29" fmla="*/ 6 h 17"/>
              <a:gd name="T30" fmla="*/ 5 w 11"/>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7">
                <a:moveTo>
                  <a:pt x="5" y="0"/>
                </a:moveTo>
                <a:lnTo>
                  <a:pt x="0" y="0"/>
                </a:lnTo>
                <a:lnTo>
                  <a:pt x="0" y="6"/>
                </a:lnTo>
                <a:lnTo>
                  <a:pt x="0" y="11"/>
                </a:lnTo>
                <a:lnTo>
                  <a:pt x="5" y="11"/>
                </a:lnTo>
                <a:lnTo>
                  <a:pt x="0" y="11"/>
                </a:lnTo>
                <a:lnTo>
                  <a:pt x="0" y="17"/>
                </a:lnTo>
                <a:lnTo>
                  <a:pt x="5" y="17"/>
                </a:lnTo>
                <a:lnTo>
                  <a:pt x="11" y="17"/>
                </a:lnTo>
                <a:lnTo>
                  <a:pt x="5" y="11"/>
                </a:lnTo>
                <a:lnTo>
                  <a:pt x="11" y="11"/>
                </a:lnTo>
                <a:lnTo>
                  <a:pt x="11" y="6"/>
                </a:lnTo>
                <a:lnTo>
                  <a:pt x="5" y="6"/>
                </a:lnTo>
                <a:lnTo>
                  <a:pt x="11" y="6"/>
                </a:lnTo>
                <a:lnTo>
                  <a:pt x="5" y="6"/>
                </a:lnTo>
                <a:lnTo>
                  <a:pt x="5" y="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4" name="Freeform 450">
            <a:extLst>
              <a:ext uri="{FF2B5EF4-FFF2-40B4-BE49-F238E27FC236}">
                <a16:creationId xmlns:a16="http://schemas.microsoft.com/office/drawing/2014/main" id="{E8BAC4CA-0D50-D014-1FE0-38C70D903CDB}"/>
              </a:ext>
            </a:extLst>
          </p:cNvPr>
          <p:cNvSpPr>
            <a:spLocks/>
          </p:cNvSpPr>
          <p:nvPr/>
        </p:nvSpPr>
        <p:spPr bwMode="auto">
          <a:xfrm>
            <a:off x="3217863" y="2432050"/>
            <a:ext cx="61913" cy="79375"/>
          </a:xfrm>
          <a:custGeom>
            <a:avLst/>
            <a:gdLst>
              <a:gd name="T0" fmla="*/ 0 w 55"/>
              <a:gd name="T1" fmla="*/ 60 h 65"/>
              <a:gd name="T2" fmla="*/ 0 w 55"/>
              <a:gd name="T3" fmla="*/ 54 h 65"/>
              <a:gd name="T4" fmla="*/ 0 w 55"/>
              <a:gd name="T5" fmla="*/ 49 h 65"/>
              <a:gd name="T6" fmla="*/ 0 w 55"/>
              <a:gd name="T7" fmla="*/ 44 h 65"/>
              <a:gd name="T8" fmla="*/ 0 w 55"/>
              <a:gd name="T9" fmla="*/ 38 h 65"/>
              <a:gd name="T10" fmla="*/ 6 w 55"/>
              <a:gd name="T11" fmla="*/ 38 h 65"/>
              <a:gd name="T12" fmla="*/ 0 w 55"/>
              <a:gd name="T13" fmla="*/ 33 h 65"/>
              <a:gd name="T14" fmla="*/ 6 w 55"/>
              <a:gd name="T15" fmla="*/ 33 h 65"/>
              <a:gd name="T16" fmla="*/ 0 w 55"/>
              <a:gd name="T17" fmla="*/ 27 h 65"/>
              <a:gd name="T18" fmla="*/ 6 w 55"/>
              <a:gd name="T19" fmla="*/ 27 h 65"/>
              <a:gd name="T20" fmla="*/ 6 w 55"/>
              <a:gd name="T21" fmla="*/ 22 h 65"/>
              <a:gd name="T22" fmla="*/ 0 w 55"/>
              <a:gd name="T23" fmla="*/ 22 h 65"/>
              <a:gd name="T24" fmla="*/ 6 w 55"/>
              <a:gd name="T25" fmla="*/ 22 h 65"/>
              <a:gd name="T26" fmla="*/ 0 w 55"/>
              <a:gd name="T27" fmla="*/ 22 h 65"/>
              <a:gd name="T28" fmla="*/ 0 w 55"/>
              <a:gd name="T29" fmla="*/ 16 h 65"/>
              <a:gd name="T30" fmla="*/ 0 w 55"/>
              <a:gd name="T31" fmla="*/ 11 h 65"/>
              <a:gd name="T32" fmla="*/ 6 w 55"/>
              <a:gd name="T33" fmla="*/ 11 h 65"/>
              <a:gd name="T34" fmla="*/ 11 w 55"/>
              <a:gd name="T35" fmla="*/ 16 h 65"/>
              <a:gd name="T36" fmla="*/ 17 w 55"/>
              <a:gd name="T37" fmla="*/ 16 h 65"/>
              <a:gd name="T38" fmla="*/ 22 w 55"/>
              <a:gd name="T39" fmla="*/ 16 h 65"/>
              <a:gd name="T40" fmla="*/ 28 w 55"/>
              <a:gd name="T41" fmla="*/ 16 h 65"/>
              <a:gd name="T42" fmla="*/ 44 w 55"/>
              <a:gd name="T43" fmla="*/ 0 h 65"/>
              <a:gd name="T44" fmla="*/ 55 w 55"/>
              <a:gd name="T45" fmla="*/ 16 h 65"/>
              <a:gd name="T46" fmla="*/ 55 w 55"/>
              <a:gd name="T47" fmla="*/ 22 h 65"/>
              <a:gd name="T48" fmla="*/ 28 w 55"/>
              <a:gd name="T49" fmla="*/ 33 h 65"/>
              <a:gd name="T50" fmla="*/ 44 w 55"/>
              <a:gd name="T51" fmla="*/ 49 h 65"/>
              <a:gd name="T52" fmla="*/ 39 w 55"/>
              <a:gd name="T53" fmla="*/ 49 h 65"/>
              <a:gd name="T54" fmla="*/ 39 w 55"/>
              <a:gd name="T55" fmla="*/ 54 h 65"/>
              <a:gd name="T56" fmla="*/ 28 w 55"/>
              <a:gd name="T57" fmla="*/ 54 h 65"/>
              <a:gd name="T58" fmla="*/ 22 w 55"/>
              <a:gd name="T59" fmla="*/ 60 h 65"/>
              <a:gd name="T60" fmla="*/ 17 w 55"/>
              <a:gd name="T61" fmla="*/ 65 h 65"/>
              <a:gd name="T62" fmla="*/ 0 w 55"/>
              <a:gd name="T63" fmla="*/ 65 h 65"/>
              <a:gd name="T64" fmla="*/ 0 w 55"/>
              <a:gd name="T65" fmla="*/ 6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65">
                <a:moveTo>
                  <a:pt x="0" y="60"/>
                </a:moveTo>
                <a:lnTo>
                  <a:pt x="0" y="54"/>
                </a:lnTo>
                <a:lnTo>
                  <a:pt x="0" y="49"/>
                </a:lnTo>
                <a:lnTo>
                  <a:pt x="0" y="44"/>
                </a:lnTo>
                <a:lnTo>
                  <a:pt x="0" y="38"/>
                </a:lnTo>
                <a:lnTo>
                  <a:pt x="6" y="38"/>
                </a:lnTo>
                <a:lnTo>
                  <a:pt x="0" y="33"/>
                </a:lnTo>
                <a:lnTo>
                  <a:pt x="6" y="33"/>
                </a:lnTo>
                <a:lnTo>
                  <a:pt x="0" y="27"/>
                </a:lnTo>
                <a:lnTo>
                  <a:pt x="6" y="27"/>
                </a:lnTo>
                <a:lnTo>
                  <a:pt x="6" y="22"/>
                </a:lnTo>
                <a:lnTo>
                  <a:pt x="0" y="22"/>
                </a:lnTo>
                <a:lnTo>
                  <a:pt x="6" y="22"/>
                </a:lnTo>
                <a:lnTo>
                  <a:pt x="0" y="22"/>
                </a:lnTo>
                <a:lnTo>
                  <a:pt x="0" y="16"/>
                </a:lnTo>
                <a:lnTo>
                  <a:pt x="0" y="11"/>
                </a:lnTo>
                <a:lnTo>
                  <a:pt x="6" y="11"/>
                </a:lnTo>
                <a:lnTo>
                  <a:pt x="11" y="16"/>
                </a:lnTo>
                <a:lnTo>
                  <a:pt x="17" y="16"/>
                </a:lnTo>
                <a:lnTo>
                  <a:pt x="22" y="16"/>
                </a:lnTo>
                <a:lnTo>
                  <a:pt x="28" y="16"/>
                </a:lnTo>
                <a:lnTo>
                  <a:pt x="44" y="0"/>
                </a:lnTo>
                <a:lnTo>
                  <a:pt x="55" y="16"/>
                </a:lnTo>
                <a:lnTo>
                  <a:pt x="55" y="22"/>
                </a:lnTo>
                <a:lnTo>
                  <a:pt x="28" y="33"/>
                </a:lnTo>
                <a:lnTo>
                  <a:pt x="44" y="49"/>
                </a:lnTo>
                <a:lnTo>
                  <a:pt x="39" y="49"/>
                </a:lnTo>
                <a:lnTo>
                  <a:pt x="39" y="54"/>
                </a:lnTo>
                <a:lnTo>
                  <a:pt x="28" y="54"/>
                </a:lnTo>
                <a:lnTo>
                  <a:pt x="22" y="60"/>
                </a:lnTo>
                <a:lnTo>
                  <a:pt x="17" y="65"/>
                </a:lnTo>
                <a:lnTo>
                  <a:pt x="0" y="65"/>
                </a:lnTo>
                <a:lnTo>
                  <a:pt x="0" y="60"/>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5" name="Freeform 451">
            <a:extLst>
              <a:ext uri="{FF2B5EF4-FFF2-40B4-BE49-F238E27FC236}">
                <a16:creationId xmlns:a16="http://schemas.microsoft.com/office/drawing/2014/main" id="{84631AB6-22A7-5A10-6664-0E2F5174AEA6}"/>
              </a:ext>
            </a:extLst>
          </p:cNvPr>
          <p:cNvSpPr>
            <a:spLocks/>
          </p:cNvSpPr>
          <p:nvPr/>
        </p:nvSpPr>
        <p:spPr bwMode="auto">
          <a:xfrm>
            <a:off x="3200400" y="2438400"/>
            <a:ext cx="25400" cy="66675"/>
          </a:xfrm>
          <a:custGeom>
            <a:avLst/>
            <a:gdLst>
              <a:gd name="T0" fmla="*/ 16 w 22"/>
              <a:gd name="T1" fmla="*/ 55 h 55"/>
              <a:gd name="T2" fmla="*/ 11 w 22"/>
              <a:gd name="T3" fmla="*/ 44 h 55"/>
              <a:gd name="T4" fmla="*/ 6 w 22"/>
              <a:gd name="T5" fmla="*/ 39 h 55"/>
              <a:gd name="T6" fmla="*/ 6 w 22"/>
              <a:gd name="T7" fmla="*/ 33 h 55"/>
              <a:gd name="T8" fmla="*/ 0 w 22"/>
              <a:gd name="T9" fmla="*/ 28 h 55"/>
              <a:gd name="T10" fmla="*/ 6 w 22"/>
              <a:gd name="T11" fmla="*/ 28 h 55"/>
              <a:gd name="T12" fmla="*/ 6 w 22"/>
              <a:gd name="T13" fmla="*/ 22 h 55"/>
              <a:gd name="T14" fmla="*/ 6 w 22"/>
              <a:gd name="T15" fmla="*/ 17 h 55"/>
              <a:gd name="T16" fmla="*/ 6 w 22"/>
              <a:gd name="T17" fmla="*/ 11 h 55"/>
              <a:gd name="T18" fmla="*/ 11 w 22"/>
              <a:gd name="T19" fmla="*/ 6 h 55"/>
              <a:gd name="T20" fmla="*/ 11 w 22"/>
              <a:gd name="T21" fmla="*/ 0 h 55"/>
              <a:gd name="T22" fmla="*/ 16 w 22"/>
              <a:gd name="T23" fmla="*/ 0 h 55"/>
              <a:gd name="T24" fmla="*/ 16 w 22"/>
              <a:gd name="T25" fmla="*/ 6 h 55"/>
              <a:gd name="T26" fmla="*/ 16 w 22"/>
              <a:gd name="T27" fmla="*/ 11 h 55"/>
              <a:gd name="T28" fmla="*/ 11 w 22"/>
              <a:gd name="T29" fmla="*/ 11 h 55"/>
              <a:gd name="T30" fmla="*/ 11 w 22"/>
              <a:gd name="T31" fmla="*/ 17 h 55"/>
              <a:gd name="T32" fmla="*/ 11 w 22"/>
              <a:gd name="T33" fmla="*/ 22 h 55"/>
              <a:gd name="T34" fmla="*/ 16 w 22"/>
              <a:gd name="T35" fmla="*/ 22 h 55"/>
              <a:gd name="T36" fmla="*/ 11 w 22"/>
              <a:gd name="T37" fmla="*/ 22 h 55"/>
              <a:gd name="T38" fmla="*/ 11 w 22"/>
              <a:gd name="T39" fmla="*/ 28 h 55"/>
              <a:gd name="T40" fmla="*/ 16 w 22"/>
              <a:gd name="T41" fmla="*/ 28 h 55"/>
              <a:gd name="T42" fmla="*/ 22 w 22"/>
              <a:gd name="T43" fmla="*/ 28 h 55"/>
              <a:gd name="T44" fmla="*/ 16 w 22"/>
              <a:gd name="T45" fmla="*/ 28 h 55"/>
              <a:gd name="T46" fmla="*/ 22 w 22"/>
              <a:gd name="T47" fmla="*/ 33 h 55"/>
              <a:gd name="T48" fmla="*/ 16 w 22"/>
              <a:gd name="T49" fmla="*/ 33 h 55"/>
              <a:gd name="T50" fmla="*/ 16 w 22"/>
              <a:gd name="T51" fmla="*/ 39 h 55"/>
              <a:gd name="T52" fmla="*/ 16 w 22"/>
              <a:gd name="T53" fmla="*/ 44 h 55"/>
              <a:gd name="T54" fmla="*/ 16 w 22"/>
              <a:gd name="T55" fmla="*/ 49 h 55"/>
              <a:gd name="T56" fmla="*/ 16 w 22"/>
              <a:gd name="T5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55">
                <a:moveTo>
                  <a:pt x="16" y="55"/>
                </a:moveTo>
                <a:lnTo>
                  <a:pt x="11" y="44"/>
                </a:lnTo>
                <a:lnTo>
                  <a:pt x="6" y="39"/>
                </a:lnTo>
                <a:lnTo>
                  <a:pt x="6" y="33"/>
                </a:lnTo>
                <a:lnTo>
                  <a:pt x="0" y="28"/>
                </a:lnTo>
                <a:lnTo>
                  <a:pt x="6" y="28"/>
                </a:lnTo>
                <a:lnTo>
                  <a:pt x="6" y="22"/>
                </a:lnTo>
                <a:lnTo>
                  <a:pt x="6" y="17"/>
                </a:lnTo>
                <a:lnTo>
                  <a:pt x="6" y="11"/>
                </a:lnTo>
                <a:lnTo>
                  <a:pt x="11" y="6"/>
                </a:lnTo>
                <a:lnTo>
                  <a:pt x="11" y="0"/>
                </a:lnTo>
                <a:lnTo>
                  <a:pt x="16" y="0"/>
                </a:lnTo>
                <a:lnTo>
                  <a:pt x="16" y="6"/>
                </a:lnTo>
                <a:lnTo>
                  <a:pt x="16" y="11"/>
                </a:lnTo>
                <a:lnTo>
                  <a:pt x="11" y="11"/>
                </a:lnTo>
                <a:lnTo>
                  <a:pt x="11" y="17"/>
                </a:lnTo>
                <a:lnTo>
                  <a:pt x="11" y="22"/>
                </a:lnTo>
                <a:lnTo>
                  <a:pt x="16" y="22"/>
                </a:lnTo>
                <a:lnTo>
                  <a:pt x="11" y="22"/>
                </a:lnTo>
                <a:lnTo>
                  <a:pt x="11" y="28"/>
                </a:lnTo>
                <a:lnTo>
                  <a:pt x="16" y="28"/>
                </a:lnTo>
                <a:lnTo>
                  <a:pt x="22" y="28"/>
                </a:lnTo>
                <a:lnTo>
                  <a:pt x="16" y="28"/>
                </a:lnTo>
                <a:lnTo>
                  <a:pt x="22" y="33"/>
                </a:lnTo>
                <a:lnTo>
                  <a:pt x="16" y="33"/>
                </a:lnTo>
                <a:lnTo>
                  <a:pt x="16" y="39"/>
                </a:lnTo>
                <a:lnTo>
                  <a:pt x="16" y="44"/>
                </a:lnTo>
                <a:lnTo>
                  <a:pt x="16" y="49"/>
                </a:lnTo>
                <a:lnTo>
                  <a:pt x="16" y="55"/>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6" name="Freeform 203">
            <a:extLst>
              <a:ext uri="{FF2B5EF4-FFF2-40B4-BE49-F238E27FC236}">
                <a16:creationId xmlns:a16="http://schemas.microsoft.com/office/drawing/2014/main" id="{D1E4F194-AC5F-B444-6AE4-4F7A0D885F21}"/>
              </a:ext>
            </a:extLst>
          </p:cNvPr>
          <p:cNvSpPr>
            <a:spLocks/>
          </p:cNvSpPr>
          <p:nvPr/>
        </p:nvSpPr>
        <p:spPr bwMode="auto">
          <a:xfrm>
            <a:off x="3536950" y="2598738"/>
            <a:ext cx="122238" cy="158750"/>
          </a:xfrm>
          <a:custGeom>
            <a:avLst/>
            <a:gdLst>
              <a:gd name="T0" fmla="*/ 16 w 109"/>
              <a:gd name="T1" fmla="*/ 126 h 131"/>
              <a:gd name="T2" fmla="*/ 0 w 109"/>
              <a:gd name="T3" fmla="*/ 98 h 131"/>
              <a:gd name="T4" fmla="*/ 27 w 109"/>
              <a:gd name="T5" fmla="*/ 82 h 131"/>
              <a:gd name="T6" fmla="*/ 49 w 109"/>
              <a:gd name="T7" fmla="*/ 44 h 131"/>
              <a:gd name="T8" fmla="*/ 38 w 109"/>
              <a:gd name="T9" fmla="*/ 28 h 131"/>
              <a:gd name="T10" fmla="*/ 44 w 109"/>
              <a:gd name="T11" fmla="*/ 17 h 131"/>
              <a:gd name="T12" fmla="*/ 44 w 109"/>
              <a:gd name="T13" fmla="*/ 11 h 131"/>
              <a:gd name="T14" fmla="*/ 44 w 109"/>
              <a:gd name="T15" fmla="*/ 11 h 131"/>
              <a:gd name="T16" fmla="*/ 44 w 109"/>
              <a:gd name="T17" fmla="*/ 0 h 131"/>
              <a:gd name="T18" fmla="*/ 55 w 109"/>
              <a:gd name="T19" fmla="*/ 6 h 131"/>
              <a:gd name="T20" fmla="*/ 60 w 109"/>
              <a:gd name="T21" fmla="*/ 11 h 131"/>
              <a:gd name="T22" fmla="*/ 71 w 109"/>
              <a:gd name="T23" fmla="*/ 17 h 131"/>
              <a:gd name="T24" fmla="*/ 82 w 109"/>
              <a:gd name="T25" fmla="*/ 17 h 131"/>
              <a:gd name="T26" fmla="*/ 87 w 109"/>
              <a:gd name="T27" fmla="*/ 22 h 131"/>
              <a:gd name="T28" fmla="*/ 98 w 109"/>
              <a:gd name="T29" fmla="*/ 28 h 131"/>
              <a:gd name="T30" fmla="*/ 104 w 109"/>
              <a:gd name="T31" fmla="*/ 38 h 131"/>
              <a:gd name="T32" fmla="*/ 109 w 109"/>
              <a:gd name="T33" fmla="*/ 44 h 131"/>
              <a:gd name="T34" fmla="*/ 109 w 109"/>
              <a:gd name="T35" fmla="*/ 55 h 131"/>
              <a:gd name="T36" fmla="*/ 98 w 109"/>
              <a:gd name="T37" fmla="*/ 60 h 131"/>
              <a:gd name="T38" fmla="*/ 98 w 109"/>
              <a:gd name="T39" fmla="*/ 71 h 131"/>
              <a:gd name="T40" fmla="*/ 93 w 109"/>
              <a:gd name="T41" fmla="*/ 66 h 131"/>
              <a:gd name="T42" fmla="*/ 87 w 109"/>
              <a:gd name="T43" fmla="*/ 77 h 131"/>
              <a:gd name="T44" fmla="*/ 87 w 109"/>
              <a:gd name="T45" fmla="*/ 88 h 131"/>
              <a:gd name="T46" fmla="*/ 87 w 109"/>
              <a:gd name="T47" fmla="*/ 93 h 131"/>
              <a:gd name="T48" fmla="*/ 76 w 109"/>
              <a:gd name="T49" fmla="*/ 93 h 131"/>
              <a:gd name="T50" fmla="*/ 71 w 109"/>
              <a:gd name="T51" fmla="*/ 98 h 131"/>
              <a:gd name="T52" fmla="*/ 71 w 109"/>
              <a:gd name="T53" fmla="*/ 109 h 131"/>
              <a:gd name="T54" fmla="*/ 60 w 109"/>
              <a:gd name="T55" fmla="*/ 109 h 131"/>
              <a:gd name="T56" fmla="*/ 55 w 109"/>
              <a:gd name="T57" fmla="*/ 115 h 131"/>
              <a:gd name="T58" fmla="*/ 55 w 109"/>
              <a:gd name="T59" fmla="*/ 126 h 131"/>
              <a:gd name="T60" fmla="*/ 44 w 109"/>
              <a:gd name="T61" fmla="*/ 126 h 131"/>
              <a:gd name="T62" fmla="*/ 33 w 109"/>
              <a:gd name="T63" fmla="*/ 126 h 131"/>
              <a:gd name="T64" fmla="*/ 27 w 109"/>
              <a:gd name="T6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 h="131">
                <a:moveTo>
                  <a:pt x="22" y="131"/>
                </a:moveTo>
                <a:lnTo>
                  <a:pt x="16" y="126"/>
                </a:lnTo>
                <a:lnTo>
                  <a:pt x="16" y="120"/>
                </a:lnTo>
                <a:lnTo>
                  <a:pt x="0" y="98"/>
                </a:lnTo>
                <a:lnTo>
                  <a:pt x="0" y="93"/>
                </a:lnTo>
                <a:lnTo>
                  <a:pt x="27" y="82"/>
                </a:lnTo>
                <a:lnTo>
                  <a:pt x="44" y="77"/>
                </a:lnTo>
                <a:lnTo>
                  <a:pt x="49" y="44"/>
                </a:lnTo>
                <a:lnTo>
                  <a:pt x="38" y="33"/>
                </a:lnTo>
                <a:lnTo>
                  <a:pt x="38" y="28"/>
                </a:lnTo>
                <a:lnTo>
                  <a:pt x="38" y="22"/>
                </a:lnTo>
                <a:lnTo>
                  <a:pt x="44" y="17"/>
                </a:lnTo>
                <a:lnTo>
                  <a:pt x="38" y="17"/>
                </a:lnTo>
                <a:lnTo>
                  <a:pt x="44" y="11"/>
                </a:lnTo>
                <a:lnTo>
                  <a:pt x="49" y="11"/>
                </a:lnTo>
                <a:lnTo>
                  <a:pt x="44" y="11"/>
                </a:lnTo>
                <a:lnTo>
                  <a:pt x="44" y="6"/>
                </a:lnTo>
                <a:lnTo>
                  <a:pt x="44" y="0"/>
                </a:lnTo>
                <a:lnTo>
                  <a:pt x="49" y="0"/>
                </a:lnTo>
                <a:lnTo>
                  <a:pt x="55" y="6"/>
                </a:lnTo>
                <a:lnTo>
                  <a:pt x="60" y="6"/>
                </a:lnTo>
                <a:lnTo>
                  <a:pt x="60" y="11"/>
                </a:lnTo>
                <a:lnTo>
                  <a:pt x="65" y="17"/>
                </a:lnTo>
                <a:lnTo>
                  <a:pt x="71" y="17"/>
                </a:lnTo>
                <a:lnTo>
                  <a:pt x="76" y="17"/>
                </a:lnTo>
                <a:lnTo>
                  <a:pt x="82" y="17"/>
                </a:lnTo>
                <a:lnTo>
                  <a:pt x="82" y="22"/>
                </a:lnTo>
                <a:lnTo>
                  <a:pt x="87" y="22"/>
                </a:lnTo>
                <a:lnTo>
                  <a:pt x="93" y="22"/>
                </a:lnTo>
                <a:lnTo>
                  <a:pt x="98" y="28"/>
                </a:lnTo>
                <a:lnTo>
                  <a:pt x="104" y="33"/>
                </a:lnTo>
                <a:lnTo>
                  <a:pt x="104" y="38"/>
                </a:lnTo>
                <a:lnTo>
                  <a:pt x="109" y="38"/>
                </a:lnTo>
                <a:lnTo>
                  <a:pt x="109" y="44"/>
                </a:lnTo>
                <a:lnTo>
                  <a:pt x="109" y="49"/>
                </a:lnTo>
                <a:lnTo>
                  <a:pt x="109" y="55"/>
                </a:lnTo>
                <a:lnTo>
                  <a:pt x="104" y="55"/>
                </a:lnTo>
                <a:lnTo>
                  <a:pt x="98" y="60"/>
                </a:lnTo>
                <a:lnTo>
                  <a:pt x="98" y="66"/>
                </a:lnTo>
                <a:lnTo>
                  <a:pt x="98" y="71"/>
                </a:lnTo>
                <a:lnTo>
                  <a:pt x="93" y="71"/>
                </a:lnTo>
                <a:lnTo>
                  <a:pt x="93" y="66"/>
                </a:lnTo>
                <a:lnTo>
                  <a:pt x="87" y="71"/>
                </a:lnTo>
                <a:lnTo>
                  <a:pt x="87" y="77"/>
                </a:lnTo>
                <a:lnTo>
                  <a:pt x="87" y="82"/>
                </a:lnTo>
                <a:lnTo>
                  <a:pt x="87" y="88"/>
                </a:lnTo>
                <a:lnTo>
                  <a:pt x="93" y="93"/>
                </a:lnTo>
                <a:lnTo>
                  <a:pt x="87" y="93"/>
                </a:lnTo>
                <a:lnTo>
                  <a:pt x="82" y="93"/>
                </a:lnTo>
                <a:lnTo>
                  <a:pt x="76" y="93"/>
                </a:lnTo>
                <a:lnTo>
                  <a:pt x="76" y="98"/>
                </a:lnTo>
                <a:lnTo>
                  <a:pt x="71" y="98"/>
                </a:lnTo>
                <a:lnTo>
                  <a:pt x="71" y="104"/>
                </a:lnTo>
                <a:lnTo>
                  <a:pt x="71" y="109"/>
                </a:lnTo>
                <a:lnTo>
                  <a:pt x="65" y="109"/>
                </a:lnTo>
                <a:lnTo>
                  <a:pt x="60" y="109"/>
                </a:lnTo>
                <a:lnTo>
                  <a:pt x="55" y="109"/>
                </a:lnTo>
                <a:lnTo>
                  <a:pt x="55" y="115"/>
                </a:lnTo>
                <a:lnTo>
                  <a:pt x="55" y="120"/>
                </a:lnTo>
                <a:lnTo>
                  <a:pt x="55" y="126"/>
                </a:lnTo>
                <a:lnTo>
                  <a:pt x="49" y="126"/>
                </a:lnTo>
                <a:lnTo>
                  <a:pt x="44" y="126"/>
                </a:lnTo>
                <a:lnTo>
                  <a:pt x="38" y="126"/>
                </a:lnTo>
                <a:lnTo>
                  <a:pt x="33" y="126"/>
                </a:lnTo>
                <a:lnTo>
                  <a:pt x="33" y="131"/>
                </a:lnTo>
                <a:lnTo>
                  <a:pt x="27" y="131"/>
                </a:lnTo>
                <a:lnTo>
                  <a:pt x="22" y="131"/>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7" name="Freeform 207">
            <a:extLst>
              <a:ext uri="{FF2B5EF4-FFF2-40B4-BE49-F238E27FC236}">
                <a16:creationId xmlns:a16="http://schemas.microsoft.com/office/drawing/2014/main" id="{FFCACCCD-9B71-B15A-D16C-330713A6F1B7}"/>
              </a:ext>
            </a:extLst>
          </p:cNvPr>
          <p:cNvSpPr>
            <a:spLocks/>
          </p:cNvSpPr>
          <p:nvPr/>
        </p:nvSpPr>
        <p:spPr bwMode="auto">
          <a:xfrm>
            <a:off x="3506788" y="2571750"/>
            <a:ext cx="85725" cy="73025"/>
          </a:xfrm>
          <a:custGeom>
            <a:avLst/>
            <a:gdLst>
              <a:gd name="T0" fmla="*/ 0 w 76"/>
              <a:gd name="T1" fmla="*/ 28 h 60"/>
              <a:gd name="T2" fmla="*/ 5 w 76"/>
              <a:gd name="T3" fmla="*/ 28 h 60"/>
              <a:gd name="T4" fmla="*/ 5 w 76"/>
              <a:gd name="T5" fmla="*/ 33 h 60"/>
              <a:gd name="T6" fmla="*/ 5 w 76"/>
              <a:gd name="T7" fmla="*/ 28 h 60"/>
              <a:gd name="T8" fmla="*/ 11 w 76"/>
              <a:gd name="T9" fmla="*/ 33 h 60"/>
              <a:gd name="T10" fmla="*/ 16 w 76"/>
              <a:gd name="T11" fmla="*/ 39 h 60"/>
              <a:gd name="T12" fmla="*/ 22 w 76"/>
              <a:gd name="T13" fmla="*/ 33 h 60"/>
              <a:gd name="T14" fmla="*/ 27 w 76"/>
              <a:gd name="T15" fmla="*/ 33 h 60"/>
              <a:gd name="T16" fmla="*/ 32 w 76"/>
              <a:gd name="T17" fmla="*/ 33 h 60"/>
              <a:gd name="T18" fmla="*/ 38 w 76"/>
              <a:gd name="T19" fmla="*/ 33 h 60"/>
              <a:gd name="T20" fmla="*/ 43 w 76"/>
              <a:gd name="T21" fmla="*/ 33 h 60"/>
              <a:gd name="T22" fmla="*/ 43 w 76"/>
              <a:gd name="T23" fmla="*/ 28 h 60"/>
              <a:gd name="T24" fmla="*/ 49 w 76"/>
              <a:gd name="T25" fmla="*/ 33 h 60"/>
              <a:gd name="T26" fmla="*/ 49 w 76"/>
              <a:gd name="T27" fmla="*/ 28 h 60"/>
              <a:gd name="T28" fmla="*/ 54 w 76"/>
              <a:gd name="T29" fmla="*/ 28 h 60"/>
              <a:gd name="T30" fmla="*/ 54 w 76"/>
              <a:gd name="T31" fmla="*/ 22 h 60"/>
              <a:gd name="T32" fmla="*/ 60 w 76"/>
              <a:gd name="T33" fmla="*/ 22 h 60"/>
              <a:gd name="T34" fmla="*/ 60 w 76"/>
              <a:gd name="T35" fmla="*/ 17 h 60"/>
              <a:gd name="T36" fmla="*/ 60 w 76"/>
              <a:gd name="T37" fmla="*/ 11 h 60"/>
              <a:gd name="T38" fmla="*/ 65 w 76"/>
              <a:gd name="T39" fmla="*/ 11 h 60"/>
              <a:gd name="T40" fmla="*/ 71 w 76"/>
              <a:gd name="T41" fmla="*/ 6 h 60"/>
              <a:gd name="T42" fmla="*/ 71 w 76"/>
              <a:gd name="T43" fmla="*/ 0 h 60"/>
              <a:gd name="T44" fmla="*/ 71 w 76"/>
              <a:gd name="T45" fmla="*/ 6 h 60"/>
              <a:gd name="T46" fmla="*/ 71 w 76"/>
              <a:gd name="T47" fmla="*/ 11 h 60"/>
              <a:gd name="T48" fmla="*/ 76 w 76"/>
              <a:gd name="T49" fmla="*/ 11 h 60"/>
              <a:gd name="T50" fmla="*/ 76 w 76"/>
              <a:gd name="T51" fmla="*/ 17 h 60"/>
              <a:gd name="T52" fmla="*/ 76 w 76"/>
              <a:gd name="T53" fmla="*/ 22 h 60"/>
              <a:gd name="T54" fmla="*/ 71 w 76"/>
              <a:gd name="T55" fmla="*/ 22 h 60"/>
              <a:gd name="T56" fmla="*/ 71 w 76"/>
              <a:gd name="T57" fmla="*/ 28 h 60"/>
              <a:gd name="T58" fmla="*/ 71 w 76"/>
              <a:gd name="T59" fmla="*/ 33 h 60"/>
              <a:gd name="T60" fmla="*/ 76 w 76"/>
              <a:gd name="T61" fmla="*/ 33 h 60"/>
              <a:gd name="T62" fmla="*/ 71 w 76"/>
              <a:gd name="T63" fmla="*/ 33 h 60"/>
              <a:gd name="T64" fmla="*/ 65 w 76"/>
              <a:gd name="T65" fmla="*/ 39 h 60"/>
              <a:gd name="T66" fmla="*/ 71 w 76"/>
              <a:gd name="T67" fmla="*/ 39 h 60"/>
              <a:gd name="T68" fmla="*/ 65 w 76"/>
              <a:gd name="T69" fmla="*/ 44 h 60"/>
              <a:gd name="T70" fmla="*/ 65 w 76"/>
              <a:gd name="T71" fmla="*/ 50 h 60"/>
              <a:gd name="T72" fmla="*/ 65 w 76"/>
              <a:gd name="T73" fmla="*/ 55 h 60"/>
              <a:gd name="T74" fmla="*/ 65 w 76"/>
              <a:gd name="T75" fmla="*/ 60 h 60"/>
              <a:gd name="T76" fmla="*/ 16 w 76"/>
              <a:gd name="T77" fmla="*/ 50 h 60"/>
              <a:gd name="T78" fmla="*/ 11 w 76"/>
              <a:gd name="T79" fmla="*/ 39 h 60"/>
              <a:gd name="T80" fmla="*/ 0 w 76"/>
              <a:gd name="T81" fmla="*/ 33 h 60"/>
              <a:gd name="T82" fmla="*/ 0 w 76"/>
              <a:gd name="T83" fmla="*/ 2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6" h="60">
                <a:moveTo>
                  <a:pt x="0" y="28"/>
                </a:moveTo>
                <a:lnTo>
                  <a:pt x="5" y="28"/>
                </a:lnTo>
                <a:lnTo>
                  <a:pt x="5" y="33"/>
                </a:lnTo>
                <a:lnTo>
                  <a:pt x="5" y="28"/>
                </a:lnTo>
                <a:lnTo>
                  <a:pt x="11" y="33"/>
                </a:lnTo>
                <a:lnTo>
                  <a:pt x="16" y="39"/>
                </a:lnTo>
                <a:lnTo>
                  <a:pt x="22" y="33"/>
                </a:lnTo>
                <a:lnTo>
                  <a:pt x="27" y="33"/>
                </a:lnTo>
                <a:lnTo>
                  <a:pt x="32" y="33"/>
                </a:lnTo>
                <a:lnTo>
                  <a:pt x="38" y="33"/>
                </a:lnTo>
                <a:lnTo>
                  <a:pt x="43" y="33"/>
                </a:lnTo>
                <a:lnTo>
                  <a:pt x="43" y="28"/>
                </a:lnTo>
                <a:lnTo>
                  <a:pt x="49" y="33"/>
                </a:lnTo>
                <a:lnTo>
                  <a:pt x="49" y="28"/>
                </a:lnTo>
                <a:lnTo>
                  <a:pt x="54" y="28"/>
                </a:lnTo>
                <a:lnTo>
                  <a:pt x="54" y="22"/>
                </a:lnTo>
                <a:lnTo>
                  <a:pt x="60" y="22"/>
                </a:lnTo>
                <a:lnTo>
                  <a:pt x="60" y="17"/>
                </a:lnTo>
                <a:lnTo>
                  <a:pt x="60" y="11"/>
                </a:lnTo>
                <a:lnTo>
                  <a:pt x="65" y="11"/>
                </a:lnTo>
                <a:lnTo>
                  <a:pt x="71" y="6"/>
                </a:lnTo>
                <a:lnTo>
                  <a:pt x="71" y="0"/>
                </a:lnTo>
                <a:lnTo>
                  <a:pt x="71" y="6"/>
                </a:lnTo>
                <a:lnTo>
                  <a:pt x="71" y="11"/>
                </a:lnTo>
                <a:lnTo>
                  <a:pt x="76" y="11"/>
                </a:lnTo>
                <a:lnTo>
                  <a:pt x="76" y="17"/>
                </a:lnTo>
                <a:lnTo>
                  <a:pt x="76" y="22"/>
                </a:lnTo>
                <a:lnTo>
                  <a:pt x="71" y="22"/>
                </a:lnTo>
                <a:lnTo>
                  <a:pt x="71" y="28"/>
                </a:lnTo>
                <a:lnTo>
                  <a:pt x="71" y="33"/>
                </a:lnTo>
                <a:lnTo>
                  <a:pt x="76" y="33"/>
                </a:lnTo>
                <a:lnTo>
                  <a:pt x="71" y="33"/>
                </a:lnTo>
                <a:lnTo>
                  <a:pt x="65" y="39"/>
                </a:lnTo>
                <a:lnTo>
                  <a:pt x="71" y="39"/>
                </a:lnTo>
                <a:lnTo>
                  <a:pt x="65" y="44"/>
                </a:lnTo>
                <a:lnTo>
                  <a:pt x="65" y="50"/>
                </a:lnTo>
                <a:lnTo>
                  <a:pt x="65" y="55"/>
                </a:lnTo>
                <a:lnTo>
                  <a:pt x="65" y="60"/>
                </a:lnTo>
                <a:lnTo>
                  <a:pt x="16" y="50"/>
                </a:lnTo>
                <a:lnTo>
                  <a:pt x="11" y="39"/>
                </a:lnTo>
                <a:lnTo>
                  <a:pt x="0" y="33"/>
                </a:lnTo>
                <a:lnTo>
                  <a:pt x="0" y="28"/>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8" name="Freeform 208">
            <a:extLst>
              <a:ext uri="{FF2B5EF4-FFF2-40B4-BE49-F238E27FC236}">
                <a16:creationId xmlns:a16="http://schemas.microsoft.com/office/drawing/2014/main" id="{290D9282-41BA-20EF-E738-FEAF25E988D3}"/>
              </a:ext>
            </a:extLst>
          </p:cNvPr>
          <p:cNvSpPr>
            <a:spLocks/>
          </p:cNvSpPr>
          <p:nvPr/>
        </p:nvSpPr>
        <p:spPr bwMode="auto">
          <a:xfrm>
            <a:off x="3494088" y="2571750"/>
            <a:ext cx="19050" cy="33338"/>
          </a:xfrm>
          <a:custGeom>
            <a:avLst/>
            <a:gdLst>
              <a:gd name="T0" fmla="*/ 5 w 16"/>
              <a:gd name="T1" fmla="*/ 22 h 28"/>
              <a:gd name="T2" fmla="*/ 5 w 16"/>
              <a:gd name="T3" fmla="*/ 17 h 28"/>
              <a:gd name="T4" fmla="*/ 0 w 16"/>
              <a:gd name="T5" fmla="*/ 11 h 28"/>
              <a:gd name="T6" fmla="*/ 5 w 16"/>
              <a:gd name="T7" fmla="*/ 11 h 28"/>
              <a:gd name="T8" fmla="*/ 5 w 16"/>
              <a:gd name="T9" fmla="*/ 6 h 28"/>
              <a:gd name="T10" fmla="*/ 5 w 16"/>
              <a:gd name="T11" fmla="*/ 0 h 28"/>
              <a:gd name="T12" fmla="*/ 11 w 16"/>
              <a:gd name="T13" fmla="*/ 6 h 28"/>
              <a:gd name="T14" fmla="*/ 16 w 16"/>
              <a:gd name="T15" fmla="*/ 6 h 28"/>
              <a:gd name="T16" fmla="*/ 11 w 16"/>
              <a:gd name="T17" fmla="*/ 11 h 28"/>
              <a:gd name="T18" fmla="*/ 16 w 16"/>
              <a:gd name="T19" fmla="*/ 17 h 28"/>
              <a:gd name="T20" fmla="*/ 16 w 16"/>
              <a:gd name="T21" fmla="*/ 22 h 28"/>
              <a:gd name="T22" fmla="*/ 16 w 16"/>
              <a:gd name="T23" fmla="*/ 28 h 28"/>
              <a:gd name="T24" fmla="*/ 11 w 16"/>
              <a:gd name="T25" fmla="*/ 28 h 28"/>
              <a:gd name="T26" fmla="*/ 5 w 16"/>
              <a:gd name="T27"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8">
                <a:moveTo>
                  <a:pt x="5" y="22"/>
                </a:moveTo>
                <a:lnTo>
                  <a:pt x="5" y="17"/>
                </a:lnTo>
                <a:lnTo>
                  <a:pt x="0" y="11"/>
                </a:lnTo>
                <a:lnTo>
                  <a:pt x="5" y="11"/>
                </a:lnTo>
                <a:lnTo>
                  <a:pt x="5" y="6"/>
                </a:lnTo>
                <a:lnTo>
                  <a:pt x="5" y="0"/>
                </a:lnTo>
                <a:lnTo>
                  <a:pt x="11" y="6"/>
                </a:lnTo>
                <a:lnTo>
                  <a:pt x="16" y="6"/>
                </a:lnTo>
                <a:lnTo>
                  <a:pt x="11" y="11"/>
                </a:lnTo>
                <a:lnTo>
                  <a:pt x="16" y="17"/>
                </a:lnTo>
                <a:lnTo>
                  <a:pt x="16" y="22"/>
                </a:lnTo>
                <a:lnTo>
                  <a:pt x="16" y="28"/>
                </a:lnTo>
                <a:lnTo>
                  <a:pt x="11" y="28"/>
                </a:lnTo>
                <a:lnTo>
                  <a:pt x="5" y="22"/>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99" name="Rectangle 209">
            <a:extLst>
              <a:ext uri="{FF2B5EF4-FFF2-40B4-BE49-F238E27FC236}">
                <a16:creationId xmlns:a16="http://schemas.microsoft.com/office/drawing/2014/main" id="{2171E393-55CD-C54E-4C18-213E728F23E0}"/>
              </a:ext>
            </a:extLst>
          </p:cNvPr>
          <p:cNvSpPr>
            <a:spLocks noChangeArrowheads="1"/>
          </p:cNvSpPr>
          <p:nvPr/>
        </p:nvSpPr>
        <p:spPr bwMode="auto">
          <a:xfrm>
            <a:off x="3487738" y="2571750"/>
            <a:ext cx="6350" cy="6350"/>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100" name="Freeform 210">
            <a:extLst>
              <a:ext uri="{FF2B5EF4-FFF2-40B4-BE49-F238E27FC236}">
                <a16:creationId xmlns:a16="http://schemas.microsoft.com/office/drawing/2014/main" id="{8A286A12-BE8E-1A4F-663B-CA9B3F5BD2E5}"/>
              </a:ext>
            </a:extLst>
          </p:cNvPr>
          <p:cNvSpPr>
            <a:spLocks/>
          </p:cNvSpPr>
          <p:nvPr/>
        </p:nvSpPr>
        <p:spPr bwMode="auto">
          <a:xfrm>
            <a:off x="3414714" y="2498725"/>
            <a:ext cx="30163" cy="25400"/>
          </a:xfrm>
          <a:custGeom>
            <a:avLst/>
            <a:gdLst>
              <a:gd name="T0" fmla="*/ 0 w 27"/>
              <a:gd name="T1" fmla="*/ 17 h 22"/>
              <a:gd name="T2" fmla="*/ 5 w 27"/>
              <a:gd name="T3" fmla="*/ 11 h 22"/>
              <a:gd name="T4" fmla="*/ 5 w 27"/>
              <a:gd name="T5" fmla="*/ 0 h 22"/>
              <a:gd name="T6" fmla="*/ 11 w 27"/>
              <a:gd name="T7" fmla="*/ 0 h 22"/>
              <a:gd name="T8" fmla="*/ 16 w 27"/>
              <a:gd name="T9" fmla="*/ 0 h 22"/>
              <a:gd name="T10" fmla="*/ 22 w 27"/>
              <a:gd name="T11" fmla="*/ 6 h 22"/>
              <a:gd name="T12" fmla="*/ 16 w 27"/>
              <a:gd name="T13" fmla="*/ 6 h 22"/>
              <a:gd name="T14" fmla="*/ 16 w 27"/>
              <a:gd name="T15" fmla="*/ 11 h 22"/>
              <a:gd name="T16" fmla="*/ 22 w 27"/>
              <a:gd name="T17" fmla="*/ 11 h 22"/>
              <a:gd name="T18" fmla="*/ 22 w 27"/>
              <a:gd name="T19" fmla="*/ 17 h 22"/>
              <a:gd name="T20" fmla="*/ 27 w 27"/>
              <a:gd name="T21" fmla="*/ 22 h 22"/>
              <a:gd name="T22" fmla="*/ 16 w 27"/>
              <a:gd name="T23" fmla="*/ 22 h 22"/>
              <a:gd name="T24" fmla="*/ 16 w 27"/>
              <a:gd name="T25" fmla="*/ 17 h 22"/>
              <a:gd name="T26" fmla="*/ 11 w 27"/>
              <a:gd name="T27" fmla="*/ 17 h 22"/>
              <a:gd name="T28" fmla="*/ 0 w 27"/>
              <a:gd name="T29"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2">
                <a:moveTo>
                  <a:pt x="0" y="17"/>
                </a:moveTo>
                <a:lnTo>
                  <a:pt x="5" y="11"/>
                </a:lnTo>
                <a:lnTo>
                  <a:pt x="5" y="0"/>
                </a:lnTo>
                <a:lnTo>
                  <a:pt x="11" y="0"/>
                </a:lnTo>
                <a:lnTo>
                  <a:pt x="16" y="0"/>
                </a:lnTo>
                <a:lnTo>
                  <a:pt x="22" y="6"/>
                </a:lnTo>
                <a:lnTo>
                  <a:pt x="16" y="6"/>
                </a:lnTo>
                <a:lnTo>
                  <a:pt x="16" y="11"/>
                </a:lnTo>
                <a:lnTo>
                  <a:pt x="22" y="11"/>
                </a:lnTo>
                <a:lnTo>
                  <a:pt x="22" y="17"/>
                </a:lnTo>
                <a:lnTo>
                  <a:pt x="27" y="22"/>
                </a:lnTo>
                <a:lnTo>
                  <a:pt x="16" y="22"/>
                </a:lnTo>
                <a:lnTo>
                  <a:pt x="16" y="17"/>
                </a:lnTo>
                <a:lnTo>
                  <a:pt x="11" y="17"/>
                </a:lnTo>
                <a:lnTo>
                  <a:pt x="0" y="17"/>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1" name="Freeform 642">
            <a:extLst>
              <a:ext uri="{FF2B5EF4-FFF2-40B4-BE49-F238E27FC236}">
                <a16:creationId xmlns:a16="http://schemas.microsoft.com/office/drawing/2014/main" id="{380FD96D-CB9A-FDB2-C42B-8B3C5A4B02E5}"/>
              </a:ext>
            </a:extLst>
          </p:cNvPr>
          <p:cNvSpPr>
            <a:spLocks/>
          </p:cNvSpPr>
          <p:nvPr/>
        </p:nvSpPr>
        <p:spPr bwMode="auto">
          <a:xfrm>
            <a:off x="3217862" y="2459038"/>
            <a:ext cx="374650" cy="319088"/>
          </a:xfrm>
          <a:custGeom>
            <a:avLst/>
            <a:gdLst>
              <a:gd name="T0" fmla="*/ 148 w 333"/>
              <a:gd name="T1" fmla="*/ 245 h 262"/>
              <a:gd name="T2" fmla="*/ 137 w 333"/>
              <a:gd name="T3" fmla="*/ 240 h 262"/>
              <a:gd name="T4" fmla="*/ 131 w 333"/>
              <a:gd name="T5" fmla="*/ 229 h 262"/>
              <a:gd name="T6" fmla="*/ 126 w 333"/>
              <a:gd name="T7" fmla="*/ 223 h 262"/>
              <a:gd name="T8" fmla="*/ 120 w 333"/>
              <a:gd name="T9" fmla="*/ 212 h 262"/>
              <a:gd name="T10" fmla="*/ 115 w 333"/>
              <a:gd name="T11" fmla="*/ 207 h 262"/>
              <a:gd name="T12" fmla="*/ 110 w 333"/>
              <a:gd name="T13" fmla="*/ 196 h 262"/>
              <a:gd name="T14" fmla="*/ 99 w 333"/>
              <a:gd name="T15" fmla="*/ 191 h 262"/>
              <a:gd name="T16" fmla="*/ 93 w 333"/>
              <a:gd name="T17" fmla="*/ 185 h 262"/>
              <a:gd name="T18" fmla="*/ 88 w 333"/>
              <a:gd name="T19" fmla="*/ 174 h 262"/>
              <a:gd name="T20" fmla="*/ 82 w 333"/>
              <a:gd name="T21" fmla="*/ 169 h 262"/>
              <a:gd name="T22" fmla="*/ 77 w 333"/>
              <a:gd name="T23" fmla="*/ 158 h 262"/>
              <a:gd name="T24" fmla="*/ 77 w 333"/>
              <a:gd name="T25" fmla="*/ 147 h 262"/>
              <a:gd name="T26" fmla="*/ 71 w 333"/>
              <a:gd name="T27" fmla="*/ 136 h 262"/>
              <a:gd name="T28" fmla="*/ 66 w 333"/>
              <a:gd name="T29" fmla="*/ 131 h 262"/>
              <a:gd name="T30" fmla="*/ 55 w 333"/>
              <a:gd name="T31" fmla="*/ 125 h 262"/>
              <a:gd name="T32" fmla="*/ 44 w 333"/>
              <a:gd name="T33" fmla="*/ 114 h 262"/>
              <a:gd name="T34" fmla="*/ 44 w 333"/>
              <a:gd name="T35" fmla="*/ 103 h 262"/>
              <a:gd name="T36" fmla="*/ 33 w 333"/>
              <a:gd name="T37" fmla="*/ 98 h 262"/>
              <a:gd name="T38" fmla="*/ 28 w 333"/>
              <a:gd name="T39" fmla="*/ 87 h 262"/>
              <a:gd name="T40" fmla="*/ 17 w 333"/>
              <a:gd name="T41" fmla="*/ 76 h 262"/>
              <a:gd name="T42" fmla="*/ 11 w 333"/>
              <a:gd name="T43" fmla="*/ 71 h 262"/>
              <a:gd name="T44" fmla="*/ 6 w 333"/>
              <a:gd name="T45" fmla="*/ 65 h 262"/>
              <a:gd name="T46" fmla="*/ 0 w 333"/>
              <a:gd name="T47" fmla="*/ 65 h 262"/>
              <a:gd name="T48" fmla="*/ 0 w 333"/>
              <a:gd name="T49" fmla="*/ 65 h 262"/>
              <a:gd name="T50" fmla="*/ 0 w 333"/>
              <a:gd name="T51" fmla="*/ 54 h 262"/>
              <a:gd name="T52" fmla="*/ 0 w 333"/>
              <a:gd name="T53" fmla="*/ 43 h 262"/>
              <a:gd name="T54" fmla="*/ 22 w 333"/>
              <a:gd name="T55" fmla="*/ 38 h 262"/>
              <a:gd name="T56" fmla="*/ 39 w 333"/>
              <a:gd name="T57" fmla="*/ 32 h 262"/>
              <a:gd name="T58" fmla="*/ 44 w 333"/>
              <a:gd name="T59" fmla="*/ 27 h 262"/>
              <a:gd name="T60" fmla="*/ 55 w 333"/>
              <a:gd name="T61" fmla="*/ 0 h 262"/>
              <a:gd name="T62" fmla="*/ 88 w 333"/>
              <a:gd name="T63" fmla="*/ 11 h 262"/>
              <a:gd name="T64" fmla="*/ 126 w 333"/>
              <a:gd name="T65" fmla="*/ 32 h 262"/>
              <a:gd name="T66" fmla="*/ 148 w 333"/>
              <a:gd name="T67" fmla="*/ 43 h 262"/>
              <a:gd name="T68" fmla="*/ 186 w 333"/>
              <a:gd name="T69" fmla="*/ 49 h 262"/>
              <a:gd name="T70" fmla="*/ 191 w 333"/>
              <a:gd name="T71" fmla="*/ 54 h 262"/>
              <a:gd name="T72" fmla="*/ 208 w 333"/>
              <a:gd name="T73" fmla="*/ 54 h 262"/>
              <a:gd name="T74" fmla="*/ 208 w 333"/>
              <a:gd name="T75" fmla="*/ 65 h 262"/>
              <a:gd name="T76" fmla="*/ 213 w 333"/>
              <a:gd name="T77" fmla="*/ 71 h 262"/>
              <a:gd name="T78" fmla="*/ 219 w 333"/>
              <a:gd name="T79" fmla="*/ 76 h 262"/>
              <a:gd name="T80" fmla="*/ 229 w 333"/>
              <a:gd name="T81" fmla="*/ 82 h 262"/>
              <a:gd name="T82" fmla="*/ 235 w 333"/>
              <a:gd name="T83" fmla="*/ 87 h 262"/>
              <a:gd name="T84" fmla="*/ 235 w 333"/>
              <a:gd name="T85" fmla="*/ 87 h 262"/>
              <a:gd name="T86" fmla="*/ 235 w 333"/>
              <a:gd name="T87" fmla="*/ 98 h 262"/>
              <a:gd name="T88" fmla="*/ 235 w 333"/>
              <a:gd name="T89" fmla="*/ 98 h 262"/>
              <a:gd name="T90" fmla="*/ 246 w 333"/>
              <a:gd name="T91" fmla="*/ 103 h 262"/>
              <a:gd name="T92" fmla="*/ 251 w 333"/>
              <a:gd name="T93" fmla="*/ 114 h 262"/>
              <a:gd name="T94" fmla="*/ 257 w 333"/>
              <a:gd name="T95" fmla="*/ 125 h 262"/>
              <a:gd name="T96" fmla="*/ 273 w 333"/>
              <a:gd name="T97" fmla="*/ 142 h 262"/>
              <a:gd name="T98" fmla="*/ 322 w 333"/>
              <a:gd name="T99" fmla="*/ 147 h 262"/>
              <a:gd name="T100" fmla="*/ 328 w 333"/>
              <a:gd name="T101" fmla="*/ 191 h 262"/>
              <a:gd name="T102" fmla="*/ 284 w 333"/>
              <a:gd name="T103" fmla="*/ 207 h 262"/>
              <a:gd name="T104" fmla="*/ 235 w 333"/>
              <a:gd name="T105" fmla="*/ 218 h 262"/>
              <a:gd name="T106" fmla="*/ 202 w 333"/>
              <a:gd name="T107" fmla="*/ 251 h 262"/>
              <a:gd name="T108" fmla="*/ 164 w 333"/>
              <a:gd name="T109" fmla="*/ 234 h 262"/>
              <a:gd name="T110" fmla="*/ 153 w 333"/>
              <a:gd name="T111" fmla="*/ 229 h 262"/>
              <a:gd name="T112" fmla="*/ 153 w 333"/>
              <a:gd name="T113" fmla="*/ 240 h 262"/>
              <a:gd name="T114" fmla="*/ 148 w 333"/>
              <a:gd name="T115" fmla="*/ 2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3" h="262">
                <a:moveTo>
                  <a:pt x="148" y="251"/>
                </a:moveTo>
                <a:lnTo>
                  <a:pt x="148" y="245"/>
                </a:lnTo>
                <a:lnTo>
                  <a:pt x="142" y="240"/>
                </a:lnTo>
                <a:lnTo>
                  <a:pt x="137" y="240"/>
                </a:lnTo>
                <a:lnTo>
                  <a:pt x="137" y="234"/>
                </a:lnTo>
                <a:lnTo>
                  <a:pt x="131" y="229"/>
                </a:lnTo>
                <a:lnTo>
                  <a:pt x="131" y="223"/>
                </a:lnTo>
                <a:lnTo>
                  <a:pt x="126" y="223"/>
                </a:lnTo>
                <a:lnTo>
                  <a:pt x="126" y="218"/>
                </a:lnTo>
                <a:lnTo>
                  <a:pt x="120" y="212"/>
                </a:lnTo>
                <a:lnTo>
                  <a:pt x="120" y="207"/>
                </a:lnTo>
                <a:lnTo>
                  <a:pt x="115" y="207"/>
                </a:lnTo>
                <a:lnTo>
                  <a:pt x="115" y="202"/>
                </a:lnTo>
                <a:lnTo>
                  <a:pt x="110" y="196"/>
                </a:lnTo>
                <a:lnTo>
                  <a:pt x="104" y="191"/>
                </a:lnTo>
                <a:lnTo>
                  <a:pt x="99" y="191"/>
                </a:lnTo>
                <a:lnTo>
                  <a:pt x="99" y="185"/>
                </a:lnTo>
                <a:lnTo>
                  <a:pt x="93" y="185"/>
                </a:lnTo>
                <a:lnTo>
                  <a:pt x="88" y="180"/>
                </a:lnTo>
                <a:lnTo>
                  <a:pt x="88" y="174"/>
                </a:lnTo>
                <a:lnTo>
                  <a:pt x="82" y="174"/>
                </a:lnTo>
                <a:lnTo>
                  <a:pt x="82" y="169"/>
                </a:lnTo>
                <a:lnTo>
                  <a:pt x="82" y="163"/>
                </a:lnTo>
                <a:lnTo>
                  <a:pt x="77" y="158"/>
                </a:lnTo>
                <a:lnTo>
                  <a:pt x="77" y="152"/>
                </a:lnTo>
                <a:lnTo>
                  <a:pt x="77" y="147"/>
                </a:lnTo>
                <a:lnTo>
                  <a:pt x="71" y="142"/>
                </a:lnTo>
                <a:lnTo>
                  <a:pt x="71" y="136"/>
                </a:lnTo>
                <a:lnTo>
                  <a:pt x="66" y="136"/>
                </a:lnTo>
                <a:lnTo>
                  <a:pt x="66" y="131"/>
                </a:lnTo>
                <a:lnTo>
                  <a:pt x="60" y="125"/>
                </a:lnTo>
                <a:lnTo>
                  <a:pt x="55" y="125"/>
                </a:lnTo>
                <a:lnTo>
                  <a:pt x="50" y="120"/>
                </a:lnTo>
                <a:lnTo>
                  <a:pt x="44" y="114"/>
                </a:lnTo>
                <a:lnTo>
                  <a:pt x="44" y="109"/>
                </a:lnTo>
                <a:lnTo>
                  <a:pt x="44" y="103"/>
                </a:lnTo>
                <a:lnTo>
                  <a:pt x="39" y="103"/>
                </a:lnTo>
                <a:lnTo>
                  <a:pt x="33" y="98"/>
                </a:lnTo>
                <a:lnTo>
                  <a:pt x="33" y="92"/>
                </a:lnTo>
                <a:lnTo>
                  <a:pt x="28" y="87"/>
                </a:lnTo>
                <a:lnTo>
                  <a:pt x="22" y="82"/>
                </a:lnTo>
                <a:lnTo>
                  <a:pt x="17" y="76"/>
                </a:lnTo>
                <a:lnTo>
                  <a:pt x="17" y="71"/>
                </a:lnTo>
                <a:lnTo>
                  <a:pt x="11" y="71"/>
                </a:lnTo>
                <a:lnTo>
                  <a:pt x="11" y="65"/>
                </a:lnTo>
                <a:lnTo>
                  <a:pt x="6" y="65"/>
                </a:lnTo>
                <a:lnTo>
                  <a:pt x="6" y="60"/>
                </a:lnTo>
                <a:lnTo>
                  <a:pt x="0" y="65"/>
                </a:lnTo>
                <a:lnTo>
                  <a:pt x="0" y="60"/>
                </a:lnTo>
                <a:lnTo>
                  <a:pt x="0" y="65"/>
                </a:lnTo>
                <a:lnTo>
                  <a:pt x="0" y="60"/>
                </a:lnTo>
                <a:lnTo>
                  <a:pt x="0" y="54"/>
                </a:lnTo>
                <a:lnTo>
                  <a:pt x="0" y="49"/>
                </a:lnTo>
                <a:lnTo>
                  <a:pt x="0" y="43"/>
                </a:lnTo>
                <a:lnTo>
                  <a:pt x="17" y="43"/>
                </a:lnTo>
                <a:lnTo>
                  <a:pt x="22" y="38"/>
                </a:lnTo>
                <a:lnTo>
                  <a:pt x="28" y="32"/>
                </a:lnTo>
                <a:lnTo>
                  <a:pt x="39" y="32"/>
                </a:lnTo>
                <a:lnTo>
                  <a:pt x="39" y="27"/>
                </a:lnTo>
                <a:lnTo>
                  <a:pt x="44" y="27"/>
                </a:lnTo>
                <a:lnTo>
                  <a:pt x="28" y="11"/>
                </a:lnTo>
                <a:lnTo>
                  <a:pt x="55" y="0"/>
                </a:lnTo>
                <a:lnTo>
                  <a:pt x="77" y="0"/>
                </a:lnTo>
                <a:lnTo>
                  <a:pt x="88" y="11"/>
                </a:lnTo>
                <a:lnTo>
                  <a:pt x="104" y="16"/>
                </a:lnTo>
                <a:lnTo>
                  <a:pt x="126" y="32"/>
                </a:lnTo>
                <a:lnTo>
                  <a:pt x="126" y="38"/>
                </a:lnTo>
                <a:lnTo>
                  <a:pt x="148" y="43"/>
                </a:lnTo>
                <a:lnTo>
                  <a:pt x="175" y="49"/>
                </a:lnTo>
                <a:lnTo>
                  <a:pt x="186" y="49"/>
                </a:lnTo>
                <a:lnTo>
                  <a:pt x="191" y="49"/>
                </a:lnTo>
                <a:lnTo>
                  <a:pt x="191" y="54"/>
                </a:lnTo>
                <a:lnTo>
                  <a:pt x="202" y="54"/>
                </a:lnTo>
                <a:lnTo>
                  <a:pt x="208" y="54"/>
                </a:lnTo>
                <a:lnTo>
                  <a:pt x="208" y="60"/>
                </a:lnTo>
                <a:lnTo>
                  <a:pt x="208" y="65"/>
                </a:lnTo>
                <a:lnTo>
                  <a:pt x="213" y="65"/>
                </a:lnTo>
                <a:lnTo>
                  <a:pt x="213" y="71"/>
                </a:lnTo>
                <a:lnTo>
                  <a:pt x="219" y="71"/>
                </a:lnTo>
                <a:lnTo>
                  <a:pt x="219" y="76"/>
                </a:lnTo>
                <a:lnTo>
                  <a:pt x="224" y="76"/>
                </a:lnTo>
                <a:lnTo>
                  <a:pt x="229" y="82"/>
                </a:lnTo>
                <a:lnTo>
                  <a:pt x="235" y="82"/>
                </a:lnTo>
                <a:lnTo>
                  <a:pt x="235" y="87"/>
                </a:lnTo>
                <a:lnTo>
                  <a:pt x="235" y="82"/>
                </a:lnTo>
                <a:lnTo>
                  <a:pt x="235" y="87"/>
                </a:lnTo>
                <a:lnTo>
                  <a:pt x="240" y="92"/>
                </a:lnTo>
                <a:lnTo>
                  <a:pt x="235" y="98"/>
                </a:lnTo>
                <a:lnTo>
                  <a:pt x="235" y="92"/>
                </a:lnTo>
                <a:lnTo>
                  <a:pt x="235" y="98"/>
                </a:lnTo>
                <a:lnTo>
                  <a:pt x="240" y="103"/>
                </a:lnTo>
                <a:lnTo>
                  <a:pt x="246" y="103"/>
                </a:lnTo>
                <a:lnTo>
                  <a:pt x="246" y="109"/>
                </a:lnTo>
                <a:lnTo>
                  <a:pt x="251" y="114"/>
                </a:lnTo>
                <a:lnTo>
                  <a:pt x="257" y="120"/>
                </a:lnTo>
                <a:lnTo>
                  <a:pt x="257" y="125"/>
                </a:lnTo>
                <a:lnTo>
                  <a:pt x="268" y="131"/>
                </a:lnTo>
                <a:lnTo>
                  <a:pt x="273" y="142"/>
                </a:lnTo>
                <a:lnTo>
                  <a:pt x="322" y="152"/>
                </a:lnTo>
                <a:lnTo>
                  <a:pt x="322" y="147"/>
                </a:lnTo>
                <a:lnTo>
                  <a:pt x="333" y="158"/>
                </a:lnTo>
                <a:lnTo>
                  <a:pt x="328" y="191"/>
                </a:lnTo>
                <a:lnTo>
                  <a:pt x="311" y="196"/>
                </a:lnTo>
                <a:lnTo>
                  <a:pt x="284" y="207"/>
                </a:lnTo>
                <a:lnTo>
                  <a:pt x="240" y="218"/>
                </a:lnTo>
                <a:lnTo>
                  <a:pt x="235" y="218"/>
                </a:lnTo>
                <a:lnTo>
                  <a:pt x="202" y="262"/>
                </a:lnTo>
                <a:lnTo>
                  <a:pt x="202" y="251"/>
                </a:lnTo>
                <a:lnTo>
                  <a:pt x="169" y="234"/>
                </a:lnTo>
                <a:lnTo>
                  <a:pt x="164" y="234"/>
                </a:lnTo>
                <a:lnTo>
                  <a:pt x="159" y="234"/>
                </a:lnTo>
                <a:lnTo>
                  <a:pt x="153" y="229"/>
                </a:lnTo>
                <a:lnTo>
                  <a:pt x="153" y="234"/>
                </a:lnTo>
                <a:lnTo>
                  <a:pt x="153" y="240"/>
                </a:lnTo>
                <a:lnTo>
                  <a:pt x="153" y="245"/>
                </a:lnTo>
                <a:lnTo>
                  <a:pt x="148" y="251"/>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2" name="Freeform 643">
            <a:extLst>
              <a:ext uri="{FF2B5EF4-FFF2-40B4-BE49-F238E27FC236}">
                <a16:creationId xmlns:a16="http://schemas.microsoft.com/office/drawing/2014/main" id="{45756ECA-B33D-BCFB-1286-E40318D05C68}"/>
              </a:ext>
            </a:extLst>
          </p:cNvPr>
          <p:cNvSpPr>
            <a:spLocks/>
          </p:cNvSpPr>
          <p:nvPr/>
        </p:nvSpPr>
        <p:spPr bwMode="auto">
          <a:xfrm>
            <a:off x="3433763" y="2498725"/>
            <a:ext cx="6350" cy="6350"/>
          </a:xfrm>
          <a:custGeom>
            <a:avLst/>
            <a:gdLst>
              <a:gd name="T0" fmla="*/ 0 w 6"/>
              <a:gd name="T1" fmla="*/ 0 h 6"/>
              <a:gd name="T2" fmla="*/ 6 w 6"/>
              <a:gd name="T3" fmla="*/ 0 h 6"/>
              <a:gd name="T4" fmla="*/ 6 w 6"/>
              <a:gd name="T5" fmla="*/ 6 h 6"/>
              <a:gd name="T6" fmla="*/ 0 w 6"/>
              <a:gd name="T7" fmla="*/ 0 h 6"/>
            </a:gdLst>
            <a:ahLst/>
            <a:cxnLst>
              <a:cxn ang="0">
                <a:pos x="T0" y="T1"/>
              </a:cxn>
              <a:cxn ang="0">
                <a:pos x="T2" y="T3"/>
              </a:cxn>
              <a:cxn ang="0">
                <a:pos x="T4" y="T5"/>
              </a:cxn>
              <a:cxn ang="0">
                <a:pos x="T6" y="T7"/>
              </a:cxn>
            </a:cxnLst>
            <a:rect l="0" t="0" r="r" b="b"/>
            <a:pathLst>
              <a:path w="6" h="6">
                <a:moveTo>
                  <a:pt x="0" y="0"/>
                </a:moveTo>
                <a:lnTo>
                  <a:pt x="6" y="0"/>
                </a:lnTo>
                <a:lnTo>
                  <a:pt x="6" y="6"/>
                </a:lnTo>
                <a:lnTo>
                  <a:pt x="0" y="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3" name="Freeform 661">
            <a:extLst>
              <a:ext uri="{FF2B5EF4-FFF2-40B4-BE49-F238E27FC236}">
                <a16:creationId xmlns:a16="http://schemas.microsoft.com/office/drawing/2014/main" id="{FA9CAD81-EA2A-7B4E-9247-4163B5DAE8CE}"/>
              </a:ext>
            </a:extLst>
          </p:cNvPr>
          <p:cNvSpPr>
            <a:spLocks/>
          </p:cNvSpPr>
          <p:nvPr/>
        </p:nvSpPr>
        <p:spPr bwMode="auto">
          <a:xfrm>
            <a:off x="3048000" y="2265362"/>
            <a:ext cx="304800" cy="120650"/>
          </a:xfrm>
          <a:custGeom>
            <a:avLst/>
            <a:gdLst>
              <a:gd name="T0" fmla="*/ 147 w 272"/>
              <a:gd name="T1" fmla="*/ 92 h 98"/>
              <a:gd name="T2" fmla="*/ 147 w 272"/>
              <a:gd name="T3" fmla="*/ 81 h 98"/>
              <a:gd name="T4" fmla="*/ 136 w 272"/>
              <a:gd name="T5" fmla="*/ 81 h 98"/>
              <a:gd name="T6" fmla="*/ 120 w 272"/>
              <a:gd name="T7" fmla="*/ 87 h 98"/>
              <a:gd name="T8" fmla="*/ 109 w 272"/>
              <a:gd name="T9" fmla="*/ 92 h 98"/>
              <a:gd name="T10" fmla="*/ 92 w 272"/>
              <a:gd name="T11" fmla="*/ 87 h 98"/>
              <a:gd name="T12" fmla="*/ 76 w 272"/>
              <a:gd name="T13" fmla="*/ 81 h 98"/>
              <a:gd name="T14" fmla="*/ 71 w 272"/>
              <a:gd name="T15" fmla="*/ 92 h 98"/>
              <a:gd name="T16" fmla="*/ 54 w 272"/>
              <a:gd name="T17" fmla="*/ 92 h 98"/>
              <a:gd name="T18" fmla="*/ 38 w 272"/>
              <a:gd name="T19" fmla="*/ 81 h 98"/>
              <a:gd name="T20" fmla="*/ 33 w 272"/>
              <a:gd name="T21" fmla="*/ 81 h 98"/>
              <a:gd name="T22" fmla="*/ 33 w 272"/>
              <a:gd name="T23" fmla="*/ 81 h 98"/>
              <a:gd name="T24" fmla="*/ 27 w 272"/>
              <a:gd name="T25" fmla="*/ 81 h 98"/>
              <a:gd name="T26" fmla="*/ 22 w 272"/>
              <a:gd name="T27" fmla="*/ 76 h 98"/>
              <a:gd name="T28" fmla="*/ 16 w 272"/>
              <a:gd name="T29" fmla="*/ 70 h 98"/>
              <a:gd name="T30" fmla="*/ 11 w 272"/>
              <a:gd name="T31" fmla="*/ 60 h 98"/>
              <a:gd name="T32" fmla="*/ 5 w 272"/>
              <a:gd name="T33" fmla="*/ 54 h 98"/>
              <a:gd name="T34" fmla="*/ 11 w 272"/>
              <a:gd name="T35" fmla="*/ 54 h 98"/>
              <a:gd name="T36" fmla="*/ 16 w 272"/>
              <a:gd name="T37" fmla="*/ 49 h 98"/>
              <a:gd name="T38" fmla="*/ 11 w 272"/>
              <a:gd name="T39" fmla="*/ 38 h 98"/>
              <a:gd name="T40" fmla="*/ 0 w 272"/>
              <a:gd name="T41" fmla="*/ 32 h 98"/>
              <a:gd name="T42" fmla="*/ 11 w 272"/>
              <a:gd name="T43" fmla="*/ 27 h 98"/>
              <a:gd name="T44" fmla="*/ 27 w 272"/>
              <a:gd name="T45" fmla="*/ 27 h 98"/>
              <a:gd name="T46" fmla="*/ 38 w 272"/>
              <a:gd name="T47" fmla="*/ 21 h 98"/>
              <a:gd name="T48" fmla="*/ 43 w 272"/>
              <a:gd name="T49" fmla="*/ 21 h 98"/>
              <a:gd name="T50" fmla="*/ 43 w 272"/>
              <a:gd name="T51" fmla="*/ 10 h 98"/>
              <a:gd name="T52" fmla="*/ 60 w 272"/>
              <a:gd name="T53" fmla="*/ 16 h 98"/>
              <a:gd name="T54" fmla="*/ 71 w 272"/>
              <a:gd name="T55" fmla="*/ 10 h 98"/>
              <a:gd name="T56" fmla="*/ 87 w 272"/>
              <a:gd name="T57" fmla="*/ 0 h 98"/>
              <a:gd name="T58" fmla="*/ 103 w 272"/>
              <a:gd name="T59" fmla="*/ 0 h 98"/>
              <a:gd name="T60" fmla="*/ 120 w 272"/>
              <a:gd name="T61" fmla="*/ 0 h 98"/>
              <a:gd name="T62" fmla="*/ 131 w 272"/>
              <a:gd name="T63" fmla="*/ 5 h 98"/>
              <a:gd name="T64" fmla="*/ 147 w 272"/>
              <a:gd name="T65" fmla="*/ 10 h 98"/>
              <a:gd name="T66" fmla="*/ 163 w 272"/>
              <a:gd name="T67" fmla="*/ 16 h 98"/>
              <a:gd name="T68" fmla="*/ 180 w 272"/>
              <a:gd name="T69" fmla="*/ 16 h 98"/>
              <a:gd name="T70" fmla="*/ 202 w 272"/>
              <a:gd name="T71" fmla="*/ 10 h 98"/>
              <a:gd name="T72" fmla="*/ 212 w 272"/>
              <a:gd name="T73" fmla="*/ 10 h 98"/>
              <a:gd name="T74" fmla="*/ 223 w 272"/>
              <a:gd name="T75" fmla="*/ 10 h 98"/>
              <a:gd name="T76" fmla="*/ 240 w 272"/>
              <a:gd name="T77" fmla="*/ 16 h 98"/>
              <a:gd name="T78" fmla="*/ 245 w 272"/>
              <a:gd name="T79" fmla="*/ 27 h 98"/>
              <a:gd name="T80" fmla="*/ 262 w 272"/>
              <a:gd name="T81" fmla="*/ 38 h 98"/>
              <a:gd name="T82" fmla="*/ 256 w 272"/>
              <a:gd name="T83" fmla="*/ 49 h 98"/>
              <a:gd name="T84" fmla="*/ 262 w 272"/>
              <a:gd name="T85" fmla="*/ 60 h 98"/>
              <a:gd name="T86" fmla="*/ 267 w 272"/>
              <a:gd name="T87" fmla="*/ 70 h 98"/>
              <a:gd name="T88" fmla="*/ 267 w 272"/>
              <a:gd name="T89" fmla="*/ 76 h 98"/>
              <a:gd name="T90" fmla="*/ 251 w 272"/>
              <a:gd name="T91" fmla="*/ 76 h 98"/>
              <a:gd name="T92" fmla="*/ 234 w 272"/>
              <a:gd name="T93" fmla="*/ 76 h 98"/>
              <a:gd name="T94" fmla="*/ 218 w 272"/>
              <a:gd name="T95" fmla="*/ 76 h 98"/>
              <a:gd name="T96" fmla="*/ 202 w 272"/>
              <a:gd name="T97" fmla="*/ 81 h 98"/>
              <a:gd name="T98" fmla="*/ 185 w 272"/>
              <a:gd name="T99" fmla="*/ 81 h 98"/>
              <a:gd name="T100" fmla="*/ 169 w 272"/>
              <a:gd name="T101" fmla="*/ 87 h 98"/>
              <a:gd name="T102" fmla="*/ 158 w 272"/>
              <a:gd name="T103" fmla="*/ 81 h 98"/>
              <a:gd name="T104" fmla="*/ 158 w 272"/>
              <a:gd name="T10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2" h="98">
                <a:moveTo>
                  <a:pt x="147" y="98"/>
                </a:moveTo>
                <a:lnTo>
                  <a:pt x="152" y="92"/>
                </a:lnTo>
                <a:lnTo>
                  <a:pt x="147" y="92"/>
                </a:lnTo>
                <a:lnTo>
                  <a:pt x="147" y="87"/>
                </a:lnTo>
                <a:lnTo>
                  <a:pt x="152" y="87"/>
                </a:lnTo>
                <a:lnTo>
                  <a:pt x="147" y="81"/>
                </a:lnTo>
                <a:lnTo>
                  <a:pt x="142" y="81"/>
                </a:lnTo>
                <a:lnTo>
                  <a:pt x="142" y="87"/>
                </a:lnTo>
                <a:lnTo>
                  <a:pt x="136" y="81"/>
                </a:lnTo>
                <a:lnTo>
                  <a:pt x="131" y="81"/>
                </a:lnTo>
                <a:lnTo>
                  <a:pt x="125" y="87"/>
                </a:lnTo>
                <a:lnTo>
                  <a:pt x="120" y="87"/>
                </a:lnTo>
                <a:lnTo>
                  <a:pt x="120" y="92"/>
                </a:lnTo>
                <a:lnTo>
                  <a:pt x="114" y="92"/>
                </a:lnTo>
                <a:lnTo>
                  <a:pt x="109" y="92"/>
                </a:lnTo>
                <a:lnTo>
                  <a:pt x="103" y="92"/>
                </a:lnTo>
                <a:lnTo>
                  <a:pt x="98" y="92"/>
                </a:lnTo>
                <a:lnTo>
                  <a:pt x="92" y="87"/>
                </a:lnTo>
                <a:lnTo>
                  <a:pt x="87" y="87"/>
                </a:lnTo>
                <a:lnTo>
                  <a:pt x="82" y="81"/>
                </a:lnTo>
                <a:lnTo>
                  <a:pt x="76" y="81"/>
                </a:lnTo>
                <a:lnTo>
                  <a:pt x="71" y="81"/>
                </a:lnTo>
                <a:lnTo>
                  <a:pt x="71" y="87"/>
                </a:lnTo>
                <a:lnTo>
                  <a:pt x="71" y="92"/>
                </a:lnTo>
                <a:lnTo>
                  <a:pt x="65" y="92"/>
                </a:lnTo>
                <a:lnTo>
                  <a:pt x="60" y="92"/>
                </a:lnTo>
                <a:lnTo>
                  <a:pt x="54" y="92"/>
                </a:lnTo>
                <a:lnTo>
                  <a:pt x="49" y="87"/>
                </a:lnTo>
                <a:lnTo>
                  <a:pt x="43" y="81"/>
                </a:lnTo>
                <a:lnTo>
                  <a:pt x="38" y="81"/>
                </a:lnTo>
                <a:lnTo>
                  <a:pt x="33" y="87"/>
                </a:lnTo>
                <a:lnTo>
                  <a:pt x="38" y="81"/>
                </a:lnTo>
                <a:lnTo>
                  <a:pt x="33" y="81"/>
                </a:lnTo>
                <a:lnTo>
                  <a:pt x="27" y="87"/>
                </a:lnTo>
                <a:lnTo>
                  <a:pt x="27" y="81"/>
                </a:lnTo>
                <a:lnTo>
                  <a:pt x="33" y="81"/>
                </a:lnTo>
                <a:lnTo>
                  <a:pt x="38" y="76"/>
                </a:lnTo>
                <a:lnTo>
                  <a:pt x="33" y="81"/>
                </a:lnTo>
                <a:lnTo>
                  <a:pt x="27" y="81"/>
                </a:lnTo>
                <a:lnTo>
                  <a:pt x="27" y="76"/>
                </a:lnTo>
                <a:lnTo>
                  <a:pt x="22" y="81"/>
                </a:lnTo>
                <a:lnTo>
                  <a:pt x="22" y="76"/>
                </a:lnTo>
                <a:lnTo>
                  <a:pt x="27" y="76"/>
                </a:lnTo>
                <a:lnTo>
                  <a:pt x="22" y="76"/>
                </a:lnTo>
                <a:lnTo>
                  <a:pt x="16" y="70"/>
                </a:lnTo>
                <a:lnTo>
                  <a:pt x="22" y="65"/>
                </a:lnTo>
                <a:lnTo>
                  <a:pt x="16" y="65"/>
                </a:lnTo>
                <a:lnTo>
                  <a:pt x="11" y="60"/>
                </a:lnTo>
                <a:lnTo>
                  <a:pt x="5" y="60"/>
                </a:lnTo>
                <a:lnTo>
                  <a:pt x="11" y="54"/>
                </a:lnTo>
                <a:lnTo>
                  <a:pt x="5" y="54"/>
                </a:lnTo>
                <a:lnTo>
                  <a:pt x="11" y="54"/>
                </a:lnTo>
                <a:lnTo>
                  <a:pt x="11" y="60"/>
                </a:lnTo>
                <a:lnTo>
                  <a:pt x="11" y="54"/>
                </a:lnTo>
                <a:lnTo>
                  <a:pt x="16" y="54"/>
                </a:lnTo>
                <a:lnTo>
                  <a:pt x="11" y="54"/>
                </a:lnTo>
                <a:lnTo>
                  <a:pt x="16" y="49"/>
                </a:lnTo>
                <a:lnTo>
                  <a:pt x="11" y="49"/>
                </a:lnTo>
                <a:lnTo>
                  <a:pt x="11" y="43"/>
                </a:lnTo>
                <a:lnTo>
                  <a:pt x="11" y="38"/>
                </a:lnTo>
                <a:lnTo>
                  <a:pt x="5" y="38"/>
                </a:lnTo>
                <a:lnTo>
                  <a:pt x="0" y="38"/>
                </a:lnTo>
                <a:lnTo>
                  <a:pt x="0" y="32"/>
                </a:lnTo>
                <a:lnTo>
                  <a:pt x="5" y="32"/>
                </a:lnTo>
                <a:lnTo>
                  <a:pt x="5" y="27"/>
                </a:lnTo>
                <a:lnTo>
                  <a:pt x="11" y="27"/>
                </a:lnTo>
                <a:lnTo>
                  <a:pt x="16" y="27"/>
                </a:lnTo>
                <a:lnTo>
                  <a:pt x="22" y="21"/>
                </a:lnTo>
                <a:lnTo>
                  <a:pt x="27" y="27"/>
                </a:lnTo>
                <a:lnTo>
                  <a:pt x="33" y="27"/>
                </a:lnTo>
                <a:lnTo>
                  <a:pt x="38" y="27"/>
                </a:lnTo>
                <a:lnTo>
                  <a:pt x="38" y="21"/>
                </a:lnTo>
                <a:lnTo>
                  <a:pt x="43" y="21"/>
                </a:lnTo>
                <a:lnTo>
                  <a:pt x="49" y="21"/>
                </a:lnTo>
                <a:lnTo>
                  <a:pt x="43" y="21"/>
                </a:lnTo>
                <a:lnTo>
                  <a:pt x="38" y="16"/>
                </a:lnTo>
                <a:lnTo>
                  <a:pt x="38" y="10"/>
                </a:lnTo>
                <a:lnTo>
                  <a:pt x="43" y="10"/>
                </a:lnTo>
                <a:lnTo>
                  <a:pt x="54" y="16"/>
                </a:lnTo>
                <a:lnTo>
                  <a:pt x="54" y="10"/>
                </a:lnTo>
                <a:lnTo>
                  <a:pt x="60" y="16"/>
                </a:lnTo>
                <a:lnTo>
                  <a:pt x="65" y="16"/>
                </a:lnTo>
                <a:lnTo>
                  <a:pt x="71" y="16"/>
                </a:lnTo>
                <a:lnTo>
                  <a:pt x="71" y="10"/>
                </a:lnTo>
                <a:lnTo>
                  <a:pt x="82" y="5"/>
                </a:lnTo>
                <a:lnTo>
                  <a:pt x="87" y="5"/>
                </a:lnTo>
                <a:lnTo>
                  <a:pt x="87" y="0"/>
                </a:lnTo>
                <a:lnTo>
                  <a:pt x="92" y="0"/>
                </a:lnTo>
                <a:lnTo>
                  <a:pt x="98" y="0"/>
                </a:lnTo>
                <a:lnTo>
                  <a:pt x="103" y="0"/>
                </a:lnTo>
                <a:lnTo>
                  <a:pt x="109" y="0"/>
                </a:lnTo>
                <a:lnTo>
                  <a:pt x="114" y="0"/>
                </a:lnTo>
                <a:lnTo>
                  <a:pt x="120" y="0"/>
                </a:lnTo>
                <a:lnTo>
                  <a:pt x="120" y="5"/>
                </a:lnTo>
                <a:lnTo>
                  <a:pt x="125" y="5"/>
                </a:lnTo>
                <a:lnTo>
                  <a:pt x="131" y="5"/>
                </a:lnTo>
                <a:lnTo>
                  <a:pt x="136" y="10"/>
                </a:lnTo>
                <a:lnTo>
                  <a:pt x="142" y="10"/>
                </a:lnTo>
                <a:lnTo>
                  <a:pt x="147" y="10"/>
                </a:lnTo>
                <a:lnTo>
                  <a:pt x="152" y="16"/>
                </a:lnTo>
                <a:lnTo>
                  <a:pt x="158" y="16"/>
                </a:lnTo>
                <a:lnTo>
                  <a:pt x="163" y="16"/>
                </a:lnTo>
                <a:lnTo>
                  <a:pt x="169" y="16"/>
                </a:lnTo>
                <a:lnTo>
                  <a:pt x="174" y="16"/>
                </a:lnTo>
                <a:lnTo>
                  <a:pt x="180" y="16"/>
                </a:lnTo>
                <a:lnTo>
                  <a:pt x="185" y="16"/>
                </a:lnTo>
                <a:lnTo>
                  <a:pt x="196" y="16"/>
                </a:lnTo>
                <a:lnTo>
                  <a:pt x="202" y="10"/>
                </a:lnTo>
                <a:lnTo>
                  <a:pt x="207" y="10"/>
                </a:lnTo>
                <a:lnTo>
                  <a:pt x="212" y="5"/>
                </a:lnTo>
                <a:lnTo>
                  <a:pt x="212" y="10"/>
                </a:lnTo>
                <a:lnTo>
                  <a:pt x="218" y="5"/>
                </a:lnTo>
                <a:lnTo>
                  <a:pt x="218" y="10"/>
                </a:lnTo>
                <a:lnTo>
                  <a:pt x="223" y="10"/>
                </a:lnTo>
                <a:lnTo>
                  <a:pt x="229" y="5"/>
                </a:lnTo>
                <a:lnTo>
                  <a:pt x="234" y="10"/>
                </a:lnTo>
                <a:lnTo>
                  <a:pt x="240" y="16"/>
                </a:lnTo>
                <a:lnTo>
                  <a:pt x="245" y="21"/>
                </a:lnTo>
                <a:lnTo>
                  <a:pt x="240" y="21"/>
                </a:lnTo>
                <a:lnTo>
                  <a:pt x="245" y="27"/>
                </a:lnTo>
                <a:lnTo>
                  <a:pt x="251" y="32"/>
                </a:lnTo>
                <a:lnTo>
                  <a:pt x="256" y="32"/>
                </a:lnTo>
                <a:lnTo>
                  <a:pt x="262" y="38"/>
                </a:lnTo>
                <a:lnTo>
                  <a:pt x="256" y="38"/>
                </a:lnTo>
                <a:lnTo>
                  <a:pt x="256" y="43"/>
                </a:lnTo>
                <a:lnTo>
                  <a:pt x="256" y="49"/>
                </a:lnTo>
                <a:lnTo>
                  <a:pt x="262" y="49"/>
                </a:lnTo>
                <a:lnTo>
                  <a:pt x="262" y="54"/>
                </a:lnTo>
                <a:lnTo>
                  <a:pt x="262" y="60"/>
                </a:lnTo>
                <a:lnTo>
                  <a:pt x="262" y="65"/>
                </a:lnTo>
                <a:lnTo>
                  <a:pt x="267" y="65"/>
                </a:lnTo>
                <a:lnTo>
                  <a:pt x="267" y="70"/>
                </a:lnTo>
                <a:lnTo>
                  <a:pt x="272" y="76"/>
                </a:lnTo>
                <a:lnTo>
                  <a:pt x="267" y="81"/>
                </a:lnTo>
                <a:lnTo>
                  <a:pt x="267" y="76"/>
                </a:lnTo>
                <a:lnTo>
                  <a:pt x="262" y="76"/>
                </a:lnTo>
                <a:lnTo>
                  <a:pt x="256" y="76"/>
                </a:lnTo>
                <a:lnTo>
                  <a:pt x="251" y="76"/>
                </a:lnTo>
                <a:lnTo>
                  <a:pt x="245" y="76"/>
                </a:lnTo>
                <a:lnTo>
                  <a:pt x="240" y="76"/>
                </a:lnTo>
                <a:lnTo>
                  <a:pt x="234" y="76"/>
                </a:lnTo>
                <a:lnTo>
                  <a:pt x="229" y="76"/>
                </a:lnTo>
                <a:lnTo>
                  <a:pt x="223" y="76"/>
                </a:lnTo>
                <a:lnTo>
                  <a:pt x="218" y="76"/>
                </a:lnTo>
                <a:lnTo>
                  <a:pt x="212" y="81"/>
                </a:lnTo>
                <a:lnTo>
                  <a:pt x="207" y="81"/>
                </a:lnTo>
                <a:lnTo>
                  <a:pt x="202" y="81"/>
                </a:lnTo>
                <a:lnTo>
                  <a:pt x="196" y="87"/>
                </a:lnTo>
                <a:lnTo>
                  <a:pt x="191" y="81"/>
                </a:lnTo>
                <a:lnTo>
                  <a:pt x="185" y="81"/>
                </a:lnTo>
                <a:lnTo>
                  <a:pt x="180" y="81"/>
                </a:lnTo>
                <a:lnTo>
                  <a:pt x="174" y="81"/>
                </a:lnTo>
                <a:lnTo>
                  <a:pt x="169" y="87"/>
                </a:lnTo>
                <a:lnTo>
                  <a:pt x="163" y="87"/>
                </a:lnTo>
                <a:lnTo>
                  <a:pt x="163" y="81"/>
                </a:lnTo>
                <a:lnTo>
                  <a:pt x="158" y="81"/>
                </a:lnTo>
                <a:lnTo>
                  <a:pt x="158" y="87"/>
                </a:lnTo>
                <a:lnTo>
                  <a:pt x="158" y="92"/>
                </a:lnTo>
                <a:lnTo>
                  <a:pt x="158" y="98"/>
                </a:lnTo>
                <a:lnTo>
                  <a:pt x="152" y="98"/>
                </a:lnTo>
                <a:lnTo>
                  <a:pt x="147" y="98"/>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4" name="Freeform 286">
            <a:extLst>
              <a:ext uri="{FF2B5EF4-FFF2-40B4-BE49-F238E27FC236}">
                <a16:creationId xmlns:a16="http://schemas.microsoft.com/office/drawing/2014/main" id="{0B4F9E44-51C1-303F-15EC-98A2282A54D8}"/>
              </a:ext>
            </a:extLst>
          </p:cNvPr>
          <p:cNvSpPr>
            <a:spLocks/>
          </p:cNvSpPr>
          <p:nvPr/>
        </p:nvSpPr>
        <p:spPr bwMode="auto">
          <a:xfrm>
            <a:off x="2913063" y="2006600"/>
            <a:ext cx="42863" cy="19050"/>
          </a:xfrm>
          <a:custGeom>
            <a:avLst/>
            <a:gdLst>
              <a:gd name="T0" fmla="*/ 0 w 38"/>
              <a:gd name="T1" fmla="*/ 16 h 16"/>
              <a:gd name="T2" fmla="*/ 5 w 38"/>
              <a:gd name="T3" fmla="*/ 11 h 16"/>
              <a:gd name="T4" fmla="*/ 11 w 38"/>
              <a:gd name="T5" fmla="*/ 11 h 16"/>
              <a:gd name="T6" fmla="*/ 5 w 38"/>
              <a:gd name="T7" fmla="*/ 11 h 16"/>
              <a:gd name="T8" fmla="*/ 5 w 38"/>
              <a:gd name="T9" fmla="*/ 5 h 16"/>
              <a:gd name="T10" fmla="*/ 11 w 38"/>
              <a:gd name="T11" fmla="*/ 5 h 16"/>
              <a:gd name="T12" fmla="*/ 16 w 38"/>
              <a:gd name="T13" fmla="*/ 0 h 16"/>
              <a:gd name="T14" fmla="*/ 22 w 38"/>
              <a:gd name="T15" fmla="*/ 0 h 16"/>
              <a:gd name="T16" fmla="*/ 22 w 38"/>
              <a:gd name="T17" fmla="*/ 5 h 16"/>
              <a:gd name="T18" fmla="*/ 27 w 38"/>
              <a:gd name="T19" fmla="*/ 5 h 16"/>
              <a:gd name="T20" fmla="*/ 38 w 38"/>
              <a:gd name="T21" fmla="*/ 5 h 16"/>
              <a:gd name="T22" fmla="*/ 38 w 38"/>
              <a:gd name="T23" fmla="*/ 11 h 16"/>
              <a:gd name="T24" fmla="*/ 38 w 38"/>
              <a:gd name="T25" fmla="*/ 16 h 16"/>
              <a:gd name="T26" fmla="*/ 27 w 38"/>
              <a:gd name="T27" fmla="*/ 16 h 16"/>
              <a:gd name="T28" fmla="*/ 22 w 38"/>
              <a:gd name="T29" fmla="*/ 16 h 16"/>
              <a:gd name="T30" fmla="*/ 0 w 38"/>
              <a:gd name="T3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16">
                <a:moveTo>
                  <a:pt x="0" y="16"/>
                </a:moveTo>
                <a:lnTo>
                  <a:pt x="5" y="11"/>
                </a:lnTo>
                <a:lnTo>
                  <a:pt x="11" y="11"/>
                </a:lnTo>
                <a:lnTo>
                  <a:pt x="5" y="11"/>
                </a:lnTo>
                <a:lnTo>
                  <a:pt x="5" y="5"/>
                </a:lnTo>
                <a:lnTo>
                  <a:pt x="11" y="5"/>
                </a:lnTo>
                <a:lnTo>
                  <a:pt x="16" y="0"/>
                </a:lnTo>
                <a:lnTo>
                  <a:pt x="22" y="0"/>
                </a:lnTo>
                <a:lnTo>
                  <a:pt x="22" y="5"/>
                </a:lnTo>
                <a:lnTo>
                  <a:pt x="27" y="5"/>
                </a:lnTo>
                <a:lnTo>
                  <a:pt x="38" y="5"/>
                </a:lnTo>
                <a:lnTo>
                  <a:pt x="38" y="11"/>
                </a:lnTo>
                <a:lnTo>
                  <a:pt x="38" y="16"/>
                </a:lnTo>
                <a:lnTo>
                  <a:pt x="27" y="16"/>
                </a:lnTo>
                <a:lnTo>
                  <a:pt x="22" y="16"/>
                </a:lnTo>
                <a:lnTo>
                  <a:pt x="0" y="16"/>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5" name="Freeform 720">
            <a:extLst>
              <a:ext uri="{FF2B5EF4-FFF2-40B4-BE49-F238E27FC236}">
                <a16:creationId xmlns:a16="http://schemas.microsoft.com/office/drawing/2014/main" id="{A3FC476F-F629-B6E6-FCC6-119F5E22E08E}"/>
              </a:ext>
            </a:extLst>
          </p:cNvPr>
          <p:cNvSpPr>
            <a:spLocks/>
          </p:cNvSpPr>
          <p:nvPr/>
        </p:nvSpPr>
        <p:spPr bwMode="auto">
          <a:xfrm>
            <a:off x="2979738" y="1573213"/>
            <a:ext cx="1997075" cy="704850"/>
          </a:xfrm>
          <a:custGeom>
            <a:avLst/>
            <a:gdLst>
              <a:gd name="T0" fmla="*/ 33 w 1777"/>
              <a:gd name="T1" fmla="*/ 202 h 578"/>
              <a:gd name="T2" fmla="*/ 38 w 1777"/>
              <a:gd name="T3" fmla="*/ 126 h 578"/>
              <a:gd name="T4" fmla="*/ 147 w 1777"/>
              <a:gd name="T5" fmla="*/ 169 h 578"/>
              <a:gd name="T6" fmla="*/ 54 w 1777"/>
              <a:gd name="T7" fmla="*/ 175 h 578"/>
              <a:gd name="T8" fmla="*/ 109 w 1777"/>
              <a:gd name="T9" fmla="*/ 202 h 578"/>
              <a:gd name="T10" fmla="*/ 185 w 1777"/>
              <a:gd name="T11" fmla="*/ 186 h 578"/>
              <a:gd name="T12" fmla="*/ 218 w 1777"/>
              <a:gd name="T13" fmla="*/ 175 h 578"/>
              <a:gd name="T14" fmla="*/ 294 w 1777"/>
              <a:gd name="T15" fmla="*/ 148 h 578"/>
              <a:gd name="T16" fmla="*/ 381 w 1777"/>
              <a:gd name="T17" fmla="*/ 131 h 578"/>
              <a:gd name="T18" fmla="*/ 398 w 1777"/>
              <a:gd name="T19" fmla="*/ 109 h 578"/>
              <a:gd name="T20" fmla="*/ 463 w 1777"/>
              <a:gd name="T21" fmla="*/ 126 h 578"/>
              <a:gd name="T22" fmla="*/ 485 w 1777"/>
              <a:gd name="T23" fmla="*/ 180 h 578"/>
              <a:gd name="T24" fmla="*/ 480 w 1777"/>
              <a:gd name="T25" fmla="*/ 131 h 578"/>
              <a:gd name="T26" fmla="*/ 518 w 1777"/>
              <a:gd name="T27" fmla="*/ 109 h 578"/>
              <a:gd name="T28" fmla="*/ 523 w 1777"/>
              <a:gd name="T29" fmla="*/ 82 h 578"/>
              <a:gd name="T30" fmla="*/ 583 w 1777"/>
              <a:gd name="T31" fmla="*/ 38 h 578"/>
              <a:gd name="T32" fmla="*/ 681 w 1777"/>
              <a:gd name="T33" fmla="*/ 6 h 578"/>
              <a:gd name="T34" fmla="*/ 818 w 1777"/>
              <a:gd name="T35" fmla="*/ 33 h 578"/>
              <a:gd name="T36" fmla="*/ 812 w 1777"/>
              <a:gd name="T37" fmla="*/ 66 h 578"/>
              <a:gd name="T38" fmla="*/ 943 w 1777"/>
              <a:gd name="T39" fmla="*/ 77 h 578"/>
              <a:gd name="T40" fmla="*/ 1030 w 1777"/>
              <a:gd name="T41" fmla="*/ 93 h 578"/>
              <a:gd name="T42" fmla="*/ 1145 w 1777"/>
              <a:gd name="T43" fmla="*/ 104 h 578"/>
              <a:gd name="T44" fmla="*/ 1243 w 1777"/>
              <a:gd name="T45" fmla="*/ 88 h 578"/>
              <a:gd name="T46" fmla="*/ 1396 w 1777"/>
              <a:gd name="T47" fmla="*/ 120 h 578"/>
              <a:gd name="T48" fmla="*/ 1516 w 1777"/>
              <a:gd name="T49" fmla="*/ 137 h 578"/>
              <a:gd name="T50" fmla="*/ 1636 w 1777"/>
              <a:gd name="T51" fmla="*/ 142 h 578"/>
              <a:gd name="T52" fmla="*/ 1739 w 1777"/>
              <a:gd name="T53" fmla="*/ 251 h 578"/>
              <a:gd name="T54" fmla="*/ 1674 w 1777"/>
              <a:gd name="T55" fmla="*/ 284 h 578"/>
              <a:gd name="T56" fmla="*/ 1685 w 1777"/>
              <a:gd name="T57" fmla="*/ 317 h 578"/>
              <a:gd name="T58" fmla="*/ 1728 w 1777"/>
              <a:gd name="T59" fmla="*/ 393 h 578"/>
              <a:gd name="T60" fmla="*/ 1641 w 1777"/>
              <a:gd name="T61" fmla="*/ 366 h 578"/>
              <a:gd name="T62" fmla="*/ 1619 w 1777"/>
              <a:gd name="T63" fmla="*/ 278 h 578"/>
              <a:gd name="T64" fmla="*/ 1581 w 1777"/>
              <a:gd name="T65" fmla="*/ 268 h 578"/>
              <a:gd name="T66" fmla="*/ 1548 w 1777"/>
              <a:gd name="T67" fmla="*/ 289 h 578"/>
              <a:gd name="T68" fmla="*/ 1466 w 1777"/>
              <a:gd name="T69" fmla="*/ 289 h 578"/>
              <a:gd name="T70" fmla="*/ 1396 w 1777"/>
              <a:gd name="T71" fmla="*/ 333 h 578"/>
              <a:gd name="T72" fmla="*/ 1439 w 1777"/>
              <a:gd name="T73" fmla="*/ 377 h 578"/>
              <a:gd name="T74" fmla="*/ 1510 w 1777"/>
              <a:gd name="T75" fmla="*/ 415 h 578"/>
              <a:gd name="T76" fmla="*/ 1521 w 1777"/>
              <a:gd name="T77" fmla="*/ 551 h 578"/>
              <a:gd name="T78" fmla="*/ 1472 w 1777"/>
              <a:gd name="T79" fmla="*/ 524 h 578"/>
              <a:gd name="T80" fmla="*/ 1450 w 1777"/>
              <a:gd name="T81" fmla="*/ 475 h 578"/>
              <a:gd name="T82" fmla="*/ 1352 w 1777"/>
              <a:gd name="T83" fmla="*/ 437 h 578"/>
              <a:gd name="T84" fmla="*/ 1232 w 1777"/>
              <a:gd name="T85" fmla="*/ 388 h 578"/>
              <a:gd name="T86" fmla="*/ 1210 w 1777"/>
              <a:gd name="T87" fmla="*/ 442 h 578"/>
              <a:gd name="T88" fmla="*/ 1085 w 1777"/>
              <a:gd name="T89" fmla="*/ 437 h 578"/>
              <a:gd name="T90" fmla="*/ 959 w 1777"/>
              <a:gd name="T91" fmla="*/ 409 h 578"/>
              <a:gd name="T92" fmla="*/ 883 w 1777"/>
              <a:gd name="T93" fmla="*/ 431 h 578"/>
              <a:gd name="T94" fmla="*/ 801 w 1777"/>
              <a:gd name="T95" fmla="*/ 437 h 578"/>
              <a:gd name="T96" fmla="*/ 660 w 1777"/>
              <a:gd name="T97" fmla="*/ 377 h 578"/>
              <a:gd name="T98" fmla="*/ 578 w 1777"/>
              <a:gd name="T99" fmla="*/ 355 h 578"/>
              <a:gd name="T100" fmla="*/ 463 w 1777"/>
              <a:gd name="T101" fmla="*/ 382 h 578"/>
              <a:gd name="T102" fmla="*/ 469 w 1777"/>
              <a:gd name="T103" fmla="*/ 426 h 578"/>
              <a:gd name="T104" fmla="*/ 365 w 1777"/>
              <a:gd name="T105" fmla="*/ 415 h 578"/>
              <a:gd name="T106" fmla="*/ 305 w 1777"/>
              <a:gd name="T107" fmla="*/ 448 h 578"/>
              <a:gd name="T108" fmla="*/ 343 w 1777"/>
              <a:gd name="T109" fmla="*/ 508 h 578"/>
              <a:gd name="T110" fmla="*/ 360 w 1777"/>
              <a:gd name="T111" fmla="*/ 578 h 578"/>
              <a:gd name="T112" fmla="*/ 251 w 1777"/>
              <a:gd name="T113" fmla="*/ 546 h 578"/>
              <a:gd name="T114" fmla="*/ 207 w 1777"/>
              <a:gd name="T115" fmla="*/ 497 h 578"/>
              <a:gd name="T116" fmla="*/ 191 w 1777"/>
              <a:gd name="T117" fmla="*/ 442 h 578"/>
              <a:gd name="T118" fmla="*/ 98 w 1777"/>
              <a:gd name="T119" fmla="*/ 404 h 578"/>
              <a:gd name="T120" fmla="*/ 60 w 1777"/>
              <a:gd name="T121" fmla="*/ 344 h 578"/>
              <a:gd name="T122" fmla="*/ 49 w 1777"/>
              <a:gd name="T123" fmla="*/ 278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77" h="578">
                <a:moveTo>
                  <a:pt x="22" y="273"/>
                </a:moveTo>
                <a:lnTo>
                  <a:pt x="33" y="268"/>
                </a:lnTo>
                <a:lnTo>
                  <a:pt x="33" y="262"/>
                </a:lnTo>
                <a:lnTo>
                  <a:pt x="38" y="262"/>
                </a:lnTo>
                <a:lnTo>
                  <a:pt x="38" y="257"/>
                </a:lnTo>
                <a:lnTo>
                  <a:pt x="43" y="257"/>
                </a:lnTo>
                <a:lnTo>
                  <a:pt x="43" y="251"/>
                </a:lnTo>
                <a:lnTo>
                  <a:pt x="49" y="251"/>
                </a:lnTo>
                <a:lnTo>
                  <a:pt x="49" y="246"/>
                </a:lnTo>
                <a:lnTo>
                  <a:pt x="54" y="240"/>
                </a:lnTo>
                <a:lnTo>
                  <a:pt x="60" y="240"/>
                </a:lnTo>
                <a:lnTo>
                  <a:pt x="60" y="235"/>
                </a:lnTo>
                <a:lnTo>
                  <a:pt x="54" y="229"/>
                </a:lnTo>
                <a:lnTo>
                  <a:pt x="49" y="229"/>
                </a:lnTo>
                <a:lnTo>
                  <a:pt x="43" y="229"/>
                </a:lnTo>
                <a:lnTo>
                  <a:pt x="38" y="224"/>
                </a:lnTo>
                <a:lnTo>
                  <a:pt x="43" y="218"/>
                </a:lnTo>
                <a:lnTo>
                  <a:pt x="43" y="213"/>
                </a:lnTo>
                <a:lnTo>
                  <a:pt x="33" y="213"/>
                </a:lnTo>
                <a:lnTo>
                  <a:pt x="38" y="208"/>
                </a:lnTo>
                <a:lnTo>
                  <a:pt x="33" y="208"/>
                </a:lnTo>
                <a:lnTo>
                  <a:pt x="27" y="202"/>
                </a:lnTo>
                <a:lnTo>
                  <a:pt x="33" y="202"/>
                </a:lnTo>
                <a:lnTo>
                  <a:pt x="27" y="197"/>
                </a:lnTo>
                <a:lnTo>
                  <a:pt x="27" y="191"/>
                </a:lnTo>
                <a:lnTo>
                  <a:pt x="33" y="191"/>
                </a:lnTo>
                <a:lnTo>
                  <a:pt x="27" y="186"/>
                </a:lnTo>
                <a:lnTo>
                  <a:pt x="22" y="180"/>
                </a:lnTo>
                <a:lnTo>
                  <a:pt x="16" y="175"/>
                </a:lnTo>
                <a:lnTo>
                  <a:pt x="16" y="169"/>
                </a:lnTo>
                <a:lnTo>
                  <a:pt x="16" y="164"/>
                </a:lnTo>
                <a:lnTo>
                  <a:pt x="22" y="164"/>
                </a:lnTo>
                <a:lnTo>
                  <a:pt x="22" y="158"/>
                </a:lnTo>
                <a:lnTo>
                  <a:pt x="16" y="158"/>
                </a:lnTo>
                <a:lnTo>
                  <a:pt x="11" y="153"/>
                </a:lnTo>
                <a:lnTo>
                  <a:pt x="5" y="153"/>
                </a:lnTo>
                <a:lnTo>
                  <a:pt x="0" y="148"/>
                </a:lnTo>
                <a:lnTo>
                  <a:pt x="5" y="142"/>
                </a:lnTo>
                <a:lnTo>
                  <a:pt x="0" y="142"/>
                </a:lnTo>
                <a:lnTo>
                  <a:pt x="5" y="137"/>
                </a:lnTo>
                <a:lnTo>
                  <a:pt x="11" y="137"/>
                </a:lnTo>
                <a:lnTo>
                  <a:pt x="16" y="131"/>
                </a:lnTo>
                <a:lnTo>
                  <a:pt x="22" y="131"/>
                </a:lnTo>
                <a:lnTo>
                  <a:pt x="22" y="126"/>
                </a:lnTo>
                <a:lnTo>
                  <a:pt x="33" y="131"/>
                </a:lnTo>
                <a:lnTo>
                  <a:pt x="38" y="126"/>
                </a:lnTo>
                <a:lnTo>
                  <a:pt x="43" y="126"/>
                </a:lnTo>
                <a:lnTo>
                  <a:pt x="49" y="126"/>
                </a:lnTo>
                <a:lnTo>
                  <a:pt x="43" y="131"/>
                </a:lnTo>
                <a:lnTo>
                  <a:pt x="38" y="131"/>
                </a:lnTo>
                <a:lnTo>
                  <a:pt x="43" y="131"/>
                </a:lnTo>
                <a:lnTo>
                  <a:pt x="54" y="131"/>
                </a:lnTo>
                <a:lnTo>
                  <a:pt x="54" y="137"/>
                </a:lnTo>
                <a:lnTo>
                  <a:pt x="60" y="131"/>
                </a:lnTo>
                <a:lnTo>
                  <a:pt x="65" y="137"/>
                </a:lnTo>
                <a:lnTo>
                  <a:pt x="71" y="137"/>
                </a:lnTo>
                <a:lnTo>
                  <a:pt x="76" y="137"/>
                </a:lnTo>
                <a:lnTo>
                  <a:pt x="87" y="137"/>
                </a:lnTo>
                <a:lnTo>
                  <a:pt x="87" y="142"/>
                </a:lnTo>
                <a:lnTo>
                  <a:pt x="98" y="142"/>
                </a:lnTo>
                <a:lnTo>
                  <a:pt x="103" y="142"/>
                </a:lnTo>
                <a:lnTo>
                  <a:pt x="109" y="148"/>
                </a:lnTo>
                <a:lnTo>
                  <a:pt x="114" y="148"/>
                </a:lnTo>
                <a:lnTo>
                  <a:pt x="120" y="153"/>
                </a:lnTo>
                <a:lnTo>
                  <a:pt x="125" y="153"/>
                </a:lnTo>
                <a:lnTo>
                  <a:pt x="136" y="158"/>
                </a:lnTo>
                <a:lnTo>
                  <a:pt x="142" y="158"/>
                </a:lnTo>
                <a:lnTo>
                  <a:pt x="142" y="164"/>
                </a:lnTo>
                <a:lnTo>
                  <a:pt x="147" y="169"/>
                </a:lnTo>
                <a:lnTo>
                  <a:pt x="152" y="169"/>
                </a:lnTo>
                <a:lnTo>
                  <a:pt x="147" y="175"/>
                </a:lnTo>
                <a:lnTo>
                  <a:pt x="147" y="180"/>
                </a:lnTo>
                <a:lnTo>
                  <a:pt x="142" y="180"/>
                </a:lnTo>
                <a:lnTo>
                  <a:pt x="147" y="180"/>
                </a:lnTo>
                <a:lnTo>
                  <a:pt x="136" y="180"/>
                </a:lnTo>
                <a:lnTo>
                  <a:pt x="131" y="186"/>
                </a:lnTo>
                <a:lnTo>
                  <a:pt x="125" y="186"/>
                </a:lnTo>
                <a:lnTo>
                  <a:pt x="114" y="186"/>
                </a:lnTo>
                <a:lnTo>
                  <a:pt x="109" y="180"/>
                </a:lnTo>
                <a:lnTo>
                  <a:pt x="103" y="180"/>
                </a:lnTo>
                <a:lnTo>
                  <a:pt x="98" y="180"/>
                </a:lnTo>
                <a:lnTo>
                  <a:pt x="93" y="180"/>
                </a:lnTo>
                <a:lnTo>
                  <a:pt x="87" y="180"/>
                </a:lnTo>
                <a:lnTo>
                  <a:pt x="82" y="175"/>
                </a:lnTo>
                <a:lnTo>
                  <a:pt x="76" y="180"/>
                </a:lnTo>
                <a:lnTo>
                  <a:pt x="76" y="175"/>
                </a:lnTo>
                <a:lnTo>
                  <a:pt x="65" y="175"/>
                </a:lnTo>
                <a:lnTo>
                  <a:pt x="60" y="175"/>
                </a:lnTo>
                <a:lnTo>
                  <a:pt x="60" y="169"/>
                </a:lnTo>
                <a:lnTo>
                  <a:pt x="49" y="169"/>
                </a:lnTo>
                <a:lnTo>
                  <a:pt x="54" y="169"/>
                </a:lnTo>
                <a:lnTo>
                  <a:pt x="54" y="175"/>
                </a:lnTo>
                <a:lnTo>
                  <a:pt x="60" y="175"/>
                </a:lnTo>
                <a:lnTo>
                  <a:pt x="54" y="175"/>
                </a:lnTo>
                <a:lnTo>
                  <a:pt x="65" y="175"/>
                </a:lnTo>
                <a:lnTo>
                  <a:pt x="60" y="175"/>
                </a:lnTo>
                <a:lnTo>
                  <a:pt x="65" y="180"/>
                </a:lnTo>
                <a:lnTo>
                  <a:pt x="76" y="186"/>
                </a:lnTo>
                <a:lnTo>
                  <a:pt x="82" y="186"/>
                </a:lnTo>
                <a:lnTo>
                  <a:pt x="82" y="191"/>
                </a:lnTo>
                <a:lnTo>
                  <a:pt x="82" y="197"/>
                </a:lnTo>
                <a:lnTo>
                  <a:pt x="87" y="202"/>
                </a:lnTo>
                <a:lnTo>
                  <a:pt x="87" y="208"/>
                </a:lnTo>
                <a:lnTo>
                  <a:pt x="98" y="213"/>
                </a:lnTo>
                <a:lnTo>
                  <a:pt x="109" y="218"/>
                </a:lnTo>
                <a:lnTo>
                  <a:pt x="114" y="218"/>
                </a:lnTo>
                <a:lnTo>
                  <a:pt x="120" y="218"/>
                </a:lnTo>
                <a:lnTo>
                  <a:pt x="120" y="224"/>
                </a:lnTo>
                <a:lnTo>
                  <a:pt x="131" y="218"/>
                </a:lnTo>
                <a:lnTo>
                  <a:pt x="125" y="213"/>
                </a:lnTo>
                <a:lnTo>
                  <a:pt x="120" y="213"/>
                </a:lnTo>
                <a:lnTo>
                  <a:pt x="114" y="213"/>
                </a:lnTo>
                <a:lnTo>
                  <a:pt x="109" y="208"/>
                </a:lnTo>
                <a:lnTo>
                  <a:pt x="103" y="202"/>
                </a:lnTo>
                <a:lnTo>
                  <a:pt x="109" y="202"/>
                </a:lnTo>
                <a:lnTo>
                  <a:pt x="120" y="202"/>
                </a:lnTo>
                <a:lnTo>
                  <a:pt x="125" y="208"/>
                </a:lnTo>
                <a:lnTo>
                  <a:pt x="131" y="208"/>
                </a:lnTo>
                <a:lnTo>
                  <a:pt x="136" y="208"/>
                </a:lnTo>
                <a:lnTo>
                  <a:pt x="142" y="208"/>
                </a:lnTo>
                <a:lnTo>
                  <a:pt x="147" y="208"/>
                </a:lnTo>
                <a:lnTo>
                  <a:pt x="152" y="208"/>
                </a:lnTo>
                <a:lnTo>
                  <a:pt x="152" y="202"/>
                </a:lnTo>
                <a:lnTo>
                  <a:pt x="147" y="202"/>
                </a:lnTo>
                <a:lnTo>
                  <a:pt x="142" y="197"/>
                </a:lnTo>
                <a:lnTo>
                  <a:pt x="142" y="191"/>
                </a:lnTo>
                <a:lnTo>
                  <a:pt x="147" y="191"/>
                </a:lnTo>
                <a:lnTo>
                  <a:pt x="147" y="186"/>
                </a:lnTo>
                <a:lnTo>
                  <a:pt x="152" y="186"/>
                </a:lnTo>
                <a:lnTo>
                  <a:pt x="158" y="186"/>
                </a:lnTo>
                <a:lnTo>
                  <a:pt x="158" y="180"/>
                </a:lnTo>
                <a:lnTo>
                  <a:pt x="163" y="180"/>
                </a:lnTo>
                <a:lnTo>
                  <a:pt x="169" y="180"/>
                </a:lnTo>
                <a:lnTo>
                  <a:pt x="174" y="180"/>
                </a:lnTo>
                <a:lnTo>
                  <a:pt x="174" y="186"/>
                </a:lnTo>
                <a:lnTo>
                  <a:pt x="180" y="186"/>
                </a:lnTo>
                <a:lnTo>
                  <a:pt x="185" y="191"/>
                </a:lnTo>
                <a:lnTo>
                  <a:pt x="185" y="186"/>
                </a:lnTo>
                <a:lnTo>
                  <a:pt x="185" y="180"/>
                </a:lnTo>
                <a:lnTo>
                  <a:pt x="185" y="175"/>
                </a:lnTo>
                <a:lnTo>
                  <a:pt x="180" y="169"/>
                </a:lnTo>
                <a:lnTo>
                  <a:pt x="174" y="169"/>
                </a:lnTo>
                <a:lnTo>
                  <a:pt x="174" y="164"/>
                </a:lnTo>
                <a:lnTo>
                  <a:pt x="174" y="158"/>
                </a:lnTo>
                <a:lnTo>
                  <a:pt x="174" y="153"/>
                </a:lnTo>
                <a:lnTo>
                  <a:pt x="174" y="148"/>
                </a:lnTo>
                <a:lnTo>
                  <a:pt x="163" y="142"/>
                </a:lnTo>
                <a:lnTo>
                  <a:pt x="169" y="148"/>
                </a:lnTo>
                <a:lnTo>
                  <a:pt x="174" y="148"/>
                </a:lnTo>
                <a:lnTo>
                  <a:pt x="185" y="148"/>
                </a:lnTo>
                <a:lnTo>
                  <a:pt x="191" y="148"/>
                </a:lnTo>
                <a:lnTo>
                  <a:pt x="196" y="148"/>
                </a:lnTo>
                <a:lnTo>
                  <a:pt x="202" y="153"/>
                </a:lnTo>
                <a:lnTo>
                  <a:pt x="202" y="158"/>
                </a:lnTo>
                <a:lnTo>
                  <a:pt x="191" y="158"/>
                </a:lnTo>
                <a:lnTo>
                  <a:pt x="185" y="164"/>
                </a:lnTo>
                <a:lnTo>
                  <a:pt x="196" y="169"/>
                </a:lnTo>
                <a:lnTo>
                  <a:pt x="202" y="175"/>
                </a:lnTo>
                <a:lnTo>
                  <a:pt x="207" y="175"/>
                </a:lnTo>
                <a:lnTo>
                  <a:pt x="218" y="169"/>
                </a:lnTo>
                <a:lnTo>
                  <a:pt x="218" y="175"/>
                </a:lnTo>
                <a:lnTo>
                  <a:pt x="218" y="169"/>
                </a:lnTo>
                <a:lnTo>
                  <a:pt x="218" y="164"/>
                </a:lnTo>
                <a:lnTo>
                  <a:pt x="229" y="158"/>
                </a:lnTo>
                <a:lnTo>
                  <a:pt x="223" y="158"/>
                </a:lnTo>
                <a:lnTo>
                  <a:pt x="229" y="158"/>
                </a:lnTo>
                <a:lnTo>
                  <a:pt x="234" y="153"/>
                </a:lnTo>
                <a:lnTo>
                  <a:pt x="240" y="153"/>
                </a:lnTo>
                <a:lnTo>
                  <a:pt x="245" y="148"/>
                </a:lnTo>
                <a:lnTo>
                  <a:pt x="256" y="148"/>
                </a:lnTo>
                <a:lnTo>
                  <a:pt x="262" y="148"/>
                </a:lnTo>
                <a:lnTo>
                  <a:pt x="272" y="142"/>
                </a:lnTo>
                <a:lnTo>
                  <a:pt x="278" y="142"/>
                </a:lnTo>
                <a:lnTo>
                  <a:pt x="283" y="142"/>
                </a:lnTo>
                <a:lnTo>
                  <a:pt x="272" y="142"/>
                </a:lnTo>
                <a:lnTo>
                  <a:pt x="278" y="142"/>
                </a:lnTo>
                <a:lnTo>
                  <a:pt x="278" y="148"/>
                </a:lnTo>
                <a:lnTo>
                  <a:pt x="272" y="153"/>
                </a:lnTo>
                <a:lnTo>
                  <a:pt x="283" y="153"/>
                </a:lnTo>
                <a:lnTo>
                  <a:pt x="283" y="148"/>
                </a:lnTo>
                <a:lnTo>
                  <a:pt x="283" y="153"/>
                </a:lnTo>
                <a:lnTo>
                  <a:pt x="289" y="153"/>
                </a:lnTo>
                <a:lnTo>
                  <a:pt x="289" y="148"/>
                </a:lnTo>
                <a:lnTo>
                  <a:pt x="294" y="148"/>
                </a:lnTo>
                <a:lnTo>
                  <a:pt x="300" y="142"/>
                </a:lnTo>
                <a:lnTo>
                  <a:pt x="305" y="148"/>
                </a:lnTo>
                <a:lnTo>
                  <a:pt x="311" y="148"/>
                </a:lnTo>
                <a:lnTo>
                  <a:pt x="316" y="148"/>
                </a:lnTo>
                <a:lnTo>
                  <a:pt x="311" y="142"/>
                </a:lnTo>
                <a:lnTo>
                  <a:pt x="322" y="142"/>
                </a:lnTo>
                <a:lnTo>
                  <a:pt x="327" y="142"/>
                </a:lnTo>
                <a:lnTo>
                  <a:pt x="332" y="137"/>
                </a:lnTo>
                <a:lnTo>
                  <a:pt x="338" y="142"/>
                </a:lnTo>
                <a:lnTo>
                  <a:pt x="338" y="148"/>
                </a:lnTo>
                <a:lnTo>
                  <a:pt x="343" y="148"/>
                </a:lnTo>
                <a:lnTo>
                  <a:pt x="343" y="142"/>
                </a:lnTo>
                <a:lnTo>
                  <a:pt x="349" y="142"/>
                </a:lnTo>
                <a:lnTo>
                  <a:pt x="354" y="142"/>
                </a:lnTo>
                <a:lnTo>
                  <a:pt x="349" y="137"/>
                </a:lnTo>
                <a:lnTo>
                  <a:pt x="343" y="137"/>
                </a:lnTo>
                <a:lnTo>
                  <a:pt x="338" y="131"/>
                </a:lnTo>
                <a:lnTo>
                  <a:pt x="343" y="131"/>
                </a:lnTo>
                <a:lnTo>
                  <a:pt x="343" y="126"/>
                </a:lnTo>
                <a:lnTo>
                  <a:pt x="349" y="126"/>
                </a:lnTo>
                <a:lnTo>
                  <a:pt x="360" y="126"/>
                </a:lnTo>
                <a:lnTo>
                  <a:pt x="365" y="126"/>
                </a:lnTo>
                <a:lnTo>
                  <a:pt x="381" y="131"/>
                </a:lnTo>
                <a:lnTo>
                  <a:pt x="392" y="137"/>
                </a:lnTo>
                <a:lnTo>
                  <a:pt x="398" y="137"/>
                </a:lnTo>
                <a:lnTo>
                  <a:pt x="409" y="137"/>
                </a:lnTo>
                <a:lnTo>
                  <a:pt x="414" y="142"/>
                </a:lnTo>
                <a:lnTo>
                  <a:pt x="420" y="142"/>
                </a:lnTo>
                <a:lnTo>
                  <a:pt x="431" y="148"/>
                </a:lnTo>
                <a:lnTo>
                  <a:pt x="436" y="148"/>
                </a:lnTo>
                <a:lnTo>
                  <a:pt x="436" y="153"/>
                </a:lnTo>
                <a:lnTo>
                  <a:pt x="441" y="153"/>
                </a:lnTo>
                <a:lnTo>
                  <a:pt x="441" y="148"/>
                </a:lnTo>
                <a:lnTo>
                  <a:pt x="441" y="142"/>
                </a:lnTo>
                <a:lnTo>
                  <a:pt x="431" y="137"/>
                </a:lnTo>
                <a:lnTo>
                  <a:pt x="425" y="137"/>
                </a:lnTo>
                <a:lnTo>
                  <a:pt x="425" y="131"/>
                </a:lnTo>
                <a:lnTo>
                  <a:pt x="414" y="131"/>
                </a:lnTo>
                <a:lnTo>
                  <a:pt x="409" y="126"/>
                </a:lnTo>
                <a:lnTo>
                  <a:pt x="409" y="131"/>
                </a:lnTo>
                <a:lnTo>
                  <a:pt x="409" y="126"/>
                </a:lnTo>
                <a:lnTo>
                  <a:pt x="414" y="120"/>
                </a:lnTo>
                <a:lnTo>
                  <a:pt x="409" y="120"/>
                </a:lnTo>
                <a:lnTo>
                  <a:pt x="409" y="115"/>
                </a:lnTo>
                <a:lnTo>
                  <a:pt x="403" y="109"/>
                </a:lnTo>
                <a:lnTo>
                  <a:pt x="398" y="109"/>
                </a:lnTo>
                <a:lnTo>
                  <a:pt x="398" y="104"/>
                </a:lnTo>
                <a:lnTo>
                  <a:pt x="403" y="98"/>
                </a:lnTo>
                <a:lnTo>
                  <a:pt x="409" y="98"/>
                </a:lnTo>
                <a:lnTo>
                  <a:pt x="409" y="93"/>
                </a:lnTo>
                <a:lnTo>
                  <a:pt x="403" y="88"/>
                </a:lnTo>
                <a:lnTo>
                  <a:pt x="403" y="82"/>
                </a:lnTo>
                <a:lnTo>
                  <a:pt x="409" y="77"/>
                </a:lnTo>
                <a:lnTo>
                  <a:pt x="414" y="77"/>
                </a:lnTo>
                <a:lnTo>
                  <a:pt x="420" y="77"/>
                </a:lnTo>
                <a:lnTo>
                  <a:pt x="431" y="77"/>
                </a:lnTo>
                <a:lnTo>
                  <a:pt x="436" y="77"/>
                </a:lnTo>
                <a:lnTo>
                  <a:pt x="441" y="82"/>
                </a:lnTo>
                <a:lnTo>
                  <a:pt x="447" y="82"/>
                </a:lnTo>
                <a:lnTo>
                  <a:pt x="441" y="82"/>
                </a:lnTo>
                <a:lnTo>
                  <a:pt x="447" y="88"/>
                </a:lnTo>
                <a:lnTo>
                  <a:pt x="447" y="93"/>
                </a:lnTo>
                <a:lnTo>
                  <a:pt x="447" y="98"/>
                </a:lnTo>
                <a:lnTo>
                  <a:pt x="447" y="104"/>
                </a:lnTo>
                <a:lnTo>
                  <a:pt x="458" y="104"/>
                </a:lnTo>
                <a:lnTo>
                  <a:pt x="463" y="109"/>
                </a:lnTo>
                <a:lnTo>
                  <a:pt x="463" y="115"/>
                </a:lnTo>
                <a:lnTo>
                  <a:pt x="463" y="120"/>
                </a:lnTo>
                <a:lnTo>
                  <a:pt x="463" y="126"/>
                </a:lnTo>
                <a:lnTo>
                  <a:pt x="469" y="126"/>
                </a:lnTo>
                <a:lnTo>
                  <a:pt x="469" y="131"/>
                </a:lnTo>
                <a:lnTo>
                  <a:pt x="474" y="131"/>
                </a:lnTo>
                <a:lnTo>
                  <a:pt x="469" y="131"/>
                </a:lnTo>
                <a:lnTo>
                  <a:pt x="474" y="137"/>
                </a:lnTo>
                <a:lnTo>
                  <a:pt x="480" y="142"/>
                </a:lnTo>
                <a:lnTo>
                  <a:pt x="491" y="148"/>
                </a:lnTo>
                <a:lnTo>
                  <a:pt x="491" y="153"/>
                </a:lnTo>
                <a:lnTo>
                  <a:pt x="496" y="158"/>
                </a:lnTo>
                <a:lnTo>
                  <a:pt x="491" y="164"/>
                </a:lnTo>
                <a:lnTo>
                  <a:pt x="485" y="164"/>
                </a:lnTo>
                <a:lnTo>
                  <a:pt x="491" y="169"/>
                </a:lnTo>
                <a:lnTo>
                  <a:pt x="485" y="175"/>
                </a:lnTo>
                <a:lnTo>
                  <a:pt x="480" y="169"/>
                </a:lnTo>
                <a:lnTo>
                  <a:pt x="485" y="175"/>
                </a:lnTo>
                <a:lnTo>
                  <a:pt x="480" y="175"/>
                </a:lnTo>
                <a:lnTo>
                  <a:pt x="474" y="175"/>
                </a:lnTo>
                <a:lnTo>
                  <a:pt x="469" y="175"/>
                </a:lnTo>
                <a:lnTo>
                  <a:pt x="458" y="175"/>
                </a:lnTo>
                <a:lnTo>
                  <a:pt x="463" y="180"/>
                </a:lnTo>
                <a:lnTo>
                  <a:pt x="469" y="180"/>
                </a:lnTo>
                <a:lnTo>
                  <a:pt x="474" y="180"/>
                </a:lnTo>
                <a:lnTo>
                  <a:pt x="485" y="180"/>
                </a:lnTo>
                <a:lnTo>
                  <a:pt x="491" y="180"/>
                </a:lnTo>
                <a:lnTo>
                  <a:pt x="496" y="186"/>
                </a:lnTo>
                <a:lnTo>
                  <a:pt x="496" y="180"/>
                </a:lnTo>
                <a:lnTo>
                  <a:pt x="496" y="175"/>
                </a:lnTo>
                <a:lnTo>
                  <a:pt x="501" y="175"/>
                </a:lnTo>
                <a:lnTo>
                  <a:pt x="507" y="175"/>
                </a:lnTo>
                <a:lnTo>
                  <a:pt x="507" y="169"/>
                </a:lnTo>
                <a:lnTo>
                  <a:pt x="507" y="164"/>
                </a:lnTo>
                <a:lnTo>
                  <a:pt x="512" y="158"/>
                </a:lnTo>
                <a:lnTo>
                  <a:pt x="507" y="153"/>
                </a:lnTo>
                <a:lnTo>
                  <a:pt x="501" y="148"/>
                </a:lnTo>
                <a:lnTo>
                  <a:pt x="501" y="142"/>
                </a:lnTo>
                <a:lnTo>
                  <a:pt x="507" y="142"/>
                </a:lnTo>
                <a:lnTo>
                  <a:pt x="512" y="137"/>
                </a:lnTo>
                <a:lnTo>
                  <a:pt x="518" y="137"/>
                </a:lnTo>
                <a:lnTo>
                  <a:pt x="523" y="137"/>
                </a:lnTo>
                <a:lnTo>
                  <a:pt x="512" y="137"/>
                </a:lnTo>
                <a:lnTo>
                  <a:pt x="501" y="137"/>
                </a:lnTo>
                <a:lnTo>
                  <a:pt x="496" y="137"/>
                </a:lnTo>
                <a:lnTo>
                  <a:pt x="491" y="137"/>
                </a:lnTo>
                <a:lnTo>
                  <a:pt x="485" y="137"/>
                </a:lnTo>
                <a:lnTo>
                  <a:pt x="485" y="131"/>
                </a:lnTo>
                <a:lnTo>
                  <a:pt x="480" y="131"/>
                </a:lnTo>
                <a:lnTo>
                  <a:pt x="480" y="126"/>
                </a:lnTo>
                <a:lnTo>
                  <a:pt x="480" y="120"/>
                </a:lnTo>
                <a:lnTo>
                  <a:pt x="480" y="115"/>
                </a:lnTo>
                <a:lnTo>
                  <a:pt x="474" y="109"/>
                </a:lnTo>
                <a:lnTo>
                  <a:pt x="469" y="104"/>
                </a:lnTo>
                <a:lnTo>
                  <a:pt x="458" y="98"/>
                </a:lnTo>
                <a:lnTo>
                  <a:pt x="458" y="93"/>
                </a:lnTo>
                <a:lnTo>
                  <a:pt x="463" y="93"/>
                </a:lnTo>
                <a:lnTo>
                  <a:pt x="469" y="93"/>
                </a:lnTo>
                <a:lnTo>
                  <a:pt x="469" y="88"/>
                </a:lnTo>
                <a:lnTo>
                  <a:pt x="469" y="82"/>
                </a:lnTo>
                <a:lnTo>
                  <a:pt x="463" y="77"/>
                </a:lnTo>
                <a:lnTo>
                  <a:pt x="469" y="82"/>
                </a:lnTo>
                <a:lnTo>
                  <a:pt x="474" y="82"/>
                </a:lnTo>
                <a:lnTo>
                  <a:pt x="480" y="88"/>
                </a:lnTo>
                <a:lnTo>
                  <a:pt x="474" y="88"/>
                </a:lnTo>
                <a:lnTo>
                  <a:pt x="474" y="93"/>
                </a:lnTo>
                <a:lnTo>
                  <a:pt x="485" y="98"/>
                </a:lnTo>
                <a:lnTo>
                  <a:pt x="485" y="104"/>
                </a:lnTo>
                <a:lnTo>
                  <a:pt x="491" y="104"/>
                </a:lnTo>
                <a:lnTo>
                  <a:pt x="507" y="104"/>
                </a:lnTo>
                <a:lnTo>
                  <a:pt x="512" y="104"/>
                </a:lnTo>
                <a:lnTo>
                  <a:pt x="518" y="109"/>
                </a:lnTo>
                <a:lnTo>
                  <a:pt x="512" y="104"/>
                </a:lnTo>
                <a:lnTo>
                  <a:pt x="501" y="104"/>
                </a:lnTo>
                <a:lnTo>
                  <a:pt x="496" y="98"/>
                </a:lnTo>
                <a:lnTo>
                  <a:pt x="491" y="98"/>
                </a:lnTo>
                <a:lnTo>
                  <a:pt x="485" y="93"/>
                </a:lnTo>
                <a:lnTo>
                  <a:pt x="491" y="93"/>
                </a:lnTo>
                <a:lnTo>
                  <a:pt x="501" y="93"/>
                </a:lnTo>
                <a:lnTo>
                  <a:pt x="507" y="93"/>
                </a:lnTo>
                <a:lnTo>
                  <a:pt x="496" y="88"/>
                </a:lnTo>
                <a:lnTo>
                  <a:pt x="501" y="88"/>
                </a:lnTo>
                <a:lnTo>
                  <a:pt x="507" y="88"/>
                </a:lnTo>
                <a:lnTo>
                  <a:pt x="518" y="88"/>
                </a:lnTo>
                <a:lnTo>
                  <a:pt x="523" y="88"/>
                </a:lnTo>
                <a:lnTo>
                  <a:pt x="529" y="88"/>
                </a:lnTo>
                <a:lnTo>
                  <a:pt x="540" y="93"/>
                </a:lnTo>
                <a:lnTo>
                  <a:pt x="545" y="98"/>
                </a:lnTo>
                <a:lnTo>
                  <a:pt x="556" y="93"/>
                </a:lnTo>
                <a:lnTo>
                  <a:pt x="561" y="98"/>
                </a:lnTo>
                <a:lnTo>
                  <a:pt x="556" y="93"/>
                </a:lnTo>
                <a:lnTo>
                  <a:pt x="545" y="88"/>
                </a:lnTo>
                <a:lnTo>
                  <a:pt x="534" y="88"/>
                </a:lnTo>
                <a:lnTo>
                  <a:pt x="529" y="82"/>
                </a:lnTo>
                <a:lnTo>
                  <a:pt x="523" y="82"/>
                </a:lnTo>
                <a:lnTo>
                  <a:pt x="523" y="77"/>
                </a:lnTo>
                <a:lnTo>
                  <a:pt x="518" y="71"/>
                </a:lnTo>
                <a:lnTo>
                  <a:pt x="512" y="66"/>
                </a:lnTo>
                <a:lnTo>
                  <a:pt x="518" y="66"/>
                </a:lnTo>
                <a:lnTo>
                  <a:pt x="523" y="66"/>
                </a:lnTo>
                <a:lnTo>
                  <a:pt x="534" y="66"/>
                </a:lnTo>
                <a:lnTo>
                  <a:pt x="545" y="66"/>
                </a:lnTo>
                <a:lnTo>
                  <a:pt x="556" y="66"/>
                </a:lnTo>
                <a:lnTo>
                  <a:pt x="561" y="66"/>
                </a:lnTo>
                <a:lnTo>
                  <a:pt x="567" y="60"/>
                </a:lnTo>
                <a:lnTo>
                  <a:pt x="578" y="60"/>
                </a:lnTo>
                <a:lnTo>
                  <a:pt x="572" y="55"/>
                </a:lnTo>
                <a:lnTo>
                  <a:pt x="561" y="55"/>
                </a:lnTo>
                <a:lnTo>
                  <a:pt x="567" y="49"/>
                </a:lnTo>
                <a:lnTo>
                  <a:pt x="556" y="44"/>
                </a:lnTo>
                <a:lnTo>
                  <a:pt x="561" y="49"/>
                </a:lnTo>
                <a:lnTo>
                  <a:pt x="567" y="49"/>
                </a:lnTo>
                <a:lnTo>
                  <a:pt x="567" y="44"/>
                </a:lnTo>
                <a:lnTo>
                  <a:pt x="561" y="44"/>
                </a:lnTo>
                <a:lnTo>
                  <a:pt x="572" y="44"/>
                </a:lnTo>
                <a:lnTo>
                  <a:pt x="578" y="38"/>
                </a:lnTo>
                <a:lnTo>
                  <a:pt x="578" y="33"/>
                </a:lnTo>
                <a:lnTo>
                  <a:pt x="583" y="38"/>
                </a:lnTo>
                <a:lnTo>
                  <a:pt x="589" y="33"/>
                </a:lnTo>
                <a:lnTo>
                  <a:pt x="594" y="33"/>
                </a:lnTo>
                <a:lnTo>
                  <a:pt x="600" y="33"/>
                </a:lnTo>
                <a:lnTo>
                  <a:pt x="605" y="33"/>
                </a:lnTo>
                <a:lnTo>
                  <a:pt x="616" y="28"/>
                </a:lnTo>
                <a:lnTo>
                  <a:pt x="610" y="28"/>
                </a:lnTo>
                <a:lnTo>
                  <a:pt x="616" y="28"/>
                </a:lnTo>
                <a:lnTo>
                  <a:pt x="621" y="28"/>
                </a:lnTo>
                <a:lnTo>
                  <a:pt x="632" y="28"/>
                </a:lnTo>
                <a:lnTo>
                  <a:pt x="643" y="28"/>
                </a:lnTo>
                <a:lnTo>
                  <a:pt x="638" y="33"/>
                </a:lnTo>
                <a:lnTo>
                  <a:pt x="643" y="28"/>
                </a:lnTo>
                <a:lnTo>
                  <a:pt x="654" y="28"/>
                </a:lnTo>
                <a:lnTo>
                  <a:pt x="660" y="28"/>
                </a:lnTo>
                <a:lnTo>
                  <a:pt x="665" y="22"/>
                </a:lnTo>
                <a:lnTo>
                  <a:pt x="670" y="28"/>
                </a:lnTo>
                <a:lnTo>
                  <a:pt x="660" y="22"/>
                </a:lnTo>
                <a:lnTo>
                  <a:pt x="665" y="22"/>
                </a:lnTo>
                <a:lnTo>
                  <a:pt x="676" y="22"/>
                </a:lnTo>
                <a:lnTo>
                  <a:pt x="681" y="17"/>
                </a:lnTo>
                <a:lnTo>
                  <a:pt x="676" y="17"/>
                </a:lnTo>
                <a:lnTo>
                  <a:pt x="676" y="11"/>
                </a:lnTo>
                <a:lnTo>
                  <a:pt x="681" y="6"/>
                </a:lnTo>
                <a:lnTo>
                  <a:pt x="687" y="0"/>
                </a:lnTo>
                <a:lnTo>
                  <a:pt x="698" y="0"/>
                </a:lnTo>
                <a:lnTo>
                  <a:pt x="709" y="6"/>
                </a:lnTo>
                <a:lnTo>
                  <a:pt x="714" y="6"/>
                </a:lnTo>
                <a:lnTo>
                  <a:pt x="720" y="6"/>
                </a:lnTo>
                <a:lnTo>
                  <a:pt x="714" y="11"/>
                </a:lnTo>
                <a:lnTo>
                  <a:pt x="709" y="11"/>
                </a:lnTo>
                <a:lnTo>
                  <a:pt x="720" y="11"/>
                </a:lnTo>
                <a:lnTo>
                  <a:pt x="730" y="11"/>
                </a:lnTo>
                <a:lnTo>
                  <a:pt x="741" y="11"/>
                </a:lnTo>
                <a:lnTo>
                  <a:pt x="736" y="17"/>
                </a:lnTo>
                <a:lnTo>
                  <a:pt x="736" y="22"/>
                </a:lnTo>
                <a:lnTo>
                  <a:pt x="747" y="22"/>
                </a:lnTo>
                <a:lnTo>
                  <a:pt x="747" y="17"/>
                </a:lnTo>
                <a:lnTo>
                  <a:pt x="763" y="17"/>
                </a:lnTo>
                <a:lnTo>
                  <a:pt x="769" y="17"/>
                </a:lnTo>
                <a:lnTo>
                  <a:pt x="780" y="17"/>
                </a:lnTo>
                <a:lnTo>
                  <a:pt x="790" y="22"/>
                </a:lnTo>
                <a:lnTo>
                  <a:pt x="801" y="22"/>
                </a:lnTo>
                <a:lnTo>
                  <a:pt x="807" y="28"/>
                </a:lnTo>
                <a:lnTo>
                  <a:pt x="807" y="22"/>
                </a:lnTo>
                <a:lnTo>
                  <a:pt x="818" y="28"/>
                </a:lnTo>
                <a:lnTo>
                  <a:pt x="818" y="33"/>
                </a:lnTo>
                <a:lnTo>
                  <a:pt x="823" y="38"/>
                </a:lnTo>
                <a:lnTo>
                  <a:pt x="823" y="44"/>
                </a:lnTo>
                <a:lnTo>
                  <a:pt x="818" y="44"/>
                </a:lnTo>
                <a:lnTo>
                  <a:pt x="818" y="49"/>
                </a:lnTo>
                <a:lnTo>
                  <a:pt x="812" y="49"/>
                </a:lnTo>
                <a:lnTo>
                  <a:pt x="807" y="49"/>
                </a:lnTo>
                <a:lnTo>
                  <a:pt x="801" y="55"/>
                </a:lnTo>
                <a:lnTo>
                  <a:pt x="796" y="60"/>
                </a:lnTo>
                <a:lnTo>
                  <a:pt x="796" y="66"/>
                </a:lnTo>
                <a:lnTo>
                  <a:pt x="785" y="66"/>
                </a:lnTo>
                <a:lnTo>
                  <a:pt x="785" y="71"/>
                </a:lnTo>
                <a:lnTo>
                  <a:pt x="780" y="71"/>
                </a:lnTo>
                <a:lnTo>
                  <a:pt x="780" y="77"/>
                </a:lnTo>
                <a:lnTo>
                  <a:pt x="780" y="82"/>
                </a:lnTo>
                <a:lnTo>
                  <a:pt x="785" y="77"/>
                </a:lnTo>
                <a:lnTo>
                  <a:pt x="780" y="71"/>
                </a:lnTo>
                <a:lnTo>
                  <a:pt x="785" y="71"/>
                </a:lnTo>
                <a:lnTo>
                  <a:pt x="796" y="71"/>
                </a:lnTo>
                <a:lnTo>
                  <a:pt x="801" y="71"/>
                </a:lnTo>
                <a:lnTo>
                  <a:pt x="807" y="71"/>
                </a:lnTo>
                <a:lnTo>
                  <a:pt x="807" y="66"/>
                </a:lnTo>
                <a:lnTo>
                  <a:pt x="812" y="71"/>
                </a:lnTo>
                <a:lnTo>
                  <a:pt x="812" y="66"/>
                </a:lnTo>
                <a:lnTo>
                  <a:pt x="823" y="66"/>
                </a:lnTo>
                <a:lnTo>
                  <a:pt x="818" y="66"/>
                </a:lnTo>
                <a:lnTo>
                  <a:pt x="807" y="66"/>
                </a:lnTo>
                <a:lnTo>
                  <a:pt x="812" y="60"/>
                </a:lnTo>
                <a:lnTo>
                  <a:pt x="823" y="60"/>
                </a:lnTo>
                <a:lnTo>
                  <a:pt x="834" y="66"/>
                </a:lnTo>
                <a:lnTo>
                  <a:pt x="834" y="60"/>
                </a:lnTo>
                <a:lnTo>
                  <a:pt x="839" y="60"/>
                </a:lnTo>
                <a:lnTo>
                  <a:pt x="850" y="66"/>
                </a:lnTo>
                <a:lnTo>
                  <a:pt x="856" y="71"/>
                </a:lnTo>
                <a:lnTo>
                  <a:pt x="850" y="66"/>
                </a:lnTo>
                <a:lnTo>
                  <a:pt x="856" y="66"/>
                </a:lnTo>
                <a:lnTo>
                  <a:pt x="861" y="66"/>
                </a:lnTo>
                <a:lnTo>
                  <a:pt x="867" y="66"/>
                </a:lnTo>
                <a:lnTo>
                  <a:pt x="878" y="66"/>
                </a:lnTo>
                <a:lnTo>
                  <a:pt x="889" y="66"/>
                </a:lnTo>
                <a:lnTo>
                  <a:pt x="905" y="66"/>
                </a:lnTo>
                <a:lnTo>
                  <a:pt x="905" y="71"/>
                </a:lnTo>
                <a:lnTo>
                  <a:pt x="916" y="77"/>
                </a:lnTo>
                <a:lnTo>
                  <a:pt x="921" y="77"/>
                </a:lnTo>
                <a:lnTo>
                  <a:pt x="927" y="77"/>
                </a:lnTo>
                <a:lnTo>
                  <a:pt x="938" y="77"/>
                </a:lnTo>
                <a:lnTo>
                  <a:pt x="943" y="77"/>
                </a:lnTo>
                <a:lnTo>
                  <a:pt x="954" y="77"/>
                </a:lnTo>
                <a:lnTo>
                  <a:pt x="949" y="77"/>
                </a:lnTo>
                <a:lnTo>
                  <a:pt x="959" y="77"/>
                </a:lnTo>
                <a:lnTo>
                  <a:pt x="959" y="71"/>
                </a:lnTo>
                <a:lnTo>
                  <a:pt x="954" y="71"/>
                </a:lnTo>
                <a:lnTo>
                  <a:pt x="949" y="66"/>
                </a:lnTo>
                <a:lnTo>
                  <a:pt x="954" y="60"/>
                </a:lnTo>
                <a:lnTo>
                  <a:pt x="965" y="66"/>
                </a:lnTo>
                <a:lnTo>
                  <a:pt x="970" y="66"/>
                </a:lnTo>
                <a:lnTo>
                  <a:pt x="981" y="66"/>
                </a:lnTo>
                <a:lnTo>
                  <a:pt x="987" y="71"/>
                </a:lnTo>
                <a:lnTo>
                  <a:pt x="987" y="66"/>
                </a:lnTo>
                <a:lnTo>
                  <a:pt x="992" y="71"/>
                </a:lnTo>
                <a:lnTo>
                  <a:pt x="998" y="66"/>
                </a:lnTo>
                <a:lnTo>
                  <a:pt x="1003" y="71"/>
                </a:lnTo>
                <a:lnTo>
                  <a:pt x="1008" y="71"/>
                </a:lnTo>
                <a:lnTo>
                  <a:pt x="1014" y="71"/>
                </a:lnTo>
                <a:lnTo>
                  <a:pt x="1025" y="77"/>
                </a:lnTo>
                <a:lnTo>
                  <a:pt x="1030" y="82"/>
                </a:lnTo>
                <a:lnTo>
                  <a:pt x="1025" y="82"/>
                </a:lnTo>
                <a:lnTo>
                  <a:pt x="1030" y="82"/>
                </a:lnTo>
                <a:lnTo>
                  <a:pt x="1036" y="88"/>
                </a:lnTo>
                <a:lnTo>
                  <a:pt x="1030" y="93"/>
                </a:lnTo>
                <a:lnTo>
                  <a:pt x="1036" y="93"/>
                </a:lnTo>
                <a:lnTo>
                  <a:pt x="1030" y="93"/>
                </a:lnTo>
                <a:lnTo>
                  <a:pt x="1036" y="98"/>
                </a:lnTo>
                <a:lnTo>
                  <a:pt x="1036" y="93"/>
                </a:lnTo>
                <a:lnTo>
                  <a:pt x="1047" y="98"/>
                </a:lnTo>
                <a:lnTo>
                  <a:pt x="1041" y="98"/>
                </a:lnTo>
                <a:lnTo>
                  <a:pt x="1052" y="104"/>
                </a:lnTo>
                <a:lnTo>
                  <a:pt x="1063" y="104"/>
                </a:lnTo>
                <a:lnTo>
                  <a:pt x="1063" y="109"/>
                </a:lnTo>
                <a:lnTo>
                  <a:pt x="1068" y="109"/>
                </a:lnTo>
                <a:lnTo>
                  <a:pt x="1079" y="109"/>
                </a:lnTo>
                <a:lnTo>
                  <a:pt x="1079" y="104"/>
                </a:lnTo>
                <a:lnTo>
                  <a:pt x="1074" y="98"/>
                </a:lnTo>
                <a:lnTo>
                  <a:pt x="1074" y="93"/>
                </a:lnTo>
                <a:lnTo>
                  <a:pt x="1079" y="93"/>
                </a:lnTo>
                <a:lnTo>
                  <a:pt x="1085" y="98"/>
                </a:lnTo>
                <a:lnTo>
                  <a:pt x="1096" y="98"/>
                </a:lnTo>
                <a:lnTo>
                  <a:pt x="1101" y="104"/>
                </a:lnTo>
                <a:lnTo>
                  <a:pt x="1107" y="98"/>
                </a:lnTo>
                <a:lnTo>
                  <a:pt x="1112" y="98"/>
                </a:lnTo>
                <a:lnTo>
                  <a:pt x="1123" y="98"/>
                </a:lnTo>
                <a:lnTo>
                  <a:pt x="1134" y="104"/>
                </a:lnTo>
                <a:lnTo>
                  <a:pt x="1145" y="104"/>
                </a:lnTo>
                <a:lnTo>
                  <a:pt x="1139" y="104"/>
                </a:lnTo>
                <a:lnTo>
                  <a:pt x="1134" y="98"/>
                </a:lnTo>
                <a:lnTo>
                  <a:pt x="1145" y="98"/>
                </a:lnTo>
                <a:lnTo>
                  <a:pt x="1150" y="98"/>
                </a:lnTo>
                <a:lnTo>
                  <a:pt x="1156" y="98"/>
                </a:lnTo>
                <a:lnTo>
                  <a:pt x="1150" y="98"/>
                </a:lnTo>
                <a:lnTo>
                  <a:pt x="1150" y="93"/>
                </a:lnTo>
                <a:lnTo>
                  <a:pt x="1145" y="93"/>
                </a:lnTo>
                <a:lnTo>
                  <a:pt x="1150" y="88"/>
                </a:lnTo>
                <a:lnTo>
                  <a:pt x="1134" y="88"/>
                </a:lnTo>
                <a:lnTo>
                  <a:pt x="1134" y="82"/>
                </a:lnTo>
                <a:lnTo>
                  <a:pt x="1139" y="82"/>
                </a:lnTo>
                <a:lnTo>
                  <a:pt x="1150" y="82"/>
                </a:lnTo>
                <a:lnTo>
                  <a:pt x="1139" y="77"/>
                </a:lnTo>
                <a:lnTo>
                  <a:pt x="1145" y="77"/>
                </a:lnTo>
                <a:lnTo>
                  <a:pt x="1156" y="82"/>
                </a:lnTo>
                <a:lnTo>
                  <a:pt x="1172" y="82"/>
                </a:lnTo>
                <a:lnTo>
                  <a:pt x="1178" y="82"/>
                </a:lnTo>
                <a:lnTo>
                  <a:pt x="1199" y="82"/>
                </a:lnTo>
                <a:lnTo>
                  <a:pt x="1216" y="88"/>
                </a:lnTo>
                <a:lnTo>
                  <a:pt x="1221" y="88"/>
                </a:lnTo>
                <a:lnTo>
                  <a:pt x="1232" y="88"/>
                </a:lnTo>
                <a:lnTo>
                  <a:pt x="1243" y="88"/>
                </a:lnTo>
                <a:lnTo>
                  <a:pt x="1254" y="93"/>
                </a:lnTo>
                <a:lnTo>
                  <a:pt x="1248" y="93"/>
                </a:lnTo>
                <a:lnTo>
                  <a:pt x="1248" y="98"/>
                </a:lnTo>
                <a:lnTo>
                  <a:pt x="1259" y="98"/>
                </a:lnTo>
                <a:lnTo>
                  <a:pt x="1270" y="98"/>
                </a:lnTo>
                <a:lnTo>
                  <a:pt x="1276" y="98"/>
                </a:lnTo>
                <a:lnTo>
                  <a:pt x="1276" y="104"/>
                </a:lnTo>
                <a:lnTo>
                  <a:pt x="1281" y="104"/>
                </a:lnTo>
                <a:lnTo>
                  <a:pt x="1287" y="104"/>
                </a:lnTo>
                <a:lnTo>
                  <a:pt x="1297" y="109"/>
                </a:lnTo>
                <a:lnTo>
                  <a:pt x="1308" y="109"/>
                </a:lnTo>
                <a:lnTo>
                  <a:pt x="1314" y="109"/>
                </a:lnTo>
                <a:lnTo>
                  <a:pt x="1319" y="109"/>
                </a:lnTo>
                <a:lnTo>
                  <a:pt x="1325" y="109"/>
                </a:lnTo>
                <a:lnTo>
                  <a:pt x="1330" y="104"/>
                </a:lnTo>
                <a:lnTo>
                  <a:pt x="1336" y="104"/>
                </a:lnTo>
                <a:lnTo>
                  <a:pt x="1341" y="104"/>
                </a:lnTo>
                <a:lnTo>
                  <a:pt x="1347" y="104"/>
                </a:lnTo>
                <a:lnTo>
                  <a:pt x="1363" y="109"/>
                </a:lnTo>
                <a:lnTo>
                  <a:pt x="1374" y="109"/>
                </a:lnTo>
                <a:lnTo>
                  <a:pt x="1379" y="115"/>
                </a:lnTo>
                <a:lnTo>
                  <a:pt x="1390" y="115"/>
                </a:lnTo>
                <a:lnTo>
                  <a:pt x="1396" y="120"/>
                </a:lnTo>
                <a:lnTo>
                  <a:pt x="1396" y="126"/>
                </a:lnTo>
                <a:lnTo>
                  <a:pt x="1407" y="126"/>
                </a:lnTo>
                <a:lnTo>
                  <a:pt x="1417" y="131"/>
                </a:lnTo>
                <a:lnTo>
                  <a:pt x="1423" y="137"/>
                </a:lnTo>
                <a:lnTo>
                  <a:pt x="1428" y="137"/>
                </a:lnTo>
                <a:lnTo>
                  <a:pt x="1423" y="131"/>
                </a:lnTo>
                <a:lnTo>
                  <a:pt x="1428" y="131"/>
                </a:lnTo>
                <a:lnTo>
                  <a:pt x="1428" y="126"/>
                </a:lnTo>
                <a:lnTo>
                  <a:pt x="1434" y="131"/>
                </a:lnTo>
                <a:lnTo>
                  <a:pt x="1445" y="131"/>
                </a:lnTo>
                <a:lnTo>
                  <a:pt x="1445" y="126"/>
                </a:lnTo>
                <a:lnTo>
                  <a:pt x="1456" y="131"/>
                </a:lnTo>
                <a:lnTo>
                  <a:pt x="1461" y="131"/>
                </a:lnTo>
                <a:lnTo>
                  <a:pt x="1466" y="131"/>
                </a:lnTo>
                <a:lnTo>
                  <a:pt x="1477" y="131"/>
                </a:lnTo>
                <a:lnTo>
                  <a:pt x="1483" y="131"/>
                </a:lnTo>
                <a:lnTo>
                  <a:pt x="1483" y="126"/>
                </a:lnTo>
                <a:lnTo>
                  <a:pt x="1488" y="126"/>
                </a:lnTo>
                <a:lnTo>
                  <a:pt x="1494" y="131"/>
                </a:lnTo>
                <a:lnTo>
                  <a:pt x="1499" y="137"/>
                </a:lnTo>
                <a:lnTo>
                  <a:pt x="1505" y="137"/>
                </a:lnTo>
                <a:lnTo>
                  <a:pt x="1510" y="137"/>
                </a:lnTo>
                <a:lnTo>
                  <a:pt x="1516" y="137"/>
                </a:lnTo>
                <a:lnTo>
                  <a:pt x="1526" y="142"/>
                </a:lnTo>
                <a:lnTo>
                  <a:pt x="1532" y="142"/>
                </a:lnTo>
                <a:lnTo>
                  <a:pt x="1537" y="137"/>
                </a:lnTo>
                <a:lnTo>
                  <a:pt x="1532" y="137"/>
                </a:lnTo>
                <a:lnTo>
                  <a:pt x="1521" y="131"/>
                </a:lnTo>
                <a:lnTo>
                  <a:pt x="1516" y="131"/>
                </a:lnTo>
                <a:lnTo>
                  <a:pt x="1516" y="126"/>
                </a:lnTo>
                <a:lnTo>
                  <a:pt x="1510" y="120"/>
                </a:lnTo>
                <a:lnTo>
                  <a:pt x="1505" y="120"/>
                </a:lnTo>
                <a:lnTo>
                  <a:pt x="1510" y="120"/>
                </a:lnTo>
                <a:lnTo>
                  <a:pt x="1516" y="120"/>
                </a:lnTo>
                <a:lnTo>
                  <a:pt x="1526" y="126"/>
                </a:lnTo>
                <a:lnTo>
                  <a:pt x="1532" y="126"/>
                </a:lnTo>
                <a:lnTo>
                  <a:pt x="1543" y="126"/>
                </a:lnTo>
                <a:lnTo>
                  <a:pt x="1548" y="126"/>
                </a:lnTo>
                <a:lnTo>
                  <a:pt x="1559" y="126"/>
                </a:lnTo>
                <a:lnTo>
                  <a:pt x="1570" y="126"/>
                </a:lnTo>
                <a:lnTo>
                  <a:pt x="1581" y="126"/>
                </a:lnTo>
                <a:lnTo>
                  <a:pt x="1592" y="131"/>
                </a:lnTo>
                <a:lnTo>
                  <a:pt x="1603" y="131"/>
                </a:lnTo>
                <a:lnTo>
                  <a:pt x="1608" y="131"/>
                </a:lnTo>
                <a:lnTo>
                  <a:pt x="1619" y="137"/>
                </a:lnTo>
                <a:lnTo>
                  <a:pt x="1636" y="142"/>
                </a:lnTo>
                <a:lnTo>
                  <a:pt x="1723" y="202"/>
                </a:lnTo>
                <a:lnTo>
                  <a:pt x="1723" y="208"/>
                </a:lnTo>
                <a:lnTo>
                  <a:pt x="1717" y="208"/>
                </a:lnTo>
                <a:lnTo>
                  <a:pt x="1712" y="208"/>
                </a:lnTo>
                <a:lnTo>
                  <a:pt x="1706" y="208"/>
                </a:lnTo>
                <a:lnTo>
                  <a:pt x="1706" y="213"/>
                </a:lnTo>
                <a:lnTo>
                  <a:pt x="1717" y="213"/>
                </a:lnTo>
                <a:lnTo>
                  <a:pt x="1723" y="213"/>
                </a:lnTo>
                <a:lnTo>
                  <a:pt x="1734" y="218"/>
                </a:lnTo>
                <a:lnTo>
                  <a:pt x="1745" y="229"/>
                </a:lnTo>
                <a:lnTo>
                  <a:pt x="1755" y="229"/>
                </a:lnTo>
                <a:lnTo>
                  <a:pt x="1761" y="235"/>
                </a:lnTo>
                <a:lnTo>
                  <a:pt x="1766" y="235"/>
                </a:lnTo>
                <a:lnTo>
                  <a:pt x="1772" y="240"/>
                </a:lnTo>
                <a:lnTo>
                  <a:pt x="1772" y="246"/>
                </a:lnTo>
                <a:lnTo>
                  <a:pt x="1777" y="246"/>
                </a:lnTo>
                <a:lnTo>
                  <a:pt x="1772" y="246"/>
                </a:lnTo>
                <a:lnTo>
                  <a:pt x="1755" y="240"/>
                </a:lnTo>
                <a:lnTo>
                  <a:pt x="1750" y="240"/>
                </a:lnTo>
                <a:lnTo>
                  <a:pt x="1745" y="240"/>
                </a:lnTo>
                <a:lnTo>
                  <a:pt x="1745" y="246"/>
                </a:lnTo>
                <a:lnTo>
                  <a:pt x="1739" y="246"/>
                </a:lnTo>
                <a:lnTo>
                  <a:pt x="1739" y="251"/>
                </a:lnTo>
                <a:lnTo>
                  <a:pt x="1734" y="251"/>
                </a:lnTo>
                <a:lnTo>
                  <a:pt x="1728" y="251"/>
                </a:lnTo>
                <a:lnTo>
                  <a:pt x="1728" y="257"/>
                </a:lnTo>
                <a:lnTo>
                  <a:pt x="1723" y="257"/>
                </a:lnTo>
                <a:lnTo>
                  <a:pt x="1728" y="262"/>
                </a:lnTo>
                <a:lnTo>
                  <a:pt x="1723" y="262"/>
                </a:lnTo>
                <a:lnTo>
                  <a:pt x="1728" y="262"/>
                </a:lnTo>
                <a:lnTo>
                  <a:pt x="1723" y="262"/>
                </a:lnTo>
                <a:lnTo>
                  <a:pt x="1723" y="268"/>
                </a:lnTo>
                <a:lnTo>
                  <a:pt x="1723" y="273"/>
                </a:lnTo>
                <a:lnTo>
                  <a:pt x="1717" y="273"/>
                </a:lnTo>
                <a:lnTo>
                  <a:pt x="1717" y="278"/>
                </a:lnTo>
                <a:lnTo>
                  <a:pt x="1723" y="284"/>
                </a:lnTo>
                <a:lnTo>
                  <a:pt x="1717" y="278"/>
                </a:lnTo>
                <a:lnTo>
                  <a:pt x="1706" y="273"/>
                </a:lnTo>
                <a:lnTo>
                  <a:pt x="1701" y="273"/>
                </a:lnTo>
                <a:lnTo>
                  <a:pt x="1690" y="273"/>
                </a:lnTo>
                <a:lnTo>
                  <a:pt x="1685" y="273"/>
                </a:lnTo>
                <a:lnTo>
                  <a:pt x="1679" y="273"/>
                </a:lnTo>
                <a:lnTo>
                  <a:pt x="1679" y="278"/>
                </a:lnTo>
                <a:lnTo>
                  <a:pt x="1674" y="278"/>
                </a:lnTo>
                <a:lnTo>
                  <a:pt x="1679" y="284"/>
                </a:lnTo>
                <a:lnTo>
                  <a:pt x="1674" y="284"/>
                </a:lnTo>
                <a:lnTo>
                  <a:pt x="1668" y="278"/>
                </a:lnTo>
                <a:lnTo>
                  <a:pt x="1663" y="278"/>
                </a:lnTo>
                <a:lnTo>
                  <a:pt x="1663" y="273"/>
                </a:lnTo>
                <a:lnTo>
                  <a:pt x="1663" y="278"/>
                </a:lnTo>
                <a:lnTo>
                  <a:pt x="1657" y="278"/>
                </a:lnTo>
                <a:lnTo>
                  <a:pt x="1663" y="284"/>
                </a:lnTo>
                <a:lnTo>
                  <a:pt x="1657" y="284"/>
                </a:lnTo>
                <a:lnTo>
                  <a:pt x="1652" y="278"/>
                </a:lnTo>
                <a:lnTo>
                  <a:pt x="1652" y="284"/>
                </a:lnTo>
                <a:lnTo>
                  <a:pt x="1641" y="284"/>
                </a:lnTo>
                <a:lnTo>
                  <a:pt x="1646" y="289"/>
                </a:lnTo>
                <a:lnTo>
                  <a:pt x="1652" y="295"/>
                </a:lnTo>
                <a:lnTo>
                  <a:pt x="1657" y="295"/>
                </a:lnTo>
                <a:lnTo>
                  <a:pt x="1652" y="295"/>
                </a:lnTo>
                <a:lnTo>
                  <a:pt x="1657" y="300"/>
                </a:lnTo>
                <a:lnTo>
                  <a:pt x="1652" y="300"/>
                </a:lnTo>
                <a:lnTo>
                  <a:pt x="1652" y="306"/>
                </a:lnTo>
                <a:lnTo>
                  <a:pt x="1657" y="306"/>
                </a:lnTo>
                <a:lnTo>
                  <a:pt x="1657" y="311"/>
                </a:lnTo>
                <a:lnTo>
                  <a:pt x="1663" y="317"/>
                </a:lnTo>
                <a:lnTo>
                  <a:pt x="1668" y="317"/>
                </a:lnTo>
                <a:lnTo>
                  <a:pt x="1679" y="317"/>
                </a:lnTo>
                <a:lnTo>
                  <a:pt x="1685" y="317"/>
                </a:lnTo>
                <a:lnTo>
                  <a:pt x="1685" y="322"/>
                </a:lnTo>
                <a:lnTo>
                  <a:pt x="1690" y="328"/>
                </a:lnTo>
                <a:lnTo>
                  <a:pt x="1695" y="333"/>
                </a:lnTo>
                <a:lnTo>
                  <a:pt x="1701" y="333"/>
                </a:lnTo>
                <a:lnTo>
                  <a:pt x="1701" y="338"/>
                </a:lnTo>
                <a:lnTo>
                  <a:pt x="1712" y="338"/>
                </a:lnTo>
                <a:lnTo>
                  <a:pt x="1712" y="344"/>
                </a:lnTo>
                <a:lnTo>
                  <a:pt x="1701" y="344"/>
                </a:lnTo>
                <a:lnTo>
                  <a:pt x="1695" y="344"/>
                </a:lnTo>
                <a:lnTo>
                  <a:pt x="1701" y="344"/>
                </a:lnTo>
                <a:lnTo>
                  <a:pt x="1701" y="349"/>
                </a:lnTo>
                <a:lnTo>
                  <a:pt x="1706" y="355"/>
                </a:lnTo>
                <a:lnTo>
                  <a:pt x="1712" y="360"/>
                </a:lnTo>
                <a:lnTo>
                  <a:pt x="1723" y="366"/>
                </a:lnTo>
                <a:lnTo>
                  <a:pt x="1723" y="371"/>
                </a:lnTo>
                <a:lnTo>
                  <a:pt x="1712" y="366"/>
                </a:lnTo>
                <a:lnTo>
                  <a:pt x="1712" y="371"/>
                </a:lnTo>
                <a:lnTo>
                  <a:pt x="1706" y="371"/>
                </a:lnTo>
                <a:lnTo>
                  <a:pt x="1706" y="377"/>
                </a:lnTo>
                <a:lnTo>
                  <a:pt x="1712" y="382"/>
                </a:lnTo>
                <a:lnTo>
                  <a:pt x="1717" y="388"/>
                </a:lnTo>
                <a:lnTo>
                  <a:pt x="1723" y="388"/>
                </a:lnTo>
                <a:lnTo>
                  <a:pt x="1728" y="393"/>
                </a:lnTo>
                <a:lnTo>
                  <a:pt x="1723" y="388"/>
                </a:lnTo>
                <a:lnTo>
                  <a:pt x="1717" y="388"/>
                </a:lnTo>
                <a:lnTo>
                  <a:pt x="1712" y="393"/>
                </a:lnTo>
                <a:lnTo>
                  <a:pt x="1706" y="393"/>
                </a:lnTo>
                <a:lnTo>
                  <a:pt x="1712" y="393"/>
                </a:lnTo>
                <a:lnTo>
                  <a:pt x="1712" y="398"/>
                </a:lnTo>
                <a:lnTo>
                  <a:pt x="1723" y="404"/>
                </a:lnTo>
                <a:lnTo>
                  <a:pt x="1723" y="409"/>
                </a:lnTo>
                <a:lnTo>
                  <a:pt x="1723" y="415"/>
                </a:lnTo>
                <a:lnTo>
                  <a:pt x="1723" y="420"/>
                </a:lnTo>
                <a:lnTo>
                  <a:pt x="1723" y="426"/>
                </a:lnTo>
                <a:lnTo>
                  <a:pt x="1717" y="426"/>
                </a:lnTo>
                <a:lnTo>
                  <a:pt x="1712" y="420"/>
                </a:lnTo>
                <a:lnTo>
                  <a:pt x="1706" y="415"/>
                </a:lnTo>
                <a:lnTo>
                  <a:pt x="1701" y="409"/>
                </a:lnTo>
                <a:lnTo>
                  <a:pt x="1690" y="404"/>
                </a:lnTo>
                <a:lnTo>
                  <a:pt x="1685" y="398"/>
                </a:lnTo>
                <a:lnTo>
                  <a:pt x="1679" y="393"/>
                </a:lnTo>
                <a:lnTo>
                  <a:pt x="1674" y="388"/>
                </a:lnTo>
                <a:lnTo>
                  <a:pt x="1663" y="382"/>
                </a:lnTo>
                <a:lnTo>
                  <a:pt x="1657" y="377"/>
                </a:lnTo>
                <a:lnTo>
                  <a:pt x="1646" y="371"/>
                </a:lnTo>
                <a:lnTo>
                  <a:pt x="1641" y="366"/>
                </a:lnTo>
                <a:lnTo>
                  <a:pt x="1630" y="355"/>
                </a:lnTo>
                <a:lnTo>
                  <a:pt x="1625" y="349"/>
                </a:lnTo>
                <a:lnTo>
                  <a:pt x="1619" y="344"/>
                </a:lnTo>
                <a:lnTo>
                  <a:pt x="1614" y="338"/>
                </a:lnTo>
                <a:lnTo>
                  <a:pt x="1614" y="333"/>
                </a:lnTo>
                <a:lnTo>
                  <a:pt x="1608" y="333"/>
                </a:lnTo>
                <a:lnTo>
                  <a:pt x="1614" y="333"/>
                </a:lnTo>
                <a:lnTo>
                  <a:pt x="1608" y="328"/>
                </a:lnTo>
                <a:lnTo>
                  <a:pt x="1614" y="328"/>
                </a:lnTo>
                <a:lnTo>
                  <a:pt x="1608" y="322"/>
                </a:lnTo>
                <a:lnTo>
                  <a:pt x="1603" y="317"/>
                </a:lnTo>
                <a:lnTo>
                  <a:pt x="1608" y="317"/>
                </a:lnTo>
                <a:lnTo>
                  <a:pt x="1608" y="311"/>
                </a:lnTo>
                <a:lnTo>
                  <a:pt x="1614" y="317"/>
                </a:lnTo>
                <a:lnTo>
                  <a:pt x="1614" y="311"/>
                </a:lnTo>
                <a:lnTo>
                  <a:pt x="1619" y="306"/>
                </a:lnTo>
                <a:lnTo>
                  <a:pt x="1614" y="306"/>
                </a:lnTo>
                <a:lnTo>
                  <a:pt x="1619" y="300"/>
                </a:lnTo>
                <a:lnTo>
                  <a:pt x="1614" y="295"/>
                </a:lnTo>
                <a:lnTo>
                  <a:pt x="1614" y="289"/>
                </a:lnTo>
                <a:lnTo>
                  <a:pt x="1619" y="284"/>
                </a:lnTo>
                <a:lnTo>
                  <a:pt x="1614" y="284"/>
                </a:lnTo>
                <a:lnTo>
                  <a:pt x="1619" y="278"/>
                </a:lnTo>
                <a:lnTo>
                  <a:pt x="1614" y="273"/>
                </a:lnTo>
                <a:lnTo>
                  <a:pt x="1619" y="273"/>
                </a:lnTo>
                <a:lnTo>
                  <a:pt x="1619" y="268"/>
                </a:lnTo>
                <a:lnTo>
                  <a:pt x="1625" y="268"/>
                </a:lnTo>
                <a:lnTo>
                  <a:pt x="1619" y="268"/>
                </a:lnTo>
                <a:lnTo>
                  <a:pt x="1619" y="262"/>
                </a:lnTo>
                <a:lnTo>
                  <a:pt x="1614" y="257"/>
                </a:lnTo>
                <a:lnTo>
                  <a:pt x="1608" y="251"/>
                </a:lnTo>
                <a:lnTo>
                  <a:pt x="1603" y="246"/>
                </a:lnTo>
                <a:lnTo>
                  <a:pt x="1608" y="240"/>
                </a:lnTo>
                <a:lnTo>
                  <a:pt x="1597" y="240"/>
                </a:lnTo>
                <a:lnTo>
                  <a:pt x="1592" y="240"/>
                </a:lnTo>
                <a:lnTo>
                  <a:pt x="1586" y="240"/>
                </a:lnTo>
                <a:lnTo>
                  <a:pt x="1592" y="246"/>
                </a:lnTo>
                <a:lnTo>
                  <a:pt x="1597" y="251"/>
                </a:lnTo>
                <a:lnTo>
                  <a:pt x="1603" y="257"/>
                </a:lnTo>
                <a:lnTo>
                  <a:pt x="1592" y="257"/>
                </a:lnTo>
                <a:lnTo>
                  <a:pt x="1597" y="262"/>
                </a:lnTo>
                <a:lnTo>
                  <a:pt x="1592" y="262"/>
                </a:lnTo>
                <a:lnTo>
                  <a:pt x="1592" y="268"/>
                </a:lnTo>
                <a:lnTo>
                  <a:pt x="1592" y="273"/>
                </a:lnTo>
                <a:lnTo>
                  <a:pt x="1586" y="268"/>
                </a:lnTo>
                <a:lnTo>
                  <a:pt x="1581" y="268"/>
                </a:lnTo>
                <a:lnTo>
                  <a:pt x="1576" y="268"/>
                </a:lnTo>
                <a:lnTo>
                  <a:pt x="1570" y="262"/>
                </a:lnTo>
                <a:lnTo>
                  <a:pt x="1570" y="257"/>
                </a:lnTo>
                <a:lnTo>
                  <a:pt x="1565" y="251"/>
                </a:lnTo>
                <a:lnTo>
                  <a:pt x="1565" y="257"/>
                </a:lnTo>
                <a:lnTo>
                  <a:pt x="1559" y="257"/>
                </a:lnTo>
                <a:lnTo>
                  <a:pt x="1559" y="251"/>
                </a:lnTo>
                <a:lnTo>
                  <a:pt x="1548" y="251"/>
                </a:lnTo>
                <a:lnTo>
                  <a:pt x="1543" y="251"/>
                </a:lnTo>
                <a:lnTo>
                  <a:pt x="1543" y="257"/>
                </a:lnTo>
                <a:lnTo>
                  <a:pt x="1532" y="251"/>
                </a:lnTo>
                <a:lnTo>
                  <a:pt x="1532" y="257"/>
                </a:lnTo>
                <a:lnTo>
                  <a:pt x="1537" y="262"/>
                </a:lnTo>
                <a:lnTo>
                  <a:pt x="1532" y="262"/>
                </a:lnTo>
                <a:lnTo>
                  <a:pt x="1532" y="268"/>
                </a:lnTo>
                <a:lnTo>
                  <a:pt x="1537" y="273"/>
                </a:lnTo>
                <a:lnTo>
                  <a:pt x="1532" y="273"/>
                </a:lnTo>
                <a:lnTo>
                  <a:pt x="1532" y="278"/>
                </a:lnTo>
                <a:lnTo>
                  <a:pt x="1532" y="284"/>
                </a:lnTo>
                <a:lnTo>
                  <a:pt x="1537" y="284"/>
                </a:lnTo>
                <a:lnTo>
                  <a:pt x="1532" y="284"/>
                </a:lnTo>
                <a:lnTo>
                  <a:pt x="1537" y="289"/>
                </a:lnTo>
                <a:lnTo>
                  <a:pt x="1548" y="289"/>
                </a:lnTo>
                <a:lnTo>
                  <a:pt x="1554" y="295"/>
                </a:lnTo>
                <a:lnTo>
                  <a:pt x="1548" y="295"/>
                </a:lnTo>
                <a:lnTo>
                  <a:pt x="1543" y="295"/>
                </a:lnTo>
                <a:lnTo>
                  <a:pt x="1532" y="295"/>
                </a:lnTo>
                <a:lnTo>
                  <a:pt x="1537" y="295"/>
                </a:lnTo>
                <a:lnTo>
                  <a:pt x="1532" y="300"/>
                </a:lnTo>
                <a:lnTo>
                  <a:pt x="1526" y="300"/>
                </a:lnTo>
                <a:lnTo>
                  <a:pt x="1521" y="300"/>
                </a:lnTo>
                <a:lnTo>
                  <a:pt x="1516" y="300"/>
                </a:lnTo>
                <a:lnTo>
                  <a:pt x="1510" y="295"/>
                </a:lnTo>
                <a:lnTo>
                  <a:pt x="1521" y="295"/>
                </a:lnTo>
                <a:lnTo>
                  <a:pt x="1510" y="295"/>
                </a:lnTo>
                <a:lnTo>
                  <a:pt x="1505" y="289"/>
                </a:lnTo>
                <a:lnTo>
                  <a:pt x="1499" y="289"/>
                </a:lnTo>
                <a:lnTo>
                  <a:pt x="1494" y="289"/>
                </a:lnTo>
                <a:lnTo>
                  <a:pt x="1488" y="289"/>
                </a:lnTo>
                <a:lnTo>
                  <a:pt x="1477" y="284"/>
                </a:lnTo>
                <a:lnTo>
                  <a:pt x="1472" y="289"/>
                </a:lnTo>
                <a:lnTo>
                  <a:pt x="1477" y="289"/>
                </a:lnTo>
                <a:lnTo>
                  <a:pt x="1472" y="289"/>
                </a:lnTo>
                <a:lnTo>
                  <a:pt x="1483" y="295"/>
                </a:lnTo>
                <a:lnTo>
                  <a:pt x="1477" y="295"/>
                </a:lnTo>
                <a:lnTo>
                  <a:pt x="1466" y="289"/>
                </a:lnTo>
                <a:lnTo>
                  <a:pt x="1466" y="295"/>
                </a:lnTo>
                <a:lnTo>
                  <a:pt x="1461" y="295"/>
                </a:lnTo>
                <a:lnTo>
                  <a:pt x="1450" y="289"/>
                </a:lnTo>
                <a:lnTo>
                  <a:pt x="1445" y="289"/>
                </a:lnTo>
                <a:lnTo>
                  <a:pt x="1450" y="295"/>
                </a:lnTo>
                <a:lnTo>
                  <a:pt x="1445" y="295"/>
                </a:lnTo>
                <a:lnTo>
                  <a:pt x="1439" y="289"/>
                </a:lnTo>
                <a:lnTo>
                  <a:pt x="1434" y="289"/>
                </a:lnTo>
                <a:lnTo>
                  <a:pt x="1428" y="289"/>
                </a:lnTo>
                <a:lnTo>
                  <a:pt x="1423" y="289"/>
                </a:lnTo>
                <a:lnTo>
                  <a:pt x="1417" y="289"/>
                </a:lnTo>
                <a:lnTo>
                  <a:pt x="1412" y="295"/>
                </a:lnTo>
                <a:lnTo>
                  <a:pt x="1407" y="295"/>
                </a:lnTo>
                <a:lnTo>
                  <a:pt x="1401" y="295"/>
                </a:lnTo>
                <a:lnTo>
                  <a:pt x="1401" y="300"/>
                </a:lnTo>
                <a:lnTo>
                  <a:pt x="1401" y="306"/>
                </a:lnTo>
                <a:lnTo>
                  <a:pt x="1396" y="311"/>
                </a:lnTo>
                <a:lnTo>
                  <a:pt x="1401" y="311"/>
                </a:lnTo>
                <a:lnTo>
                  <a:pt x="1401" y="317"/>
                </a:lnTo>
                <a:lnTo>
                  <a:pt x="1401" y="322"/>
                </a:lnTo>
                <a:lnTo>
                  <a:pt x="1396" y="322"/>
                </a:lnTo>
                <a:lnTo>
                  <a:pt x="1396" y="328"/>
                </a:lnTo>
                <a:lnTo>
                  <a:pt x="1396" y="333"/>
                </a:lnTo>
                <a:lnTo>
                  <a:pt x="1396" y="338"/>
                </a:lnTo>
                <a:lnTo>
                  <a:pt x="1396" y="344"/>
                </a:lnTo>
                <a:lnTo>
                  <a:pt x="1390" y="349"/>
                </a:lnTo>
                <a:lnTo>
                  <a:pt x="1390" y="355"/>
                </a:lnTo>
                <a:lnTo>
                  <a:pt x="1390" y="360"/>
                </a:lnTo>
                <a:lnTo>
                  <a:pt x="1385" y="360"/>
                </a:lnTo>
                <a:lnTo>
                  <a:pt x="1385" y="366"/>
                </a:lnTo>
                <a:lnTo>
                  <a:pt x="1396" y="366"/>
                </a:lnTo>
                <a:lnTo>
                  <a:pt x="1401" y="366"/>
                </a:lnTo>
                <a:lnTo>
                  <a:pt x="1407" y="366"/>
                </a:lnTo>
                <a:lnTo>
                  <a:pt x="1412" y="371"/>
                </a:lnTo>
                <a:lnTo>
                  <a:pt x="1417" y="377"/>
                </a:lnTo>
                <a:lnTo>
                  <a:pt x="1423" y="382"/>
                </a:lnTo>
                <a:lnTo>
                  <a:pt x="1417" y="377"/>
                </a:lnTo>
                <a:lnTo>
                  <a:pt x="1417" y="371"/>
                </a:lnTo>
                <a:lnTo>
                  <a:pt x="1423" y="371"/>
                </a:lnTo>
                <a:lnTo>
                  <a:pt x="1423" y="377"/>
                </a:lnTo>
                <a:lnTo>
                  <a:pt x="1434" y="377"/>
                </a:lnTo>
                <a:lnTo>
                  <a:pt x="1434" y="382"/>
                </a:lnTo>
                <a:lnTo>
                  <a:pt x="1428" y="382"/>
                </a:lnTo>
                <a:lnTo>
                  <a:pt x="1434" y="382"/>
                </a:lnTo>
                <a:lnTo>
                  <a:pt x="1439" y="382"/>
                </a:lnTo>
                <a:lnTo>
                  <a:pt x="1439" y="377"/>
                </a:lnTo>
                <a:lnTo>
                  <a:pt x="1445" y="382"/>
                </a:lnTo>
                <a:lnTo>
                  <a:pt x="1445" y="388"/>
                </a:lnTo>
                <a:lnTo>
                  <a:pt x="1445" y="382"/>
                </a:lnTo>
                <a:lnTo>
                  <a:pt x="1445" y="377"/>
                </a:lnTo>
                <a:lnTo>
                  <a:pt x="1439" y="371"/>
                </a:lnTo>
                <a:lnTo>
                  <a:pt x="1445" y="377"/>
                </a:lnTo>
                <a:lnTo>
                  <a:pt x="1450" y="371"/>
                </a:lnTo>
                <a:lnTo>
                  <a:pt x="1450" y="377"/>
                </a:lnTo>
                <a:lnTo>
                  <a:pt x="1461" y="377"/>
                </a:lnTo>
                <a:lnTo>
                  <a:pt x="1472" y="382"/>
                </a:lnTo>
                <a:lnTo>
                  <a:pt x="1483" y="388"/>
                </a:lnTo>
                <a:lnTo>
                  <a:pt x="1477" y="388"/>
                </a:lnTo>
                <a:lnTo>
                  <a:pt x="1488" y="388"/>
                </a:lnTo>
                <a:lnTo>
                  <a:pt x="1488" y="393"/>
                </a:lnTo>
                <a:lnTo>
                  <a:pt x="1483" y="393"/>
                </a:lnTo>
                <a:lnTo>
                  <a:pt x="1488" y="393"/>
                </a:lnTo>
                <a:lnTo>
                  <a:pt x="1494" y="393"/>
                </a:lnTo>
                <a:lnTo>
                  <a:pt x="1494" y="398"/>
                </a:lnTo>
                <a:lnTo>
                  <a:pt x="1494" y="404"/>
                </a:lnTo>
                <a:lnTo>
                  <a:pt x="1505" y="404"/>
                </a:lnTo>
                <a:lnTo>
                  <a:pt x="1505" y="409"/>
                </a:lnTo>
                <a:lnTo>
                  <a:pt x="1510" y="409"/>
                </a:lnTo>
                <a:lnTo>
                  <a:pt x="1510" y="415"/>
                </a:lnTo>
                <a:lnTo>
                  <a:pt x="1505" y="415"/>
                </a:lnTo>
                <a:lnTo>
                  <a:pt x="1510" y="420"/>
                </a:lnTo>
                <a:lnTo>
                  <a:pt x="1510" y="426"/>
                </a:lnTo>
                <a:lnTo>
                  <a:pt x="1516" y="431"/>
                </a:lnTo>
                <a:lnTo>
                  <a:pt x="1521" y="437"/>
                </a:lnTo>
                <a:lnTo>
                  <a:pt x="1526" y="437"/>
                </a:lnTo>
                <a:lnTo>
                  <a:pt x="1526" y="442"/>
                </a:lnTo>
                <a:lnTo>
                  <a:pt x="1494" y="442"/>
                </a:lnTo>
                <a:lnTo>
                  <a:pt x="1548" y="502"/>
                </a:lnTo>
                <a:lnTo>
                  <a:pt x="1548" y="508"/>
                </a:lnTo>
                <a:lnTo>
                  <a:pt x="1548" y="513"/>
                </a:lnTo>
                <a:lnTo>
                  <a:pt x="1543" y="518"/>
                </a:lnTo>
                <a:lnTo>
                  <a:pt x="1543" y="524"/>
                </a:lnTo>
                <a:lnTo>
                  <a:pt x="1543" y="529"/>
                </a:lnTo>
                <a:lnTo>
                  <a:pt x="1543" y="535"/>
                </a:lnTo>
                <a:lnTo>
                  <a:pt x="1543" y="540"/>
                </a:lnTo>
                <a:lnTo>
                  <a:pt x="1543" y="546"/>
                </a:lnTo>
                <a:lnTo>
                  <a:pt x="1537" y="546"/>
                </a:lnTo>
                <a:lnTo>
                  <a:pt x="1537" y="551"/>
                </a:lnTo>
                <a:lnTo>
                  <a:pt x="1537" y="557"/>
                </a:lnTo>
                <a:lnTo>
                  <a:pt x="1532" y="557"/>
                </a:lnTo>
                <a:lnTo>
                  <a:pt x="1526" y="557"/>
                </a:lnTo>
                <a:lnTo>
                  <a:pt x="1521" y="551"/>
                </a:lnTo>
                <a:lnTo>
                  <a:pt x="1516" y="557"/>
                </a:lnTo>
                <a:lnTo>
                  <a:pt x="1510" y="551"/>
                </a:lnTo>
                <a:lnTo>
                  <a:pt x="1510" y="546"/>
                </a:lnTo>
                <a:lnTo>
                  <a:pt x="1505" y="551"/>
                </a:lnTo>
                <a:lnTo>
                  <a:pt x="1505" y="546"/>
                </a:lnTo>
                <a:lnTo>
                  <a:pt x="1499" y="546"/>
                </a:lnTo>
                <a:lnTo>
                  <a:pt x="1505" y="551"/>
                </a:lnTo>
                <a:lnTo>
                  <a:pt x="1499" y="551"/>
                </a:lnTo>
                <a:lnTo>
                  <a:pt x="1499" y="557"/>
                </a:lnTo>
                <a:lnTo>
                  <a:pt x="1505" y="557"/>
                </a:lnTo>
                <a:lnTo>
                  <a:pt x="1494" y="557"/>
                </a:lnTo>
                <a:lnTo>
                  <a:pt x="1499" y="562"/>
                </a:lnTo>
                <a:lnTo>
                  <a:pt x="1494" y="562"/>
                </a:lnTo>
                <a:lnTo>
                  <a:pt x="1494" y="557"/>
                </a:lnTo>
                <a:lnTo>
                  <a:pt x="1488" y="557"/>
                </a:lnTo>
                <a:lnTo>
                  <a:pt x="1494" y="557"/>
                </a:lnTo>
                <a:lnTo>
                  <a:pt x="1494" y="551"/>
                </a:lnTo>
                <a:lnTo>
                  <a:pt x="1494" y="546"/>
                </a:lnTo>
                <a:lnTo>
                  <a:pt x="1488" y="546"/>
                </a:lnTo>
                <a:lnTo>
                  <a:pt x="1488" y="540"/>
                </a:lnTo>
                <a:lnTo>
                  <a:pt x="1483" y="535"/>
                </a:lnTo>
                <a:lnTo>
                  <a:pt x="1477" y="529"/>
                </a:lnTo>
                <a:lnTo>
                  <a:pt x="1472" y="524"/>
                </a:lnTo>
                <a:lnTo>
                  <a:pt x="1472" y="518"/>
                </a:lnTo>
                <a:lnTo>
                  <a:pt x="1477" y="518"/>
                </a:lnTo>
                <a:lnTo>
                  <a:pt x="1477" y="513"/>
                </a:lnTo>
                <a:lnTo>
                  <a:pt x="1477" y="518"/>
                </a:lnTo>
                <a:lnTo>
                  <a:pt x="1494" y="518"/>
                </a:lnTo>
                <a:lnTo>
                  <a:pt x="1494" y="513"/>
                </a:lnTo>
                <a:lnTo>
                  <a:pt x="1488" y="508"/>
                </a:lnTo>
                <a:lnTo>
                  <a:pt x="1494" y="508"/>
                </a:lnTo>
                <a:lnTo>
                  <a:pt x="1488" y="502"/>
                </a:lnTo>
                <a:lnTo>
                  <a:pt x="1494" y="502"/>
                </a:lnTo>
                <a:lnTo>
                  <a:pt x="1488" y="497"/>
                </a:lnTo>
                <a:lnTo>
                  <a:pt x="1488" y="491"/>
                </a:lnTo>
                <a:lnTo>
                  <a:pt x="1483" y="491"/>
                </a:lnTo>
                <a:lnTo>
                  <a:pt x="1483" y="486"/>
                </a:lnTo>
                <a:lnTo>
                  <a:pt x="1483" y="480"/>
                </a:lnTo>
                <a:lnTo>
                  <a:pt x="1483" y="475"/>
                </a:lnTo>
                <a:lnTo>
                  <a:pt x="1477" y="469"/>
                </a:lnTo>
                <a:lnTo>
                  <a:pt x="1472" y="469"/>
                </a:lnTo>
                <a:lnTo>
                  <a:pt x="1466" y="464"/>
                </a:lnTo>
                <a:lnTo>
                  <a:pt x="1466" y="469"/>
                </a:lnTo>
                <a:lnTo>
                  <a:pt x="1461" y="469"/>
                </a:lnTo>
                <a:lnTo>
                  <a:pt x="1456" y="469"/>
                </a:lnTo>
                <a:lnTo>
                  <a:pt x="1450" y="475"/>
                </a:lnTo>
                <a:lnTo>
                  <a:pt x="1456" y="475"/>
                </a:lnTo>
                <a:lnTo>
                  <a:pt x="1450" y="475"/>
                </a:lnTo>
                <a:lnTo>
                  <a:pt x="1445" y="480"/>
                </a:lnTo>
                <a:lnTo>
                  <a:pt x="1445" y="475"/>
                </a:lnTo>
                <a:lnTo>
                  <a:pt x="1439" y="480"/>
                </a:lnTo>
                <a:lnTo>
                  <a:pt x="1439" y="475"/>
                </a:lnTo>
                <a:lnTo>
                  <a:pt x="1434" y="475"/>
                </a:lnTo>
                <a:lnTo>
                  <a:pt x="1428" y="475"/>
                </a:lnTo>
                <a:lnTo>
                  <a:pt x="1423" y="469"/>
                </a:lnTo>
                <a:lnTo>
                  <a:pt x="1417" y="464"/>
                </a:lnTo>
                <a:lnTo>
                  <a:pt x="1412" y="464"/>
                </a:lnTo>
                <a:lnTo>
                  <a:pt x="1412" y="458"/>
                </a:lnTo>
                <a:lnTo>
                  <a:pt x="1407" y="458"/>
                </a:lnTo>
                <a:lnTo>
                  <a:pt x="1401" y="453"/>
                </a:lnTo>
                <a:lnTo>
                  <a:pt x="1396" y="453"/>
                </a:lnTo>
                <a:lnTo>
                  <a:pt x="1390" y="453"/>
                </a:lnTo>
                <a:lnTo>
                  <a:pt x="1390" y="448"/>
                </a:lnTo>
                <a:lnTo>
                  <a:pt x="1385" y="453"/>
                </a:lnTo>
                <a:lnTo>
                  <a:pt x="1379" y="448"/>
                </a:lnTo>
                <a:lnTo>
                  <a:pt x="1374" y="448"/>
                </a:lnTo>
                <a:lnTo>
                  <a:pt x="1363" y="448"/>
                </a:lnTo>
                <a:lnTo>
                  <a:pt x="1357" y="442"/>
                </a:lnTo>
                <a:lnTo>
                  <a:pt x="1352" y="437"/>
                </a:lnTo>
                <a:lnTo>
                  <a:pt x="1347" y="431"/>
                </a:lnTo>
                <a:lnTo>
                  <a:pt x="1341" y="431"/>
                </a:lnTo>
                <a:lnTo>
                  <a:pt x="1336" y="426"/>
                </a:lnTo>
                <a:lnTo>
                  <a:pt x="1330" y="420"/>
                </a:lnTo>
                <a:lnTo>
                  <a:pt x="1325" y="420"/>
                </a:lnTo>
                <a:lnTo>
                  <a:pt x="1325" y="415"/>
                </a:lnTo>
                <a:lnTo>
                  <a:pt x="1314" y="409"/>
                </a:lnTo>
                <a:lnTo>
                  <a:pt x="1308" y="404"/>
                </a:lnTo>
                <a:lnTo>
                  <a:pt x="1303" y="398"/>
                </a:lnTo>
                <a:lnTo>
                  <a:pt x="1297" y="398"/>
                </a:lnTo>
                <a:lnTo>
                  <a:pt x="1292" y="393"/>
                </a:lnTo>
                <a:lnTo>
                  <a:pt x="1287" y="393"/>
                </a:lnTo>
                <a:lnTo>
                  <a:pt x="1281" y="388"/>
                </a:lnTo>
                <a:lnTo>
                  <a:pt x="1281" y="393"/>
                </a:lnTo>
                <a:lnTo>
                  <a:pt x="1270" y="388"/>
                </a:lnTo>
                <a:lnTo>
                  <a:pt x="1265" y="388"/>
                </a:lnTo>
                <a:lnTo>
                  <a:pt x="1259" y="388"/>
                </a:lnTo>
                <a:lnTo>
                  <a:pt x="1259" y="382"/>
                </a:lnTo>
                <a:lnTo>
                  <a:pt x="1254" y="382"/>
                </a:lnTo>
                <a:lnTo>
                  <a:pt x="1248" y="388"/>
                </a:lnTo>
                <a:lnTo>
                  <a:pt x="1243" y="388"/>
                </a:lnTo>
                <a:lnTo>
                  <a:pt x="1237" y="388"/>
                </a:lnTo>
                <a:lnTo>
                  <a:pt x="1232" y="388"/>
                </a:lnTo>
                <a:lnTo>
                  <a:pt x="1227" y="388"/>
                </a:lnTo>
                <a:lnTo>
                  <a:pt x="1227" y="393"/>
                </a:lnTo>
                <a:lnTo>
                  <a:pt x="1221" y="398"/>
                </a:lnTo>
                <a:lnTo>
                  <a:pt x="1227" y="398"/>
                </a:lnTo>
                <a:lnTo>
                  <a:pt x="1232" y="398"/>
                </a:lnTo>
                <a:lnTo>
                  <a:pt x="1237" y="404"/>
                </a:lnTo>
                <a:lnTo>
                  <a:pt x="1243" y="404"/>
                </a:lnTo>
                <a:lnTo>
                  <a:pt x="1243" y="409"/>
                </a:lnTo>
                <a:lnTo>
                  <a:pt x="1237" y="409"/>
                </a:lnTo>
                <a:lnTo>
                  <a:pt x="1237" y="415"/>
                </a:lnTo>
                <a:lnTo>
                  <a:pt x="1237" y="420"/>
                </a:lnTo>
                <a:lnTo>
                  <a:pt x="1243" y="426"/>
                </a:lnTo>
                <a:lnTo>
                  <a:pt x="1243" y="431"/>
                </a:lnTo>
                <a:lnTo>
                  <a:pt x="1243" y="437"/>
                </a:lnTo>
                <a:lnTo>
                  <a:pt x="1248" y="437"/>
                </a:lnTo>
                <a:lnTo>
                  <a:pt x="1248" y="442"/>
                </a:lnTo>
                <a:lnTo>
                  <a:pt x="1243" y="442"/>
                </a:lnTo>
                <a:lnTo>
                  <a:pt x="1237" y="442"/>
                </a:lnTo>
                <a:lnTo>
                  <a:pt x="1237" y="448"/>
                </a:lnTo>
                <a:lnTo>
                  <a:pt x="1227" y="448"/>
                </a:lnTo>
                <a:lnTo>
                  <a:pt x="1221" y="442"/>
                </a:lnTo>
                <a:lnTo>
                  <a:pt x="1216" y="442"/>
                </a:lnTo>
                <a:lnTo>
                  <a:pt x="1210" y="442"/>
                </a:lnTo>
                <a:lnTo>
                  <a:pt x="1205" y="442"/>
                </a:lnTo>
                <a:lnTo>
                  <a:pt x="1199" y="442"/>
                </a:lnTo>
                <a:lnTo>
                  <a:pt x="1194" y="442"/>
                </a:lnTo>
                <a:lnTo>
                  <a:pt x="1188" y="437"/>
                </a:lnTo>
                <a:lnTo>
                  <a:pt x="1183" y="437"/>
                </a:lnTo>
                <a:lnTo>
                  <a:pt x="1178" y="437"/>
                </a:lnTo>
                <a:lnTo>
                  <a:pt x="1178" y="442"/>
                </a:lnTo>
                <a:lnTo>
                  <a:pt x="1172" y="442"/>
                </a:lnTo>
                <a:lnTo>
                  <a:pt x="1172" y="448"/>
                </a:lnTo>
                <a:lnTo>
                  <a:pt x="1167" y="448"/>
                </a:lnTo>
                <a:lnTo>
                  <a:pt x="1161" y="453"/>
                </a:lnTo>
                <a:lnTo>
                  <a:pt x="1150" y="453"/>
                </a:lnTo>
                <a:lnTo>
                  <a:pt x="1139" y="453"/>
                </a:lnTo>
                <a:lnTo>
                  <a:pt x="1134" y="453"/>
                </a:lnTo>
                <a:lnTo>
                  <a:pt x="1128" y="453"/>
                </a:lnTo>
                <a:lnTo>
                  <a:pt x="1123" y="453"/>
                </a:lnTo>
                <a:lnTo>
                  <a:pt x="1118" y="453"/>
                </a:lnTo>
                <a:lnTo>
                  <a:pt x="1112" y="448"/>
                </a:lnTo>
                <a:lnTo>
                  <a:pt x="1107" y="448"/>
                </a:lnTo>
                <a:lnTo>
                  <a:pt x="1101" y="442"/>
                </a:lnTo>
                <a:lnTo>
                  <a:pt x="1096" y="442"/>
                </a:lnTo>
                <a:lnTo>
                  <a:pt x="1090" y="442"/>
                </a:lnTo>
                <a:lnTo>
                  <a:pt x="1085" y="437"/>
                </a:lnTo>
                <a:lnTo>
                  <a:pt x="1079" y="437"/>
                </a:lnTo>
                <a:lnTo>
                  <a:pt x="1074" y="437"/>
                </a:lnTo>
                <a:lnTo>
                  <a:pt x="1063" y="431"/>
                </a:lnTo>
                <a:lnTo>
                  <a:pt x="1058" y="437"/>
                </a:lnTo>
                <a:lnTo>
                  <a:pt x="1052" y="437"/>
                </a:lnTo>
                <a:lnTo>
                  <a:pt x="1047" y="437"/>
                </a:lnTo>
                <a:lnTo>
                  <a:pt x="1036" y="437"/>
                </a:lnTo>
                <a:lnTo>
                  <a:pt x="1030" y="437"/>
                </a:lnTo>
                <a:lnTo>
                  <a:pt x="1025" y="431"/>
                </a:lnTo>
                <a:lnTo>
                  <a:pt x="1019" y="431"/>
                </a:lnTo>
                <a:lnTo>
                  <a:pt x="1019" y="426"/>
                </a:lnTo>
                <a:lnTo>
                  <a:pt x="1014" y="426"/>
                </a:lnTo>
                <a:lnTo>
                  <a:pt x="1014" y="420"/>
                </a:lnTo>
                <a:lnTo>
                  <a:pt x="1008" y="420"/>
                </a:lnTo>
                <a:lnTo>
                  <a:pt x="1003" y="415"/>
                </a:lnTo>
                <a:lnTo>
                  <a:pt x="998" y="420"/>
                </a:lnTo>
                <a:lnTo>
                  <a:pt x="998" y="415"/>
                </a:lnTo>
                <a:lnTo>
                  <a:pt x="987" y="415"/>
                </a:lnTo>
                <a:lnTo>
                  <a:pt x="976" y="415"/>
                </a:lnTo>
                <a:lnTo>
                  <a:pt x="970" y="409"/>
                </a:lnTo>
                <a:lnTo>
                  <a:pt x="965" y="409"/>
                </a:lnTo>
                <a:lnTo>
                  <a:pt x="959" y="404"/>
                </a:lnTo>
                <a:lnTo>
                  <a:pt x="959" y="409"/>
                </a:lnTo>
                <a:lnTo>
                  <a:pt x="959" y="415"/>
                </a:lnTo>
                <a:lnTo>
                  <a:pt x="959" y="420"/>
                </a:lnTo>
                <a:lnTo>
                  <a:pt x="959" y="426"/>
                </a:lnTo>
                <a:lnTo>
                  <a:pt x="965" y="431"/>
                </a:lnTo>
                <a:lnTo>
                  <a:pt x="970" y="431"/>
                </a:lnTo>
                <a:lnTo>
                  <a:pt x="970" y="437"/>
                </a:lnTo>
                <a:lnTo>
                  <a:pt x="970" y="442"/>
                </a:lnTo>
                <a:lnTo>
                  <a:pt x="965" y="442"/>
                </a:lnTo>
                <a:lnTo>
                  <a:pt x="959" y="442"/>
                </a:lnTo>
                <a:lnTo>
                  <a:pt x="954" y="442"/>
                </a:lnTo>
                <a:lnTo>
                  <a:pt x="949" y="442"/>
                </a:lnTo>
                <a:lnTo>
                  <a:pt x="943" y="442"/>
                </a:lnTo>
                <a:lnTo>
                  <a:pt x="938" y="442"/>
                </a:lnTo>
                <a:lnTo>
                  <a:pt x="932" y="442"/>
                </a:lnTo>
                <a:lnTo>
                  <a:pt x="927" y="442"/>
                </a:lnTo>
                <a:lnTo>
                  <a:pt x="921" y="437"/>
                </a:lnTo>
                <a:lnTo>
                  <a:pt x="916" y="431"/>
                </a:lnTo>
                <a:lnTo>
                  <a:pt x="905" y="431"/>
                </a:lnTo>
                <a:lnTo>
                  <a:pt x="899" y="431"/>
                </a:lnTo>
                <a:lnTo>
                  <a:pt x="894" y="431"/>
                </a:lnTo>
                <a:lnTo>
                  <a:pt x="889" y="426"/>
                </a:lnTo>
                <a:lnTo>
                  <a:pt x="889" y="431"/>
                </a:lnTo>
                <a:lnTo>
                  <a:pt x="883" y="431"/>
                </a:lnTo>
                <a:lnTo>
                  <a:pt x="878" y="431"/>
                </a:lnTo>
                <a:lnTo>
                  <a:pt x="872" y="431"/>
                </a:lnTo>
                <a:lnTo>
                  <a:pt x="872" y="437"/>
                </a:lnTo>
                <a:lnTo>
                  <a:pt x="872" y="442"/>
                </a:lnTo>
                <a:lnTo>
                  <a:pt x="867" y="442"/>
                </a:lnTo>
                <a:lnTo>
                  <a:pt x="861" y="442"/>
                </a:lnTo>
                <a:lnTo>
                  <a:pt x="867" y="448"/>
                </a:lnTo>
                <a:lnTo>
                  <a:pt x="861" y="448"/>
                </a:lnTo>
                <a:lnTo>
                  <a:pt x="856" y="448"/>
                </a:lnTo>
                <a:lnTo>
                  <a:pt x="850" y="448"/>
                </a:lnTo>
                <a:lnTo>
                  <a:pt x="850" y="453"/>
                </a:lnTo>
                <a:lnTo>
                  <a:pt x="845" y="453"/>
                </a:lnTo>
                <a:lnTo>
                  <a:pt x="839" y="453"/>
                </a:lnTo>
                <a:lnTo>
                  <a:pt x="834" y="453"/>
                </a:lnTo>
                <a:lnTo>
                  <a:pt x="829" y="448"/>
                </a:lnTo>
                <a:lnTo>
                  <a:pt x="829" y="442"/>
                </a:lnTo>
                <a:lnTo>
                  <a:pt x="823" y="442"/>
                </a:lnTo>
                <a:lnTo>
                  <a:pt x="823" y="448"/>
                </a:lnTo>
                <a:lnTo>
                  <a:pt x="818" y="448"/>
                </a:lnTo>
                <a:lnTo>
                  <a:pt x="812" y="448"/>
                </a:lnTo>
                <a:lnTo>
                  <a:pt x="807" y="448"/>
                </a:lnTo>
                <a:lnTo>
                  <a:pt x="801" y="442"/>
                </a:lnTo>
                <a:lnTo>
                  <a:pt x="801" y="437"/>
                </a:lnTo>
                <a:lnTo>
                  <a:pt x="796" y="437"/>
                </a:lnTo>
                <a:lnTo>
                  <a:pt x="790" y="437"/>
                </a:lnTo>
                <a:lnTo>
                  <a:pt x="785" y="431"/>
                </a:lnTo>
                <a:lnTo>
                  <a:pt x="780" y="426"/>
                </a:lnTo>
                <a:lnTo>
                  <a:pt x="774" y="426"/>
                </a:lnTo>
                <a:lnTo>
                  <a:pt x="769" y="426"/>
                </a:lnTo>
                <a:lnTo>
                  <a:pt x="763" y="426"/>
                </a:lnTo>
                <a:lnTo>
                  <a:pt x="763" y="431"/>
                </a:lnTo>
                <a:lnTo>
                  <a:pt x="758" y="431"/>
                </a:lnTo>
                <a:lnTo>
                  <a:pt x="752" y="426"/>
                </a:lnTo>
                <a:lnTo>
                  <a:pt x="747" y="431"/>
                </a:lnTo>
                <a:lnTo>
                  <a:pt x="741" y="426"/>
                </a:lnTo>
                <a:lnTo>
                  <a:pt x="741" y="420"/>
                </a:lnTo>
                <a:lnTo>
                  <a:pt x="736" y="420"/>
                </a:lnTo>
                <a:lnTo>
                  <a:pt x="736" y="426"/>
                </a:lnTo>
                <a:lnTo>
                  <a:pt x="730" y="431"/>
                </a:lnTo>
                <a:lnTo>
                  <a:pt x="714" y="409"/>
                </a:lnTo>
                <a:lnTo>
                  <a:pt x="692" y="398"/>
                </a:lnTo>
                <a:lnTo>
                  <a:pt x="681" y="388"/>
                </a:lnTo>
                <a:lnTo>
                  <a:pt x="670" y="382"/>
                </a:lnTo>
                <a:lnTo>
                  <a:pt x="660" y="377"/>
                </a:lnTo>
                <a:lnTo>
                  <a:pt x="654" y="377"/>
                </a:lnTo>
                <a:lnTo>
                  <a:pt x="660" y="377"/>
                </a:lnTo>
                <a:lnTo>
                  <a:pt x="660" y="371"/>
                </a:lnTo>
                <a:lnTo>
                  <a:pt x="654" y="371"/>
                </a:lnTo>
                <a:lnTo>
                  <a:pt x="649" y="371"/>
                </a:lnTo>
                <a:lnTo>
                  <a:pt x="654" y="371"/>
                </a:lnTo>
                <a:lnTo>
                  <a:pt x="643" y="377"/>
                </a:lnTo>
                <a:lnTo>
                  <a:pt x="643" y="382"/>
                </a:lnTo>
                <a:lnTo>
                  <a:pt x="632" y="382"/>
                </a:lnTo>
                <a:lnTo>
                  <a:pt x="638" y="388"/>
                </a:lnTo>
                <a:lnTo>
                  <a:pt x="627" y="382"/>
                </a:lnTo>
                <a:lnTo>
                  <a:pt x="621" y="388"/>
                </a:lnTo>
                <a:lnTo>
                  <a:pt x="621" y="382"/>
                </a:lnTo>
                <a:lnTo>
                  <a:pt x="621" y="377"/>
                </a:lnTo>
                <a:lnTo>
                  <a:pt x="610" y="377"/>
                </a:lnTo>
                <a:lnTo>
                  <a:pt x="605" y="377"/>
                </a:lnTo>
                <a:lnTo>
                  <a:pt x="600" y="371"/>
                </a:lnTo>
                <a:lnTo>
                  <a:pt x="600" y="377"/>
                </a:lnTo>
                <a:lnTo>
                  <a:pt x="594" y="371"/>
                </a:lnTo>
                <a:lnTo>
                  <a:pt x="594" y="377"/>
                </a:lnTo>
                <a:lnTo>
                  <a:pt x="589" y="377"/>
                </a:lnTo>
                <a:lnTo>
                  <a:pt x="589" y="371"/>
                </a:lnTo>
                <a:lnTo>
                  <a:pt x="589" y="366"/>
                </a:lnTo>
                <a:lnTo>
                  <a:pt x="578" y="360"/>
                </a:lnTo>
                <a:lnTo>
                  <a:pt x="578" y="355"/>
                </a:lnTo>
                <a:lnTo>
                  <a:pt x="572" y="355"/>
                </a:lnTo>
                <a:lnTo>
                  <a:pt x="572" y="360"/>
                </a:lnTo>
                <a:lnTo>
                  <a:pt x="561" y="355"/>
                </a:lnTo>
                <a:lnTo>
                  <a:pt x="556" y="355"/>
                </a:lnTo>
                <a:lnTo>
                  <a:pt x="551" y="355"/>
                </a:lnTo>
                <a:lnTo>
                  <a:pt x="551" y="360"/>
                </a:lnTo>
                <a:lnTo>
                  <a:pt x="545" y="360"/>
                </a:lnTo>
                <a:lnTo>
                  <a:pt x="540" y="360"/>
                </a:lnTo>
                <a:lnTo>
                  <a:pt x="540" y="366"/>
                </a:lnTo>
                <a:lnTo>
                  <a:pt x="534" y="366"/>
                </a:lnTo>
                <a:lnTo>
                  <a:pt x="523" y="366"/>
                </a:lnTo>
                <a:lnTo>
                  <a:pt x="512" y="366"/>
                </a:lnTo>
                <a:lnTo>
                  <a:pt x="512" y="371"/>
                </a:lnTo>
                <a:lnTo>
                  <a:pt x="507" y="371"/>
                </a:lnTo>
                <a:lnTo>
                  <a:pt x="501" y="371"/>
                </a:lnTo>
                <a:lnTo>
                  <a:pt x="496" y="371"/>
                </a:lnTo>
                <a:lnTo>
                  <a:pt x="491" y="377"/>
                </a:lnTo>
                <a:lnTo>
                  <a:pt x="485" y="377"/>
                </a:lnTo>
                <a:lnTo>
                  <a:pt x="480" y="377"/>
                </a:lnTo>
                <a:lnTo>
                  <a:pt x="474" y="377"/>
                </a:lnTo>
                <a:lnTo>
                  <a:pt x="469" y="377"/>
                </a:lnTo>
                <a:lnTo>
                  <a:pt x="463" y="377"/>
                </a:lnTo>
                <a:lnTo>
                  <a:pt x="463" y="382"/>
                </a:lnTo>
                <a:lnTo>
                  <a:pt x="469" y="382"/>
                </a:lnTo>
                <a:lnTo>
                  <a:pt x="474" y="382"/>
                </a:lnTo>
                <a:lnTo>
                  <a:pt x="474" y="388"/>
                </a:lnTo>
                <a:lnTo>
                  <a:pt x="469" y="388"/>
                </a:lnTo>
                <a:lnTo>
                  <a:pt x="474" y="388"/>
                </a:lnTo>
                <a:lnTo>
                  <a:pt x="485" y="393"/>
                </a:lnTo>
                <a:lnTo>
                  <a:pt x="480" y="393"/>
                </a:lnTo>
                <a:lnTo>
                  <a:pt x="474" y="393"/>
                </a:lnTo>
                <a:lnTo>
                  <a:pt x="469" y="393"/>
                </a:lnTo>
                <a:lnTo>
                  <a:pt x="469" y="398"/>
                </a:lnTo>
                <a:lnTo>
                  <a:pt x="474" y="404"/>
                </a:lnTo>
                <a:lnTo>
                  <a:pt x="469" y="409"/>
                </a:lnTo>
                <a:lnTo>
                  <a:pt x="463" y="409"/>
                </a:lnTo>
                <a:lnTo>
                  <a:pt x="469" y="415"/>
                </a:lnTo>
                <a:lnTo>
                  <a:pt x="474" y="415"/>
                </a:lnTo>
                <a:lnTo>
                  <a:pt x="480" y="415"/>
                </a:lnTo>
                <a:lnTo>
                  <a:pt x="485" y="420"/>
                </a:lnTo>
                <a:lnTo>
                  <a:pt x="491" y="420"/>
                </a:lnTo>
                <a:lnTo>
                  <a:pt x="491" y="426"/>
                </a:lnTo>
                <a:lnTo>
                  <a:pt x="485" y="431"/>
                </a:lnTo>
                <a:lnTo>
                  <a:pt x="480" y="431"/>
                </a:lnTo>
                <a:lnTo>
                  <a:pt x="474" y="431"/>
                </a:lnTo>
                <a:lnTo>
                  <a:pt x="469" y="426"/>
                </a:lnTo>
                <a:lnTo>
                  <a:pt x="469" y="431"/>
                </a:lnTo>
                <a:lnTo>
                  <a:pt x="463" y="431"/>
                </a:lnTo>
                <a:lnTo>
                  <a:pt x="458" y="431"/>
                </a:lnTo>
                <a:lnTo>
                  <a:pt x="452" y="426"/>
                </a:lnTo>
                <a:lnTo>
                  <a:pt x="447" y="420"/>
                </a:lnTo>
                <a:lnTo>
                  <a:pt x="441" y="420"/>
                </a:lnTo>
                <a:lnTo>
                  <a:pt x="436" y="426"/>
                </a:lnTo>
                <a:lnTo>
                  <a:pt x="431" y="426"/>
                </a:lnTo>
                <a:lnTo>
                  <a:pt x="425" y="426"/>
                </a:lnTo>
                <a:lnTo>
                  <a:pt x="420" y="426"/>
                </a:lnTo>
                <a:lnTo>
                  <a:pt x="420" y="431"/>
                </a:lnTo>
                <a:lnTo>
                  <a:pt x="414" y="431"/>
                </a:lnTo>
                <a:lnTo>
                  <a:pt x="409" y="426"/>
                </a:lnTo>
                <a:lnTo>
                  <a:pt x="403" y="426"/>
                </a:lnTo>
                <a:lnTo>
                  <a:pt x="403" y="431"/>
                </a:lnTo>
                <a:lnTo>
                  <a:pt x="398" y="426"/>
                </a:lnTo>
                <a:lnTo>
                  <a:pt x="392" y="420"/>
                </a:lnTo>
                <a:lnTo>
                  <a:pt x="387" y="420"/>
                </a:lnTo>
                <a:lnTo>
                  <a:pt x="381" y="415"/>
                </a:lnTo>
                <a:lnTo>
                  <a:pt x="376" y="420"/>
                </a:lnTo>
                <a:lnTo>
                  <a:pt x="371" y="415"/>
                </a:lnTo>
                <a:lnTo>
                  <a:pt x="371" y="420"/>
                </a:lnTo>
                <a:lnTo>
                  <a:pt x="365" y="415"/>
                </a:lnTo>
                <a:lnTo>
                  <a:pt x="360" y="415"/>
                </a:lnTo>
                <a:lnTo>
                  <a:pt x="354" y="415"/>
                </a:lnTo>
                <a:lnTo>
                  <a:pt x="349" y="415"/>
                </a:lnTo>
                <a:lnTo>
                  <a:pt x="343" y="415"/>
                </a:lnTo>
                <a:lnTo>
                  <a:pt x="349" y="415"/>
                </a:lnTo>
                <a:lnTo>
                  <a:pt x="343" y="420"/>
                </a:lnTo>
                <a:lnTo>
                  <a:pt x="338" y="420"/>
                </a:lnTo>
                <a:lnTo>
                  <a:pt x="338" y="426"/>
                </a:lnTo>
                <a:lnTo>
                  <a:pt x="332" y="420"/>
                </a:lnTo>
                <a:lnTo>
                  <a:pt x="332" y="426"/>
                </a:lnTo>
                <a:lnTo>
                  <a:pt x="327" y="431"/>
                </a:lnTo>
                <a:lnTo>
                  <a:pt x="322" y="431"/>
                </a:lnTo>
                <a:lnTo>
                  <a:pt x="327" y="431"/>
                </a:lnTo>
                <a:lnTo>
                  <a:pt x="327" y="437"/>
                </a:lnTo>
                <a:lnTo>
                  <a:pt x="332" y="442"/>
                </a:lnTo>
                <a:lnTo>
                  <a:pt x="327" y="442"/>
                </a:lnTo>
                <a:lnTo>
                  <a:pt x="322" y="442"/>
                </a:lnTo>
                <a:lnTo>
                  <a:pt x="322" y="437"/>
                </a:lnTo>
                <a:lnTo>
                  <a:pt x="316" y="437"/>
                </a:lnTo>
                <a:lnTo>
                  <a:pt x="311" y="437"/>
                </a:lnTo>
                <a:lnTo>
                  <a:pt x="311" y="442"/>
                </a:lnTo>
                <a:lnTo>
                  <a:pt x="305" y="442"/>
                </a:lnTo>
                <a:lnTo>
                  <a:pt x="305" y="448"/>
                </a:lnTo>
                <a:lnTo>
                  <a:pt x="305" y="453"/>
                </a:lnTo>
                <a:lnTo>
                  <a:pt x="311" y="453"/>
                </a:lnTo>
                <a:lnTo>
                  <a:pt x="311" y="458"/>
                </a:lnTo>
                <a:lnTo>
                  <a:pt x="305" y="464"/>
                </a:lnTo>
                <a:lnTo>
                  <a:pt x="316" y="469"/>
                </a:lnTo>
                <a:lnTo>
                  <a:pt x="316" y="475"/>
                </a:lnTo>
                <a:lnTo>
                  <a:pt x="322" y="475"/>
                </a:lnTo>
                <a:lnTo>
                  <a:pt x="327" y="475"/>
                </a:lnTo>
                <a:lnTo>
                  <a:pt x="332" y="475"/>
                </a:lnTo>
                <a:lnTo>
                  <a:pt x="332" y="480"/>
                </a:lnTo>
                <a:lnTo>
                  <a:pt x="338" y="480"/>
                </a:lnTo>
                <a:lnTo>
                  <a:pt x="343" y="486"/>
                </a:lnTo>
                <a:lnTo>
                  <a:pt x="343" y="491"/>
                </a:lnTo>
                <a:lnTo>
                  <a:pt x="349" y="491"/>
                </a:lnTo>
                <a:lnTo>
                  <a:pt x="343" y="491"/>
                </a:lnTo>
                <a:lnTo>
                  <a:pt x="349" y="497"/>
                </a:lnTo>
                <a:lnTo>
                  <a:pt x="354" y="497"/>
                </a:lnTo>
                <a:lnTo>
                  <a:pt x="354" y="502"/>
                </a:lnTo>
                <a:lnTo>
                  <a:pt x="354" y="497"/>
                </a:lnTo>
                <a:lnTo>
                  <a:pt x="354" y="502"/>
                </a:lnTo>
                <a:lnTo>
                  <a:pt x="349" y="508"/>
                </a:lnTo>
                <a:lnTo>
                  <a:pt x="349" y="513"/>
                </a:lnTo>
                <a:lnTo>
                  <a:pt x="343" y="508"/>
                </a:lnTo>
                <a:lnTo>
                  <a:pt x="338" y="508"/>
                </a:lnTo>
                <a:lnTo>
                  <a:pt x="338" y="513"/>
                </a:lnTo>
                <a:lnTo>
                  <a:pt x="338" y="508"/>
                </a:lnTo>
                <a:lnTo>
                  <a:pt x="332" y="513"/>
                </a:lnTo>
                <a:lnTo>
                  <a:pt x="338" y="518"/>
                </a:lnTo>
                <a:lnTo>
                  <a:pt x="332" y="518"/>
                </a:lnTo>
                <a:lnTo>
                  <a:pt x="332" y="524"/>
                </a:lnTo>
                <a:lnTo>
                  <a:pt x="327" y="524"/>
                </a:lnTo>
                <a:lnTo>
                  <a:pt x="327" y="529"/>
                </a:lnTo>
                <a:lnTo>
                  <a:pt x="332" y="529"/>
                </a:lnTo>
                <a:lnTo>
                  <a:pt x="338" y="535"/>
                </a:lnTo>
                <a:lnTo>
                  <a:pt x="343" y="540"/>
                </a:lnTo>
                <a:lnTo>
                  <a:pt x="343" y="535"/>
                </a:lnTo>
                <a:lnTo>
                  <a:pt x="343" y="540"/>
                </a:lnTo>
                <a:lnTo>
                  <a:pt x="343" y="546"/>
                </a:lnTo>
                <a:lnTo>
                  <a:pt x="343" y="551"/>
                </a:lnTo>
                <a:lnTo>
                  <a:pt x="349" y="557"/>
                </a:lnTo>
                <a:lnTo>
                  <a:pt x="354" y="557"/>
                </a:lnTo>
                <a:lnTo>
                  <a:pt x="354" y="562"/>
                </a:lnTo>
                <a:lnTo>
                  <a:pt x="360" y="562"/>
                </a:lnTo>
                <a:lnTo>
                  <a:pt x="365" y="568"/>
                </a:lnTo>
                <a:lnTo>
                  <a:pt x="365" y="573"/>
                </a:lnTo>
                <a:lnTo>
                  <a:pt x="360" y="578"/>
                </a:lnTo>
                <a:lnTo>
                  <a:pt x="354" y="578"/>
                </a:lnTo>
                <a:lnTo>
                  <a:pt x="349" y="578"/>
                </a:lnTo>
                <a:lnTo>
                  <a:pt x="349" y="573"/>
                </a:lnTo>
                <a:lnTo>
                  <a:pt x="343" y="573"/>
                </a:lnTo>
                <a:lnTo>
                  <a:pt x="343" y="568"/>
                </a:lnTo>
                <a:lnTo>
                  <a:pt x="338" y="568"/>
                </a:lnTo>
                <a:lnTo>
                  <a:pt x="332" y="568"/>
                </a:lnTo>
                <a:lnTo>
                  <a:pt x="327" y="568"/>
                </a:lnTo>
                <a:lnTo>
                  <a:pt x="322" y="562"/>
                </a:lnTo>
                <a:lnTo>
                  <a:pt x="327" y="562"/>
                </a:lnTo>
                <a:lnTo>
                  <a:pt x="322" y="562"/>
                </a:lnTo>
                <a:lnTo>
                  <a:pt x="311" y="557"/>
                </a:lnTo>
                <a:lnTo>
                  <a:pt x="305" y="557"/>
                </a:lnTo>
                <a:lnTo>
                  <a:pt x="300" y="557"/>
                </a:lnTo>
                <a:lnTo>
                  <a:pt x="294" y="557"/>
                </a:lnTo>
                <a:lnTo>
                  <a:pt x="289" y="551"/>
                </a:lnTo>
                <a:lnTo>
                  <a:pt x="283" y="551"/>
                </a:lnTo>
                <a:lnTo>
                  <a:pt x="278" y="546"/>
                </a:lnTo>
                <a:lnTo>
                  <a:pt x="272" y="551"/>
                </a:lnTo>
                <a:lnTo>
                  <a:pt x="267" y="546"/>
                </a:lnTo>
                <a:lnTo>
                  <a:pt x="262" y="546"/>
                </a:lnTo>
                <a:lnTo>
                  <a:pt x="256" y="546"/>
                </a:lnTo>
                <a:lnTo>
                  <a:pt x="251" y="546"/>
                </a:lnTo>
                <a:lnTo>
                  <a:pt x="245" y="540"/>
                </a:lnTo>
                <a:lnTo>
                  <a:pt x="240" y="546"/>
                </a:lnTo>
                <a:lnTo>
                  <a:pt x="240" y="540"/>
                </a:lnTo>
                <a:lnTo>
                  <a:pt x="229" y="535"/>
                </a:lnTo>
                <a:lnTo>
                  <a:pt x="223" y="535"/>
                </a:lnTo>
                <a:lnTo>
                  <a:pt x="223" y="529"/>
                </a:lnTo>
                <a:lnTo>
                  <a:pt x="218" y="529"/>
                </a:lnTo>
                <a:lnTo>
                  <a:pt x="212" y="529"/>
                </a:lnTo>
                <a:lnTo>
                  <a:pt x="207" y="524"/>
                </a:lnTo>
                <a:lnTo>
                  <a:pt x="202" y="524"/>
                </a:lnTo>
                <a:lnTo>
                  <a:pt x="196" y="518"/>
                </a:lnTo>
                <a:lnTo>
                  <a:pt x="191" y="518"/>
                </a:lnTo>
                <a:lnTo>
                  <a:pt x="191" y="513"/>
                </a:lnTo>
                <a:lnTo>
                  <a:pt x="196" y="513"/>
                </a:lnTo>
                <a:lnTo>
                  <a:pt x="202" y="513"/>
                </a:lnTo>
                <a:lnTo>
                  <a:pt x="202" y="508"/>
                </a:lnTo>
                <a:lnTo>
                  <a:pt x="202" y="502"/>
                </a:lnTo>
                <a:lnTo>
                  <a:pt x="207" y="502"/>
                </a:lnTo>
                <a:lnTo>
                  <a:pt x="202" y="497"/>
                </a:lnTo>
                <a:lnTo>
                  <a:pt x="196" y="491"/>
                </a:lnTo>
                <a:lnTo>
                  <a:pt x="202" y="497"/>
                </a:lnTo>
                <a:lnTo>
                  <a:pt x="207" y="491"/>
                </a:lnTo>
                <a:lnTo>
                  <a:pt x="207" y="497"/>
                </a:lnTo>
                <a:lnTo>
                  <a:pt x="207" y="491"/>
                </a:lnTo>
                <a:lnTo>
                  <a:pt x="212" y="491"/>
                </a:lnTo>
                <a:lnTo>
                  <a:pt x="218" y="486"/>
                </a:lnTo>
                <a:lnTo>
                  <a:pt x="212" y="486"/>
                </a:lnTo>
                <a:lnTo>
                  <a:pt x="207" y="486"/>
                </a:lnTo>
                <a:lnTo>
                  <a:pt x="202" y="486"/>
                </a:lnTo>
                <a:lnTo>
                  <a:pt x="207" y="486"/>
                </a:lnTo>
                <a:lnTo>
                  <a:pt x="202" y="480"/>
                </a:lnTo>
                <a:lnTo>
                  <a:pt x="207" y="475"/>
                </a:lnTo>
                <a:lnTo>
                  <a:pt x="218" y="475"/>
                </a:lnTo>
                <a:lnTo>
                  <a:pt x="223" y="475"/>
                </a:lnTo>
                <a:lnTo>
                  <a:pt x="223" y="469"/>
                </a:lnTo>
                <a:lnTo>
                  <a:pt x="218" y="464"/>
                </a:lnTo>
                <a:lnTo>
                  <a:pt x="218" y="458"/>
                </a:lnTo>
                <a:lnTo>
                  <a:pt x="212" y="458"/>
                </a:lnTo>
                <a:lnTo>
                  <a:pt x="218" y="458"/>
                </a:lnTo>
                <a:lnTo>
                  <a:pt x="223" y="453"/>
                </a:lnTo>
                <a:lnTo>
                  <a:pt x="218" y="448"/>
                </a:lnTo>
                <a:lnTo>
                  <a:pt x="212" y="448"/>
                </a:lnTo>
                <a:lnTo>
                  <a:pt x="207" y="442"/>
                </a:lnTo>
                <a:lnTo>
                  <a:pt x="202" y="442"/>
                </a:lnTo>
                <a:lnTo>
                  <a:pt x="196" y="442"/>
                </a:lnTo>
                <a:lnTo>
                  <a:pt x="191" y="442"/>
                </a:lnTo>
                <a:lnTo>
                  <a:pt x="185" y="437"/>
                </a:lnTo>
                <a:lnTo>
                  <a:pt x="180" y="431"/>
                </a:lnTo>
                <a:lnTo>
                  <a:pt x="174" y="437"/>
                </a:lnTo>
                <a:lnTo>
                  <a:pt x="169" y="437"/>
                </a:lnTo>
                <a:lnTo>
                  <a:pt x="163" y="431"/>
                </a:lnTo>
                <a:lnTo>
                  <a:pt x="158" y="437"/>
                </a:lnTo>
                <a:lnTo>
                  <a:pt x="152" y="431"/>
                </a:lnTo>
                <a:lnTo>
                  <a:pt x="152" y="426"/>
                </a:lnTo>
                <a:lnTo>
                  <a:pt x="147" y="420"/>
                </a:lnTo>
                <a:lnTo>
                  <a:pt x="142" y="420"/>
                </a:lnTo>
                <a:lnTo>
                  <a:pt x="136" y="420"/>
                </a:lnTo>
                <a:lnTo>
                  <a:pt x="136" y="415"/>
                </a:lnTo>
                <a:lnTo>
                  <a:pt x="131" y="415"/>
                </a:lnTo>
                <a:lnTo>
                  <a:pt x="136" y="415"/>
                </a:lnTo>
                <a:lnTo>
                  <a:pt x="136" y="409"/>
                </a:lnTo>
                <a:lnTo>
                  <a:pt x="131" y="409"/>
                </a:lnTo>
                <a:lnTo>
                  <a:pt x="125" y="404"/>
                </a:lnTo>
                <a:lnTo>
                  <a:pt x="120" y="404"/>
                </a:lnTo>
                <a:lnTo>
                  <a:pt x="114" y="404"/>
                </a:lnTo>
                <a:lnTo>
                  <a:pt x="109" y="404"/>
                </a:lnTo>
                <a:lnTo>
                  <a:pt x="109" y="409"/>
                </a:lnTo>
                <a:lnTo>
                  <a:pt x="103" y="409"/>
                </a:lnTo>
                <a:lnTo>
                  <a:pt x="98" y="404"/>
                </a:lnTo>
                <a:lnTo>
                  <a:pt x="98" y="398"/>
                </a:lnTo>
                <a:lnTo>
                  <a:pt x="93" y="393"/>
                </a:lnTo>
                <a:lnTo>
                  <a:pt x="93" y="388"/>
                </a:lnTo>
                <a:lnTo>
                  <a:pt x="98" y="393"/>
                </a:lnTo>
                <a:lnTo>
                  <a:pt x="103" y="393"/>
                </a:lnTo>
                <a:lnTo>
                  <a:pt x="103" y="388"/>
                </a:lnTo>
                <a:lnTo>
                  <a:pt x="109" y="388"/>
                </a:lnTo>
                <a:lnTo>
                  <a:pt x="103" y="382"/>
                </a:lnTo>
                <a:lnTo>
                  <a:pt x="98" y="382"/>
                </a:lnTo>
                <a:lnTo>
                  <a:pt x="93" y="382"/>
                </a:lnTo>
                <a:lnTo>
                  <a:pt x="98" y="377"/>
                </a:lnTo>
                <a:lnTo>
                  <a:pt x="93" y="377"/>
                </a:lnTo>
                <a:lnTo>
                  <a:pt x="87" y="371"/>
                </a:lnTo>
                <a:lnTo>
                  <a:pt x="82" y="371"/>
                </a:lnTo>
                <a:lnTo>
                  <a:pt x="87" y="366"/>
                </a:lnTo>
                <a:lnTo>
                  <a:pt x="76" y="366"/>
                </a:lnTo>
                <a:lnTo>
                  <a:pt x="82" y="360"/>
                </a:lnTo>
                <a:lnTo>
                  <a:pt x="76" y="355"/>
                </a:lnTo>
                <a:lnTo>
                  <a:pt x="76" y="349"/>
                </a:lnTo>
                <a:lnTo>
                  <a:pt x="71" y="349"/>
                </a:lnTo>
                <a:lnTo>
                  <a:pt x="65" y="349"/>
                </a:lnTo>
                <a:lnTo>
                  <a:pt x="60" y="349"/>
                </a:lnTo>
                <a:lnTo>
                  <a:pt x="60" y="344"/>
                </a:lnTo>
                <a:lnTo>
                  <a:pt x="54" y="344"/>
                </a:lnTo>
                <a:lnTo>
                  <a:pt x="49" y="344"/>
                </a:lnTo>
                <a:lnTo>
                  <a:pt x="43" y="344"/>
                </a:lnTo>
                <a:lnTo>
                  <a:pt x="43" y="338"/>
                </a:lnTo>
                <a:lnTo>
                  <a:pt x="38" y="333"/>
                </a:lnTo>
                <a:lnTo>
                  <a:pt x="33" y="333"/>
                </a:lnTo>
                <a:lnTo>
                  <a:pt x="33" y="328"/>
                </a:lnTo>
                <a:lnTo>
                  <a:pt x="27" y="322"/>
                </a:lnTo>
                <a:lnTo>
                  <a:pt x="27" y="317"/>
                </a:lnTo>
                <a:lnTo>
                  <a:pt x="33" y="317"/>
                </a:lnTo>
                <a:lnTo>
                  <a:pt x="27" y="311"/>
                </a:lnTo>
                <a:lnTo>
                  <a:pt x="27" y="306"/>
                </a:lnTo>
                <a:lnTo>
                  <a:pt x="27" y="300"/>
                </a:lnTo>
                <a:lnTo>
                  <a:pt x="27" y="295"/>
                </a:lnTo>
                <a:lnTo>
                  <a:pt x="33" y="289"/>
                </a:lnTo>
                <a:lnTo>
                  <a:pt x="27" y="289"/>
                </a:lnTo>
                <a:lnTo>
                  <a:pt x="27" y="284"/>
                </a:lnTo>
                <a:lnTo>
                  <a:pt x="33" y="289"/>
                </a:lnTo>
                <a:lnTo>
                  <a:pt x="33" y="284"/>
                </a:lnTo>
                <a:lnTo>
                  <a:pt x="38" y="284"/>
                </a:lnTo>
                <a:lnTo>
                  <a:pt x="49" y="284"/>
                </a:lnTo>
                <a:lnTo>
                  <a:pt x="54" y="284"/>
                </a:lnTo>
                <a:lnTo>
                  <a:pt x="49" y="278"/>
                </a:lnTo>
                <a:lnTo>
                  <a:pt x="43" y="278"/>
                </a:lnTo>
                <a:lnTo>
                  <a:pt x="38" y="278"/>
                </a:lnTo>
                <a:lnTo>
                  <a:pt x="33" y="278"/>
                </a:lnTo>
                <a:lnTo>
                  <a:pt x="33" y="273"/>
                </a:lnTo>
                <a:lnTo>
                  <a:pt x="33" y="268"/>
                </a:lnTo>
                <a:lnTo>
                  <a:pt x="27" y="273"/>
                </a:lnTo>
                <a:lnTo>
                  <a:pt x="22" y="273"/>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grpSp>
        <p:nvGrpSpPr>
          <p:cNvPr id="106" name="Gruppieren 858">
            <a:extLst>
              <a:ext uri="{FF2B5EF4-FFF2-40B4-BE49-F238E27FC236}">
                <a16:creationId xmlns:a16="http://schemas.microsoft.com/office/drawing/2014/main" id="{E3CC3DDC-04BE-715C-4C63-43D668E61C2E}"/>
              </a:ext>
            </a:extLst>
          </p:cNvPr>
          <p:cNvGrpSpPr/>
          <p:nvPr/>
        </p:nvGrpSpPr>
        <p:grpSpPr>
          <a:xfrm>
            <a:off x="3236913" y="1506538"/>
            <a:ext cx="1090613" cy="206375"/>
            <a:chOff x="5554806" y="2245216"/>
            <a:chExt cx="1539876" cy="268287"/>
          </a:xfrm>
          <a:solidFill>
            <a:schemeClr val="bg2"/>
          </a:solidFill>
        </p:grpSpPr>
        <p:sp>
          <p:nvSpPr>
            <p:cNvPr id="107" name="Freeform 306">
              <a:extLst>
                <a:ext uri="{FF2B5EF4-FFF2-40B4-BE49-F238E27FC236}">
                  <a16:creationId xmlns:a16="http://schemas.microsoft.com/office/drawing/2014/main" id="{4282E480-3F92-0DD9-F0BD-0275E7B3D3C0}"/>
                </a:ext>
              </a:extLst>
            </p:cNvPr>
            <p:cNvSpPr>
              <a:spLocks/>
            </p:cNvSpPr>
            <p:nvPr/>
          </p:nvSpPr>
          <p:spPr bwMode="auto">
            <a:xfrm>
              <a:off x="5554806" y="2348403"/>
              <a:ext cx="215900" cy="165100"/>
            </a:xfrm>
            <a:custGeom>
              <a:avLst/>
              <a:gdLst>
                <a:gd name="T0" fmla="*/ 11 w 136"/>
                <a:gd name="T1" fmla="*/ 82 h 104"/>
                <a:gd name="T2" fmla="*/ 11 w 136"/>
                <a:gd name="T3" fmla="*/ 71 h 104"/>
                <a:gd name="T4" fmla="*/ 11 w 136"/>
                <a:gd name="T5" fmla="*/ 66 h 104"/>
                <a:gd name="T6" fmla="*/ 22 w 136"/>
                <a:gd name="T7" fmla="*/ 60 h 104"/>
                <a:gd name="T8" fmla="*/ 22 w 136"/>
                <a:gd name="T9" fmla="*/ 55 h 104"/>
                <a:gd name="T10" fmla="*/ 16 w 136"/>
                <a:gd name="T11" fmla="*/ 49 h 104"/>
                <a:gd name="T12" fmla="*/ 27 w 136"/>
                <a:gd name="T13" fmla="*/ 44 h 104"/>
                <a:gd name="T14" fmla="*/ 33 w 136"/>
                <a:gd name="T15" fmla="*/ 38 h 104"/>
                <a:gd name="T16" fmla="*/ 33 w 136"/>
                <a:gd name="T17" fmla="*/ 33 h 104"/>
                <a:gd name="T18" fmla="*/ 27 w 136"/>
                <a:gd name="T19" fmla="*/ 33 h 104"/>
                <a:gd name="T20" fmla="*/ 38 w 136"/>
                <a:gd name="T21" fmla="*/ 27 h 104"/>
                <a:gd name="T22" fmla="*/ 43 w 136"/>
                <a:gd name="T23" fmla="*/ 22 h 104"/>
                <a:gd name="T24" fmla="*/ 60 w 136"/>
                <a:gd name="T25" fmla="*/ 17 h 104"/>
                <a:gd name="T26" fmla="*/ 65 w 136"/>
                <a:gd name="T27" fmla="*/ 11 h 104"/>
                <a:gd name="T28" fmla="*/ 82 w 136"/>
                <a:gd name="T29" fmla="*/ 17 h 104"/>
                <a:gd name="T30" fmla="*/ 82 w 136"/>
                <a:gd name="T31" fmla="*/ 17 h 104"/>
                <a:gd name="T32" fmla="*/ 98 w 136"/>
                <a:gd name="T33" fmla="*/ 11 h 104"/>
                <a:gd name="T34" fmla="*/ 109 w 136"/>
                <a:gd name="T35" fmla="*/ 11 h 104"/>
                <a:gd name="T36" fmla="*/ 114 w 136"/>
                <a:gd name="T37" fmla="*/ 0 h 104"/>
                <a:gd name="T38" fmla="*/ 136 w 136"/>
                <a:gd name="T39" fmla="*/ 6 h 104"/>
                <a:gd name="T40" fmla="*/ 125 w 136"/>
                <a:gd name="T41" fmla="*/ 17 h 104"/>
                <a:gd name="T42" fmla="*/ 109 w 136"/>
                <a:gd name="T43" fmla="*/ 22 h 104"/>
                <a:gd name="T44" fmla="*/ 82 w 136"/>
                <a:gd name="T45" fmla="*/ 27 h 104"/>
                <a:gd name="T46" fmla="*/ 71 w 136"/>
                <a:gd name="T47" fmla="*/ 33 h 104"/>
                <a:gd name="T48" fmla="*/ 71 w 136"/>
                <a:gd name="T49" fmla="*/ 33 h 104"/>
                <a:gd name="T50" fmla="*/ 60 w 136"/>
                <a:gd name="T51" fmla="*/ 38 h 104"/>
                <a:gd name="T52" fmla="*/ 54 w 136"/>
                <a:gd name="T53" fmla="*/ 38 h 104"/>
                <a:gd name="T54" fmla="*/ 49 w 136"/>
                <a:gd name="T55" fmla="*/ 49 h 104"/>
                <a:gd name="T56" fmla="*/ 49 w 136"/>
                <a:gd name="T57" fmla="*/ 49 h 104"/>
                <a:gd name="T58" fmla="*/ 43 w 136"/>
                <a:gd name="T59" fmla="*/ 60 h 104"/>
                <a:gd name="T60" fmla="*/ 43 w 136"/>
                <a:gd name="T61" fmla="*/ 60 h 104"/>
                <a:gd name="T62" fmla="*/ 43 w 136"/>
                <a:gd name="T63" fmla="*/ 66 h 104"/>
                <a:gd name="T64" fmla="*/ 38 w 136"/>
                <a:gd name="T65" fmla="*/ 71 h 104"/>
                <a:gd name="T66" fmla="*/ 38 w 136"/>
                <a:gd name="T67" fmla="*/ 82 h 104"/>
                <a:gd name="T68" fmla="*/ 49 w 136"/>
                <a:gd name="T69" fmla="*/ 87 h 104"/>
                <a:gd name="T70" fmla="*/ 65 w 136"/>
                <a:gd name="T71" fmla="*/ 98 h 104"/>
                <a:gd name="T72" fmla="*/ 71 w 136"/>
                <a:gd name="T73" fmla="*/ 104 h 104"/>
                <a:gd name="T74" fmla="*/ 71 w 136"/>
                <a:gd name="T75" fmla="*/ 104 h 104"/>
                <a:gd name="T76" fmla="*/ 60 w 136"/>
                <a:gd name="T77" fmla="*/ 104 h 104"/>
                <a:gd name="T78" fmla="*/ 49 w 136"/>
                <a:gd name="T79" fmla="*/ 98 h 104"/>
                <a:gd name="T80" fmla="*/ 38 w 136"/>
                <a:gd name="T81" fmla="*/ 98 h 104"/>
                <a:gd name="T82" fmla="*/ 33 w 136"/>
                <a:gd name="T83" fmla="*/ 98 h 104"/>
                <a:gd name="T84" fmla="*/ 22 w 136"/>
                <a:gd name="T85" fmla="*/ 87 h 104"/>
                <a:gd name="T86" fmla="*/ 11 w 136"/>
                <a:gd name="T87" fmla="*/ 87 h 104"/>
                <a:gd name="T88" fmla="*/ 0 w 136"/>
                <a:gd name="T89" fmla="*/ 8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6" h="104">
                  <a:moveTo>
                    <a:pt x="0" y="82"/>
                  </a:moveTo>
                  <a:lnTo>
                    <a:pt x="11" y="82"/>
                  </a:lnTo>
                  <a:lnTo>
                    <a:pt x="11" y="77"/>
                  </a:lnTo>
                  <a:lnTo>
                    <a:pt x="11" y="71"/>
                  </a:lnTo>
                  <a:lnTo>
                    <a:pt x="5" y="66"/>
                  </a:lnTo>
                  <a:lnTo>
                    <a:pt x="11" y="66"/>
                  </a:lnTo>
                  <a:lnTo>
                    <a:pt x="11" y="60"/>
                  </a:lnTo>
                  <a:lnTo>
                    <a:pt x="22" y="60"/>
                  </a:lnTo>
                  <a:lnTo>
                    <a:pt x="16" y="60"/>
                  </a:lnTo>
                  <a:lnTo>
                    <a:pt x="22" y="55"/>
                  </a:lnTo>
                  <a:lnTo>
                    <a:pt x="11" y="49"/>
                  </a:lnTo>
                  <a:lnTo>
                    <a:pt x="16" y="49"/>
                  </a:lnTo>
                  <a:lnTo>
                    <a:pt x="22" y="44"/>
                  </a:lnTo>
                  <a:lnTo>
                    <a:pt x="27" y="44"/>
                  </a:lnTo>
                  <a:lnTo>
                    <a:pt x="22" y="38"/>
                  </a:lnTo>
                  <a:lnTo>
                    <a:pt x="33" y="38"/>
                  </a:lnTo>
                  <a:lnTo>
                    <a:pt x="27" y="38"/>
                  </a:lnTo>
                  <a:lnTo>
                    <a:pt x="33" y="33"/>
                  </a:lnTo>
                  <a:lnTo>
                    <a:pt x="22" y="27"/>
                  </a:lnTo>
                  <a:lnTo>
                    <a:pt x="27" y="33"/>
                  </a:lnTo>
                  <a:lnTo>
                    <a:pt x="33" y="27"/>
                  </a:lnTo>
                  <a:lnTo>
                    <a:pt x="38" y="27"/>
                  </a:lnTo>
                  <a:lnTo>
                    <a:pt x="38" y="22"/>
                  </a:lnTo>
                  <a:lnTo>
                    <a:pt x="43" y="22"/>
                  </a:lnTo>
                  <a:lnTo>
                    <a:pt x="49" y="22"/>
                  </a:lnTo>
                  <a:lnTo>
                    <a:pt x="60" y="17"/>
                  </a:lnTo>
                  <a:lnTo>
                    <a:pt x="65" y="17"/>
                  </a:lnTo>
                  <a:lnTo>
                    <a:pt x="65" y="11"/>
                  </a:lnTo>
                  <a:lnTo>
                    <a:pt x="71" y="11"/>
                  </a:lnTo>
                  <a:lnTo>
                    <a:pt x="82" y="17"/>
                  </a:lnTo>
                  <a:lnTo>
                    <a:pt x="82" y="11"/>
                  </a:lnTo>
                  <a:lnTo>
                    <a:pt x="82" y="17"/>
                  </a:lnTo>
                  <a:lnTo>
                    <a:pt x="93" y="11"/>
                  </a:lnTo>
                  <a:lnTo>
                    <a:pt x="98" y="11"/>
                  </a:lnTo>
                  <a:lnTo>
                    <a:pt x="103" y="6"/>
                  </a:lnTo>
                  <a:lnTo>
                    <a:pt x="109" y="11"/>
                  </a:lnTo>
                  <a:lnTo>
                    <a:pt x="109" y="6"/>
                  </a:lnTo>
                  <a:lnTo>
                    <a:pt x="114" y="0"/>
                  </a:lnTo>
                  <a:lnTo>
                    <a:pt x="125" y="0"/>
                  </a:lnTo>
                  <a:lnTo>
                    <a:pt x="136" y="6"/>
                  </a:lnTo>
                  <a:lnTo>
                    <a:pt x="136" y="11"/>
                  </a:lnTo>
                  <a:lnTo>
                    <a:pt x="125" y="17"/>
                  </a:lnTo>
                  <a:lnTo>
                    <a:pt x="114" y="17"/>
                  </a:lnTo>
                  <a:lnTo>
                    <a:pt x="109" y="22"/>
                  </a:lnTo>
                  <a:lnTo>
                    <a:pt x="93" y="22"/>
                  </a:lnTo>
                  <a:lnTo>
                    <a:pt x="82" y="27"/>
                  </a:lnTo>
                  <a:lnTo>
                    <a:pt x="76" y="27"/>
                  </a:lnTo>
                  <a:lnTo>
                    <a:pt x="71" y="33"/>
                  </a:lnTo>
                  <a:lnTo>
                    <a:pt x="65" y="33"/>
                  </a:lnTo>
                  <a:lnTo>
                    <a:pt x="71" y="33"/>
                  </a:lnTo>
                  <a:lnTo>
                    <a:pt x="65" y="38"/>
                  </a:lnTo>
                  <a:lnTo>
                    <a:pt x="60" y="38"/>
                  </a:lnTo>
                  <a:lnTo>
                    <a:pt x="60" y="44"/>
                  </a:lnTo>
                  <a:lnTo>
                    <a:pt x="54" y="38"/>
                  </a:lnTo>
                  <a:lnTo>
                    <a:pt x="60" y="44"/>
                  </a:lnTo>
                  <a:lnTo>
                    <a:pt x="49" y="49"/>
                  </a:lnTo>
                  <a:lnTo>
                    <a:pt x="54" y="55"/>
                  </a:lnTo>
                  <a:lnTo>
                    <a:pt x="49" y="49"/>
                  </a:lnTo>
                  <a:lnTo>
                    <a:pt x="49" y="55"/>
                  </a:lnTo>
                  <a:lnTo>
                    <a:pt x="43" y="60"/>
                  </a:lnTo>
                  <a:lnTo>
                    <a:pt x="38" y="60"/>
                  </a:lnTo>
                  <a:lnTo>
                    <a:pt x="43" y="60"/>
                  </a:lnTo>
                  <a:lnTo>
                    <a:pt x="38" y="66"/>
                  </a:lnTo>
                  <a:lnTo>
                    <a:pt x="43" y="66"/>
                  </a:lnTo>
                  <a:lnTo>
                    <a:pt x="38" y="66"/>
                  </a:lnTo>
                  <a:lnTo>
                    <a:pt x="38" y="71"/>
                  </a:lnTo>
                  <a:lnTo>
                    <a:pt x="43" y="77"/>
                  </a:lnTo>
                  <a:lnTo>
                    <a:pt x="38" y="82"/>
                  </a:lnTo>
                  <a:lnTo>
                    <a:pt x="43" y="82"/>
                  </a:lnTo>
                  <a:lnTo>
                    <a:pt x="49" y="87"/>
                  </a:lnTo>
                  <a:lnTo>
                    <a:pt x="54" y="93"/>
                  </a:lnTo>
                  <a:lnTo>
                    <a:pt x="65" y="98"/>
                  </a:lnTo>
                  <a:lnTo>
                    <a:pt x="71" y="98"/>
                  </a:lnTo>
                  <a:lnTo>
                    <a:pt x="71" y="104"/>
                  </a:lnTo>
                  <a:lnTo>
                    <a:pt x="65" y="104"/>
                  </a:lnTo>
                  <a:lnTo>
                    <a:pt x="71" y="104"/>
                  </a:lnTo>
                  <a:lnTo>
                    <a:pt x="60" y="98"/>
                  </a:lnTo>
                  <a:lnTo>
                    <a:pt x="60" y="104"/>
                  </a:lnTo>
                  <a:lnTo>
                    <a:pt x="54" y="104"/>
                  </a:lnTo>
                  <a:lnTo>
                    <a:pt x="49" y="98"/>
                  </a:lnTo>
                  <a:lnTo>
                    <a:pt x="49" y="104"/>
                  </a:lnTo>
                  <a:lnTo>
                    <a:pt x="38" y="98"/>
                  </a:lnTo>
                  <a:lnTo>
                    <a:pt x="27" y="98"/>
                  </a:lnTo>
                  <a:lnTo>
                    <a:pt x="33" y="98"/>
                  </a:lnTo>
                  <a:lnTo>
                    <a:pt x="27" y="93"/>
                  </a:lnTo>
                  <a:lnTo>
                    <a:pt x="22" y="87"/>
                  </a:lnTo>
                  <a:lnTo>
                    <a:pt x="16" y="87"/>
                  </a:lnTo>
                  <a:lnTo>
                    <a:pt x="11" y="87"/>
                  </a:lnTo>
                  <a:lnTo>
                    <a:pt x="5" y="87"/>
                  </a:lnTo>
                  <a:lnTo>
                    <a:pt x="0" y="82"/>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8" name="Freeform 708">
              <a:extLst>
                <a:ext uri="{FF2B5EF4-FFF2-40B4-BE49-F238E27FC236}">
                  <a16:creationId xmlns:a16="http://schemas.microsoft.com/office/drawing/2014/main" id="{18097B75-4173-71D9-F1F4-617BA999B62E}"/>
                </a:ext>
              </a:extLst>
            </p:cNvPr>
            <p:cNvSpPr>
              <a:spLocks/>
            </p:cNvSpPr>
            <p:nvPr/>
          </p:nvSpPr>
          <p:spPr bwMode="auto">
            <a:xfrm>
              <a:off x="6056457" y="2245216"/>
              <a:ext cx="87313" cy="25400"/>
            </a:xfrm>
            <a:custGeom>
              <a:avLst/>
              <a:gdLst>
                <a:gd name="T0" fmla="*/ 0 w 55"/>
                <a:gd name="T1" fmla="*/ 16 h 16"/>
                <a:gd name="T2" fmla="*/ 6 w 55"/>
                <a:gd name="T3" fmla="*/ 11 h 16"/>
                <a:gd name="T4" fmla="*/ 0 w 55"/>
                <a:gd name="T5" fmla="*/ 5 h 16"/>
                <a:gd name="T6" fmla="*/ 6 w 55"/>
                <a:gd name="T7" fmla="*/ 5 h 16"/>
                <a:gd name="T8" fmla="*/ 16 w 55"/>
                <a:gd name="T9" fmla="*/ 0 h 16"/>
                <a:gd name="T10" fmla="*/ 22 w 55"/>
                <a:gd name="T11" fmla="*/ 0 h 16"/>
                <a:gd name="T12" fmla="*/ 27 w 55"/>
                <a:gd name="T13" fmla="*/ 0 h 16"/>
                <a:gd name="T14" fmla="*/ 38 w 55"/>
                <a:gd name="T15" fmla="*/ 5 h 16"/>
                <a:gd name="T16" fmla="*/ 49 w 55"/>
                <a:gd name="T17" fmla="*/ 5 h 16"/>
                <a:gd name="T18" fmla="*/ 49 w 55"/>
                <a:gd name="T19" fmla="*/ 11 h 16"/>
                <a:gd name="T20" fmla="*/ 55 w 55"/>
                <a:gd name="T21" fmla="*/ 16 h 16"/>
                <a:gd name="T22" fmla="*/ 38 w 55"/>
                <a:gd name="T23" fmla="*/ 16 h 16"/>
                <a:gd name="T24" fmla="*/ 27 w 55"/>
                <a:gd name="T25" fmla="*/ 16 h 16"/>
                <a:gd name="T26" fmla="*/ 22 w 55"/>
                <a:gd name="T27" fmla="*/ 16 h 16"/>
                <a:gd name="T28" fmla="*/ 6 w 55"/>
                <a:gd name="T29" fmla="*/ 16 h 16"/>
                <a:gd name="T30" fmla="*/ 0 w 55"/>
                <a:gd name="T3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6">
                  <a:moveTo>
                    <a:pt x="0" y="16"/>
                  </a:moveTo>
                  <a:lnTo>
                    <a:pt x="6" y="11"/>
                  </a:lnTo>
                  <a:lnTo>
                    <a:pt x="0" y="5"/>
                  </a:lnTo>
                  <a:lnTo>
                    <a:pt x="6" y="5"/>
                  </a:lnTo>
                  <a:lnTo>
                    <a:pt x="16" y="0"/>
                  </a:lnTo>
                  <a:lnTo>
                    <a:pt x="22" y="0"/>
                  </a:lnTo>
                  <a:lnTo>
                    <a:pt x="27" y="0"/>
                  </a:lnTo>
                  <a:lnTo>
                    <a:pt x="38" y="5"/>
                  </a:lnTo>
                  <a:lnTo>
                    <a:pt x="49" y="5"/>
                  </a:lnTo>
                  <a:lnTo>
                    <a:pt x="49" y="11"/>
                  </a:lnTo>
                  <a:lnTo>
                    <a:pt x="55" y="16"/>
                  </a:lnTo>
                  <a:lnTo>
                    <a:pt x="38" y="16"/>
                  </a:lnTo>
                  <a:lnTo>
                    <a:pt x="27" y="16"/>
                  </a:lnTo>
                  <a:lnTo>
                    <a:pt x="22" y="16"/>
                  </a:lnTo>
                  <a:lnTo>
                    <a:pt x="6" y="16"/>
                  </a:lnTo>
                  <a:lnTo>
                    <a:pt x="0" y="16"/>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09" name="Freeform 709">
              <a:extLst>
                <a:ext uri="{FF2B5EF4-FFF2-40B4-BE49-F238E27FC236}">
                  <a16:creationId xmlns:a16="http://schemas.microsoft.com/office/drawing/2014/main" id="{915F601B-A345-85A9-FD29-BEE7B9ECCB87}"/>
                </a:ext>
              </a:extLst>
            </p:cNvPr>
            <p:cNvSpPr>
              <a:spLocks/>
            </p:cNvSpPr>
            <p:nvPr/>
          </p:nvSpPr>
          <p:spPr bwMode="auto">
            <a:xfrm>
              <a:off x="6091382" y="2270616"/>
              <a:ext cx="112713" cy="34925"/>
            </a:xfrm>
            <a:custGeom>
              <a:avLst/>
              <a:gdLst>
                <a:gd name="T0" fmla="*/ 0 w 71"/>
                <a:gd name="T1" fmla="*/ 11 h 22"/>
                <a:gd name="T2" fmla="*/ 5 w 71"/>
                <a:gd name="T3" fmla="*/ 6 h 22"/>
                <a:gd name="T4" fmla="*/ 11 w 71"/>
                <a:gd name="T5" fmla="*/ 6 h 22"/>
                <a:gd name="T6" fmla="*/ 11 w 71"/>
                <a:gd name="T7" fmla="*/ 0 h 22"/>
                <a:gd name="T8" fmla="*/ 16 w 71"/>
                <a:gd name="T9" fmla="*/ 0 h 22"/>
                <a:gd name="T10" fmla="*/ 27 w 71"/>
                <a:gd name="T11" fmla="*/ 0 h 22"/>
                <a:gd name="T12" fmla="*/ 33 w 71"/>
                <a:gd name="T13" fmla="*/ 0 h 22"/>
                <a:gd name="T14" fmla="*/ 38 w 71"/>
                <a:gd name="T15" fmla="*/ 0 h 22"/>
                <a:gd name="T16" fmla="*/ 38 w 71"/>
                <a:gd name="T17" fmla="*/ 6 h 22"/>
                <a:gd name="T18" fmla="*/ 43 w 71"/>
                <a:gd name="T19" fmla="*/ 0 h 22"/>
                <a:gd name="T20" fmla="*/ 49 w 71"/>
                <a:gd name="T21" fmla="*/ 0 h 22"/>
                <a:gd name="T22" fmla="*/ 60 w 71"/>
                <a:gd name="T23" fmla="*/ 6 h 22"/>
                <a:gd name="T24" fmla="*/ 65 w 71"/>
                <a:gd name="T25" fmla="*/ 11 h 22"/>
                <a:gd name="T26" fmla="*/ 65 w 71"/>
                <a:gd name="T27" fmla="*/ 16 h 22"/>
                <a:gd name="T28" fmla="*/ 60 w 71"/>
                <a:gd name="T29" fmla="*/ 11 h 22"/>
                <a:gd name="T30" fmla="*/ 71 w 71"/>
                <a:gd name="T31" fmla="*/ 16 h 22"/>
                <a:gd name="T32" fmla="*/ 71 w 71"/>
                <a:gd name="T33" fmla="*/ 22 h 22"/>
                <a:gd name="T34" fmla="*/ 60 w 71"/>
                <a:gd name="T35" fmla="*/ 22 h 22"/>
                <a:gd name="T36" fmla="*/ 43 w 71"/>
                <a:gd name="T37" fmla="*/ 16 h 22"/>
                <a:gd name="T38" fmla="*/ 33 w 71"/>
                <a:gd name="T39" fmla="*/ 16 h 22"/>
                <a:gd name="T40" fmla="*/ 27 w 71"/>
                <a:gd name="T41" fmla="*/ 16 h 22"/>
                <a:gd name="T42" fmla="*/ 22 w 71"/>
                <a:gd name="T43" fmla="*/ 16 h 22"/>
                <a:gd name="T44" fmla="*/ 16 w 71"/>
                <a:gd name="T45" fmla="*/ 16 h 22"/>
                <a:gd name="T46" fmla="*/ 11 w 71"/>
                <a:gd name="T47" fmla="*/ 11 h 22"/>
                <a:gd name="T48" fmla="*/ 0 w 71"/>
                <a:gd name="T4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1" h="22">
                  <a:moveTo>
                    <a:pt x="0" y="11"/>
                  </a:moveTo>
                  <a:lnTo>
                    <a:pt x="5" y="6"/>
                  </a:lnTo>
                  <a:lnTo>
                    <a:pt x="11" y="6"/>
                  </a:lnTo>
                  <a:lnTo>
                    <a:pt x="11" y="0"/>
                  </a:lnTo>
                  <a:lnTo>
                    <a:pt x="16" y="0"/>
                  </a:lnTo>
                  <a:lnTo>
                    <a:pt x="27" y="0"/>
                  </a:lnTo>
                  <a:lnTo>
                    <a:pt x="33" y="0"/>
                  </a:lnTo>
                  <a:lnTo>
                    <a:pt x="38" y="0"/>
                  </a:lnTo>
                  <a:lnTo>
                    <a:pt x="38" y="6"/>
                  </a:lnTo>
                  <a:lnTo>
                    <a:pt x="43" y="0"/>
                  </a:lnTo>
                  <a:lnTo>
                    <a:pt x="49" y="0"/>
                  </a:lnTo>
                  <a:lnTo>
                    <a:pt x="60" y="6"/>
                  </a:lnTo>
                  <a:lnTo>
                    <a:pt x="65" y="11"/>
                  </a:lnTo>
                  <a:lnTo>
                    <a:pt x="65" y="16"/>
                  </a:lnTo>
                  <a:lnTo>
                    <a:pt x="60" y="11"/>
                  </a:lnTo>
                  <a:lnTo>
                    <a:pt x="71" y="16"/>
                  </a:lnTo>
                  <a:lnTo>
                    <a:pt x="71" y="22"/>
                  </a:lnTo>
                  <a:lnTo>
                    <a:pt x="60" y="22"/>
                  </a:lnTo>
                  <a:lnTo>
                    <a:pt x="43" y="16"/>
                  </a:lnTo>
                  <a:lnTo>
                    <a:pt x="33" y="16"/>
                  </a:lnTo>
                  <a:lnTo>
                    <a:pt x="27" y="16"/>
                  </a:lnTo>
                  <a:lnTo>
                    <a:pt x="22" y="16"/>
                  </a:lnTo>
                  <a:lnTo>
                    <a:pt x="16" y="16"/>
                  </a:lnTo>
                  <a:lnTo>
                    <a:pt x="11" y="11"/>
                  </a:lnTo>
                  <a:lnTo>
                    <a:pt x="0" y="11"/>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0" name="Freeform 712">
              <a:extLst>
                <a:ext uri="{FF2B5EF4-FFF2-40B4-BE49-F238E27FC236}">
                  <a16:creationId xmlns:a16="http://schemas.microsoft.com/office/drawing/2014/main" id="{EF5CD223-9A48-D7C8-D436-936966C5336E}"/>
                </a:ext>
              </a:extLst>
            </p:cNvPr>
            <p:cNvSpPr>
              <a:spLocks/>
            </p:cNvSpPr>
            <p:nvPr/>
          </p:nvSpPr>
          <p:spPr bwMode="auto">
            <a:xfrm>
              <a:off x="6186632" y="2280141"/>
              <a:ext cx="7938" cy="7938"/>
            </a:xfrm>
            <a:custGeom>
              <a:avLst/>
              <a:gdLst>
                <a:gd name="T0" fmla="*/ 0 w 5"/>
                <a:gd name="T1" fmla="*/ 0 h 5"/>
                <a:gd name="T2" fmla="*/ 5 w 5"/>
                <a:gd name="T3" fmla="*/ 0 h 5"/>
                <a:gd name="T4" fmla="*/ 5 w 5"/>
                <a:gd name="T5" fmla="*/ 5 h 5"/>
                <a:gd name="T6" fmla="*/ 0 w 5"/>
                <a:gd name="T7" fmla="*/ 0 h 5"/>
              </a:gdLst>
              <a:ahLst/>
              <a:cxnLst>
                <a:cxn ang="0">
                  <a:pos x="T0" y="T1"/>
                </a:cxn>
                <a:cxn ang="0">
                  <a:pos x="T2" y="T3"/>
                </a:cxn>
                <a:cxn ang="0">
                  <a:pos x="T4" y="T5"/>
                </a:cxn>
                <a:cxn ang="0">
                  <a:pos x="T6" y="T7"/>
                </a:cxn>
              </a:cxnLst>
              <a:rect l="0" t="0" r="r" b="b"/>
              <a:pathLst>
                <a:path w="5" h="5">
                  <a:moveTo>
                    <a:pt x="0" y="0"/>
                  </a:moveTo>
                  <a:lnTo>
                    <a:pt x="5" y="0"/>
                  </a:lnTo>
                  <a:lnTo>
                    <a:pt x="5" y="5"/>
                  </a:lnTo>
                  <a:lnTo>
                    <a:pt x="0" y="0"/>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1" name="Freeform 715">
              <a:extLst>
                <a:ext uri="{FF2B5EF4-FFF2-40B4-BE49-F238E27FC236}">
                  <a16:creationId xmlns:a16="http://schemas.microsoft.com/office/drawing/2014/main" id="{681D9DC9-F019-FBD5-739B-0B5021964111}"/>
                </a:ext>
              </a:extLst>
            </p:cNvPr>
            <p:cNvSpPr>
              <a:spLocks/>
            </p:cNvSpPr>
            <p:nvPr/>
          </p:nvSpPr>
          <p:spPr bwMode="auto">
            <a:xfrm>
              <a:off x="6221557" y="2288079"/>
              <a:ext cx="77788" cy="34925"/>
            </a:xfrm>
            <a:custGeom>
              <a:avLst/>
              <a:gdLst>
                <a:gd name="T0" fmla="*/ 0 w 49"/>
                <a:gd name="T1" fmla="*/ 22 h 22"/>
                <a:gd name="T2" fmla="*/ 0 w 49"/>
                <a:gd name="T3" fmla="*/ 16 h 22"/>
                <a:gd name="T4" fmla="*/ 0 w 49"/>
                <a:gd name="T5" fmla="*/ 11 h 22"/>
                <a:gd name="T6" fmla="*/ 0 w 49"/>
                <a:gd name="T7" fmla="*/ 5 h 22"/>
                <a:gd name="T8" fmla="*/ 5 w 49"/>
                <a:gd name="T9" fmla="*/ 0 h 22"/>
                <a:gd name="T10" fmla="*/ 16 w 49"/>
                <a:gd name="T11" fmla="*/ 5 h 22"/>
                <a:gd name="T12" fmla="*/ 16 w 49"/>
                <a:gd name="T13" fmla="*/ 11 h 22"/>
                <a:gd name="T14" fmla="*/ 16 w 49"/>
                <a:gd name="T15" fmla="*/ 5 h 22"/>
                <a:gd name="T16" fmla="*/ 27 w 49"/>
                <a:gd name="T17" fmla="*/ 5 h 22"/>
                <a:gd name="T18" fmla="*/ 32 w 49"/>
                <a:gd name="T19" fmla="*/ 11 h 22"/>
                <a:gd name="T20" fmla="*/ 43 w 49"/>
                <a:gd name="T21" fmla="*/ 11 h 22"/>
                <a:gd name="T22" fmla="*/ 49 w 49"/>
                <a:gd name="T23" fmla="*/ 16 h 22"/>
                <a:gd name="T24" fmla="*/ 43 w 49"/>
                <a:gd name="T25" fmla="*/ 16 h 22"/>
                <a:gd name="T26" fmla="*/ 38 w 49"/>
                <a:gd name="T27" fmla="*/ 16 h 22"/>
                <a:gd name="T28" fmla="*/ 32 w 49"/>
                <a:gd name="T29" fmla="*/ 22 h 22"/>
                <a:gd name="T30" fmla="*/ 27 w 49"/>
                <a:gd name="T31" fmla="*/ 22 h 22"/>
                <a:gd name="T32" fmla="*/ 16 w 49"/>
                <a:gd name="T33" fmla="*/ 22 h 22"/>
                <a:gd name="T34" fmla="*/ 11 w 49"/>
                <a:gd name="T35" fmla="*/ 22 h 22"/>
                <a:gd name="T36" fmla="*/ 5 w 49"/>
                <a:gd name="T37" fmla="*/ 22 h 22"/>
                <a:gd name="T38" fmla="*/ 0 w 49"/>
                <a:gd name="T3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22">
                  <a:moveTo>
                    <a:pt x="0" y="22"/>
                  </a:moveTo>
                  <a:lnTo>
                    <a:pt x="0" y="16"/>
                  </a:lnTo>
                  <a:lnTo>
                    <a:pt x="0" y="11"/>
                  </a:lnTo>
                  <a:lnTo>
                    <a:pt x="0" y="5"/>
                  </a:lnTo>
                  <a:lnTo>
                    <a:pt x="5" y="0"/>
                  </a:lnTo>
                  <a:lnTo>
                    <a:pt x="16" y="5"/>
                  </a:lnTo>
                  <a:lnTo>
                    <a:pt x="16" y="11"/>
                  </a:lnTo>
                  <a:lnTo>
                    <a:pt x="16" y="5"/>
                  </a:lnTo>
                  <a:lnTo>
                    <a:pt x="27" y="5"/>
                  </a:lnTo>
                  <a:lnTo>
                    <a:pt x="32" y="11"/>
                  </a:lnTo>
                  <a:lnTo>
                    <a:pt x="43" y="11"/>
                  </a:lnTo>
                  <a:lnTo>
                    <a:pt x="49" y="16"/>
                  </a:lnTo>
                  <a:lnTo>
                    <a:pt x="43" y="16"/>
                  </a:lnTo>
                  <a:lnTo>
                    <a:pt x="38" y="16"/>
                  </a:lnTo>
                  <a:lnTo>
                    <a:pt x="32" y="22"/>
                  </a:lnTo>
                  <a:lnTo>
                    <a:pt x="27" y="22"/>
                  </a:lnTo>
                  <a:lnTo>
                    <a:pt x="16" y="22"/>
                  </a:lnTo>
                  <a:lnTo>
                    <a:pt x="11" y="22"/>
                  </a:lnTo>
                  <a:lnTo>
                    <a:pt x="5" y="22"/>
                  </a:lnTo>
                  <a:lnTo>
                    <a:pt x="0" y="22"/>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2" name="Freeform 724">
              <a:extLst>
                <a:ext uri="{FF2B5EF4-FFF2-40B4-BE49-F238E27FC236}">
                  <a16:creationId xmlns:a16="http://schemas.microsoft.com/office/drawing/2014/main" id="{7EEAE306-A7BA-9BC2-115E-BD3A171EBA43}"/>
                </a:ext>
              </a:extLst>
            </p:cNvPr>
            <p:cNvSpPr>
              <a:spLocks/>
            </p:cNvSpPr>
            <p:nvPr/>
          </p:nvSpPr>
          <p:spPr bwMode="auto">
            <a:xfrm>
              <a:off x="6861319" y="2365866"/>
              <a:ext cx="138113" cy="42863"/>
            </a:xfrm>
            <a:custGeom>
              <a:avLst/>
              <a:gdLst>
                <a:gd name="T0" fmla="*/ 0 w 87"/>
                <a:gd name="T1" fmla="*/ 6 h 27"/>
                <a:gd name="T2" fmla="*/ 11 w 87"/>
                <a:gd name="T3" fmla="*/ 0 h 27"/>
                <a:gd name="T4" fmla="*/ 22 w 87"/>
                <a:gd name="T5" fmla="*/ 6 h 27"/>
                <a:gd name="T6" fmla="*/ 38 w 87"/>
                <a:gd name="T7" fmla="*/ 11 h 27"/>
                <a:gd name="T8" fmla="*/ 33 w 87"/>
                <a:gd name="T9" fmla="*/ 11 h 27"/>
                <a:gd name="T10" fmla="*/ 33 w 87"/>
                <a:gd name="T11" fmla="*/ 6 h 27"/>
                <a:gd name="T12" fmla="*/ 38 w 87"/>
                <a:gd name="T13" fmla="*/ 6 h 27"/>
                <a:gd name="T14" fmla="*/ 33 w 87"/>
                <a:gd name="T15" fmla="*/ 6 h 27"/>
                <a:gd name="T16" fmla="*/ 38 w 87"/>
                <a:gd name="T17" fmla="*/ 6 h 27"/>
                <a:gd name="T18" fmla="*/ 49 w 87"/>
                <a:gd name="T19" fmla="*/ 6 h 27"/>
                <a:gd name="T20" fmla="*/ 66 w 87"/>
                <a:gd name="T21" fmla="*/ 11 h 27"/>
                <a:gd name="T22" fmla="*/ 71 w 87"/>
                <a:gd name="T23" fmla="*/ 11 h 27"/>
                <a:gd name="T24" fmla="*/ 82 w 87"/>
                <a:gd name="T25" fmla="*/ 11 h 27"/>
                <a:gd name="T26" fmla="*/ 87 w 87"/>
                <a:gd name="T27" fmla="*/ 16 h 27"/>
                <a:gd name="T28" fmla="*/ 82 w 87"/>
                <a:gd name="T29" fmla="*/ 16 h 27"/>
                <a:gd name="T30" fmla="*/ 87 w 87"/>
                <a:gd name="T31" fmla="*/ 16 h 27"/>
                <a:gd name="T32" fmla="*/ 82 w 87"/>
                <a:gd name="T33" fmla="*/ 22 h 27"/>
                <a:gd name="T34" fmla="*/ 76 w 87"/>
                <a:gd name="T35" fmla="*/ 22 h 27"/>
                <a:gd name="T36" fmla="*/ 71 w 87"/>
                <a:gd name="T37" fmla="*/ 27 h 27"/>
                <a:gd name="T38" fmla="*/ 60 w 87"/>
                <a:gd name="T39" fmla="*/ 22 h 27"/>
                <a:gd name="T40" fmla="*/ 44 w 87"/>
                <a:gd name="T41" fmla="*/ 27 h 27"/>
                <a:gd name="T42" fmla="*/ 38 w 87"/>
                <a:gd name="T43" fmla="*/ 22 h 27"/>
                <a:gd name="T44" fmla="*/ 38 w 87"/>
                <a:gd name="T45" fmla="*/ 27 h 27"/>
                <a:gd name="T46" fmla="*/ 27 w 87"/>
                <a:gd name="T47" fmla="*/ 27 h 27"/>
                <a:gd name="T48" fmla="*/ 22 w 87"/>
                <a:gd name="T49" fmla="*/ 22 h 27"/>
                <a:gd name="T50" fmla="*/ 11 w 87"/>
                <a:gd name="T51" fmla="*/ 22 h 27"/>
                <a:gd name="T52" fmla="*/ 6 w 87"/>
                <a:gd name="T53" fmla="*/ 16 h 27"/>
                <a:gd name="T54" fmla="*/ 0 w 87"/>
                <a:gd name="T55" fmla="*/ 11 h 27"/>
                <a:gd name="T56" fmla="*/ 0 w 87"/>
                <a:gd name="T5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 h="27">
                  <a:moveTo>
                    <a:pt x="0" y="6"/>
                  </a:moveTo>
                  <a:lnTo>
                    <a:pt x="11" y="0"/>
                  </a:lnTo>
                  <a:lnTo>
                    <a:pt x="22" y="6"/>
                  </a:lnTo>
                  <a:lnTo>
                    <a:pt x="38" y="11"/>
                  </a:lnTo>
                  <a:lnTo>
                    <a:pt x="33" y="11"/>
                  </a:lnTo>
                  <a:lnTo>
                    <a:pt x="33" y="6"/>
                  </a:lnTo>
                  <a:lnTo>
                    <a:pt x="38" y="6"/>
                  </a:lnTo>
                  <a:lnTo>
                    <a:pt x="33" y="6"/>
                  </a:lnTo>
                  <a:lnTo>
                    <a:pt x="38" y="6"/>
                  </a:lnTo>
                  <a:lnTo>
                    <a:pt x="49" y="6"/>
                  </a:lnTo>
                  <a:lnTo>
                    <a:pt x="66" y="11"/>
                  </a:lnTo>
                  <a:lnTo>
                    <a:pt x="71" y="11"/>
                  </a:lnTo>
                  <a:lnTo>
                    <a:pt x="82" y="11"/>
                  </a:lnTo>
                  <a:lnTo>
                    <a:pt x="87" y="16"/>
                  </a:lnTo>
                  <a:lnTo>
                    <a:pt x="82" y="16"/>
                  </a:lnTo>
                  <a:lnTo>
                    <a:pt x="87" y="16"/>
                  </a:lnTo>
                  <a:lnTo>
                    <a:pt x="82" y="22"/>
                  </a:lnTo>
                  <a:lnTo>
                    <a:pt x="76" y="22"/>
                  </a:lnTo>
                  <a:lnTo>
                    <a:pt x="71" y="27"/>
                  </a:lnTo>
                  <a:lnTo>
                    <a:pt x="60" y="22"/>
                  </a:lnTo>
                  <a:lnTo>
                    <a:pt x="44" y="27"/>
                  </a:lnTo>
                  <a:lnTo>
                    <a:pt x="38" y="22"/>
                  </a:lnTo>
                  <a:lnTo>
                    <a:pt x="38" y="27"/>
                  </a:lnTo>
                  <a:lnTo>
                    <a:pt x="27" y="27"/>
                  </a:lnTo>
                  <a:lnTo>
                    <a:pt x="22" y="22"/>
                  </a:lnTo>
                  <a:lnTo>
                    <a:pt x="11" y="22"/>
                  </a:lnTo>
                  <a:lnTo>
                    <a:pt x="6" y="16"/>
                  </a:lnTo>
                  <a:lnTo>
                    <a:pt x="0" y="11"/>
                  </a:lnTo>
                  <a:lnTo>
                    <a:pt x="0" y="6"/>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3" name="Freeform 726">
              <a:extLst>
                <a:ext uri="{FF2B5EF4-FFF2-40B4-BE49-F238E27FC236}">
                  <a16:creationId xmlns:a16="http://schemas.microsoft.com/office/drawing/2014/main" id="{E504D63D-BD01-8E6F-B3D6-D57317321870}"/>
                </a:ext>
              </a:extLst>
            </p:cNvPr>
            <p:cNvSpPr>
              <a:spLocks/>
            </p:cNvSpPr>
            <p:nvPr/>
          </p:nvSpPr>
          <p:spPr bwMode="auto">
            <a:xfrm>
              <a:off x="6974032" y="2426191"/>
              <a:ext cx="60325" cy="17463"/>
            </a:xfrm>
            <a:custGeom>
              <a:avLst/>
              <a:gdLst>
                <a:gd name="T0" fmla="*/ 0 w 38"/>
                <a:gd name="T1" fmla="*/ 11 h 11"/>
                <a:gd name="T2" fmla="*/ 5 w 38"/>
                <a:gd name="T3" fmla="*/ 6 h 11"/>
                <a:gd name="T4" fmla="*/ 0 w 38"/>
                <a:gd name="T5" fmla="*/ 0 h 11"/>
                <a:gd name="T6" fmla="*/ 11 w 38"/>
                <a:gd name="T7" fmla="*/ 0 h 11"/>
                <a:gd name="T8" fmla="*/ 16 w 38"/>
                <a:gd name="T9" fmla="*/ 0 h 11"/>
                <a:gd name="T10" fmla="*/ 33 w 38"/>
                <a:gd name="T11" fmla="*/ 6 h 11"/>
                <a:gd name="T12" fmla="*/ 38 w 38"/>
                <a:gd name="T13" fmla="*/ 11 h 11"/>
                <a:gd name="T14" fmla="*/ 27 w 38"/>
                <a:gd name="T15" fmla="*/ 11 h 11"/>
                <a:gd name="T16" fmla="*/ 16 w 38"/>
                <a:gd name="T17" fmla="*/ 11 h 11"/>
                <a:gd name="T18" fmla="*/ 5 w 38"/>
                <a:gd name="T19" fmla="*/ 11 h 11"/>
                <a:gd name="T20" fmla="*/ 0 w 38"/>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1">
                  <a:moveTo>
                    <a:pt x="0" y="11"/>
                  </a:moveTo>
                  <a:lnTo>
                    <a:pt x="5" y="6"/>
                  </a:lnTo>
                  <a:lnTo>
                    <a:pt x="0" y="0"/>
                  </a:lnTo>
                  <a:lnTo>
                    <a:pt x="11" y="0"/>
                  </a:lnTo>
                  <a:lnTo>
                    <a:pt x="16" y="0"/>
                  </a:lnTo>
                  <a:lnTo>
                    <a:pt x="33" y="6"/>
                  </a:lnTo>
                  <a:lnTo>
                    <a:pt x="38" y="11"/>
                  </a:lnTo>
                  <a:lnTo>
                    <a:pt x="27" y="11"/>
                  </a:lnTo>
                  <a:lnTo>
                    <a:pt x="16" y="11"/>
                  </a:lnTo>
                  <a:lnTo>
                    <a:pt x="5" y="11"/>
                  </a:lnTo>
                  <a:lnTo>
                    <a:pt x="0" y="11"/>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4" name="Freeform 727">
              <a:extLst>
                <a:ext uri="{FF2B5EF4-FFF2-40B4-BE49-F238E27FC236}">
                  <a16:creationId xmlns:a16="http://schemas.microsoft.com/office/drawing/2014/main" id="{BCEE3516-4EA9-9CB7-0661-187299F3C4B8}"/>
                </a:ext>
              </a:extLst>
            </p:cNvPr>
            <p:cNvSpPr>
              <a:spLocks/>
            </p:cNvSpPr>
            <p:nvPr/>
          </p:nvSpPr>
          <p:spPr bwMode="auto">
            <a:xfrm>
              <a:off x="7008957" y="2383329"/>
              <a:ext cx="85725" cy="25400"/>
            </a:xfrm>
            <a:custGeom>
              <a:avLst/>
              <a:gdLst>
                <a:gd name="T0" fmla="*/ 0 w 54"/>
                <a:gd name="T1" fmla="*/ 0 h 16"/>
                <a:gd name="T2" fmla="*/ 11 w 54"/>
                <a:gd name="T3" fmla="*/ 5 h 16"/>
                <a:gd name="T4" fmla="*/ 16 w 54"/>
                <a:gd name="T5" fmla="*/ 5 h 16"/>
                <a:gd name="T6" fmla="*/ 22 w 54"/>
                <a:gd name="T7" fmla="*/ 5 h 16"/>
                <a:gd name="T8" fmla="*/ 33 w 54"/>
                <a:gd name="T9" fmla="*/ 5 h 16"/>
                <a:gd name="T10" fmla="*/ 38 w 54"/>
                <a:gd name="T11" fmla="*/ 5 h 16"/>
                <a:gd name="T12" fmla="*/ 49 w 54"/>
                <a:gd name="T13" fmla="*/ 11 h 16"/>
                <a:gd name="T14" fmla="*/ 54 w 54"/>
                <a:gd name="T15" fmla="*/ 11 h 16"/>
                <a:gd name="T16" fmla="*/ 49 w 54"/>
                <a:gd name="T17" fmla="*/ 16 h 16"/>
                <a:gd name="T18" fmla="*/ 43 w 54"/>
                <a:gd name="T19" fmla="*/ 16 h 16"/>
                <a:gd name="T20" fmla="*/ 33 w 54"/>
                <a:gd name="T21" fmla="*/ 16 h 16"/>
                <a:gd name="T22" fmla="*/ 27 w 54"/>
                <a:gd name="T23" fmla="*/ 11 h 16"/>
                <a:gd name="T24" fmla="*/ 16 w 54"/>
                <a:gd name="T25" fmla="*/ 11 h 16"/>
                <a:gd name="T26" fmla="*/ 5 w 54"/>
                <a:gd name="T27" fmla="*/ 5 h 16"/>
                <a:gd name="T28" fmla="*/ 0 w 54"/>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16">
                  <a:moveTo>
                    <a:pt x="0" y="0"/>
                  </a:moveTo>
                  <a:lnTo>
                    <a:pt x="11" y="5"/>
                  </a:lnTo>
                  <a:lnTo>
                    <a:pt x="16" y="5"/>
                  </a:lnTo>
                  <a:lnTo>
                    <a:pt x="22" y="5"/>
                  </a:lnTo>
                  <a:lnTo>
                    <a:pt x="33" y="5"/>
                  </a:lnTo>
                  <a:lnTo>
                    <a:pt x="38" y="5"/>
                  </a:lnTo>
                  <a:lnTo>
                    <a:pt x="49" y="11"/>
                  </a:lnTo>
                  <a:lnTo>
                    <a:pt x="54" y="11"/>
                  </a:lnTo>
                  <a:lnTo>
                    <a:pt x="49" y="16"/>
                  </a:lnTo>
                  <a:lnTo>
                    <a:pt x="43" y="16"/>
                  </a:lnTo>
                  <a:lnTo>
                    <a:pt x="33" y="16"/>
                  </a:lnTo>
                  <a:lnTo>
                    <a:pt x="27" y="11"/>
                  </a:lnTo>
                  <a:lnTo>
                    <a:pt x="16" y="11"/>
                  </a:lnTo>
                  <a:lnTo>
                    <a:pt x="5" y="5"/>
                  </a:lnTo>
                  <a:lnTo>
                    <a:pt x="0" y="0"/>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grpSp>
      <p:sp>
        <p:nvSpPr>
          <p:cNvPr id="115" name="Freeform 729">
            <a:extLst>
              <a:ext uri="{FF2B5EF4-FFF2-40B4-BE49-F238E27FC236}">
                <a16:creationId xmlns:a16="http://schemas.microsoft.com/office/drawing/2014/main" id="{AB5F2494-E11D-513D-019F-635C43830338}"/>
              </a:ext>
            </a:extLst>
          </p:cNvPr>
          <p:cNvSpPr>
            <a:spLocks/>
          </p:cNvSpPr>
          <p:nvPr/>
        </p:nvSpPr>
        <p:spPr bwMode="auto">
          <a:xfrm>
            <a:off x="4646613" y="2025650"/>
            <a:ext cx="158750" cy="166688"/>
          </a:xfrm>
          <a:custGeom>
            <a:avLst/>
            <a:gdLst>
              <a:gd name="T0" fmla="*/ 11 w 142"/>
              <a:gd name="T1" fmla="*/ 6 h 137"/>
              <a:gd name="T2" fmla="*/ 16 w 142"/>
              <a:gd name="T3" fmla="*/ 11 h 137"/>
              <a:gd name="T4" fmla="*/ 27 w 142"/>
              <a:gd name="T5" fmla="*/ 17 h 137"/>
              <a:gd name="T6" fmla="*/ 38 w 142"/>
              <a:gd name="T7" fmla="*/ 33 h 137"/>
              <a:gd name="T8" fmla="*/ 49 w 142"/>
              <a:gd name="T9" fmla="*/ 38 h 137"/>
              <a:gd name="T10" fmla="*/ 60 w 142"/>
              <a:gd name="T11" fmla="*/ 49 h 137"/>
              <a:gd name="T12" fmla="*/ 65 w 142"/>
              <a:gd name="T13" fmla="*/ 55 h 137"/>
              <a:gd name="T14" fmla="*/ 76 w 142"/>
              <a:gd name="T15" fmla="*/ 60 h 137"/>
              <a:gd name="T16" fmla="*/ 87 w 142"/>
              <a:gd name="T17" fmla="*/ 71 h 137"/>
              <a:gd name="T18" fmla="*/ 93 w 142"/>
              <a:gd name="T19" fmla="*/ 77 h 137"/>
              <a:gd name="T20" fmla="*/ 103 w 142"/>
              <a:gd name="T21" fmla="*/ 82 h 137"/>
              <a:gd name="T22" fmla="*/ 114 w 142"/>
              <a:gd name="T23" fmla="*/ 87 h 137"/>
              <a:gd name="T24" fmla="*/ 114 w 142"/>
              <a:gd name="T25" fmla="*/ 87 h 137"/>
              <a:gd name="T26" fmla="*/ 98 w 142"/>
              <a:gd name="T27" fmla="*/ 82 h 137"/>
              <a:gd name="T28" fmla="*/ 87 w 142"/>
              <a:gd name="T29" fmla="*/ 82 h 137"/>
              <a:gd name="T30" fmla="*/ 93 w 142"/>
              <a:gd name="T31" fmla="*/ 93 h 137"/>
              <a:gd name="T32" fmla="*/ 98 w 142"/>
              <a:gd name="T33" fmla="*/ 104 h 137"/>
              <a:gd name="T34" fmla="*/ 109 w 142"/>
              <a:gd name="T35" fmla="*/ 109 h 137"/>
              <a:gd name="T36" fmla="*/ 120 w 142"/>
              <a:gd name="T37" fmla="*/ 115 h 137"/>
              <a:gd name="T38" fmla="*/ 131 w 142"/>
              <a:gd name="T39" fmla="*/ 120 h 137"/>
              <a:gd name="T40" fmla="*/ 136 w 142"/>
              <a:gd name="T41" fmla="*/ 131 h 137"/>
              <a:gd name="T42" fmla="*/ 136 w 142"/>
              <a:gd name="T43" fmla="*/ 131 h 137"/>
              <a:gd name="T44" fmla="*/ 120 w 142"/>
              <a:gd name="T45" fmla="*/ 126 h 137"/>
              <a:gd name="T46" fmla="*/ 120 w 142"/>
              <a:gd name="T47" fmla="*/ 126 h 137"/>
              <a:gd name="T48" fmla="*/ 125 w 142"/>
              <a:gd name="T49" fmla="*/ 131 h 137"/>
              <a:gd name="T50" fmla="*/ 120 w 142"/>
              <a:gd name="T51" fmla="*/ 131 h 137"/>
              <a:gd name="T52" fmla="*/ 103 w 142"/>
              <a:gd name="T53" fmla="*/ 115 h 137"/>
              <a:gd name="T54" fmla="*/ 93 w 142"/>
              <a:gd name="T55" fmla="*/ 104 h 137"/>
              <a:gd name="T56" fmla="*/ 82 w 142"/>
              <a:gd name="T57" fmla="*/ 93 h 137"/>
              <a:gd name="T58" fmla="*/ 76 w 142"/>
              <a:gd name="T59" fmla="*/ 82 h 137"/>
              <a:gd name="T60" fmla="*/ 71 w 142"/>
              <a:gd name="T61" fmla="*/ 77 h 137"/>
              <a:gd name="T62" fmla="*/ 60 w 142"/>
              <a:gd name="T63" fmla="*/ 66 h 137"/>
              <a:gd name="T64" fmla="*/ 49 w 142"/>
              <a:gd name="T65" fmla="*/ 55 h 137"/>
              <a:gd name="T66" fmla="*/ 43 w 142"/>
              <a:gd name="T67" fmla="*/ 49 h 137"/>
              <a:gd name="T68" fmla="*/ 33 w 142"/>
              <a:gd name="T69" fmla="*/ 44 h 137"/>
              <a:gd name="T70" fmla="*/ 27 w 142"/>
              <a:gd name="T71" fmla="*/ 33 h 137"/>
              <a:gd name="T72" fmla="*/ 22 w 142"/>
              <a:gd name="T73" fmla="*/ 27 h 137"/>
              <a:gd name="T74" fmla="*/ 16 w 142"/>
              <a:gd name="T75" fmla="*/ 22 h 137"/>
              <a:gd name="T76" fmla="*/ 11 w 142"/>
              <a:gd name="T77" fmla="*/ 11 h 137"/>
              <a:gd name="T78" fmla="*/ 11 w 142"/>
              <a:gd name="T79" fmla="*/ 11 h 137"/>
              <a:gd name="T80" fmla="*/ 11 w 142"/>
              <a:gd name="T81" fmla="*/ 11 h 137"/>
              <a:gd name="T82" fmla="*/ 0 w 142"/>
              <a:gd name="T8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137">
                <a:moveTo>
                  <a:pt x="0" y="0"/>
                </a:moveTo>
                <a:lnTo>
                  <a:pt x="11" y="6"/>
                </a:lnTo>
                <a:lnTo>
                  <a:pt x="11" y="11"/>
                </a:lnTo>
                <a:lnTo>
                  <a:pt x="16" y="11"/>
                </a:lnTo>
                <a:lnTo>
                  <a:pt x="22" y="17"/>
                </a:lnTo>
                <a:lnTo>
                  <a:pt x="27" y="17"/>
                </a:lnTo>
                <a:lnTo>
                  <a:pt x="33" y="22"/>
                </a:lnTo>
                <a:lnTo>
                  <a:pt x="38" y="33"/>
                </a:lnTo>
                <a:lnTo>
                  <a:pt x="43" y="33"/>
                </a:lnTo>
                <a:lnTo>
                  <a:pt x="49" y="38"/>
                </a:lnTo>
                <a:lnTo>
                  <a:pt x="54" y="44"/>
                </a:lnTo>
                <a:lnTo>
                  <a:pt x="60" y="49"/>
                </a:lnTo>
                <a:lnTo>
                  <a:pt x="65" y="49"/>
                </a:lnTo>
                <a:lnTo>
                  <a:pt x="65" y="55"/>
                </a:lnTo>
                <a:lnTo>
                  <a:pt x="71" y="60"/>
                </a:lnTo>
                <a:lnTo>
                  <a:pt x="76" y="60"/>
                </a:lnTo>
                <a:lnTo>
                  <a:pt x="82" y="66"/>
                </a:lnTo>
                <a:lnTo>
                  <a:pt x="87" y="71"/>
                </a:lnTo>
                <a:lnTo>
                  <a:pt x="93" y="71"/>
                </a:lnTo>
                <a:lnTo>
                  <a:pt x="93" y="77"/>
                </a:lnTo>
                <a:lnTo>
                  <a:pt x="98" y="77"/>
                </a:lnTo>
                <a:lnTo>
                  <a:pt x="103" y="82"/>
                </a:lnTo>
                <a:lnTo>
                  <a:pt x="109" y="87"/>
                </a:lnTo>
                <a:lnTo>
                  <a:pt x="114" y="87"/>
                </a:lnTo>
                <a:lnTo>
                  <a:pt x="120" y="93"/>
                </a:lnTo>
                <a:lnTo>
                  <a:pt x="114" y="87"/>
                </a:lnTo>
                <a:lnTo>
                  <a:pt x="109" y="87"/>
                </a:lnTo>
                <a:lnTo>
                  <a:pt x="98" y="82"/>
                </a:lnTo>
                <a:lnTo>
                  <a:pt x="93" y="82"/>
                </a:lnTo>
                <a:lnTo>
                  <a:pt x="87" y="82"/>
                </a:lnTo>
                <a:lnTo>
                  <a:pt x="93" y="87"/>
                </a:lnTo>
                <a:lnTo>
                  <a:pt x="93" y="93"/>
                </a:lnTo>
                <a:lnTo>
                  <a:pt x="98" y="98"/>
                </a:lnTo>
                <a:lnTo>
                  <a:pt x="98" y="104"/>
                </a:lnTo>
                <a:lnTo>
                  <a:pt x="103" y="109"/>
                </a:lnTo>
                <a:lnTo>
                  <a:pt x="109" y="109"/>
                </a:lnTo>
                <a:lnTo>
                  <a:pt x="114" y="115"/>
                </a:lnTo>
                <a:lnTo>
                  <a:pt x="120" y="115"/>
                </a:lnTo>
                <a:lnTo>
                  <a:pt x="125" y="120"/>
                </a:lnTo>
                <a:lnTo>
                  <a:pt x="131" y="120"/>
                </a:lnTo>
                <a:lnTo>
                  <a:pt x="136" y="126"/>
                </a:lnTo>
                <a:lnTo>
                  <a:pt x="136" y="131"/>
                </a:lnTo>
                <a:lnTo>
                  <a:pt x="142" y="131"/>
                </a:lnTo>
                <a:lnTo>
                  <a:pt x="136" y="131"/>
                </a:lnTo>
                <a:lnTo>
                  <a:pt x="131" y="126"/>
                </a:lnTo>
                <a:lnTo>
                  <a:pt x="120" y="126"/>
                </a:lnTo>
                <a:lnTo>
                  <a:pt x="120" y="120"/>
                </a:lnTo>
                <a:lnTo>
                  <a:pt x="120" y="126"/>
                </a:lnTo>
                <a:lnTo>
                  <a:pt x="120" y="131"/>
                </a:lnTo>
                <a:lnTo>
                  <a:pt x="125" y="131"/>
                </a:lnTo>
                <a:lnTo>
                  <a:pt x="125" y="137"/>
                </a:lnTo>
                <a:lnTo>
                  <a:pt x="120" y="131"/>
                </a:lnTo>
                <a:lnTo>
                  <a:pt x="109" y="126"/>
                </a:lnTo>
                <a:lnTo>
                  <a:pt x="103" y="115"/>
                </a:lnTo>
                <a:lnTo>
                  <a:pt x="98" y="109"/>
                </a:lnTo>
                <a:lnTo>
                  <a:pt x="93" y="104"/>
                </a:lnTo>
                <a:lnTo>
                  <a:pt x="87" y="98"/>
                </a:lnTo>
                <a:lnTo>
                  <a:pt x="82" y="93"/>
                </a:lnTo>
                <a:lnTo>
                  <a:pt x="76" y="87"/>
                </a:lnTo>
                <a:lnTo>
                  <a:pt x="76" y="82"/>
                </a:lnTo>
                <a:lnTo>
                  <a:pt x="71" y="82"/>
                </a:lnTo>
                <a:lnTo>
                  <a:pt x="71" y="77"/>
                </a:lnTo>
                <a:lnTo>
                  <a:pt x="65" y="71"/>
                </a:lnTo>
                <a:lnTo>
                  <a:pt x="60" y="66"/>
                </a:lnTo>
                <a:lnTo>
                  <a:pt x="54" y="60"/>
                </a:lnTo>
                <a:lnTo>
                  <a:pt x="49" y="55"/>
                </a:lnTo>
                <a:lnTo>
                  <a:pt x="49" y="49"/>
                </a:lnTo>
                <a:lnTo>
                  <a:pt x="43" y="49"/>
                </a:lnTo>
                <a:lnTo>
                  <a:pt x="38" y="44"/>
                </a:lnTo>
                <a:lnTo>
                  <a:pt x="33" y="44"/>
                </a:lnTo>
                <a:lnTo>
                  <a:pt x="27" y="38"/>
                </a:lnTo>
                <a:lnTo>
                  <a:pt x="27" y="33"/>
                </a:lnTo>
                <a:lnTo>
                  <a:pt x="22" y="33"/>
                </a:lnTo>
                <a:lnTo>
                  <a:pt x="22" y="27"/>
                </a:lnTo>
                <a:lnTo>
                  <a:pt x="16" y="27"/>
                </a:lnTo>
                <a:lnTo>
                  <a:pt x="16" y="22"/>
                </a:lnTo>
                <a:lnTo>
                  <a:pt x="5" y="17"/>
                </a:lnTo>
                <a:lnTo>
                  <a:pt x="11" y="11"/>
                </a:lnTo>
                <a:lnTo>
                  <a:pt x="16" y="17"/>
                </a:lnTo>
                <a:lnTo>
                  <a:pt x="11" y="11"/>
                </a:lnTo>
                <a:lnTo>
                  <a:pt x="16" y="11"/>
                </a:lnTo>
                <a:lnTo>
                  <a:pt x="11" y="11"/>
                </a:lnTo>
                <a:lnTo>
                  <a:pt x="11" y="6"/>
                </a:lnTo>
                <a:lnTo>
                  <a:pt x="0" y="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6" name="Freeform 197">
            <a:extLst>
              <a:ext uri="{FF2B5EF4-FFF2-40B4-BE49-F238E27FC236}">
                <a16:creationId xmlns:a16="http://schemas.microsoft.com/office/drawing/2014/main" id="{8ECF144F-BCE4-5F81-43E9-4DC9372C3FB5}"/>
              </a:ext>
            </a:extLst>
          </p:cNvPr>
          <p:cNvSpPr>
            <a:spLocks/>
          </p:cNvSpPr>
          <p:nvPr/>
        </p:nvSpPr>
        <p:spPr bwMode="auto">
          <a:xfrm>
            <a:off x="4051299" y="2890839"/>
            <a:ext cx="38100" cy="73025"/>
          </a:xfrm>
          <a:custGeom>
            <a:avLst/>
            <a:gdLst>
              <a:gd name="T0" fmla="*/ 0 w 33"/>
              <a:gd name="T1" fmla="*/ 22 h 60"/>
              <a:gd name="T2" fmla="*/ 0 w 33"/>
              <a:gd name="T3" fmla="*/ 28 h 60"/>
              <a:gd name="T4" fmla="*/ 0 w 33"/>
              <a:gd name="T5" fmla="*/ 22 h 60"/>
              <a:gd name="T6" fmla="*/ 0 w 33"/>
              <a:gd name="T7" fmla="*/ 17 h 60"/>
              <a:gd name="T8" fmla="*/ 0 w 33"/>
              <a:gd name="T9" fmla="*/ 11 h 60"/>
              <a:gd name="T10" fmla="*/ 0 w 33"/>
              <a:gd name="T11" fmla="*/ 6 h 60"/>
              <a:gd name="T12" fmla="*/ 5 w 33"/>
              <a:gd name="T13" fmla="*/ 6 h 60"/>
              <a:gd name="T14" fmla="*/ 0 w 33"/>
              <a:gd name="T15" fmla="*/ 0 h 60"/>
              <a:gd name="T16" fmla="*/ 5 w 33"/>
              <a:gd name="T17" fmla="*/ 0 h 60"/>
              <a:gd name="T18" fmla="*/ 11 w 33"/>
              <a:gd name="T19" fmla="*/ 6 h 60"/>
              <a:gd name="T20" fmla="*/ 16 w 33"/>
              <a:gd name="T21" fmla="*/ 6 h 60"/>
              <a:gd name="T22" fmla="*/ 16 w 33"/>
              <a:gd name="T23" fmla="*/ 11 h 60"/>
              <a:gd name="T24" fmla="*/ 22 w 33"/>
              <a:gd name="T25" fmla="*/ 17 h 60"/>
              <a:gd name="T26" fmla="*/ 22 w 33"/>
              <a:gd name="T27" fmla="*/ 22 h 60"/>
              <a:gd name="T28" fmla="*/ 27 w 33"/>
              <a:gd name="T29" fmla="*/ 22 h 60"/>
              <a:gd name="T30" fmla="*/ 27 w 33"/>
              <a:gd name="T31" fmla="*/ 28 h 60"/>
              <a:gd name="T32" fmla="*/ 33 w 33"/>
              <a:gd name="T33" fmla="*/ 33 h 60"/>
              <a:gd name="T34" fmla="*/ 33 w 33"/>
              <a:gd name="T35" fmla="*/ 38 h 60"/>
              <a:gd name="T36" fmla="*/ 33 w 33"/>
              <a:gd name="T37" fmla="*/ 44 h 60"/>
              <a:gd name="T38" fmla="*/ 33 w 33"/>
              <a:gd name="T39" fmla="*/ 49 h 60"/>
              <a:gd name="T40" fmla="*/ 27 w 33"/>
              <a:gd name="T41" fmla="*/ 55 h 60"/>
              <a:gd name="T42" fmla="*/ 22 w 33"/>
              <a:gd name="T43" fmla="*/ 55 h 60"/>
              <a:gd name="T44" fmla="*/ 16 w 33"/>
              <a:gd name="T45" fmla="*/ 60 h 60"/>
              <a:gd name="T46" fmla="*/ 11 w 33"/>
              <a:gd name="T47" fmla="*/ 60 h 60"/>
              <a:gd name="T48" fmla="*/ 5 w 33"/>
              <a:gd name="T49" fmla="*/ 60 h 60"/>
              <a:gd name="T50" fmla="*/ 5 w 33"/>
              <a:gd name="T51" fmla="*/ 55 h 60"/>
              <a:gd name="T52" fmla="*/ 5 w 33"/>
              <a:gd name="T53" fmla="*/ 49 h 60"/>
              <a:gd name="T54" fmla="*/ 5 w 33"/>
              <a:gd name="T55" fmla="*/ 44 h 60"/>
              <a:gd name="T56" fmla="*/ 0 w 33"/>
              <a:gd name="T57" fmla="*/ 38 h 60"/>
              <a:gd name="T58" fmla="*/ 0 w 33"/>
              <a:gd name="T59" fmla="*/ 33 h 60"/>
              <a:gd name="T60" fmla="*/ 0 w 33"/>
              <a:gd name="T61" fmla="*/ 28 h 60"/>
              <a:gd name="T62" fmla="*/ 0 w 33"/>
              <a:gd name="T63" fmla="*/ 2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 h="60">
                <a:moveTo>
                  <a:pt x="0" y="22"/>
                </a:moveTo>
                <a:lnTo>
                  <a:pt x="0" y="28"/>
                </a:lnTo>
                <a:lnTo>
                  <a:pt x="0" y="22"/>
                </a:lnTo>
                <a:lnTo>
                  <a:pt x="0" y="17"/>
                </a:lnTo>
                <a:lnTo>
                  <a:pt x="0" y="11"/>
                </a:lnTo>
                <a:lnTo>
                  <a:pt x="0" y="6"/>
                </a:lnTo>
                <a:lnTo>
                  <a:pt x="5" y="6"/>
                </a:lnTo>
                <a:lnTo>
                  <a:pt x="0" y="0"/>
                </a:lnTo>
                <a:lnTo>
                  <a:pt x="5" y="0"/>
                </a:lnTo>
                <a:lnTo>
                  <a:pt x="11" y="6"/>
                </a:lnTo>
                <a:lnTo>
                  <a:pt x="16" y="6"/>
                </a:lnTo>
                <a:lnTo>
                  <a:pt x="16" y="11"/>
                </a:lnTo>
                <a:lnTo>
                  <a:pt x="22" y="17"/>
                </a:lnTo>
                <a:lnTo>
                  <a:pt x="22" y="22"/>
                </a:lnTo>
                <a:lnTo>
                  <a:pt x="27" y="22"/>
                </a:lnTo>
                <a:lnTo>
                  <a:pt x="27" y="28"/>
                </a:lnTo>
                <a:lnTo>
                  <a:pt x="33" y="33"/>
                </a:lnTo>
                <a:lnTo>
                  <a:pt x="33" y="38"/>
                </a:lnTo>
                <a:lnTo>
                  <a:pt x="33" y="44"/>
                </a:lnTo>
                <a:lnTo>
                  <a:pt x="33" y="49"/>
                </a:lnTo>
                <a:lnTo>
                  <a:pt x="27" y="55"/>
                </a:lnTo>
                <a:lnTo>
                  <a:pt x="22" y="55"/>
                </a:lnTo>
                <a:lnTo>
                  <a:pt x="16" y="60"/>
                </a:lnTo>
                <a:lnTo>
                  <a:pt x="11" y="60"/>
                </a:lnTo>
                <a:lnTo>
                  <a:pt x="5" y="60"/>
                </a:lnTo>
                <a:lnTo>
                  <a:pt x="5" y="55"/>
                </a:lnTo>
                <a:lnTo>
                  <a:pt x="5" y="49"/>
                </a:lnTo>
                <a:lnTo>
                  <a:pt x="5" y="44"/>
                </a:lnTo>
                <a:lnTo>
                  <a:pt x="0" y="38"/>
                </a:lnTo>
                <a:lnTo>
                  <a:pt x="0" y="33"/>
                </a:lnTo>
                <a:lnTo>
                  <a:pt x="0" y="28"/>
                </a:lnTo>
                <a:lnTo>
                  <a:pt x="0" y="22"/>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7" name="Freeform 198">
            <a:extLst>
              <a:ext uri="{FF2B5EF4-FFF2-40B4-BE49-F238E27FC236}">
                <a16:creationId xmlns:a16="http://schemas.microsoft.com/office/drawing/2014/main" id="{03C07098-4E3E-4292-8A2A-5AEA0F86CCD1}"/>
              </a:ext>
            </a:extLst>
          </p:cNvPr>
          <p:cNvSpPr>
            <a:spLocks/>
          </p:cNvSpPr>
          <p:nvPr/>
        </p:nvSpPr>
        <p:spPr bwMode="auto">
          <a:xfrm>
            <a:off x="3800475" y="2386013"/>
            <a:ext cx="471488" cy="539750"/>
          </a:xfrm>
          <a:custGeom>
            <a:avLst/>
            <a:gdLst>
              <a:gd name="T0" fmla="*/ 311 w 420"/>
              <a:gd name="T1" fmla="*/ 223 h 442"/>
              <a:gd name="T2" fmla="*/ 300 w 420"/>
              <a:gd name="T3" fmla="*/ 240 h 442"/>
              <a:gd name="T4" fmla="*/ 278 w 420"/>
              <a:gd name="T5" fmla="*/ 262 h 442"/>
              <a:gd name="T6" fmla="*/ 251 w 420"/>
              <a:gd name="T7" fmla="*/ 289 h 442"/>
              <a:gd name="T8" fmla="*/ 224 w 420"/>
              <a:gd name="T9" fmla="*/ 316 h 442"/>
              <a:gd name="T10" fmla="*/ 219 w 420"/>
              <a:gd name="T11" fmla="*/ 349 h 442"/>
              <a:gd name="T12" fmla="*/ 219 w 420"/>
              <a:gd name="T13" fmla="*/ 392 h 442"/>
              <a:gd name="T14" fmla="*/ 208 w 420"/>
              <a:gd name="T15" fmla="*/ 420 h 442"/>
              <a:gd name="T16" fmla="*/ 197 w 420"/>
              <a:gd name="T17" fmla="*/ 436 h 442"/>
              <a:gd name="T18" fmla="*/ 164 w 420"/>
              <a:gd name="T19" fmla="*/ 409 h 442"/>
              <a:gd name="T20" fmla="*/ 137 w 420"/>
              <a:gd name="T21" fmla="*/ 365 h 442"/>
              <a:gd name="T22" fmla="*/ 115 w 420"/>
              <a:gd name="T23" fmla="*/ 322 h 442"/>
              <a:gd name="T24" fmla="*/ 93 w 420"/>
              <a:gd name="T25" fmla="*/ 283 h 442"/>
              <a:gd name="T26" fmla="*/ 82 w 420"/>
              <a:gd name="T27" fmla="*/ 251 h 442"/>
              <a:gd name="T28" fmla="*/ 71 w 420"/>
              <a:gd name="T29" fmla="*/ 218 h 442"/>
              <a:gd name="T30" fmla="*/ 71 w 420"/>
              <a:gd name="T31" fmla="*/ 234 h 442"/>
              <a:gd name="T32" fmla="*/ 39 w 420"/>
              <a:gd name="T33" fmla="*/ 234 h 442"/>
              <a:gd name="T34" fmla="*/ 22 w 420"/>
              <a:gd name="T35" fmla="*/ 218 h 442"/>
              <a:gd name="T36" fmla="*/ 17 w 420"/>
              <a:gd name="T37" fmla="*/ 207 h 442"/>
              <a:gd name="T38" fmla="*/ 6 w 420"/>
              <a:gd name="T39" fmla="*/ 191 h 442"/>
              <a:gd name="T40" fmla="*/ 39 w 420"/>
              <a:gd name="T41" fmla="*/ 185 h 442"/>
              <a:gd name="T42" fmla="*/ 22 w 420"/>
              <a:gd name="T43" fmla="*/ 152 h 442"/>
              <a:gd name="T44" fmla="*/ 22 w 420"/>
              <a:gd name="T45" fmla="*/ 125 h 442"/>
              <a:gd name="T46" fmla="*/ 44 w 420"/>
              <a:gd name="T47" fmla="*/ 109 h 442"/>
              <a:gd name="T48" fmla="*/ 60 w 420"/>
              <a:gd name="T49" fmla="*/ 82 h 442"/>
              <a:gd name="T50" fmla="*/ 60 w 420"/>
              <a:gd name="T51" fmla="*/ 54 h 442"/>
              <a:gd name="T52" fmla="*/ 44 w 420"/>
              <a:gd name="T53" fmla="*/ 27 h 442"/>
              <a:gd name="T54" fmla="*/ 60 w 420"/>
              <a:gd name="T55" fmla="*/ 22 h 442"/>
              <a:gd name="T56" fmla="*/ 93 w 420"/>
              <a:gd name="T57" fmla="*/ 0 h 442"/>
              <a:gd name="T58" fmla="*/ 115 w 420"/>
              <a:gd name="T59" fmla="*/ 22 h 442"/>
              <a:gd name="T60" fmla="*/ 120 w 420"/>
              <a:gd name="T61" fmla="*/ 54 h 442"/>
              <a:gd name="T62" fmla="*/ 126 w 420"/>
              <a:gd name="T63" fmla="*/ 71 h 442"/>
              <a:gd name="T64" fmla="*/ 164 w 420"/>
              <a:gd name="T65" fmla="*/ 87 h 442"/>
              <a:gd name="T66" fmla="*/ 159 w 420"/>
              <a:gd name="T67" fmla="*/ 114 h 442"/>
              <a:gd name="T68" fmla="*/ 197 w 420"/>
              <a:gd name="T69" fmla="*/ 131 h 442"/>
              <a:gd name="T70" fmla="*/ 224 w 420"/>
              <a:gd name="T71" fmla="*/ 136 h 442"/>
              <a:gd name="T72" fmla="*/ 268 w 420"/>
              <a:gd name="T73" fmla="*/ 147 h 442"/>
              <a:gd name="T74" fmla="*/ 284 w 420"/>
              <a:gd name="T75" fmla="*/ 142 h 442"/>
              <a:gd name="T76" fmla="*/ 289 w 420"/>
              <a:gd name="T77" fmla="*/ 125 h 442"/>
              <a:gd name="T78" fmla="*/ 322 w 420"/>
              <a:gd name="T79" fmla="*/ 142 h 442"/>
              <a:gd name="T80" fmla="*/ 333 w 420"/>
              <a:gd name="T81" fmla="*/ 125 h 442"/>
              <a:gd name="T82" fmla="*/ 366 w 420"/>
              <a:gd name="T83" fmla="*/ 109 h 442"/>
              <a:gd name="T84" fmla="*/ 398 w 420"/>
              <a:gd name="T85" fmla="*/ 103 h 442"/>
              <a:gd name="T86" fmla="*/ 415 w 420"/>
              <a:gd name="T87" fmla="*/ 120 h 442"/>
              <a:gd name="T88" fmla="*/ 404 w 420"/>
              <a:gd name="T89" fmla="*/ 142 h 442"/>
              <a:gd name="T90" fmla="*/ 393 w 420"/>
              <a:gd name="T91" fmla="*/ 163 h 442"/>
              <a:gd name="T92" fmla="*/ 388 w 420"/>
              <a:gd name="T93" fmla="*/ 185 h 442"/>
              <a:gd name="T94" fmla="*/ 388 w 420"/>
              <a:gd name="T95" fmla="*/ 212 h 442"/>
              <a:gd name="T96" fmla="*/ 371 w 420"/>
              <a:gd name="T97" fmla="*/ 202 h 442"/>
              <a:gd name="T98" fmla="*/ 355 w 420"/>
              <a:gd name="T99" fmla="*/ 202 h 442"/>
              <a:gd name="T100" fmla="*/ 366 w 420"/>
              <a:gd name="T101" fmla="*/ 174 h 442"/>
              <a:gd name="T102" fmla="*/ 322 w 420"/>
              <a:gd name="T103" fmla="*/ 169 h 442"/>
              <a:gd name="T104" fmla="*/ 300 w 420"/>
              <a:gd name="T105" fmla="*/ 152 h 442"/>
              <a:gd name="T106" fmla="*/ 311 w 420"/>
              <a:gd name="T107" fmla="*/ 169 h 442"/>
              <a:gd name="T108" fmla="*/ 311 w 420"/>
              <a:gd name="T109" fmla="*/ 180 h 442"/>
              <a:gd name="T110" fmla="*/ 328 w 420"/>
              <a:gd name="T111" fmla="*/ 21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442">
                <a:moveTo>
                  <a:pt x="328" y="223"/>
                </a:moveTo>
                <a:lnTo>
                  <a:pt x="322" y="223"/>
                </a:lnTo>
                <a:lnTo>
                  <a:pt x="322" y="218"/>
                </a:lnTo>
                <a:lnTo>
                  <a:pt x="317" y="218"/>
                </a:lnTo>
                <a:lnTo>
                  <a:pt x="322" y="223"/>
                </a:lnTo>
                <a:lnTo>
                  <a:pt x="317" y="223"/>
                </a:lnTo>
                <a:lnTo>
                  <a:pt x="317" y="229"/>
                </a:lnTo>
                <a:lnTo>
                  <a:pt x="311" y="223"/>
                </a:lnTo>
                <a:lnTo>
                  <a:pt x="311" y="218"/>
                </a:lnTo>
                <a:lnTo>
                  <a:pt x="311" y="223"/>
                </a:lnTo>
                <a:lnTo>
                  <a:pt x="306" y="223"/>
                </a:lnTo>
                <a:lnTo>
                  <a:pt x="300" y="223"/>
                </a:lnTo>
                <a:lnTo>
                  <a:pt x="300" y="229"/>
                </a:lnTo>
                <a:lnTo>
                  <a:pt x="295" y="229"/>
                </a:lnTo>
                <a:lnTo>
                  <a:pt x="295" y="234"/>
                </a:lnTo>
                <a:lnTo>
                  <a:pt x="300" y="240"/>
                </a:lnTo>
                <a:lnTo>
                  <a:pt x="295" y="245"/>
                </a:lnTo>
                <a:lnTo>
                  <a:pt x="300" y="245"/>
                </a:lnTo>
                <a:lnTo>
                  <a:pt x="295" y="251"/>
                </a:lnTo>
                <a:lnTo>
                  <a:pt x="289" y="251"/>
                </a:lnTo>
                <a:lnTo>
                  <a:pt x="289" y="256"/>
                </a:lnTo>
                <a:lnTo>
                  <a:pt x="284" y="256"/>
                </a:lnTo>
                <a:lnTo>
                  <a:pt x="278" y="256"/>
                </a:lnTo>
                <a:lnTo>
                  <a:pt x="278" y="262"/>
                </a:lnTo>
                <a:lnTo>
                  <a:pt x="273" y="262"/>
                </a:lnTo>
                <a:lnTo>
                  <a:pt x="273" y="267"/>
                </a:lnTo>
                <a:lnTo>
                  <a:pt x="268" y="272"/>
                </a:lnTo>
                <a:lnTo>
                  <a:pt x="268" y="278"/>
                </a:lnTo>
                <a:lnTo>
                  <a:pt x="262" y="278"/>
                </a:lnTo>
                <a:lnTo>
                  <a:pt x="262" y="283"/>
                </a:lnTo>
                <a:lnTo>
                  <a:pt x="257" y="283"/>
                </a:lnTo>
                <a:lnTo>
                  <a:pt x="251" y="289"/>
                </a:lnTo>
                <a:lnTo>
                  <a:pt x="246" y="294"/>
                </a:lnTo>
                <a:lnTo>
                  <a:pt x="240" y="300"/>
                </a:lnTo>
                <a:lnTo>
                  <a:pt x="246" y="305"/>
                </a:lnTo>
                <a:lnTo>
                  <a:pt x="240" y="305"/>
                </a:lnTo>
                <a:lnTo>
                  <a:pt x="235" y="311"/>
                </a:lnTo>
                <a:lnTo>
                  <a:pt x="229" y="311"/>
                </a:lnTo>
                <a:lnTo>
                  <a:pt x="229" y="316"/>
                </a:lnTo>
                <a:lnTo>
                  <a:pt x="224" y="316"/>
                </a:lnTo>
                <a:lnTo>
                  <a:pt x="224" y="322"/>
                </a:lnTo>
                <a:lnTo>
                  <a:pt x="219" y="316"/>
                </a:lnTo>
                <a:lnTo>
                  <a:pt x="213" y="322"/>
                </a:lnTo>
                <a:lnTo>
                  <a:pt x="213" y="327"/>
                </a:lnTo>
                <a:lnTo>
                  <a:pt x="213" y="332"/>
                </a:lnTo>
                <a:lnTo>
                  <a:pt x="219" y="338"/>
                </a:lnTo>
                <a:lnTo>
                  <a:pt x="219" y="343"/>
                </a:lnTo>
                <a:lnTo>
                  <a:pt x="219" y="349"/>
                </a:lnTo>
                <a:lnTo>
                  <a:pt x="219" y="354"/>
                </a:lnTo>
                <a:lnTo>
                  <a:pt x="224" y="360"/>
                </a:lnTo>
                <a:lnTo>
                  <a:pt x="224" y="365"/>
                </a:lnTo>
                <a:lnTo>
                  <a:pt x="219" y="371"/>
                </a:lnTo>
                <a:lnTo>
                  <a:pt x="219" y="376"/>
                </a:lnTo>
                <a:lnTo>
                  <a:pt x="219" y="382"/>
                </a:lnTo>
                <a:lnTo>
                  <a:pt x="219" y="387"/>
                </a:lnTo>
                <a:lnTo>
                  <a:pt x="219" y="392"/>
                </a:lnTo>
                <a:lnTo>
                  <a:pt x="219" y="398"/>
                </a:lnTo>
                <a:lnTo>
                  <a:pt x="219" y="403"/>
                </a:lnTo>
                <a:lnTo>
                  <a:pt x="224" y="403"/>
                </a:lnTo>
                <a:lnTo>
                  <a:pt x="219" y="403"/>
                </a:lnTo>
                <a:lnTo>
                  <a:pt x="213" y="403"/>
                </a:lnTo>
                <a:lnTo>
                  <a:pt x="213" y="409"/>
                </a:lnTo>
                <a:lnTo>
                  <a:pt x="208" y="414"/>
                </a:lnTo>
                <a:lnTo>
                  <a:pt x="208" y="420"/>
                </a:lnTo>
                <a:lnTo>
                  <a:pt x="213" y="420"/>
                </a:lnTo>
                <a:lnTo>
                  <a:pt x="219" y="425"/>
                </a:lnTo>
                <a:lnTo>
                  <a:pt x="213" y="420"/>
                </a:lnTo>
                <a:lnTo>
                  <a:pt x="208" y="420"/>
                </a:lnTo>
                <a:lnTo>
                  <a:pt x="202" y="425"/>
                </a:lnTo>
                <a:lnTo>
                  <a:pt x="197" y="425"/>
                </a:lnTo>
                <a:lnTo>
                  <a:pt x="197" y="431"/>
                </a:lnTo>
                <a:lnTo>
                  <a:pt x="197" y="436"/>
                </a:lnTo>
                <a:lnTo>
                  <a:pt x="191" y="436"/>
                </a:lnTo>
                <a:lnTo>
                  <a:pt x="191" y="442"/>
                </a:lnTo>
                <a:lnTo>
                  <a:pt x="186" y="442"/>
                </a:lnTo>
                <a:lnTo>
                  <a:pt x="180" y="436"/>
                </a:lnTo>
                <a:lnTo>
                  <a:pt x="169" y="425"/>
                </a:lnTo>
                <a:lnTo>
                  <a:pt x="169" y="420"/>
                </a:lnTo>
                <a:lnTo>
                  <a:pt x="164" y="414"/>
                </a:lnTo>
                <a:lnTo>
                  <a:pt x="164" y="409"/>
                </a:lnTo>
                <a:lnTo>
                  <a:pt x="164" y="403"/>
                </a:lnTo>
                <a:lnTo>
                  <a:pt x="159" y="398"/>
                </a:lnTo>
                <a:lnTo>
                  <a:pt x="159" y="392"/>
                </a:lnTo>
                <a:lnTo>
                  <a:pt x="153" y="387"/>
                </a:lnTo>
                <a:lnTo>
                  <a:pt x="148" y="382"/>
                </a:lnTo>
                <a:lnTo>
                  <a:pt x="142" y="376"/>
                </a:lnTo>
                <a:lnTo>
                  <a:pt x="142" y="371"/>
                </a:lnTo>
                <a:lnTo>
                  <a:pt x="137" y="365"/>
                </a:lnTo>
                <a:lnTo>
                  <a:pt x="137" y="360"/>
                </a:lnTo>
                <a:lnTo>
                  <a:pt x="131" y="354"/>
                </a:lnTo>
                <a:lnTo>
                  <a:pt x="131" y="349"/>
                </a:lnTo>
                <a:lnTo>
                  <a:pt x="126" y="343"/>
                </a:lnTo>
                <a:lnTo>
                  <a:pt x="126" y="338"/>
                </a:lnTo>
                <a:lnTo>
                  <a:pt x="120" y="332"/>
                </a:lnTo>
                <a:lnTo>
                  <a:pt x="115" y="327"/>
                </a:lnTo>
                <a:lnTo>
                  <a:pt x="115" y="322"/>
                </a:lnTo>
                <a:lnTo>
                  <a:pt x="109" y="316"/>
                </a:lnTo>
                <a:lnTo>
                  <a:pt x="104" y="311"/>
                </a:lnTo>
                <a:lnTo>
                  <a:pt x="104" y="305"/>
                </a:lnTo>
                <a:lnTo>
                  <a:pt x="104" y="300"/>
                </a:lnTo>
                <a:lnTo>
                  <a:pt x="99" y="294"/>
                </a:lnTo>
                <a:lnTo>
                  <a:pt x="99" y="289"/>
                </a:lnTo>
                <a:lnTo>
                  <a:pt x="99" y="283"/>
                </a:lnTo>
                <a:lnTo>
                  <a:pt x="93" y="283"/>
                </a:lnTo>
                <a:lnTo>
                  <a:pt x="93" y="278"/>
                </a:lnTo>
                <a:lnTo>
                  <a:pt x="88" y="272"/>
                </a:lnTo>
                <a:lnTo>
                  <a:pt x="88" y="267"/>
                </a:lnTo>
                <a:lnTo>
                  <a:pt x="93" y="267"/>
                </a:lnTo>
                <a:lnTo>
                  <a:pt x="88" y="267"/>
                </a:lnTo>
                <a:lnTo>
                  <a:pt x="88" y="262"/>
                </a:lnTo>
                <a:lnTo>
                  <a:pt x="82" y="256"/>
                </a:lnTo>
                <a:lnTo>
                  <a:pt x="82" y="251"/>
                </a:lnTo>
                <a:lnTo>
                  <a:pt x="82" y="245"/>
                </a:lnTo>
                <a:lnTo>
                  <a:pt x="82" y="240"/>
                </a:lnTo>
                <a:lnTo>
                  <a:pt x="82" y="234"/>
                </a:lnTo>
                <a:lnTo>
                  <a:pt x="77" y="234"/>
                </a:lnTo>
                <a:lnTo>
                  <a:pt x="77" y="229"/>
                </a:lnTo>
                <a:lnTo>
                  <a:pt x="77" y="223"/>
                </a:lnTo>
                <a:lnTo>
                  <a:pt x="77" y="218"/>
                </a:lnTo>
                <a:lnTo>
                  <a:pt x="71" y="218"/>
                </a:lnTo>
                <a:lnTo>
                  <a:pt x="77" y="218"/>
                </a:lnTo>
                <a:lnTo>
                  <a:pt x="71" y="212"/>
                </a:lnTo>
                <a:lnTo>
                  <a:pt x="71" y="218"/>
                </a:lnTo>
                <a:lnTo>
                  <a:pt x="71" y="212"/>
                </a:lnTo>
                <a:lnTo>
                  <a:pt x="66" y="218"/>
                </a:lnTo>
                <a:lnTo>
                  <a:pt x="71" y="223"/>
                </a:lnTo>
                <a:lnTo>
                  <a:pt x="71" y="229"/>
                </a:lnTo>
                <a:lnTo>
                  <a:pt x="71" y="234"/>
                </a:lnTo>
                <a:lnTo>
                  <a:pt x="66" y="234"/>
                </a:lnTo>
                <a:lnTo>
                  <a:pt x="60" y="234"/>
                </a:lnTo>
                <a:lnTo>
                  <a:pt x="60" y="240"/>
                </a:lnTo>
                <a:lnTo>
                  <a:pt x="55" y="240"/>
                </a:lnTo>
                <a:lnTo>
                  <a:pt x="50" y="240"/>
                </a:lnTo>
                <a:lnTo>
                  <a:pt x="44" y="240"/>
                </a:lnTo>
                <a:lnTo>
                  <a:pt x="44" y="234"/>
                </a:lnTo>
                <a:lnTo>
                  <a:pt x="39" y="234"/>
                </a:lnTo>
                <a:lnTo>
                  <a:pt x="33" y="229"/>
                </a:lnTo>
                <a:lnTo>
                  <a:pt x="28" y="223"/>
                </a:lnTo>
                <a:lnTo>
                  <a:pt x="22" y="223"/>
                </a:lnTo>
                <a:lnTo>
                  <a:pt x="22" y="218"/>
                </a:lnTo>
                <a:lnTo>
                  <a:pt x="17" y="218"/>
                </a:lnTo>
                <a:lnTo>
                  <a:pt x="17" y="212"/>
                </a:lnTo>
                <a:lnTo>
                  <a:pt x="22" y="212"/>
                </a:lnTo>
                <a:lnTo>
                  <a:pt x="22" y="218"/>
                </a:lnTo>
                <a:lnTo>
                  <a:pt x="28" y="212"/>
                </a:lnTo>
                <a:lnTo>
                  <a:pt x="33" y="212"/>
                </a:lnTo>
                <a:lnTo>
                  <a:pt x="39" y="207"/>
                </a:lnTo>
                <a:lnTo>
                  <a:pt x="33" y="202"/>
                </a:lnTo>
                <a:lnTo>
                  <a:pt x="33" y="207"/>
                </a:lnTo>
                <a:lnTo>
                  <a:pt x="28" y="207"/>
                </a:lnTo>
                <a:lnTo>
                  <a:pt x="22" y="207"/>
                </a:lnTo>
                <a:lnTo>
                  <a:pt x="17" y="207"/>
                </a:lnTo>
                <a:lnTo>
                  <a:pt x="17" y="202"/>
                </a:lnTo>
                <a:lnTo>
                  <a:pt x="11" y="202"/>
                </a:lnTo>
                <a:lnTo>
                  <a:pt x="6" y="196"/>
                </a:lnTo>
                <a:lnTo>
                  <a:pt x="6" y="191"/>
                </a:lnTo>
                <a:lnTo>
                  <a:pt x="0" y="196"/>
                </a:lnTo>
                <a:lnTo>
                  <a:pt x="0" y="191"/>
                </a:lnTo>
                <a:lnTo>
                  <a:pt x="0" y="185"/>
                </a:lnTo>
                <a:lnTo>
                  <a:pt x="6" y="191"/>
                </a:lnTo>
                <a:lnTo>
                  <a:pt x="6" y="185"/>
                </a:lnTo>
                <a:lnTo>
                  <a:pt x="11" y="185"/>
                </a:lnTo>
                <a:lnTo>
                  <a:pt x="17" y="185"/>
                </a:lnTo>
                <a:lnTo>
                  <a:pt x="22" y="185"/>
                </a:lnTo>
                <a:lnTo>
                  <a:pt x="28" y="185"/>
                </a:lnTo>
                <a:lnTo>
                  <a:pt x="33" y="180"/>
                </a:lnTo>
                <a:lnTo>
                  <a:pt x="33" y="185"/>
                </a:lnTo>
                <a:lnTo>
                  <a:pt x="39" y="185"/>
                </a:lnTo>
                <a:lnTo>
                  <a:pt x="44" y="180"/>
                </a:lnTo>
                <a:lnTo>
                  <a:pt x="39" y="180"/>
                </a:lnTo>
                <a:lnTo>
                  <a:pt x="39" y="174"/>
                </a:lnTo>
                <a:lnTo>
                  <a:pt x="33" y="169"/>
                </a:lnTo>
                <a:lnTo>
                  <a:pt x="33" y="163"/>
                </a:lnTo>
                <a:lnTo>
                  <a:pt x="28" y="163"/>
                </a:lnTo>
                <a:lnTo>
                  <a:pt x="22" y="158"/>
                </a:lnTo>
                <a:lnTo>
                  <a:pt x="22" y="152"/>
                </a:lnTo>
                <a:lnTo>
                  <a:pt x="17" y="147"/>
                </a:lnTo>
                <a:lnTo>
                  <a:pt x="11" y="147"/>
                </a:lnTo>
                <a:lnTo>
                  <a:pt x="6" y="142"/>
                </a:lnTo>
                <a:lnTo>
                  <a:pt x="6" y="136"/>
                </a:lnTo>
                <a:lnTo>
                  <a:pt x="11" y="131"/>
                </a:lnTo>
                <a:lnTo>
                  <a:pt x="11" y="125"/>
                </a:lnTo>
                <a:lnTo>
                  <a:pt x="17" y="125"/>
                </a:lnTo>
                <a:lnTo>
                  <a:pt x="22" y="125"/>
                </a:lnTo>
                <a:lnTo>
                  <a:pt x="22" y="131"/>
                </a:lnTo>
                <a:lnTo>
                  <a:pt x="28" y="125"/>
                </a:lnTo>
                <a:lnTo>
                  <a:pt x="33" y="125"/>
                </a:lnTo>
                <a:lnTo>
                  <a:pt x="39" y="125"/>
                </a:lnTo>
                <a:lnTo>
                  <a:pt x="39" y="120"/>
                </a:lnTo>
                <a:lnTo>
                  <a:pt x="39" y="114"/>
                </a:lnTo>
                <a:lnTo>
                  <a:pt x="44" y="114"/>
                </a:lnTo>
                <a:lnTo>
                  <a:pt x="44" y="109"/>
                </a:lnTo>
                <a:lnTo>
                  <a:pt x="50" y="109"/>
                </a:lnTo>
                <a:lnTo>
                  <a:pt x="50" y="103"/>
                </a:lnTo>
                <a:lnTo>
                  <a:pt x="50" y="98"/>
                </a:lnTo>
                <a:lnTo>
                  <a:pt x="50" y="92"/>
                </a:lnTo>
                <a:lnTo>
                  <a:pt x="55" y="92"/>
                </a:lnTo>
                <a:lnTo>
                  <a:pt x="60" y="87"/>
                </a:lnTo>
                <a:lnTo>
                  <a:pt x="55" y="87"/>
                </a:lnTo>
                <a:lnTo>
                  <a:pt x="60" y="82"/>
                </a:lnTo>
                <a:lnTo>
                  <a:pt x="60" y="76"/>
                </a:lnTo>
                <a:lnTo>
                  <a:pt x="66" y="76"/>
                </a:lnTo>
                <a:lnTo>
                  <a:pt x="60" y="76"/>
                </a:lnTo>
                <a:lnTo>
                  <a:pt x="60" y="71"/>
                </a:lnTo>
                <a:lnTo>
                  <a:pt x="60" y="65"/>
                </a:lnTo>
                <a:lnTo>
                  <a:pt x="60" y="60"/>
                </a:lnTo>
                <a:lnTo>
                  <a:pt x="66" y="60"/>
                </a:lnTo>
                <a:lnTo>
                  <a:pt x="60" y="54"/>
                </a:lnTo>
                <a:lnTo>
                  <a:pt x="55" y="54"/>
                </a:lnTo>
                <a:lnTo>
                  <a:pt x="55" y="49"/>
                </a:lnTo>
                <a:lnTo>
                  <a:pt x="50" y="43"/>
                </a:lnTo>
                <a:lnTo>
                  <a:pt x="44" y="43"/>
                </a:lnTo>
                <a:lnTo>
                  <a:pt x="44" y="38"/>
                </a:lnTo>
                <a:lnTo>
                  <a:pt x="39" y="32"/>
                </a:lnTo>
                <a:lnTo>
                  <a:pt x="44" y="32"/>
                </a:lnTo>
                <a:lnTo>
                  <a:pt x="44" y="27"/>
                </a:lnTo>
                <a:lnTo>
                  <a:pt x="39" y="27"/>
                </a:lnTo>
                <a:lnTo>
                  <a:pt x="33" y="22"/>
                </a:lnTo>
                <a:lnTo>
                  <a:pt x="33" y="16"/>
                </a:lnTo>
                <a:lnTo>
                  <a:pt x="39" y="16"/>
                </a:lnTo>
                <a:lnTo>
                  <a:pt x="44" y="16"/>
                </a:lnTo>
                <a:lnTo>
                  <a:pt x="50" y="16"/>
                </a:lnTo>
                <a:lnTo>
                  <a:pt x="55" y="22"/>
                </a:lnTo>
                <a:lnTo>
                  <a:pt x="60" y="22"/>
                </a:lnTo>
                <a:lnTo>
                  <a:pt x="66" y="16"/>
                </a:lnTo>
                <a:lnTo>
                  <a:pt x="71" y="16"/>
                </a:lnTo>
                <a:lnTo>
                  <a:pt x="77" y="16"/>
                </a:lnTo>
                <a:lnTo>
                  <a:pt x="77" y="11"/>
                </a:lnTo>
                <a:lnTo>
                  <a:pt x="82" y="5"/>
                </a:lnTo>
                <a:lnTo>
                  <a:pt x="88" y="5"/>
                </a:lnTo>
                <a:lnTo>
                  <a:pt x="88" y="0"/>
                </a:lnTo>
                <a:lnTo>
                  <a:pt x="93" y="0"/>
                </a:lnTo>
                <a:lnTo>
                  <a:pt x="104" y="0"/>
                </a:lnTo>
                <a:lnTo>
                  <a:pt x="109" y="0"/>
                </a:lnTo>
                <a:lnTo>
                  <a:pt x="115" y="5"/>
                </a:lnTo>
                <a:lnTo>
                  <a:pt x="120" y="5"/>
                </a:lnTo>
                <a:lnTo>
                  <a:pt x="120" y="11"/>
                </a:lnTo>
                <a:lnTo>
                  <a:pt x="120" y="16"/>
                </a:lnTo>
                <a:lnTo>
                  <a:pt x="120" y="22"/>
                </a:lnTo>
                <a:lnTo>
                  <a:pt x="115" y="22"/>
                </a:lnTo>
                <a:lnTo>
                  <a:pt x="115" y="27"/>
                </a:lnTo>
                <a:lnTo>
                  <a:pt x="109" y="27"/>
                </a:lnTo>
                <a:lnTo>
                  <a:pt x="115" y="32"/>
                </a:lnTo>
                <a:lnTo>
                  <a:pt x="115" y="38"/>
                </a:lnTo>
                <a:lnTo>
                  <a:pt x="115" y="43"/>
                </a:lnTo>
                <a:lnTo>
                  <a:pt x="120" y="43"/>
                </a:lnTo>
                <a:lnTo>
                  <a:pt x="126" y="49"/>
                </a:lnTo>
                <a:lnTo>
                  <a:pt x="120" y="54"/>
                </a:lnTo>
                <a:lnTo>
                  <a:pt x="115" y="54"/>
                </a:lnTo>
                <a:lnTo>
                  <a:pt x="115" y="49"/>
                </a:lnTo>
                <a:lnTo>
                  <a:pt x="109" y="54"/>
                </a:lnTo>
                <a:lnTo>
                  <a:pt x="115" y="54"/>
                </a:lnTo>
                <a:lnTo>
                  <a:pt x="115" y="60"/>
                </a:lnTo>
                <a:lnTo>
                  <a:pt x="120" y="60"/>
                </a:lnTo>
                <a:lnTo>
                  <a:pt x="120" y="65"/>
                </a:lnTo>
                <a:lnTo>
                  <a:pt x="126" y="71"/>
                </a:lnTo>
                <a:lnTo>
                  <a:pt x="131" y="71"/>
                </a:lnTo>
                <a:lnTo>
                  <a:pt x="137" y="76"/>
                </a:lnTo>
                <a:lnTo>
                  <a:pt x="142" y="76"/>
                </a:lnTo>
                <a:lnTo>
                  <a:pt x="142" y="82"/>
                </a:lnTo>
                <a:lnTo>
                  <a:pt x="148" y="82"/>
                </a:lnTo>
                <a:lnTo>
                  <a:pt x="153" y="87"/>
                </a:lnTo>
                <a:lnTo>
                  <a:pt x="159" y="87"/>
                </a:lnTo>
                <a:lnTo>
                  <a:pt x="164" y="87"/>
                </a:lnTo>
                <a:lnTo>
                  <a:pt x="159" y="87"/>
                </a:lnTo>
                <a:lnTo>
                  <a:pt x="159" y="92"/>
                </a:lnTo>
                <a:lnTo>
                  <a:pt x="153" y="98"/>
                </a:lnTo>
                <a:lnTo>
                  <a:pt x="153" y="103"/>
                </a:lnTo>
                <a:lnTo>
                  <a:pt x="159" y="103"/>
                </a:lnTo>
                <a:lnTo>
                  <a:pt x="153" y="103"/>
                </a:lnTo>
                <a:lnTo>
                  <a:pt x="159" y="109"/>
                </a:lnTo>
                <a:lnTo>
                  <a:pt x="159" y="114"/>
                </a:lnTo>
                <a:lnTo>
                  <a:pt x="164" y="114"/>
                </a:lnTo>
                <a:lnTo>
                  <a:pt x="169" y="114"/>
                </a:lnTo>
                <a:lnTo>
                  <a:pt x="175" y="120"/>
                </a:lnTo>
                <a:lnTo>
                  <a:pt x="180" y="120"/>
                </a:lnTo>
                <a:lnTo>
                  <a:pt x="180" y="125"/>
                </a:lnTo>
                <a:lnTo>
                  <a:pt x="186" y="125"/>
                </a:lnTo>
                <a:lnTo>
                  <a:pt x="191" y="125"/>
                </a:lnTo>
                <a:lnTo>
                  <a:pt x="197" y="131"/>
                </a:lnTo>
                <a:lnTo>
                  <a:pt x="202" y="131"/>
                </a:lnTo>
                <a:lnTo>
                  <a:pt x="208" y="131"/>
                </a:lnTo>
                <a:lnTo>
                  <a:pt x="213" y="136"/>
                </a:lnTo>
                <a:lnTo>
                  <a:pt x="213" y="131"/>
                </a:lnTo>
                <a:lnTo>
                  <a:pt x="219" y="131"/>
                </a:lnTo>
                <a:lnTo>
                  <a:pt x="219" y="136"/>
                </a:lnTo>
                <a:lnTo>
                  <a:pt x="224" y="131"/>
                </a:lnTo>
                <a:lnTo>
                  <a:pt x="224" y="136"/>
                </a:lnTo>
                <a:lnTo>
                  <a:pt x="229" y="136"/>
                </a:lnTo>
                <a:lnTo>
                  <a:pt x="235" y="142"/>
                </a:lnTo>
                <a:lnTo>
                  <a:pt x="240" y="142"/>
                </a:lnTo>
                <a:lnTo>
                  <a:pt x="246" y="142"/>
                </a:lnTo>
                <a:lnTo>
                  <a:pt x="251" y="142"/>
                </a:lnTo>
                <a:lnTo>
                  <a:pt x="257" y="147"/>
                </a:lnTo>
                <a:lnTo>
                  <a:pt x="262" y="147"/>
                </a:lnTo>
                <a:lnTo>
                  <a:pt x="268" y="147"/>
                </a:lnTo>
                <a:lnTo>
                  <a:pt x="273" y="147"/>
                </a:lnTo>
                <a:lnTo>
                  <a:pt x="278" y="152"/>
                </a:lnTo>
                <a:lnTo>
                  <a:pt x="278" y="147"/>
                </a:lnTo>
                <a:lnTo>
                  <a:pt x="284" y="147"/>
                </a:lnTo>
                <a:lnTo>
                  <a:pt x="289" y="152"/>
                </a:lnTo>
                <a:lnTo>
                  <a:pt x="289" y="147"/>
                </a:lnTo>
                <a:lnTo>
                  <a:pt x="289" y="142"/>
                </a:lnTo>
                <a:lnTo>
                  <a:pt x="284" y="142"/>
                </a:lnTo>
                <a:lnTo>
                  <a:pt x="284" y="136"/>
                </a:lnTo>
                <a:lnTo>
                  <a:pt x="284" y="131"/>
                </a:lnTo>
                <a:lnTo>
                  <a:pt x="284" y="125"/>
                </a:lnTo>
                <a:lnTo>
                  <a:pt x="278" y="125"/>
                </a:lnTo>
                <a:lnTo>
                  <a:pt x="284" y="125"/>
                </a:lnTo>
                <a:lnTo>
                  <a:pt x="289" y="125"/>
                </a:lnTo>
                <a:lnTo>
                  <a:pt x="289" y="120"/>
                </a:lnTo>
                <a:lnTo>
                  <a:pt x="289" y="125"/>
                </a:lnTo>
                <a:lnTo>
                  <a:pt x="295" y="125"/>
                </a:lnTo>
                <a:lnTo>
                  <a:pt x="295" y="131"/>
                </a:lnTo>
                <a:lnTo>
                  <a:pt x="295" y="136"/>
                </a:lnTo>
                <a:lnTo>
                  <a:pt x="300" y="142"/>
                </a:lnTo>
                <a:lnTo>
                  <a:pt x="306" y="142"/>
                </a:lnTo>
                <a:lnTo>
                  <a:pt x="311" y="147"/>
                </a:lnTo>
                <a:lnTo>
                  <a:pt x="317" y="142"/>
                </a:lnTo>
                <a:lnTo>
                  <a:pt x="322" y="142"/>
                </a:lnTo>
                <a:lnTo>
                  <a:pt x="328" y="142"/>
                </a:lnTo>
                <a:lnTo>
                  <a:pt x="333" y="142"/>
                </a:lnTo>
                <a:lnTo>
                  <a:pt x="338" y="142"/>
                </a:lnTo>
                <a:lnTo>
                  <a:pt x="344" y="142"/>
                </a:lnTo>
                <a:lnTo>
                  <a:pt x="344" y="136"/>
                </a:lnTo>
                <a:lnTo>
                  <a:pt x="344" y="131"/>
                </a:lnTo>
                <a:lnTo>
                  <a:pt x="333" y="131"/>
                </a:lnTo>
                <a:lnTo>
                  <a:pt x="333" y="125"/>
                </a:lnTo>
                <a:lnTo>
                  <a:pt x="338" y="131"/>
                </a:lnTo>
                <a:lnTo>
                  <a:pt x="344" y="125"/>
                </a:lnTo>
                <a:lnTo>
                  <a:pt x="349" y="125"/>
                </a:lnTo>
                <a:lnTo>
                  <a:pt x="349" y="120"/>
                </a:lnTo>
                <a:lnTo>
                  <a:pt x="355" y="120"/>
                </a:lnTo>
                <a:lnTo>
                  <a:pt x="355" y="114"/>
                </a:lnTo>
                <a:lnTo>
                  <a:pt x="360" y="114"/>
                </a:lnTo>
                <a:lnTo>
                  <a:pt x="366" y="109"/>
                </a:lnTo>
                <a:lnTo>
                  <a:pt x="366" y="103"/>
                </a:lnTo>
                <a:lnTo>
                  <a:pt x="371" y="103"/>
                </a:lnTo>
                <a:lnTo>
                  <a:pt x="377" y="103"/>
                </a:lnTo>
                <a:lnTo>
                  <a:pt x="382" y="109"/>
                </a:lnTo>
                <a:lnTo>
                  <a:pt x="382" y="103"/>
                </a:lnTo>
                <a:lnTo>
                  <a:pt x="388" y="103"/>
                </a:lnTo>
                <a:lnTo>
                  <a:pt x="393" y="103"/>
                </a:lnTo>
                <a:lnTo>
                  <a:pt x="398" y="103"/>
                </a:lnTo>
                <a:lnTo>
                  <a:pt x="393" y="109"/>
                </a:lnTo>
                <a:lnTo>
                  <a:pt x="398" y="109"/>
                </a:lnTo>
                <a:lnTo>
                  <a:pt x="404" y="114"/>
                </a:lnTo>
                <a:lnTo>
                  <a:pt x="398" y="114"/>
                </a:lnTo>
                <a:lnTo>
                  <a:pt x="398" y="120"/>
                </a:lnTo>
                <a:lnTo>
                  <a:pt x="404" y="114"/>
                </a:lnTo>
                <a:lnTo>
                  <a:pt x="409" y="120"/>
                </a:lnTo>
                <a:lnTo>
                  <a:pt x="415" y="120"/>
                </a:lnTo>
                <a:lnTo>
                  <a:pt x="420" y="125"/>
                </a:lnTo>
                <a:lnTo>
                  <a:pt x="415" y="131"/>
                </a:lnTo>
                <a:lnTo>
                  <a:pt x="415" y="136"/>
                </a:lnTo>
                <a:lnTo>
                  <a:pt x="420" y="136"/>
                </a:lnTo>
                <a:lnTo>
                  <a:pt x="415" y="136"/>
                </a:lnTo>
                <a:lnTo>
                  <a:pt x="409" y="136"/>
                </a:lnTo>
                <a:lnTo>
                  <a:pt x="404" y="136"/>
                </a:lnTo>
                <a:lnTo>
                  <a:pt x="404" y="142"/>
                </a:lnTo>
                <a:lnTo>
                  <a:pt x="398" y="142"/>
                </a:lnTo>
                <a:lnTo>
                  <a:pt x="398" y="147"/>
                </a:lnTo>
                <a:lnTo>
                  <a:pt x="393" y="147"/>
                </a:lnTo>
                <a:lnTo>
                  <a:pt x="393" y="152"/>
                </a:lnTo>
                <a:lnTo>
                  <a:pt x="398" y="152"/>
                </a:lnTo>
                <a:lnTo>
                  <a:pt x="398" y="158"/>
                </a:lnTo>
                <a:lnTo>
                  <a:pt x="398" y="163"/>
                </a:lnTo>
                <a:lnTo>
                  <a:pt x="393" y="163"/>
                </a:lnTo>
                <a:lnTo>
                  <a:pt x="398" y="169"/>
                </a:lnTo>
                <a:lnTo>
                  <a:pt x="398" y="174"/>
                </a:lnTo>
                <a:lnTo>
                  <a:pt x="398" y="180"/>
                </a:lnTo>
                <a:lnTo>
                  <a:pt x="393" y="180"/>
                </a:lnTo>
                <a:lnTo>
                  <a:pt x="393" y="185"/>
                </a:lnTo>
                <a:lnTo>
                  <a:pt x="393" y="191"/>
                </a:lnTo>
                <a:lnTo>
                  <a:pt x="388" y="191"/>
                </a:lnTo>
                <a:lnTo>
                  <a:pt x="388" y="185"/>
                </a:lnTo>
                <a:lnTo>
                  <a:pt x="382" y="191"/>
                </a:lnTo>
                <a:lnTo>
                  <a:pt x="382" y="185"/>
                </a:lnTo>
                <a:lnTo>
                  <a:pt x="382" y="191"/>
                </a:lnTo>
                <a:lnTo>
                  <a:pt x="388" y="196"/>
                </a:lnTo>
                <a:lnTo>
                  <a:pt x="388" y="202"/>
                </a:lnTo>
                <a:lnTo>
                  <a:pt x="382" y="202"/>
                </a:lnTo>
                <a:lnTo>
                  <a:pt x="382" y="207"/>
                </a:lnTo>
                <a:lnTo>
                  <a:pt x="388" y="212"/>
                </a:lnTo>
                <a:lnTo>
                  <a:pt x="388" y="218"/>
                </a:lnTo>
                <a:lnTo>
                  <a:pt x="382" y="218"/>
                </a:lnTo>
                <a:lnTo>
                  <a:pt x="377" y="218"/>
                </a:lnTo>
                <a:lnTo>
                  <a:pt x="382" y="218"/>
                </a:lnTo>
                <a:lnTo>
                  <a:pt x="377" y="212"/>
                </a:lnTo>
                <a:lnTo>
                  <a:pt x="377" y="207"/>
                </a:lnTo>
                <a:lnTo>
                  <a:pt x="371" y="207"/>
                </a:lnTo>
                <a:lnTo>
                  <a:pt x="371" y="202"/>
                </a:lnTo>
                <a:lnTo>
                  <a:pt x="366" y="196"/>
                </a:lnTo>
                <a:lnTo>
                  <a:pt x="366" y="191"/>
                </a:lnTo>
                <a:lnTo>
                  <a:pt x="360" y="191"/>
                </a:lnTo>
                <a:lnTo>
                  <a:pt x="360" y="196"/>
                </a:lnTo>
                <a:lnTo>
                  <a:pt x="360" y="202"/>
                </a:lnTo>
                <a:lnTo>
                  <a:pt x="360" y="207"/>
                </a:lnTo>
                <a:lnTo>
                  <a:pt x="360" y="202"/>
                </a:lnTo>
                <a:lnTo>
                  <a:pt x="355" y="202"/>
                </a:lnTo>
                <a:lnTo>
                  <a:pt x="355" y="196"/>
                </a:lnTo>
                <a:lnTo>
                  <a:pt x="349" y="191"/>
                </a:lnTo>
                <a:lnTo>
                  <a:pt x="349" y="185"/>
                </a:lnTo>
                <a:lnTo>
                  <a:pt x="355" y="185"/>
                </a:lnTo>
                <a:lnTo>
                  <a:pt x="360" y="185"/>
                </a:lnTo>
                <a:lnTo>
                  <a:pt x="360" y="180"/>
                </a:lnTo>
                <a:lnTo>
                  <a:pt x="360" y="174"/>
                </a:lnTo>
                <a:lnTo>
                  <a:pt x="366" y="174"/>
                </a:lnTo>
                <a:lnTo>
                  <a:pt x="360" y="169"/>
                </a:lnTo>
                <a:lnTo>
                  <a:pt x="355" y="169"/>
                </a:lnTo>
                <a:lnTo>
                  <a:pt x="349" y="169"/>
                </a:lnTo>
                <a:lnTo>
                  <a:pt x="344" y="169"/>
                </a:lnTo>
                <a:lnTo>
                  <a:pt x="338" y="169"/>
                </a:lnTo>
                <a:lnTo>
                  <a:pt x="333" y="169"/>
                </a:lnTo>
                <a:lnTo>
                  <a:pt x="328" y="169"/>
                </a:lnTo>
                <a:lnTo>
                  <a:pt x="322" y="169"/>
                </a:lnTo>
                <a:lnTo>
                  <a:pt x="322" y="163"/>
                </a:lnTo>
                <a:lnTo>
                  <a:pt x="317" y="158"/>
                </a:lnTo>
                <a:lnTo>
                  <a:pt x="311" y="152"/>
                </a:lnTo>
                <a:lnTo>
                  <a:pt x="311" y="158"/>
                </a:lnTo>
                <a:lnTo>
                  <a:pt x="306" y="152"/>
                </a:lnTo>
                <a:lnTo>
                  <a:pt x="306" y="147"/>
                </a:lnTo>
                <a:lnTo>
                  <a:pt x="306" y="152"/>
                </a:lnTo>
                <a:lnTo>
                  <a:pt x="300" y="152"/>
                </a:lnTo>
                <a:lnTo>
                  <a:pt x="295" y="147"/>
                </a:lnTo>
                <a:lnTo>
                  <a:pt x="289" y="147"/>
                </a:lnTo>
                <a:lnTo>
                  <a:pt x="295" y="152"/>
                </a:lnTo>
                <a:lnTo>
                  <a:pt x="289" y="152"/>
                </a:lnTo>
                <a:lnTo>
                  <a:pt x="295" y="158"/>
                </a:lnTo>
                <a:lnTo>
                  <a:pt x="300" y="163"/>
                </a:lnTo>
                <a:lnTo>
                  <a:pt x="306" y="163"/>
                </a:lnTo>
                <a:lnTo>
                  <a:pt x="311" y="169"/>
                </a:lnTo>
                <a:lnTo>
                  <a:pt x="306" y="169"/>
                </a:lnTo>
                <a:lnTo>
                  <a:pt x="300" y="169"/>
                </a:lnTo>
                <a:lnTo>
                  <a:pt x="300" y="174"/>
                </a:lnTo>
                <a:lnTo>
                  <a:pt x="295" y="174"/>
                </a:lnTo>
                <a:lnTo>
                  <a:pt x="300" y="180"/>
                </a:lnTo>
                <a:lnTo>
                  <a:pt x="306" y="180"/>
                </a:lnTo>
                <a:lnTo>
                  <a:pt x="306" y="185"/>
                </a:lnTo>
                <a:lnTo>
                  <a:pt x="311" y="180"/>
                </a:lnTo>
                <a:lnTo>
                  <a:pt x="311" y="185"/>
                </a:lnTo>
                <a:lnTo>
                  <a:pt x="311" y="191"/>
                </a:lnTo>
                <a:lnTo>
                  <a:pt x="317" y="196"/>
                </a:lnTo>
                <a:lnTo>
                  <a:pt x="317" y="202"/>
                </a:lnTo>
                <a:lnTo>
                  <a:pt x="322" y="207"/>
                </a:lnTo>
                <a:lnTo>
                  <a:pt x="322" y="212"/>
                </a:lnTo>
                <a:lnTo>
                  <a:pt x="322" y="218"/>
                </a:lnTo>
                <a:lnTo>
                  <a:pt x="328" y="218"/>
                </a:lnTo>
                <a:lnTo>
                  <a:pt x="328" y="223"/>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8" name="Freeform 211">
            <a:extLst>
              <a:ext uri="{FF2B5EF4-FFF2-40B4-BE49-F238E27FC236}">
                <a16:creationId xmlns:a16="http://schemas.microsoft.com/office/drawing/2014/main" id="{0A773494-D81B-F32D-8320-9AA7B79C954B}"/>
              </a:ext>
            </a:extLst>
          </p:cNvPr>
          <p:cNvSpPr>
            <a:spLocks/>
          </p:cNvSpPr>
          <p:nvPr/>
        </p:nvSpPr>
        <p:spPr bwMode="auto">
          <a:xfrm>
            <a:off x="3335339" y="2312988"/>
            <a:ext cx="366713" cy="279400"/>
          </a:xfrm>
          <a:custGeom>
            <a:avLst/>
            <a:gdLst>
              <a:gd name="T0" fmla="*/ 6 w 327"/>
              <a:gd name="T1" fmla="*/ 27 h 229"/>
              <a:gd name="T2" fmla="*/ 0 w 327"/>
              <a:gd name="T3" fmla="*/ 11 h 229"/>
              <a:gd name="T4" fmla="*/ 11 w 327"/>
              <a:gd name="T5" fmla="*/ 0 h 229"/>
              <a:gd name="T6" fmla="*/ 33 w 327"/>
              <a:gd name="T7" fmla="*/ 11 h 229"/>
              <a:gd name="T8" fmla="*/ 55 w 327"/>
              <a:gd name="T9" fmla="*/ 0 h 229"/>
              <a:gd name="T10" fmla="*/ 55 w 327"/>
              <a:gd name="T11" fmla="*/ 11 h 229"/>
              <a:gd name="T12" fmla="*/ 71 w 327"/>
              <a:gd name="T13" fmla="*/ 16 h 229"/>
              <a:gd name="T14" fmla="*/ 76 w 327"/>
              <a:gd name="T15" fmla="*/ 32 h 229"/>
              <a:gd name="T16" fmla="*/ 93 w 327"/>
              <a:gd name="T17" fmla="*/ 38 h 229"/>
              <a:gd name="T18" fmla="*/ 115 w 327"/>
              <a:gd name="T19" fmla="*/ 49 h 229"/>
              <a:gd name="T20" fmla="*/ 136 w 327"/>
              <a:gd name="T21" fmla="*/ 43 h 229"/>
              <a:gd name="T22" fmla="*/ 153 w 327"/>
              <a:gd name="T23" fmla="*/ 38 h 229"/>
              <a:gd name="T24" fmla="*/ 164 w 327"/>
              <a:gd name="T25" fmla="*/ 22 h 229"/>
              <a:gd name="T26" fmla="*/ 185 w 327"/>
              <a:gd name="T27" fmla="*/ 22 h 229"/>
              <a:gd name="T28" fmla="*/ 207 w 327"/>
              <a:gd name="T29" fmla="*/ 27 h 229"/>
              <a:gd name="T30" fmla="*/ 224 w 327"/>
              <a:gd name="T31" fmla="*/ 32 h 229"/>
              <a:gd name="T32" fmla="*/ 240 w 327"/>
              <a:gd name="T33" fmla="*/ 49 h 229"/>
              <a:gd name="T34" fmla="*/ 262 w 327"/>
              <a:gd name="T35" fmla="*/ 65 h 229"/>
              <a:gd name="T36" fmla="*/ 262 w 327"/>
              <a:gd name="T37" fmla="*/ 76 h 229"/>
              <a:gd name="T38" fmla="*/ 256 w 327"/>
              <a:gd name="T39" fmla="*/ 87 h 229"/>
              <a:gd name="T40" fmla="*/ 262 w 327"/>
              <a:gd name="T41" fmla="*/ 98 h 229"/>
              <a:gd name="T42" fmla="*/ 267 w 327"/>
              <a:gd name="T43" fmla="*/ 120 h 229"/>
              <a:gd name="T44" fmla="*/ 289 w 327"/>
              <a:gd name="T45" fmla="*/ 136 h 229"/>
              <a:gd name="T46" fmla="*/ 289 w 327"/>
              <a:gd name="T47" fmla="*/ 163 h 229"/>
              <a:gd name="T48" fmla="*/ 305 w 327"/>
              <a:gd name="T49" fmla="*/ 174 h 229"/>
              <a:gd name="T50" fmla="*/ 322 w 327"/>
              <a:gd name="T51" fmla="*/ 191 h 229"/>
              <a:gd name="T52" fmla="*/ 327 w 327"/>
              <a:gd name="T53" fmla="*/ 207 h 229"/>
              <a:gd name="T54" fmla="*/ 311 w 327"/>
              <a:gd name="T55" fmla="*/ 207 h 229"/>
              <a:gd name="T56" fmla="*/ 311 w 327"/>
              <a:gd name="T57" fmla="*/ 218 h 229"/>
              <a:gd name="T58" fmla="*/ 294 w 327"/>
              <a:gd name="T59" fmla="*/ 229 h 229"/>
              <a:gd name="T60" fmla="*/ 289 w 327"/>
              <a:gd name="T61" fmla="*/ 229 h 229"/>
              <a:gd name="T62" fmla="*/ 267 w 327"/>
              <a:gd name="T63" fmla="*/ 223 h 229"/>
              <a:gd name="T64" fmla="*/ 251 w 327"/>
              <a:gd name="T65" fmla="*/ 223 h 229"/>
              <a:gd name="T66" fmla="*/ 240 w 327"/>
              <a:gd name="T67" fmla="*/ 212 h 229"/>
              <a:gd name="T68" fmla="*/ 224 w 327"/>
              <a:gd name="T69" fmla="*/ 196 h 229"/>
              <a:gd name="T70" fmla="*/ 207 w 327"/>
              <a:gd name="T71" fmla="*/ 207 h 229"/>
              <a:gd name="T72" fmla="*/ 185 w 327"/>
              <a:gd name="T73" fmla="*/ 207 h 229"/>
              <a:gd name="T74" fmla="*/ 169 w 327"/>
              <a:gd name="T75" fmla="*/ 191 h 229"/>
              <a:gd name="T76" fmla="*/ 153 w 327"/>
              <a:gd name="T77" fmla="*/ 185 h 229"/>
              <a:gd name="T78" fmla="*/ 136 w 327"/>
              <a:gd name="T79" fmla="*/ 169 h 229"/>
              <a:gd name="T80" fmla="*/ 120 w 327"/>
              <a:gd name="T81" fmla="*/ 152 h 229"/>
              <a:gd name="T82" fmla="*/ 109 w 327"/>
              <a:gd name="T83" fmla="*/ 152 h 229"/>
              <a:gd name="T84" fmla="*/ 98 w 327"/>
              <a:gd name="T85" fmla="*/ 152 h 229"/>
              <a:gd name="T86" fmla="*/ 82 w 327"/>
              <a:gd name="T87" fmla="*/ 136 h 229"/>
              <a:gd name="T88" fmla="*/ 71 w 327"/>
              <a:gd name="T89" fmla="*/ 114 h 229"/>
              <a:gd name="T90" fmla="*/ 49 w 327"/>
              <a:gd name="T91" fmla="*/ 103 h 229"/>
              <a:gd name="T92" fmla="*/ 44 w 327"/>
              <a:gd name="T93" fmla="*/ 98 h 229"/>
              <a:gd name="T94" fmla="*/ 38 w 327"/>
              <a:gd name="T95" fmla="*/ 82 h 229"/>
              <a:gd name="T96" fmla="*/ 38 w 327"/>
              <a:gd name="T97" fmla="*/ 65 h 229"/>
              <a:gd name="T98" fmla="*/ 27 w 327"/>
              <a:gd name="T99" fmla="*/ 60 h 229"/>
              <a:gd name="T100" fmla="*/ 16 w 327"/>
              <a:gd name="T101"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7" h="229">
                <a:moveTo>
                  <a:pt x="16" y="38"/>
                </a:moveTo>
                <a:lnTo>
                  <a:pt x="11" y="32"/>
                </a:lnTo>
                <a:lnTo>
                  <a:pt x="11" y="27"/>
                </a:lnTo>
                <a:lnTo>
                  <a:pt x="6" y="27"/>
                </a:lnTo>
                <a:lnTo>
                  <a:pt x="6" y="22"/>
                </a:lnTo>
                <a:lnTo>
                  <a:pt x="6" y="16"/>
                </a:lnTo>
                <a:lnTo>
                  <a:pt x="6" y="11"/>
                </a:lnTo>
                <a:lnTo>
                  <a:pt x="0" y="11"/>
                </a:lnTo>
                <a:lnTo>
                  <a:pt x="0" y="5"/>
                </a:lnTo>
                <a:lnTo>
                  <a:pt x="0" y="0"/>
                </a:lnTo>
                <a:lnTo>
                  <a:pt x="6" y="0"/>
                </a:lnTo>
                <a:lnTo>
                  <a:pt x="11" y="0"/>
                </a:lnTo>
                <a:lnTo>
                  <a:pt x="16" y="5"/>
                </a:lnTo>
                <a:lnTo>
                  <a:pt x="16" y="11"/>
                </a:lnTo>
                <a:lnTo>
                  <a:pt x="27" y="11"/>
                </a:lnTo>
                <a:lnTo>
                  <a:pt x="33" y="11"/>
                </a:lnTo>
                <a:lnTo>
                  <a:pt x="38" y="5"/>
                </a:lnTo>
                <a:lnTo>
                  <a:pt x="44" y="0"/>
                </a:lnTo>
                <a:lnTo>
                  <a:pt x="49" y="0"/>
                </a:lnTo>
                <a:lnTo>
                  <a:pt x="55" y="0"/>
                </a:lnTo>
                <a:lnTo>
                  <a:pt x="60" y="5"/>
                </a:lnTo>
                <a:lnTo>
                  <a:pt x="55" y="5"/>
                </a:lnTo>
                <a:lnTo>
                  <a:pt x="60" y="11"/>
                </a:lnTo>
                <a:lnTo>
                  <a:pt x="55" y="11"/>
                </a:lnTo>
                <a:lnTo>
                  <a:pt x="60" y="16"/>
                </a:lnTo>
                <a:lnTo>
                  <a:pt x="65" y="16"/>
                </a:lnTo>
                <a:lnTo>
                  <a:pt x="65" y="22"/>
                </a:lnTo>
                <a:lnTo>
                  <a:pt x="71" y="16"/>
                </a:lnTo>
                <a:lnTo>
                  <a:pt x="71" y="22"/>
                </a:lnTo>
                <a:lnTo>
                  <a:pt x="71" y="27"/>
                </a:lnTo>
                <a:lnTo>
                  <a:pt x="76" y="27"/>
                </a:lnTo>
                <a:lnTo>
                  <a:pt x="76" y="32"/>
                </a:lnTo>
                <a:lnTo>
                  <a:pt x="82" y="32"/>
                </a:lnTo>
                <a:lnTo>
                  <a:pt x="87" y="32"/>
                </a:lnTo>
                <a:lnTo>
                  <a:pt x="93" y="32"/>
                </a:lnTo>
                <a:lnTo>
                  <a:pt x="93" y="38"/>
                </a:lnTo>
                <a:lnTo>
                  <a:pt x="98" y="38"/>
                </a:lnTo>
                <a:lnTo>
                  <a:pt x="104" y="43"/>
                </a:lnTo>
                <a:lnTo>
                  <a:pt x="109" y="43"/>
                </a:lnTo>
                <a:lnTo>
                  <a:pt x="115" y="49"/>
                </a:lnTo>
                <a:lnTo>
                  <a:pt x="120" y="49"/>
                </a:lnTo>
                <a:lnTo>
                  <a:pt x="125" y="49"/>
                </a:lnTo>
                <a:lnTo>
                  <a:pt x="131" y="43"/>
                </a:lnTo>
                <a:lnTo>
                  <a:pt x="136" y="43"/>
                </a:lnTo>
                <a:lnTo>
                  <a:pt x="142" y="43"/>
                </a:lnTo>
                <a:lnTo>
                  <a:pt x="147" y="43"/>
                </a:lnTo>
                <a:lnTo>
                  <a:pt x="147" y="38"/>
                </a:lnTo>
                <a:lnTo>
                  <a:pt x="153" y="38"/>
                </a:lnTo>
                <a:lnTo>
                  <a:pt x="153" y="32"/>
                </a:lnTo>
                <a:lnTo>
                  <a:pt x="158" y="32"/>
                </a:lnTo>
                <a:lnTo>
                  <a:pt x="158" y="27"/>
                </a:lnTo>
                <a:lnTo>
                  <a:pt x="164" y="22"/>
                </a:lnTo>
                <a:lnTo>
                  <a:pt x="169" y="22"/>
                </a:lnTo>
                <a:lnTo>
                  <a:pt x="175" y="22"/>
                </a:lnTo>
                <a:lnTo>
                  <a:pt x="180" y="22"/>
                </a:lnTo>
                <a:lnTo>
                  <a:pt x="185" y="22"/>
                </a:lnTo>
                <a:lnTo>
                  <a:pt x="191" y="22"/>
                </a:lnTo>
                <a:lnTo>
                  <a:pt x="191" y="27"/>
                </a:lnTo>
                <a:lnTo>
                  <a:pt x="196" y="27"/>
                </a:lnTo>
                <a:lnTo>
                  <a:pt x="207" y="27"/>
                </a:lnTo>
                <a:lnTo>
                  <a:pt x="207" y="32"/>
                </a:lnTo>
                <a:lnTo>
                  <a:pt x="213" y="32"/>
                </a:lnTo>
                <a:lnTo>
                  <a:pt x="218" y="32"/>
                </a:lnTo>
                <a:lnTo>
                  <a:pt x="224" y="32"/>
                </a:lnTo>
                <a:lnTo>
                  <a:pt x="224" y="38"/>
                </a:lnTo>
                <a:lnTo>
                  <a:pt x="229" y="38"/>
                </a:lnTo>
                <a:lnTo>
                  <a:pt x="235" y="38"/>
                </a:lnTo>
                <a:lnTo>
                  <a:pt x="240" y="49"/>
                </a:lnTo>
                <a:lnTo>
                  <a:pt x="251" y="49"/>
                </a:lnTo>
                <a:lnTo>
                  <a:pt x="256" y="54"/>
                </a:lnTo>
                <a:lnTo>
                  <a:pt x="256" y="60"/>
                </a:lnTo>
                <a:lnTo>
                  <a:pt x="262" y="65"/>
                </a:lnTo>
                <a:lnTo>
                  <a:pt x="262" y="71"/>
                </a:lnTo>
                <a:lnTo>
                  <a:pt x="256" y="71"/>
                </a:lnTo>
                <a:lnTo>
                  <a:pt x="262" y="71"/>
                </a:lnTo>
                <a:lnTo>
                  <a:pt x="262" y="76"/>
                </a:lnTo>
                <a:lnTo>
                  <a:pt x="256" y="82"/>
                </a:lnTo>
                <a:lnTo>
                  <a:pt x="262" y="82"/>
                </a:lnTo>
                <a:lnTo>
                  <a:pt x="256" y="82"/>
                </a:lnTo>
                <a:lnTo>
                  <a:pt x="256" y="87"/>
                </a:lnTo>
                <a:lnTo>
                  <a:pt x="256" y="92"/>
                </a:lnTo>
                <a:lnTo>
                  <a:pt x="262" y="98"/>
                </a:lnTo>
                <a:lnTo>
                  <a:pt x="267" y="98"/>
                </a:lnTo>
                <a:lnTo>
                  <a:pt x="262" y="98"/>
                </a:lnTo>
                <a:lnTo>
                  <a:pt x="262" y="103"/>
                </a:lnTo>
                <a:lnTo>
                  <a:pt x="262" y="109"/>
                </a:lnTo>
                <a:lnTo>
                  <a:pt x="267" y="114"/>
                </a:lnTo>
                <a:lnTo>
                  <a:pt x="267" y="120"/>
                </a:lnTo>
                <a:lnTo>
                  <a:pt x="273" y="125"/>
                </a:lnTo>
                <a:lnTo>
                  <a:pt x="273" y="131"/>
                </a:lnTo>
                <a:lnTo>
                  <a:pt x="284" y="131"/>
                </a:lnTo>
                <a:lnTo>
                  <a:pt x="289" y="136"/>
                </a:lnTo>
                <a:lnTo>
                  <a:pt x="289" y="142"/>
                </a:lnTo>
                <a:lnTo>
                  <a:pt x="278" y="152"/>
                </a:lnTo>
                <a:lnTo>
                  <a:pt x="284" y="158"/>
                </a:lnTo>
                <a:lnTo>
                  <a:pt x="289" y="163"/>
                </a:lnTo>
                <a:lnTo>
                  <a:pt x="289" y="169"/>
                </a:lnTo>
                <a:lnTo>
                  <a:pt x="294" y="169"/>
                </a:lnTo>
                <a:lnTo>
                  <a:pt x="300" y="174"/>
                </a:lnTo>
                <a:lnTo>
                  <a:pt x="305" y="174"/>
                </a:lnTo>
                <a:lnTo>
                  <a:pt x="311" y="180"/>
                </a:lnTo>
                <a:lnTo>
                  <a:pt x="316" y="180"/>
                </a:lnTo>
                <a:lnTo>
                  <a:pt x="316" y="185"/>
                </a:lnTo>
                <a:lnTo>
                  <a:pt x="322" y="191"/>
                </a:lnTo>
                <a:lnTo>
                  <a:pt x="316" y="196"/>
                </a:lnTo>
                <a:lnTo>
                  <a:pt x="327" y="196"/>
                </a:lnTo>
                <a:lnTo>
                  <a:pt x="327" y="202"/>
                </a:lnTo>
                <a:lnTo>
                  <a:pt x="327" y="207"/>
                </a:lnTo>
                <a:lnTo>
                  <a:pt x="322" y="207"/>
                </a:lnTo>
                <a:lnTo>
                  <a:pt x="316" y="207"/>
                </a:lnTo>
                <a:lnTo>
                  <a:pt x="316" y="212"/>
                </a:lnTo>
                <a:lnTo>
                  <a:pt x="311" y="207"/>
                </a:lnTo>
                <a:lnTo>
                  <a:pt x="311" y="212"/>
                </a:lnTo>
                <a:lnTo>
                  <a:pt x="311" y="218"/>
                </a:lnTo>
                <a:lnTo>
                  <a:pt x="305" y="218"/>
                </a:lnTo>
                <a:lnTo>
                  <a:pt x="311" y="218"/>
                </a:lnTo>
                <a:lnTo>
                  <a:pt x="311" y="229"/>
                </a:lnTo>
                <a:lnTo>
                  <a:pt x="305" y="229"/>
                </a:lnTo>
                <a:lnTo>
                  <a:pt x="300" y="229"/>
                </a:lnTo>
                <a:lnTo>
                  <a:pt x="294" y="229"/>
                </a:lnTo>
                <a:lnTo>
                  <a:pt x="294" y="223"/>
                </a:lnTo>
                <a:lnTo>
                  <a:pt x="289" y="229"/>
                </a:lnTo>
                <a:lnTo>
                  <a:pt x="289" y="223"/>
                </a:lnTo>
                <a:lnTo>
                  <a:pt x="289" y="229"/>
                </a:lnTo>
                <a:lnTo>
                  <a:pt x="284" y="229"/>
                </a:lnTo>
                <a:lnTo>
                  <a:pt x="278" y="223"/>
                </a:lnTo>
                <a:lnTo>
                  <a:pt x="273" y="223"/>
                </a:lnTo>
                <a:lnTo>
                  <a:pt x="267" y="223"/>
                </a:lnTo>
                <a:lnTo>
                  <a:pt x="262" y="223"/>
                </a:lnTo>
                <a:lnTo>
                  <a:pt x="256" y="223"/>
                </a:lnTo>
                <a:lnTo>
                  <a:pt x="251" y="218"/>
                </a:lnTo>
                <a:lnTo>
                  <a:pt x="251" y="223"/>
                </a:lnTo>
                <a:lnTo>
                  <a:pt x="251" y="218"/>
                </a:lnTo>
                <a:lnTo>
                  <a:pt x="245" y="218"/>
                </a:lnTo>
                <a:lnTo>
                  <a:pt x="240" y="218"/>
                </a:lnTo>
                <a:lnTo>
                  <a:pt x="240" y="212"/>
                </a:lnTo>
                <a:lnTo>
                  <a:pt x="235" y="207"/>
                </a:lnTo>
                <a:lnTo>
                  <a:pt x="235" y="202"/>
                </a:lnTo>
                <a:lnTo>
                  <a:pt x="229" y="196"/>
                </a:lnTo>
                <a:lnTo>
                  <a:pt x="224" y="196"/>
                </a:lnTo>
                <a:lnTo>
                  <a:pt x="218" y="202"/>
                </a:lnTo>
                <a:lnTo>
                  <a:pt x="213" y="202"/>
                </a:lnTo>
                <a:lnTo>
                  <a:pt x="207" y="202"/>
                </a:lnTo>
                <a:lnTo>
                  <a:pt x="207" y="207"/>
                </a:lnTo>
                <a:lnTo>
                  <a:pt x="202" y="207"/>
                </a:lnTo>
                <a:lnTo>
                  <a:pt x="196" y="207"/>
                </a:lnTo>
                <a:lnTo>
                  <a:pt x="191" y="202"/>
                </a:lnTo>
                <a:lnTo>
                  <a:pt x="185" y="207"/>
                </a:lnTo>
                <a:lnTo>
                  <a:pt x="180" y="202"/>
                </a:lnTo>
                <a:lnTo>
                  <a:pt x="175" y="196"/>
                </a:lnTo>
                <a:lnTo>
                  <a:pt x="169" y="196"/>
                </a:lnTo>
                <a:lnTo>
                  <a:pt x="169" y="191"/>
                </a:lnTo>
                <a:lnTo>
                  <a:pt x="164" y="191"/>
                </a:lnTo>
                <a:lnTo>
                  <a:pt x="158" y="191"/>
                </a:lnTo>
                <a:lnTo>
                  <a:pt x="158" y="185"/>
                </a:lnTo>
                <a:lnTo>
                  <a:pt x="153" y="185"/>
                </a:lnTo>
                <a:lnTo>
                  <a:pt x="147" y="185"/>
                </a:lnTo>
                <a:lnTo>
                  <a:pt x="142" y="180"/>
                </a:lnTo>
                <a:lnTo>
                  <a:pt x="142" y="174"/>
                </a:lnTo>
                <a:lnTo>
                  <a:pt x="136" y="169"/>
                </a:lnTo>
                <a:lnTo>
                  <a:pt x="131" y="169"/>
                </a:lnTo>
                <a:lnTo>
                  <a:pt x="131" y="163"/>
                </a:lnTo>
                <a:lnTo>
                  <a:pt x="125" y="158"/>
                </a:lnTo>
                <a:lnTo>
                  <a:pt x="120" y="152"/>
                </a:lnTo>
                <a:lnTo>
                  <a:pt x="120" y="147"/>
                </a:lnTo>
                <a:lnTo>
                  <a:pt x="115" y="147"/>
                </a:lnTo>
                <a:lnTo>
                  <a:pt x="115" y="152"/>
                </a:lnTo>
                <a:lnTo>
                  <a:pt x="109" y="152"/>
                </a:lnTo>
                <a:lnTo>
                  <a:pt x="104" y="147"/>
                </a:lnTo>
                <a:lnTo>
                  <a:pt x="98" y="147"/>
                </a:lnTo>
                <a:lnTo>
                  <a:pt x="104" y="152"/>
                </a:lnTo>
                <a:lnTo>
                  <a:pt x="98" y="152"/>
                </a:lnTo>
                <a:lnTo>
                  <a:pt x="93" y="147"/>
                </a:lnTo>
                <a:lnTo>
                  <a:pt x="87" y="147"/>
                </a:lnTo>
                <a:lnTo>
                  <a:pt x="87" y="136"/>
                </a:lnTo>
                <a:lnTo>
                  <a:pt x="82" y="136"/>
                </a:lnTo>
                <a:lnTo>
                  <a:pt x="82" y="131"/>
                </a:lnTo>
                <a:lnTo>
                  <a:pt x="82" y="125"/>
                </a:lnTo>
                <a:lnTo>
                  <a:pt x="76" y="120"/>
                </a:lnTo>
                <a:lnTo>
                  <a:pt x="71" y="114"/>
                </a:lnTo>
                <a:lnTo>
                  <a:pt x="65" y="114"/>
                </a:lnTo>
                <a:lnTo>
                  <a:pt x="60" y="109"/>
                </a:lnTo>
                <a:lnTo>
                  <a:pt x="55" y="103"/>
                </a:lnTo>
                <a:lnTo>
                  <a:pt x="49" y="103"/>
                </a:lnTo>
                <a:lnTo>
                  <a:pt x="49" y="98"/>
                </a:lnTo>
                <a:lnTo>
                  <a:pt x="44" y="98"/>
                </a:lnTo>
                <a:lnTo>
                  <a:pt x="44" y="92"/>
                </a:lnTo>
                <a:lnTo>
                  <a:pt x="44" y="98"/>
                </a:lnTo>
                <a:lnTo>
                  <a:pt x="44" y="92"/>
                </a:lnTo>
                <a:lnTo>
                  <a:pt x="38" y="92"/>
                </a:lnTo>
                <a:lnTo>
                  <a:pt x="38" y="87"/>
                </a:lnTo>
                <a:lnTo>
                  <a:pt x="38" y="82"/>
                </a:lnTo>
                <a:lnTo>
                  <a:pt x="38" y="76"/>
                </a:lnTo>
                <a:lnTo>
                  <a:pt x="38" y="71"/>
                </a:lnTo>
                <a:lnTo>
                  <a:pt x="44" y="71"/>
                </a:lnTo>
                <a:lnTo>
                  <a:pt x="38" y="65"/>
                </a:lnTo>
                <a:lnTo>
                  <a:pt x="44" y="60"/>
                </a:lnTo>
                <a:lnTo>
                  <a:pt x="38" y="60"/>
                </a:lnTo>
                <a:lnTo>
                  <a:pt x="33" y="60"/>
                </a:lnTo>
                <a:lnTo>
                  <a:pt x="27" y="60"/>
                </a:lnTo>
                <a:lnTo>
                  <a:pt x="27" y="54"/>
                </a:lnTo>
                <a:lnTo>
                  <a:pt x="27" y="49"/>
                </a:lnTo>
                <a:lnTo>
                  <a:pt x="22" y="49"/>
                </a:lnTo>
                <a:lnTo>
                  <a:pt x="16" y="43"/>
                </a:lnTo>
                <a:lnTo>
                  <a:pt x="16" y="38"/>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19" name="Freeform 212">
            <a:extLst>
              <a:ext uri="{FF2B5EF4-FFF2-40B4-BE49-F238E27FC236}">
                <a16:creationId xmlns:a16="http://schemas.microsoft.com/office/drawing/2014/main" id="{0C27DF8C-65C6-CFF4-E934-3F42428A8563}"/>
              </a:ext>
            </a:extLst>
          </p:cNvPr>
          <p:cNvSpPr>
            <a:spLocks/>
          </p:cNvSpPr>
          <p:nvPr/>
        </p:nvSpPr>
        <p:spPr bwMode="auto">
          <a:xfrm>
            <a:off x="3971925" y="2492375"/>
            <a:ext cx="152400" cy="79375"/>
          </a:xfrm>
          <a:custGeom>
            <a:avLst/>
            <a:gdLst>
              <a:gd name="T0" fmla="*/ 131 w 136"/>
              <a:gd name="T1" fmla="*/ 44 h 65"/>
              <a:gd name="T2" fmla="*/ 131 w 136"/>
              <a:gd name="T3" fmla="*/ 55 h 65"/>
              <a:gd name="T4" fmla="*/ 136 w 136"/>
              <a:gd name="T5" fmla="*/ 60 h 65"/>
              <a:gd name="T6" fmla="*/ 131 w 136"/>
              <a:gd name="T7" fmla="*/ 60 h 65"/>
              <a:gd name="T8" fmla="*/ 125 w 136"/>
              <a:gd name="T9" fmla="*/ 65 h 65"/>
              <a:gd name="T10" fmla="*/ 115 w 136"/>
              <a:gd name="T11" fmla="*/ 60 h 65"/>
              <a:gd name="T12" fmla="*/ 104 w 136"/>
              <a:gd name="T13" fmla="*/ 60 h 65"/>
              <a:gd name="T14" fmla="*/ 93 w 136"/>
              <a:gd name="T15" fmla="*/ 55 h 65"/>
              <a:gd name="T16" fmla="*/ 82 w 136"/>
              <a:gd name="T17" fmla="*/ 55 h 65"/>
              <a:gd name="T18" fmla="*/ 71 w 136"/>
              <a:gd name="T19" fmla="*/ 49 h 65"/>
              <a:gd name="T20" fmla="*/ 66 w 136"/>
              <a:gd name="T21" fmla="*/ 49 h 65"/>
              <a:gd name="T22" fmla="*/ 60 w 136"/>
              <a:gd name="T23" fmla="*/ 44 h 65"/>
              <a:gd name="T24" fmla="*/ 55 w 136"/>
              <a:gd name="T25" fmla="*/ 44 h 65"/>
              <a:gd name="T26" fmla="*/ 44 w 136"/>
              <a:gd name="T27" fmla="*/ 44 h 65"/>
              <a:gd name="T28" fmla="*/ 33 w 136"/>
              <a:gd name="T29" fmla="*/ 38 h 65"/>
              <a:gd name="T30" fmla="*/ 27 w 136"/>
              <a:gd name="T31" fmla="*/ 33 h 65"/>
              <a:gd name="T32" fmla="*/ 16 w 136"/>
              <a:gd name="T33" fmla="*/ 27 h 65"/>
              <a:gd name="T34" fmla="*/ 6 w 136"/>
              <a:gd name="T35" fmla="*/ 27 h 65"/>
              <a:gd name="T36" fmla="*/ 0 w 136"/>
              <a:gd name="T37" fmla="*/ 16 h 65"/>
              <a:gd name="T38" fmla="*/ 0 w 136"/>
              <a:gd name="T39" fmla="*/ 16 h 65"/>
              <a:gd name="T40" fmla="*/ 6 w 136"/>
              <a:gd name="T41" fmla="*/ 5 h 65"/>
              <a:gd name="T42" fmla="*/ 11 w 136"/>
              <a:gd name="T43" fmla="*/ 0 h 65"/>
              <a:gd name="T44" fmla="*/ 16 w 136"/>
              <a:gd name="T45" fmla="*/ 0 h 65"/>
              <a:gd name="T46" fmla="*/ 27 w 136"/>
              <a:gd name="T47" fmla="*/ 5 h 65"/>
              <a:gd name="T48" fmla="*/ 38 w 136"/>
              <a:gd name="T49" fmla="*/ 11 h 65"/>
              <a:gd name="T50" fmla="*/ 49 w 136"/>
              <a:gd name="T51" fmla="*/ 16 h 65"/>
              <a:gd name="T52" fmla="*/ 60 w 136"/>
              <a:gd name="T53" fmla="*/ 16 h 65"/>
              <a:gd name="T54" fmla="*/ 66 w 136"/>
              <a:gd name="T55" fmla="*/ 27 h 65"/>
              <a:gd name="T56" fmla="*/ 76 w 136"/>
              <a:gd name="T57" fmla="*/ 27 h 65"/>
              <a:gd name="T58" fmla="*/ 87 w 136"/>
              <a:gd name="T59" fmla="*/ 33 h 65"/>
              <a:gd name="T60" fmla="*/ 98 w 136"/>
              <a:gd name="T61" fmla="*/ 38 h 65"/>
              <a:gd name="T62" fmla="*/ 104 w 136"/>
              <a:gd name="T63" fmla="*/ 38 h 65"/>
              <a:gd name="T64" fmla="*/ 115 w 136"/>
              <a:gd name="T65" fmla="*/ 38 h 65"/>
              <a:gd name="T66" fmla="*/ 125 w 136"/>
              <a:gd name="T67" fmla="*/ 3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 h="65">
                <a:moveTo>
                  <a:pt x="131" y="38"/>
                </a:moveTo>
                <a:lnTo>
                  <a:pt x="131" y="44"/>
                </a:lnTo>
                <a:lnTo>
                  <a:pt x="131" y="49"/>
                </a:lnTo>
                <a:lnTo>
                  <a:pt x="131" y="55"/>
                </a:lnTo>
                <a:lnTo>
                  <a:pt x="136" y="55"/>
                </a:lnTo>
                <a:lnTo>
                  <a:pt x="136" y="60"/>
                </a:lnTo>
                <a:lnTo>
                  <a:pt x="136" y="65"/>
                </a:lnTo>
                <a:lnTo>
                  <a:pt x="131" y="60"/>
                </a:lnTo>
                <a:lnTo>
                  <a:pt x="125" y="60"/>
                </a:lnTo>
                <a:lnTo>
                  <a:pt x="125" y="65"/>
                </a:lnTo>
                <a:lnTo>
                  <a:pt x="120" y="60"/>
                </a:lnTo>
                <a:lnTo>
                  <a:pt x="115" y="60"/>
                </a:lnTo>
                <a:lnTo>
                  <a:pt x="109" y="60"/>
                </a:lnTo>
                <a:lnTo>
                  <a:pt x="104" y="60"/>
                </a:lnTo>
                <a:lnTo>
                  <a:pt x="98" y="55"/>
                </a:lnTo>
                <a:lnTo>
                  <a:pt x="93" y="55"/>
                </a:lnTo>
                <a:lnTo>
                  <a:pt x="87" y="55"/>
                </a:lnTo>
                <a:lnTo>
                  <a:pt x="82" y="55"/>
                </a:lnTo>
                <a:lnTo>
                  <a:pt x="76" y="49"/>
                </a:lnTo>
                <a:lnTo>
                  <a:pt x="71" y="49"/>
                </a:lnTo>
                <a:lnTo>
                  <a:pt x="71" y="44"/>
                </a:lnTo>
                <a:lnTo>
                  <a:pt x="66" y="49"/>
                </a:lnTo>
                <a:lnTo>
                  <a:pt x="66" y="44"/>
                </a:lnTo>
                <a:lnTo>
                  <a:pt x="60" y="44"/>
                </a:lnTo>
                <a:lnTo>
                  <a:pt x="60" y="49"/>
                </a:lnTo>
                <a:lnTo>
                  <a:pt x="55" y="44"/>
                </a:lnTo>
                <a:lnTo>
                  <a:pt x="49" y="44"/>
                </a:lnTo>
                <a:lnTo>
                  <a:pt x="44" y="44"/>
                </a:lnTo>
                <a:lnTo>
                  <a:pt x="38" y="38"/>
                </a:lnTo>
                <a:lnTo>
                  <a:pt x="33" y="38"/>
                </a:lnTo>
                <a:lnTo>
                  <a:pt x="27" y="38"/>
                </a:lnTo>
                <a:lnTo>
                  <a:pt x="27" y="33"/>
                </a:lnTo>
                <a:lnTo>
                  <a:pt x="22" y="33"/>
                </a:lnTo>
                <a:lnTo>
                  <a:pt x="16" y="27"/>
                </a:lnTo>
                <a:lnTo>
                  <a:pt x="11" y="27"/>
                </a:lnTo>
                <a:lnTo>
                  <a:pt x="6" y="27"/>
                </a:lnTo>
                <a:lnTo>
                  <a:pt x="6" y="22"/>
                </a:lnTo>
                <a:lnTo>
                  <a:pt x="0" y="16"/>
                </a:lnTo>
                <a:lnTo>
                  <a:pt x="6" y="16"/>
                </a:lnTo>
                <a:lnTo>
                  <a:pt x="0" y="16"/>
                </a:lnTo>
                <a:lnTo>
                  <a:pt x="0" y="11"/>
                </a:lnTo>
                <a:lnTo>
                  <a:pt x="6" y="5"/>
                </a:lnTo>
                <a:lnTo>
                  <a:pt x="6" y="0"/>
                </a:lnTo>
                <a:lnTo>
                  <a:pt x="11" y="0"/>
                </a:lnTo>
                <a:lnTo>
                  <a:pt x="11" y="5"/>
                </a:lnTo>
                <a:lnTo>
                  <a:pt x="16" y="0"/>
                </a:lnTo>
                <a:lnTo>
                  <a:pt x="27" y="0"/>
                </a:lnTo>
                <a:lnTo>
                  <a:pt x="27" y="5"/>
                </a:lnTo>
                <a:lnTo>
                  <a:pt x="33" y="5"/>
                </a:lnTo>
                <a:lnTo>
                  <a:pt x="38" y="11"/>
                </a:lnTo>
                <a:lnTo>
                  <a:pt x="44" y="11"/>
                </a:lnTo>
                <a:lnTo>
                  <a:pt x="49" y="16"/>
                </a:lnTo>
                <a:lnTo>
                  <a:pt x="55" y="16"/>
                </a:lnTo>
                <a:lnTo>
                  <a:pt x="60" y="16"/>
                </a:lnTo>
                <a:lnTo>
                  <a:pt x="66" y="22"/>
                </a:lnTo>
                <a:lnTo>
                  <a:pt x="66" y="27"/>
                </a:lnTo>
                <a:lnTo>
                  <a:pt x="71" y="27"/>
                </a:lnTo>
                <a:lnTo>
                  <a:pt x="76" y="27"/>
                </a:lnTo>
                <a:lnTo>
                  <a:pt x="82" y="33"/>
                </a:lnTo>
                <a:lnTo>
                  <a:pt x="87" y="33"/>
                </a:lnTo>
                <a:lnTo>
                  <a:pt x="93" y="33"/>
                </a:lnTo>
                <a:lnTo>
                  <a:pt x="98" y="38"/>
                </a:lnTo>
                <a:lnTo>
                  <a:pt x="98" y="33"/>
                </a:lnTo>
                <a:lnTo>
                  <a:pt x="104" y="38"/>
                </a:lnTo>
                <a:lnTo>
                  <a:pt x="109" y="38"/>
                </a:lnTo>
                <a:lnTo>
                  <a:pt x="115" y="38"/>
                </a:lnTo>
                <a:lnTo>
                  <a:pt x="120" y="38"/>
                </a:lnTo>
                <a:lnTo>
                  <a:pt x="125" y="38"/>
                </a:lnTo>
                <a:lnTo>
                  <a:pt x="131" y="38"/>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0" name="Freeform 213">
            <a:extLst>
              <a:ext uri="{FF2B5EF4-FFF2-40B4-BE49-F238E27FC236}">
                <a16:creationId xmlns:a16="http://schemas.microsoft.com/office/drawing/2014/main" id="{2D4DA95A-2F33-D6CD-EE16-79F698BC2762}"/>
              </a:ext>
            </a:extLst>
          </p:cNvPr>
          <p:cNvSpPr>
            <a:spLocks/>
          </p:cNvSpPr>
          <p:nvPr/>
        </p:nvSpPr>
        <p:spPr bwMode="auto">
          <a:xfrm>
            <a:off x="3622676" y="2332038"/>
            <a:ext cx="214313" cy="179388"/>
          </a:xfrm>
          <a:custGeom>
            <a:avLst/>
            <a:gdLst>
              <a:gd name="T0" fmla="*/ 33 w 191"/>
              <a:gd name="T1" fmla="*/ 120 h 147"/>
              <a:gd name="T2" fmla="*/ 17 w 191"/>
              <a:gd name="T3" fmla="*/ 109 h 147"/>
              <a:gd name="T4" fmla="*/ 6 w 191"/>
              <a:gd name="T5" fmla="*/ 93 h 147"/>
              <a:gd name="T6" fmla="*/ 11 w 191"/>
              <a:gd name="T7" fmla="*/ 82 h 147"/>
              <a:gd name="T8" fmla="*/ 0 w 191"/>
              <a:gd name="T9" fmla="*/ 71 h 147"/>
              <a:gd name="T10" fmla="*/ 0 w 191"/>
              <a:gd name="T11" fmla="*/ 66 h 147"/>
              <a:gd name="T12" fmla="*/ 0 w 191"/>
              <a:gd name="T13" fmla="*/ 55 h 147"/>
              <a:gd name="T14" fmla="*/ 11 w 191"/>
              <a:gd name="T15" fmla="*/ 49 h 147"/>
              <a:gd name="T16" fmla="*/ 28 w 191"/>
              <a:gd name="T17" fmla="*/ 49 h 147"/>
              <a:gd name="T18" fmla="*/ 28 w 191"/>
              <a:gd name="T19" fmla="*/ 44 h 147"/>
              <a:gd name="T20" fmla="*/ 44 w 191"/>
              <a:gd name="T21" fmla="*/ 44 h 147"/>
              <a:gd name="T22" fmla="*/ 49 w 191"/>
              <a:gd name="T23" fmla="*/ 33 h 147"/>
              <a:gd name="T24" fmla="*/ 44 w 191"/>
              <a:gd name="T25" fmla="*/ 22 h 147"/>
              <a:gd name="T26" fmla="*/ 55 w 191"/>
              <a:gd name="T27" fmla="*/ 16 h 147"/>
              <a:gd name="T28" fmla="*/ 71 w 191"/>
              <a:gd name="T29" fmla="*/ 22 h 147"/>
              <a:gd name="T30" fmla="*/ 88 w 191"/>
              <a:gd name="T31" fmla="*/ 22 h 147"/>
              <a:gd name="T32" fmla="*/ 98 w 191"/>
              <a:gd name="T33" fmla="*/ 22 h 147"/>
              <a:gd name="T34" fmla="*/ 109 w 191"/>
              <a:gd name="T35" fmla="*/ 16 h 147"/>
              <a:gd name="T36" fmla="*/ 120 w 191"/>
              <a:gd name="T37" fmla="*/ 11 h 147"/>
              <a:gd name="T38" fmla="*/ 126 w 191"/>
              <a:gd name="T39" fmla="*/ 6 h 147"/>
              <a:gd name="T40" fmla="*/ 137 w 191"/>
              <a:gd name="T41" fmla="*/ 11 h 147"/>
              <a:gd name="T42" fmla="*/ 142 w 191"/>
              <a:gd name="T43" fmla="*/ 27 h 147"/>
              <a:gd name="T44" fmla="*/ 153 w 191"/>
              <a:gd name="T45" fmla="*/ 27 h 147"/>
              <a:gd name="T46" fmla="*/ 164 w 191"/>
              <a:gd name="T47" fmla="*/ 22 h 147"/>
              <a:gd name="T48" fmla="*/ 175 w 191"/>
              <a:gd name="T49" fmla="*/ 22 h 147"/>
              <a:gd name="T50" fmla="*/ 186 w 191"/>
              <a:gd name="T51" fmla="*/ 16 h 147"/>
              <a:gd name="T52" fmla="*/ 186 w 191"/>
              <a:gd name="T53" fmla="*/ 27 h 147"/>
              <a:gd name="T54" fmla="*/ 169 w 191"/>
              <a:gd name="T55" fmla="*/ 27 h 147"/>
              <a:gd name="T56" fmla="*/ 153 w 191"/>
              <a:gd name="T57" fmla="*/ 27 h 147"/>
              <a:gd name="T58" fmla="*/ 153 w 191"/>
              <a:gd name="T59" fmla="*/ 33 h 147"/>
              <a:gd name="T60" fmla="*/ 142 w 191"/>
              <a:gd name="T61" fmla="*/ 38 h 147"/>
              <a:gd name="T62" fmla="*/ 153 w 191"/>
              <a:gd name="T63" fmla="*/ 49 h 147"/>
              <a:gd name="T64" fmla="*/ 153 w 191"/>
              <a:gd name="T65" fmla="*/ 66 h 147"/>
              <a:gd name="T66" fmla="*/ 153 w 191"/>
              <a:gd name="T67" fmla="*/ 71 h 147"/>
              <a:gd name="T68" fmla="*/ 137 w 191"/>
              <a:gd name="T69" fmla="*/ 71 h 147"/>
              <a:gd name="T70" fmla="*/ 142 w 191"/>
              <a:gd name="T71" fmla="*/ 82 h 147"/>
              <a:gd name="T72" fmla="*/ 137 w 191"/>
              <a:gd name="T73" fmla="*/ 87 h 147"/>
              <a:gd name="T74" fmla="*/ 137 w 191"/>
              <a:gd name="T75" fmla="*/ 104 h 147"/>
              <a:gd name="T76" fmla="*/ 126 w 191"/>
              <a:gd name="T77" fmla="*/ 109 h 147"/>
              <a:gd name="T78" fmla="*/ 120 w 191"/>
              <a:gd name="T79" fmla="*/ 115 h 147"/>
              <a:gd name="T80" fmla="*/ 104 w 191"/>
              <a:gd name="T81" fmla="*/ 115 h 147"/>
              <a:gd name="T82" fmla="*/ 98 w 191"/>
              <a:gd name="T83" fmla="*/ 126 h 147"/>
              <a:gd name="T84" fmla="*/ 88 w 191"/>
              <a:gd name="T85" fmla="*/ 142 h 147"/>
              <a:gd name="T86" fmla="*/ 77 w 191"/>
              <a:gd name="T87" fmla="*/ 147 h 147"/>
              <a:gd name="T88" fmla="*/ 49 w 191"/>
              <a:gd name="T89"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1" h="147">
                <a:moveTo>
                  <a:pt x="22" y="136"/>
                </a:moveTo>
                <a:lnTo>
                  <a:pt x="33" y="126"/>
                </a:lnTo>
                <a:lnTo>
                  <a:pt x="33" y="120"/>
                </a:lnTo>
                <a:lnTo>
                  <a:pt x="28" y="115"/>
                </a:lnTo>
                <a:lnTo>
                  <a:pt x="17" y="115"/>
                </a:lnTo>
                <a:lnTo>
                  <a:pt x="17" y="109"/>
                </a:lnTo>
                <a:lnTo>
                  <a:pt x="11" y="104"/>
                </a:lnTo>
                <a:lnTo>
                  <a:pt x="11" y="98"/>
                </a:lnTo>
                <a:lnTo>
                  <a:pt x="6" y="93"/>
                </a:lnTo>
                <a:lnTo>
                  <a:pt x="6" y="87"/>
                </a:lnTo>
                <a:lnTo>
                  <a:pt x="6" y="82"/>
                </a:lnTo>
                <a:lnTo>
                  <a:pt x="11" y="82"/>
                </a:lnTo>
                <a:lnTo>
                  <a:pt x="6" y="82"/>
                </a:lnTo>
                <a:lnTo>
                  <a:pt x="0" y="76"/>
                </a:lnTo>
                <a:lnTo>
                  <a:pt x="0" y="71"/>
                </a:lnTo>
                <a:lnTo>
                  <a:pt x="0" y="66"/>
                </a:lnTo>
                <a:lnTo>
                  <a:pt x="6" y="66"/>
                </a:lnTo>
                <a:lnTo>
                  <a:pt x="0" y="66"/>
                </a:lnTo>
                <a:lnTo>
                  <a:pt x="6" y="60"/>
                </a:lnTo>
                <a:lnTo>
                  <a:pt x="6" y="55"/>
                </a:lnTo>
                <a:lnTo>
                  <a:pt x="0" y="55"/>
                </a:lnTo>
                <a:lnTo>
                  <a:pt x="6" y="55"/>
                </a:lnTo>
                <a:lnTo>
                  <a:pt x="6" y="49"/>
                </a:lnTo>
                <a:lnTo>
                  <a:pt x="11" y="49"/>
                </a:lnTo>
                <a:lnTo>
                  <a:pt x="17" y="49"/>
                </a:lnTo>
                <a:lnTo>
                  <a:pt x="22" y="55"/>
                </a:lnTo>
                <a:lnTo>
                  <a:pt x="28" y="49"/>
                </a:lnTo>
                <a:lnTo>
                  <a:pt x="33" y="49"/>
                </a:lnTo>
                <a:lnTo>
                  <a:pt x="33" y="44"/>
                </a:lnTo>
                <a:lnTo>
                  <a:pt x="28" y="44"/>
                </a:lnTo>
                <a:lnTo>
                  <a:pt x="33" y="44"/>
                </a:lnTo>
                <a:lnTo>
                  <a:pt x="38" y="38"/>
                </a:lnTo>
                <a:lnTo>
                  <a:pt x="44" y="44"/>
                </a:lnTo>
                <a:lnTo>
                  <a:pt x="38" y="38"/>
                </a:lnTo>
                <a:lnTo>
                  <a:pt x="44" y="38"/>
                </a:lnTo>
                <a:lnTo>
                  <a:pt x="49" y="33"/>
                </a:lnTo>
                <a:lnTo>
                  <a:pt x="44" y="33"/>
                </a:lnTo>
                <a:lnTo>
                  <a:pt x="49" y="27"/>
                </a:lnTo>
                <a:lnTo>
                  <a:pt x="44" y="22"/>
                </a:lnTo>
                <a:lnTo>
                  <a:pt x="49" y="22"/>
                </a:lnTo>
                <a:lnTo>
                  <a:pt x="55" y="22"/>
                </a:lnTo>
                <a:lnTo>
                  <a:pt x="55" y="16"/>
                </a:lnTo>
                <a:lnTo>
                  <a:pt x="60" y="16"/>
                </a:lnTo>
                <a:lnTo>
                  <a:pt x="66" y="22"/>
                </a:lnTo>
                <a:lnTo>
                  <a:pt x="71" y="22"/>
                </a:lnTo>
                <a:lnTo>
                  <a:pt x="77" y="16"/>
                </a:lnTo>
                <a:lnTo>
                  <a:pt x="82" y="22"/>
                </a:lnTo>
                <a:lnTo>
                  <a:pt x="88" y="22"/>
                </a:lnTo>
                <a:lnTo>
                  <a:pt x="93" y="27"/>
                </a:lnTo>
                <a:lnTo>
                  <a:pt x="98" y="27"/>
                </a:lnTo>
                <a:lnTo>
                  <a:pt x="98" y="22"/>
                </a:lnTo>
                <a:lnTo>
                  <a:pt x="104" y="22"/>
                </a:lnTo>
                <a:lnTo>
                  <a:pt x="109" y="22"/>
                </a:lnTo>
                <a:lnTo>
                  <a:pt x="109" y="16"/>
                </a:lnTo>
                <a:lnTo>
                  <a:pt x="115" y="16"/>
                </a:lnTo>
                <a:lnTo>
                  <a:pt x="120" y="16"/>
                </a:lnTo>
                <a:lnTo>
                  <a:pt x="120" y="11"/>
                </a:lnTo>
                <a:lnTo>
                  <a:pt x="120" y="6"/>
                </a:lnTo>
                <a:lnTo>
                  <a:pt x="126" y="0"/>
                </a:lnTo>
                <a:lnTo>
                  <a:pt x="126" y="6"/>
                </a:lnTo>
                <a:lnTo>
                  <a:pt x="131" y="6"/>
                </a:lnTo>
                <a:lnTo>
                  <a:pt x="131" y="11"/>
                </a:lnTo>
                <a:lnTo>
                  <a:pt x="137" y="11"/>
                </a:lnTo>
                <a:lnTo>
                  <a:pt x="142" y="16"/>
                </a:lnTo>
                <a:lnTo>
                  <a:pt x="142" y="22"/>
                </a:lnTo>
                <a:lnTo>
                  <a:pt x="142" y="27"/>
                </a:lnTo>
                <a:lnTo>
                  <a:pt x="148" y="33"/>
                </a:lnTo>
                <a:lnTo>
                  <a:pt x="148" y="27"/>
                </a:lnTo>
                <a:lnTo>
                  <a:pt x="153" y="27"/>
                </a:lnTo>
                <a:lnTo>
                  <a:pt x="158" y="27"/>
                </a:lnTo>
                <a:lnTo>
                  <a:pt x="158" y="22"/>
                </a:lnTo>
                <a:lnTo>
                  <a:pt x="164" y="22"/>
                </a:lnTo>
                <a:lnTo>
                  <a:pt x="164" y="16"/>
                </a:lnTo>
                <a:lnTo>
                  <a:pt x="169" y="16"/>
                </a:lnTo>
                <a:lnTo>
                  <a:pt x="175" y="22"/>
                </a:lnTo>
                <a:lnTo>
                  <a:pt x="180" y="22"/>
                </a:lnTo>
                <a:lnTo>
                  <a:pt x="180" y="16"/>
                </a:lnTo>
                <a:lnTo>
                  <a:pt x="186" y="16"/>
                </a:lnTo>
                <a:lnTo>
                  <a:pt x="191" y="22"/>
                </a:lnTo>
                <a:lnTo>
                  <a:pt x="186" y="22"/>
                </a:lnTo>
                <a:lnTo>
                  <a:pt x="186" y="27"/>
                </a:lnTo>
                <a:lnTo>
                  <a:pt x="180" y="27"/>
                </a:lnTo>
                <a:lnTo>
                  <a:pt x="175" y="27"/>
                </a:lnTo>
                <a:lnTo>
                  <a:pt x="169" y="27"/>
                </a:lnTo>
                <a:lnTo>
                  <a:pt x="164" y="27"/>
                </a:lnTo>
                <a:lnTo>
                  <a:pt x="158" y="27"/>
                </a:lnTo>
                <a:lnTo>
                  <a:pt x="153" y="27"/>
                </a:lnTo>
                <a:lnTo>
                  <a:pt x="153" y="33"/>
                </a:lnTo>
                <a:lnTo>
                  <a:pt x="148" y="33"/>
                </a:lnTo>
                <a:lnTo>
                  <a:pt x="153" y="33"/>
                </a:lnTo>
                <a:lnTo>
                  <a:pt x="148" y="33"/>
                </a:lnTo>
                <a:lnTo>
                  <a:pt x="148" y="38"/>
                </a:lnTo>
                <a:lnTo>
                  <a:pt x="142" y="38"/>
                </a:lnTo>
                <a:lnTo>
                  <a:pt x="148" y="44"/>
                </a:lnTo>
                <a:lnTo>
                  <a:pt x="153" y="44"/>
                </a:lnTo>
                <a:lnTo>
                  <a:pt x="153" y="49"/>
                </a:lnTo>
                <a:lnTo>
                  <a:pt x="153" y="55"/>
                </a:lnTo>
                <a:lnTo>
                  <a:pt x="153" y="60"/>
                </a:lnTo>
                <a:lnTo>
                  <a:pt x="153" y="66"/>
                </a:lnTo>
                <a:lnTo>
                  <a:pt x="148" y="66"/>
                </a:lnTo>
                <a:lnTo>
                  <a:pt x="153" y="66"/>
                </a:lnTo>
                <a:lnTo>
                  <a:pt x="153" y="71"/>
                </a:lnTo>
                <a:lnTo>
                  <a:pt x="148" y="71"/>
                </a:lnTo>
                <a:lnTo>
                  <a:pt x="142" y="71"/>
                </a:lnTo>
                <a:lnTo>
                  <a:pt x="137" y="71"/>
                </a:lnTo>
                <a:lnTo>
                  <a:pt x="137" y="76"/>
                </a:lnTo>
                <a:lnTo>
                  <a:pt x="142" y="76"/>
                </a:lnTo>
                <a:lnTo>
                  <a:pt x="142" y="82"/>
                </a:lnTo>
                <a:lnTo>
                  <a:pt x="148" y="82"/>
                </a:lnTo>
                <a:lnTo>
                  <a:pt x="142" y="87"/>
                </a:lnTo>
                <a:lnTo>
                  <a:pt x="137" y="87"/>
                </a:lnTo>
                <a:lnTo>
                  <a:pt x="137" y="93"/>
                </a:lnTo>
                <a:lnTo>
                  <a:pt x="137" y="98"/>
                </a:lnTo>
                <a:lnTo>
                  <a:pt x="137" y="104"/>
                </a:lnTo>
                <a:lnTo>
                  <a:pt x="137" y="109"/>
                </a:lnTo>
                <a:lnTo>
                  <a:pt x="131" y="109"/>
                </a:lnTo>
                <a:lnTo>
                  <a:pt x="126" y="109"/>
                </a:lnTo>
                <a:lnTo>
                  <a:pt x="120" y="109"/>
                </a:lnTo>
                <a:lnTo>
                  <a:pt x="115" y="115"/>
                </a:lnTo>
                <a:lnTo>
                  <a:pt x="120" y="115"/>
                </a:lnTo>
                <a:lnTo>
                  <a:pt x="115" y="115"/>
                </a:lnTo>
                <a:lnTo>
                  <a:pt x="109" y="115"/>
                </a:lnTo>
                <a:lnTo>
                  <a:pt x="104" y="115"/>
                </a:lnTo>
                <a:lnTo>
                  <a:pt x="104" y="120"/>
                </a:lnTo>
                <a:lnTo>
                  <a:pt x="98" y="120"/>
                </a:lnTo>
                <a:lnTo>
                  <a:pt x="98" y="126"/>
                </a:lnTo>
                <a:lnTo>
                  <a:pt x="104" y="131"/>
                </a:lnTo>
                <a:lnTo>
                  <a:pt x="104" y="136"/>
                </a:lnTo>
                <a:lnTo>
                  <a:pt x="88" y="142"/>
                </a:lnTo>
                <a:lnTo>
                  <a:pt x="82" y="142"/>
                </a:lnTo>
                <a:lnTo>
                  <a:pt x="77" y="142"/>
                </a:lnTo>
                <a:lnTo>
                  <a:pt x="77" y="147"/>
                </a:lnTo>
                <a:lnTo>
                  <a:pt x="71" y="147"/>
                </a:lnTo>
                <a:lnTo>
                  <a:pt x="66" y="142"/>
                </a:lnTo>
                <a:lnTo>
                  <a:pt x="49" y="147"/>
                </a:lnTo>
                <a:lnTo>
                  <a:pt x="22" y="136"/>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1" name="Freeform 214">
            <a:extLst>
              <a:ext uri="{FF2B5EF4-FFF2-40B4-BE49-F238E27FC236}">
                <a16:creationId xmlns:a16="http://schemas.microsoft.com/office/drawing/2014/main" id="{442F9278-E00F-3247-BED4-1160845AE61A}"/>
              </a:ext>
            </a:extLst>
          </p:cNvPr>
          <p:cNvSpPr>
            <a:spLocks noEditPoints="1"/>
          </p:cNvSpPr>
          <p:nvPr/>
        </p:nvSpPr>
        <p:spPr bwMode="auto">
          <a:xfrm>
            <a:off x="3727450" y="2239963"/>
            <a:ext cx="152400" cy="79375"/>
          </a:xfrm>
          <a:custGeom>
            <a:avLst/>
            <a:gdLst>
              <a:gd name="T0" fmla="*/ 60 w 136"/>
              <a:gd name="T1" fmla="*/ 65 h 65"/>
              <a:gd name="T2" fmla="*/ 49 w 136"/>
              <a:gd name="T3" fmla="*/ 65 h 65"/>
              <a:gd name="T4" fmla="*/ 38 w 136"/>
              <a:gd name="T5" fmla="*/ 60 h 65"/>
              <a:gd name="T6" fmla="*/ 27 w 136"/>
              <a:gd name="T7" fmla="*/ 60 h 65"/>
              <a:gd name="T8" fmla="*/ 22 w 136"/>
              <a:gd name="T9" fmla="*/ 65 h 65"/>
              <a:gd name="T10" fmla="*/ 16 w 136"/>
              <a:gd name="T11" fmla="*/ 60 h 65"/>
              <a:gd name="T12" fmla="*/ 5 w 136"/>
              <a:gd name="T13" fmla="*/ 60 h 65"/>
              <a:gd name="T14" fmla="*/ 5 w 136"/>
              <a:gd name="T15" fmla="*/ 54 h 65"/>
              <a:gd name="T16" fmla="*/ 5 w 136"/>
              <a:gd name="T17" fmla="*/ 54 h 65"/>
              <a:gd name="T18" fmla="*/ 16 w 136"/>
              <a:gd name="T19" fmla="*/ 54 h 65"/>
              <a:gd name="T20" fmla="*/ 27 w 136"/>
              <a:gd name="T21" fmla="*/ 49 h 65"/>
              <a:gd name="T22" fmla="*/ 38 w 136"/>
              <a:gd name="T23" fmla="*/ 49 h 65"/>
              <a:gd name="T24" fmla="*/ 44 w 136"/>
              <a:gd name="T25" fmla="*/ 49 h 65"/>
              <a:gd name="T26" fmla="*/ 44 w 136"/>
              <a:gd name="T27" fmla="*/ 43 h 65"/>
              <a:gd name="T28" fmla="*/ 44 w 136"/>
              <a:gd name="T29" fmla="*/ 38 h 65"/>
              <a:gd name="T30" fmla="*/ 33 w 136"/>
              <a:gd name="T31" fmla="*/ 38 h 65"/>
              <a:gd name="T32" fmla="*/ 22 w 136"/>
              <a:gd name="T33" fmla="*/ 27 h 65"/>
              <a:gd name="T34" fmla="*/ 22 w 136"/>
              <a:gd name="T35" fmla="*/ 38 h 65"/>
              <a:gd name="T36" fmla="*/ 11 w 136"/>
              <a:gd name="T37" fmla="*/ 32 h 65"/>
              <a:gd name="T38" fmla="*/ 0 w 136"/>
              <a:gd name="T39" fmla="*/ 27 h 65"/>
              <a:gd name="T40" fmla="*/ 5 w 136"/>
              <a:gd name="T41" fmla="*/ 22 h 65"/>
              <a:gd name="T42" fmla="*/ 11 w 136"/>
              <a:gd name="T43" fmla="*/ 16 h 65"/>
              <a:gd name="T44" fmla="*/ 11 w 136"/>
              <a:gd name="T45" fmla="*/ 11 h 65"/>
              <a:gd name="T46" fmla="*/ 22 w 136"/>
              <a:gd name="T47" fmla="*/ 11 h 65"/>
              <a:gd name="T48" fmla="*/ 33 w 136"/>
              <a:gd name="T49" fmla="*/ 11 h 65"/>
              <a:gd name="T50" fmla="*/ 44 w 136"/>
              <a:gd name="T51" fmla="*/ 16 h 65"/>
              <a:gd name="T52" fmla="*/ 38 w 136"/>
              <a:gd name="T53" fmla="*/ 5 h 65"/>
              <a:gd name="T54" fmla="*/ 49 w 136"/>
              <a:gd name="T55" fmla="*/ 0 h 65"/>
              <a:gd name="T56" fmla="*/ 60 w 136"/>
              <a:gd name="T57" fmla="*/ 11 h 65"/>
              <a:gd name="T58" fmla="*/ 71 w 136"/>
              <a:gd name="T59" fmla="*/ 11 h 65"/>
              <a:gd name="T60" fmla="*/ 76 w 136"/>
              <a:gd name="T61" fmla="*/ 11 h 65"/>
              <a:gd name="T62" fmla="*/ 87 w 136"/>
              <a:gd name="T63" fmla="*/ 5 h 65"/>
              <a:gd name="T64" fmla="*/ 98 w 136"/>
              <a:gd name="T65" fmla="*/ 5 h 65"/>
              <a:gd name="T66" fmla="*/ 109 w 136"/>
              <a:gd name="T67" fmla="*/ 5 h 65"/>
              <a:gd name="T68" fmla="*/ 115 w 136"/>
              <a:gd name="T69" fmla="*/ 11 h 65"/>
              <a:gd name="T70" fmla="*/ 125 w 136"/>
              <a:gd name="T71" fmla="*/ 16 h 65"/>
              <a:gd name="T72" fmla="*/ 136 w 136"/>
              <a:gd name="T73" fmla="*/ 16 h 65"/>
              <a:gd name="T74" fmla="*/ 131 w 136"/>
              <a:gd name="T75" fmla="*/ 22 h 65"/>
              <a:gd name="T76" fmla="*/ 125 w 136"/>
              <a:gd name="T77" fmla="*/ 27 h 65"/>
              <a:gd name="T78" fmla="*/ 120 w 136"/>
              <a:gd name="T79" fmla="*/ 32 h 65"/>
              <a:gd name="T80" fmla="*/ 109 w 136"/>
              <a:gd name="T81" fmla="*/ 38 h 65"/>
              <a:gd name="T82" fmla="*/ 98 w 136"/>
              <a:gd name="T83" fmla="*/ 38 h 65"/>
              <a:gd name="T84" fmla="*/ 98 w 136"/>
              <a:gd name="T85" fmla="*/ 49 h 65"/>
              <a:gd name="T86" fmla="*/ 87 w 136"/>
              <a:gd name="T87" fmla="*/ 49 h 65"/>
              <a:gd name="T88" fmla="*/ 82 w 136"/>
              <a:gd name="T89" fmla="*/ 43 h 65"/>
              <a:gd name="T90" fmla="*/ 76 w 136"/>
              <a:gd name="T91" fmla="*/ 43 h 65"/>
              <a:gd name="T92" fmla="*/ 71 w 136"/>
              <a:gd name="T93" fmla="*/ 49 h 65"/>
              <a:gd name="T94" fmla="*/ 71 w 136"/>
              <a:gd name="T95" fmla="*/ 54 h 65"/>
              <a:gd name="T96" fmla="*/ 65 w 136"/>
              <a:gd name="T97" fmla="*/ 60 h 65"/>
              <a:gd name="T98" fmla="*/ 22 w 136"/>
              <a:gd name="T99" fmla="*/ 54 h 65"/>
              <a:gd name="T100" fmla="*/ 22 w 136"/>
              <a:gd name="T101" fmla="*/ 49 h 65"/>
              <a:gd name="T102" fmla="*/ 27 w 136"/>
              <a:gd name="T103" fmla="*/ 5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6" h="65">
                <a:moveTo>
                  <a:pt x="65" y="60"/>
                </a:moveTo>
                <a:lnTo>
                  <a:pt x="60" y="65"/>
                </a:lnTo>
                <a:lnTo>
                  <a:pt x="55" y="65"/>
                </a:lnTo>
                <a:lnTo>
                  <a:pt x="49" y="65"/>
                </a:lnTo>
                <a:lnTo>
                  <a:pt x="38" y="65"/>
                </a:lnTo>
                <a:lnTo>
                  <a:pt x="38" y="60"/>
                </a:lnTo>
                <a:lnTo>
                  <a:pt x="33" y="60"/>
                </a:lnTo>
                <a:lnTo>
                  <a:pt x="27" y="60"/>
                </a:lnTo>
                <a:lnTo>
                  <a:pt x="27" y="65"/>
                </a:lnTo>
                <a:lnTo>
                  <a:pt x="22" y="65"/>
                </a:lnTo>
                <a:lnTo>
                  <a:pt x="22" y="60"/>
                </a:lnTo>
                <a:lnTo>
                  <a:pt x="16" y="60"/>
                </a:lnTo>
                <a:lnTo>
                  <a:pt x="11" y="60"/>
                </a:lnTo>
                <a:lnTo>
                  <a:pt x="5" y="60"/>
                </a:lnTo>
                <a:lnTo>
                  <a:pt x="0" y="54"/>
                </a:lnTo>
                <a:lnTo>
                  <a:pt x="5" y="54"/>
                </a:lnTo>
                <a:lnTo>
                  <a:pt x="0" y="54"/>
                </a:lnTo>
                <a:lnTo>
                  <a:pt x="5" y="54"/>
                </a:lnTo>
                <a:lnTo>
                  <a:pt x="11" y="49"/>
                </a:lnTo>
                <a:lnTo>
                  <a:pt x="16" y="54"/>
                </a:lnTo>
                <a:lnTo>
                  <a:pt x="22" y="49"/>
                </a:lnTo>
                <a:lnTo>
                  <a:pt x="27" y="49"/>
                </a:lnTo>
                <a:lnTo>
                  <a:pt x="33" y="49"/>
                </a:lnTo>
                <a:lnTo>
                  <a:pt x="38" y="49"/>
                </a:lnTo>
                <a:lnTo>
                  <a:pt x="38" y="43"/>
                </a:lnTo>
                <a:lnTo>
                  <a:pt x="44" y="49"/>
                </a:lnTo>
                <a:lnTo>
                  <a:pt x="38" y="43"/>
                </a:lnTo>
                <a:lnTo>
                  <a:pt x="44" y="43"/>
                </a:lnTo>
                <a:lnTo>
                  <a:pt x="49" y="38"/>
                </a:lnTo>
                <a:lnTo>
                  <a:pt x="44" y="38"/>
                </a:lnTo>
                <a:lnTo>
                  <a:pt x="38" y="38"/>
                </a:lnTo>
                <a:lnTo>
                  <a:pt x="33" y="38"/>
                </a:lnTo>
                <a:lnTo>
                  <a:pt x="27" y="32"/>
                </a:lnTo>
                <a:lnTo>
                  <a:pt x="22" y="27"/>
                </a:lnTo>
                <a:lnTo>
                  <a:pt x="22" y="32"/>
                </a:lnTo>
                <a:lnTo>
                  <a:pt x="22" y="38"/>
                </a:lnTo>
                <a:lnTo>
                  <a:pt x="16" y="32"/>
                </a:lnTo>
                <a:lnTo>
                  <a:pt x="11" y="32"/>
                </a:lnTo>
                <a:lnTo>
                  <a:pt x="5" y="32"/>
                </a:lnTo>
                <a:lnTo>
                  <a:pt x="0" y="27"/>
                </a:lnTo>
                <a:lnTo>
                  <a:pt x="5" y="27"/>
                </a:lnTo>
                <a:lnTo>
                  <a:pt x="5" y="22"/>
                </a:lnTo>
                <a:lnTo>
                  <a:pt x="11" y="22"/>
                </a:lnTo>
                <a:lnTo>
                  <a:pt x="11" y="16"/>
                </a:lnTo>
                <a:lnTo>
                  <a:pt x="5" y="11"/>
                </a:lnTo>
                <a:lnTo>
                  <a:pt x="11" y="11"/>
                </a:lnTo>
                <a:lnTo>
                  <a:pt x="16" y="11"/>
                </a:lnTo>
                <a:lnTo>
                  <a:pt x="22" y="11"/>
                </a:lnTo>
                <a:lnTo>
                  <a:pt x="27" y="11"/>
                </a:lnTo>
                <a:lnTo>
                  <a:pt x="33" y="11"/>
                </a:lnTo>
                <a:lnTo>
                  <a:pt x="38" y="16"/>
                </a:lnTo>
                <a:lnTo>
                  <a:pt x="44" y="16"/>
                </a:lnTo>
                <a:lnTo>
                  <a:pt x="38" y="11"/>
                </a:lnTo>
                <a:lnTo>
                  <a:pt x="38" y="5"/>
                </a:lnTo>
                <a:lnTo>
                  <a:pt x="44" y="5"/>
                </a:lnTo>
                <a:lnTo>
                  <a:pt x="49" y="0"/>
                </a:lnTo>
                <a:lnTo>
                  <a:pt x="55" y="5"/>
                </a:lnTo>
                <a:lnTo>
                  <a:pt x="60" y="11"/>
                </a:lnTo>
                <a:lnTo>
                  <a:pt x="65" y="11"/>
                </a:lnTo>
                <a:lnTo>
                  <a:pt x="71" y="11"/>
                </a:lnTo>
                <a:lnTo>
                  <a:pt x="71" y="5"/>
                </a:lnTo>
                <a:lnTo>
                  <a:pt x="76" y="11"/>
                </a:lnTo>
                <a:lnTo>
                  <a:pt x="82" y="5"/>
                </a:lnTo>
                <a:lnTo>
                  <a:pt x="87" y="5"/>
                </a:lnTo>
                <a:lnTo>
                  <a:pt x="93" y="5"/>
                </a:lnTo>
                <a:lnTo>
                  <a:pt x="98" y="5"/>
                </a:lnTo>
                <a:lnTo>
                  <a:pt x="104" y="11"/>
                </a:lnTo>
                <a:lnTo>
                  <a:pt x="109" y="5"/>
                </a:lnTo>
                <a:lnTo>
                  <a:pt x="109" y="11"/>
                </a:lnTo>
                <a:lnTo>
                  <a:pt x="115" y="11"/>
                </a:lnTo>
                <a:lnTo>
                  <a:pt x="120" y="11"/>
                </a:lnTo>
                <a:lnTo>
                  <a:pt x="125" y="16"/>
                </a:lnTo>
                <a:lnTo>
                  <a:pt x="131" y="16"/>
                </a:lnTo>
                <a:lnTo>
                  <a:pt x="136" y="16"/>
                </a:lnTo>
                <a:lnTo>
                  <a:pt x="136" y="22"/>
                </a:lnTo>
                <a:lnTo>
                  <a:pt x="131" y="22"/>
                </a:lnTo>
                <a:lnTo>
                  <a:pt x="131" y="27"/>
                </a:lnTo>
                <a:lnTo>
                  <a:pt x="125" y="27"/>
                </a:lnTo>
                <a:lnTo>
                  <a:pt x="120" y="27"/>
                </a:lnTo>
                <a:lnTo>
                  <a:pt x="120" y="32"/>
                </a:lnTo>
                <a:lnTo>
                  <a:pt x="115" y="38"/>
                </a:lnTo>
                <a:lnTo>
                  <a:pt x="109" y="38"/>
                </a:lnTo>
                <a:lnTo>
                  <a:pt x="104" y="38"/>
                </a:lnTo>
                <a:lnTo>
                  <a:pt x="98" y="38"/>
                </a:lnTo>
                <a:lnTo>
                  <a:pt x="98" y="43"/>
                </a:lnTo>
                <a:lnTo>
                  <a:pt x="98" y="49"/>
                </a:lnTo>
                <a:lnTo>
                  <a:pt x="93" y="49"/>
                </a:lnTo>
                <a:lnTo>
                  <a:pt x="87" y="49"/>
                </a:lnTo>
                <a:lnTo>
                  <a:pt x="87" y="43"/>
                </a:lnTo>
                <a:lnTo>
                  <a:pt x="82" y="43"/>
                </a:lnTo>
                <a:lnTo>
                  <a:pt x="82" y="49"/>
                </a:lnTo>
                <a:lnTo>
                  <a:pt x="76" y="43"/>
                </a:lnTo>
                <a:lnTo>
                  <a:pt x="76" y="49"/>
                </a:lnTo>
                <a:lnTo>
                  <a:pt x="71" y="49"/>
                </a:lnTo>
                <a:lnTo>
                  <a:pt x="76" y="49"/>
                </a:lnTo>
                <a:lnTo>
                  <a:pt x="71" y="54"/>
                </a:lnTo>
                <a:lnTo>
                  <a:pt x="65" y="54"/>
                </a:lnTo>
                <a:lnTo>
                  <a:pt x="65" y="60"/>
                </a:lnTo>
                <a:close/>
                <a:moveTo>
                  <a:pt x="16" y="54"/>
                </a:moveTo>
                <a:lnTo>
                  <a:pt x="22" y="54"/>
                </a:lnTo>
                <a:lnTo>
                  <a:pt x="16" y="54"/>
                </a:lnTo>
                <a:close/>
                <a:moveTo>
                  <a:pt x="22" y="49"/>
                </a:moveTo>
                <a:lnTo>
                  <a:pt x="27" y="49"/>
                </a:lnTo>
                <a:lnTo>
                  <a:pt x="27" y="54"/>
                </a:lnTo>
                <a:lnTo>
                  <a:pt x="22" y="49"/>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2" name="Freeform 215">
            <a:extLst>
              <a:ext uri="{FF2B5EF4-FFF2-40B4-BE49-F238E27FC236}">
                <a16:creationId xmlns:a16="http://schemas.microsoft.com/office/drawing/2014/main" id="{9237C84A-6C4D-D4AA-7F33-46F9AC9927EB}"/>
              </a:ext>
            </a:extLst>
          </p:cNvPr>
          <p:cNvSpPr>
            <a:spLocks/>
          </p:cNvSpPr>
          <p:nvPr/>
        </p:nvSpPr>
        <p:spPr bwMode="auto">
          <a:xfrm>
            <a:off x="3487738" y="2198687"/>
            <a:ext cx="295275" cy="160338"/>
          </a:xfrm>
          <a:custGeom>
            <a:avLst/>
            <a:gdLst>
              <a:gd name="T0" fmla="*/ 0 w 262"/>
              <a:gd name="T1" fmla="*/ 5 h 131"/>
              <a:gd name="T2" fmla="*/ 71 w 262"/>
              <a:gd name="T3" fmla="*/ 16 h 131"/>
              <a:gd name="T4" fmla="*/ 93 w 262"/>
              <a:gd name="T5" fmla="*/ 33 h 131"/>
              <a:gd name="T6" fmla="*/ 126 w 262"/>
              <a:gd name="T7" fmla="*/ 27 h 131"/>
              <a:gd name="T8" fmla="*/ 137 w 262"/>
              <a:gd name="T9" fmla="*/ 33 h 131"/>
              <a:gd name="T10" fmla="*/ 148 w 262"/>
              <a:gd name="T11" fmla="*/ 44 h 131"/>
              <a:gd name="T12" fmla="*/ 153 w 262"/>
              <a:gd name="T13" fmla="*/ 49 h 131"/>
              <a:gd name="T14" fmla="*/ 164 w 262"/>
              <a:gd name="T15" fmla="*/ 55 h 131"/>
              <a:gd name="T16" fmla="*/ 186 w 262"/>
              <a:gd name="T17" fmla="*/ 65 h 131"/>
              <a:gd name="T18" fmla="*/ 202 w 262"/>
              <a:gd name="T19" fmla="*/ 65 h 131"/>
              <a:gd name="T20" fmla="*/ 208 w 262"/>
              <a:gd name="T21" fmla="*/ 60 h 131"/>
              <a:gd name="T22" fmla="*/ 213 w 262"/>
              <a:gd name="T23" fmla="*/ 55 h 131"/>
              <a:gd name="T24" fmla="*/ 224 w 262"/>
              <a:gd name="T25" fmla="*/ 49 h 131"/>
              <a:gd name="T26" fmla="*/ 218 w 262"/>
              <a:gd name="T27" fmla="*/ 55 h 131"/>
              <a:gd name="T28" fmla="*/ 213 w 262"/>
              <a:gd name="T29" fmla="*/ 60 h 131"/>
              <a:gd name="T30" fmla="*/ 224 w 262"/>
              <a:gd name="T31" fmla="*/ 65 h 131"/>
              <a:gd name="T32" fmla="*/ 235 w 262"/>
              <a:gd name="T33" fmla="*/ 71 h 131"/>
              <a:gd name="T34" fmla="*/ 235 w 262"/>
              <a:gd name="T35" fmla="*/ 60 h 131"/>
              <a:gd name="T36" fmla="*/ 246 w 262"/>
              <a:gd name="T37" fmla="*/ 71 h 131"/>
              <a:gd name="T38" fmla="*/ 257 w 262"/>
              <a:gd name="T39" fmla="*/ 71 h 131"/>
              <a:gd name="T40" fmla="*/ 257 w 262"/>
              <a:gd name="T41" fmla="*/ 76 h 131"/>
              <a:gd name="T42" fmla="*/ 257 w 262"/>
              <a:gd name="T43" fmla="*/ 82 h 131"/>
              <a:gd name="T44" fmla="*/ 251 w 262"/>
              <a:gd name="T45" fmla="*/ 82 h 131"/>
              <a:gd name="T46" fmla="*/ 240 w 262"/>
              <a:gd name="T47" fmla="*/ 82 h 131"/>
              <a:gd name="T48" fmla="*/ 229 w 262"/>
              <a:gd name="T49" fmla="*/ 82 h 131"/>
              <a:gd name="T50" fmla="*/ 224 w 262"/>
              <a:gd name="T51" fmla="*/ 76 h 131"/>
              <a:gd name="T52" fmla="*/ 224 w 262"/>
              <a:gd name="T53" fmla="*/ 71 h 131"/>
              <a:gd name="T54" fmla="*/ 218 w 262"/>
              <a:gd name="T55" fmla="*/ 76 h 131"/>
              <a:gd name="T56" fmla="*/ 208 w 262"/>
              <a:gd name="T57" fmla="*/ 76 h 131"/>
              <a:gd name="T58" fmla="*/ 208 w 262"/>
              <a:gd name="T59" fmla="*/ 82 h 131"/>
              <a:gd name="T60" fmla="*/ 208 w 262"/>
              <a:gd name="T61" fmla="*/ 82 h 131"/>
              <a:gd name="T62" fmla="*/ 202 w 262"/>
              <a:gd name="T63" fmla="*/ 87 h 131"/>
              <a:gd name="T64" fmla="*/ 191 w 262"/>
              <a:gd name="T65" fmla="*/ 93 h 131"/>
              <a:gd name="T66" fmla="*/ 197 w 262"/>
              <a:gd name="T67" fmla="*/ 104 h 131"/>
              <a:gd name="T68" fmla="*/ 202 w 262"/>
              <a:gd name="T69" fmla="*/ 109 h 131"/>
              <a:gd name="T70" fmla="*/ 213 w 262"/>
              <a:gd name="T71" fmla="*/ 115 h 131"/>
              <a:gd name="T72" fmla="*/ 208 w 262"/>
              <a:gd name="T73" fmla="*/ 120 h 131"/>
              <a:gd name="T74" fmla="*/ 208 w 262"/>
              <a:gd name="T75" fmla="*/ 131 h 131"/>
              <a:gd name="T76" fmla="*/ 197 w 262"/>
              <a:gd name="T77" fmla="*/ 125 h 131"/>
              <a:gd name="T78" fmla="*/ 191 w 262"/>
              <a:gd name="T79" fmla="*/ 125 h 131"/>
              <a:gd name="T80" fmla="*/ 180 w 262"/>
              <a:gd name="T81" fmla="*/ 115 h 131"/>
              <a:gd name="T82" fmla="*/ 169 w 262"/>
              <a:gd name="T83" fmla="*/ 115 h 131"/>
              <a:gd name="T84" fmla="*/ 153 w 262"/>
              <a:gd name="T85" fmla="*/ 104 h 131"/>
              <a:gd name="T86" fmla="*/ 142 w 262"/>
              <a:gd name="T87" fmla="*/ 98 h 131"/>
              <a:gd name="T88" fmla="*/ 120 w 262"/>
              <a:gd name="T89" fmla="*/ 87 h 131"/>
              <a:gd name="T90" fmla="*/ 115 w 262"/>
              <a:gd name="T91" fmla="*/ 82 h 131"/>
              <a:gd name="T92" fmla="*/ 104 w 262"/>
              <a:gd name="T93" fmla="*/ 76 h 131"/>
              <a:gd name="T94" fmla="*/ 99 w 262"/>
              <a:gd name="T95" fmla="*/ 65 h 131"/>
              <a:gd name="T96" fmla="*/ 93 w 262"/>
              <a:gd name="T97" fmla="*/ 65 h 131"/>
              <a:gd name="T98" fmla="*/ 82 w 262"/>
              <a:gd name="T99" fmla="*/ 65 h 131"/>
              <a:gd name="T100" fmla="*/ 77 w 262"/>
              <a:gd name="T101" fmla="*/ 60 h 131"/>
              <a:gd name="T102" fmla="*/ 77 w 262"/>
              <a:gd name="T103" fmla="*/ 60 h 131"/>
              <a:gd name="T104" fmla="*/ 66 w 262"/>
              <a:gd name="T105" fmla="*/ 49 h 131"/>
              <a:gd name="T106" fmla="*/ 55 w 262"/>
              <a:gd name="T107" fmla="*/ 49 h 131"/>
              <a:gd name="T108" fmla="*/ 49 w 262"/>
              <a:gd name="T109" fmla="*/ 44 h 131"/>
              <a:gd name="T110" fmla="*/ 49 w 262"/>
              <a:gd name="T111" fmla="*/ 49 h 131"/>
              <a:gd name="T112" fmla="*/ 39 w 262"/>
              <a:gd name="T113" fmla="*/ 49 h 131"/>
              <a:gd name="T114" fmla="*/ 33 w 262"/>
              <a:gd name="T115" fmla="*/ 55 h 131"/>
              <a:gd name="T116" fmla="*/ 33 w 262"/>
              <a:gd name="T117" fmla="*/ 6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131">
                <a:moveTo>
                  <a:pt x="22" y="65"/>
                </a:moveTo>
                <a:lnTo>
                  <a:pt x="0" y="5"/>
                </a:lnTo>
                <a:lnTo>
                  <a:pt x="33" y="0"/>
                </a:lnTo>
                <a:lnTo>
                  <a:pt x="71" y="16"/>
                </a:lnTo>
                <a:lnTo>
                  <a:pt x="77" y="16"/>
                </a:lnTo>
                <a:lnTo>
                  <a:pt x="93" y="33"/>
                </a:lnTo>
                <a:lnTo>
                  <a:pt x="109" y="27"/>
                </a:lnTo>
                <a:lnTo>
                  <a:pt x="126" y="27"/>
                </a:lnTo>
                <a:lnTo>
                  <a:pt x="131" y="27"/>
                </a:lnTo>
                <a:lnTo>
                  <a:pt x="137" y="33"/>
                </a:lnTo>
                <a:lnTo>
                  <a:pt x="142" y="33"/>
                </a:lnTo>
                <a:lnTo>
                  <a:pt x="148" y="44"/>
                </a:lnTo>
                <a:lnTo>
                  <a:pt x="148" y="38"/>
                </a:lnTo>
                <a:lnTo>
                  <a:pt x="153" y="49"/>
                </a:lnTo>
                <a:lnTo>
                  <a:pt x="153" y="55"/>
                </a:lnTo>
                <a:lnTo>
                  <a:pt x="164" y="55"/>
                </a:lnTo>
                <a:lnTo>
                  <a:pt x="169" y="65"/>
                </a:lnTo>
                <a:lnTo>
                  <a:pt x="186" y="65"/>
                </a:lnTo>
                <a:lnTo>
                  <a:pt x="197" y="71"/>
                </a:lnTo>
                <a:lnTo>
                  <a:pt x="202" y="65"/>
                </a:lnTo>
                <a:lnTo>
                  <a:pt x="208" y="65"/>
                </a:lnTo>
                <a:lnTo>
                  <a:pt x="208" y="60"/>
                </a:lnTo>
                <a:lnTo>
                  <a:pt x="213" y="60"/>
                </a:lnTo>
                <a:lnTo>
                  <a:pt x="213" y="55"/>
                </a:lnTo>
                <a:lnTo>
                  <a:pt x="218" y="55"/>
                </a:lnTo>
                <a:lnTo>
                  <a:pt x="224" y="49"/>
                </a:lnTo>
                <a:lnTo>
                  <a:pt x="224" y="55"/>
                </a:lnTo>
                <a:lnTo>
                  <a:pt x="218" y="55"/>
                </a:lnTo>
                <a:lnTo>
                  <a:pt x="218" y="60"/>
                </a:lnTo>
                <a:lnTo>
                  <a:pt x="213" y="60"/>
                </a:lnTo>
                <a:lnTo>
                  <a:pt x="218" y="65"/>
                </a:lnTo>
                <a:lnTo>
                  <a:pt x="224" y="65"/>
                </a:lnTo>
                <a:lnTo>
                  <a:pt x="229" y="65"/>
                </a:lnTo>
                <a:lnTo>
                  <a:pt x="235" y="71"/>
                </a:lnTo>
                <a:lnTo>
                  <a:pt x="235" y="65"/>
                </a:lnTo>
                <a:lnTo>
                  <a:pt x="235" y="60"/>
                </a:lnTo>
                <a:lnTo>
                  <a:pt x="240" y="65"/>
                </a:lnTo>
                <a:lnTo>
                  <a:pt x="246" y="71"/>
                </a:lnTo>
                <a:lnTo>
                  <a:pt x="251" y="71"/>
                </a:lnTo>
                <a:lnTo>
                  <a:pt x="257" y="71"/>
                </a:lnTo>
                <a:lnTo>
                  <a:pt x="262" y="71"/>
                </a:lnTo>
                <a:lnTo>
                  <a:pt x="257" y="76"/>
                </a:lnTo>
                <a:lnTo>
                  <a:pt x="251" y="76"/>
                </a:lnTo>
                <a:lnTo>
                  <a:pt x="257" y="82"/>
                </a:lnTo>
                <a:lnTo>
                  <a:pt x="251" y="76"/>
                </a:lnTo>
                <a:lnTo>
                  <a:pt x="251" y="82"/>
                </a:lnTo>
                <a:lnTo>
                  <a:pt x="246" y="82"/>
                </a:lnTo>
                <a:lnTo>
                  <a:pt x="240" y="82"/>
                </a:lnTo>
                <a:lnTo>
                  <a:pt x="235" y="82"/>
                </a:lnTo>
                <a:lnTo>
                  <a:pt x="229" y="82"/>
                </a:lnTo>
                <a:lnTo>
                  <a:pt x="224" y="82"/>
                </a:lnTo>
                <a:lnTo>
                  <a:pt x="224" y="76"/>
                </a:lnTo>
                <a:lnTo>
                  <a:pt x="229" y="76"/>
                </a:lnTo>
                <a:lnTo>
                  <a:pt x="224" y="71"/>
                </a:lnTo>
                <a:lnTo>
                  <a:pt x="218" y="71"/>
                </a:lnTo>
                <a:lnTo>
                  <a:pt x="218" y="76"/>
                </a:lnTo>
                <a:lnTo>
                  <a:pt x="213" y="76"/>
                </a:lnTo>
                <a:lnTo>
                  <a:pt x="208" y="76"/>
                </a:lnTo>
                <a:lnTo>
                  <a:pt x="213" y="82"/>
                </a:lnTo>
                <a:lnTo>
                  <a:pt x="208" y="82"/>
                </a:lnTo>
                <a:lnTo>
                  <a:pt x="202" y="82"/>
                </a:lnTo>
                <a:lnTo>
                  <a:pt x="208" y="82"/>
                </a:lnTo>
                <a:lnTo>
                  <a:pt x="208" y="87"/>
                </a:lnTo>
                <a:lnTo>
                  <a:pt x="202" y="87"/>
                </a:lnTo>
                <a:lnTo>
                  <a:pt x="202" y="93"/>
                </a:lnTo>
                <a:lnTo>
                  <a:pt x="191" y="93"/>
                </a:lnTo>
                <a:lnTo>
                  <a:pt x="191" y="98"/>
                </a:lnTo>
                <a:lnTo>
                  <a:pt x="197" y="104"/>
                </a:lnTo>
                <a:lnTo>
                  <a:pt x="202" y="104"/>
                </a:lnTo>
                <a:lnTo>
                  <a:pt x="202" y="109"/>
                </a:lnTo>
                <a:lnTo>
                  <a:pt x="208" y="109"/>
                </a:lnTo>
                <a:lnTo>
                  <a:pt x="213" y="115"/>
                </a:lnTo>
                <a:lnTo>
                  <a:pt x="213" y="120"/>
                </a:lnTo>
                <a:lnTo>
                  <a:pt x="208" y="120"/>
                </a:lnTo>
                <a:lnTo>
                  <a:pt x="208" y="125"/>
                </a:lnTo>
                <a:lnTo>
                  <a:pt x="208" y="131"/>
                </a:lnTo>
                <a:lnTo>
                  <a:pt x="202" y="131"/>
                </a:lnTo>
                <a:lnTo>
                  <a:pt x="197" y="125"/>
                </a:lnTo>
                <a:lnTo>
                  <a:pt x="191" y="131"/>
                </a:lnTo>
                <a:lnTo>
                  <a:pt x="191" y="125"/>
                </a:lnTo>
                <a:lnTo>
                  <a:pt x="186" y="120"/>
                </a:lnTo>
                <a:lnTo>
                  <a:pt x="180" y="115"/>
                </a:lnTo>
                <a:lnTo>
                  <a:pt x="175" y="115"/>
                </a:lnTo>
                <a:lnTo>
                  <a:pt x="169" y="115"/>
                </a:lnTo>
                <a:lnTo>
                  <a:pt x="158" y="109"/>
                </a:lnTo>
                <a:lnTo>
                  <a:pt x="153" y="104"/>
                </a:lnTo>
                <a:lnTo>
                  <a:pt x="148" y="104"/>
                </a:lnTo>
                <a:lnTo>
                  <a:pt x="142" y="98"/>
                </a:lnTo>
                <a:lnTo>
                  <a:pt x="137" y="98"/>
                </a:lnTo>
                <a:lnTo>
                  <a:pt x="120" y="87"/>
                </a:lnTo>
                <a:lnTo>
                  <a:pt x="115" y="87"/>
                </a:lnTo>
                <a:lnTo>
                  <a:pt x="115" y="82"/>
                </a:lnTo>
                <a:lnTo>
                  <a:pt x="109" y="76"/>
                </a:lnTo>
                <a:lnTo>
                  <a:pt x="104" y="76"/>
                </a:lnTo>
                <a:lnTo>
                  <a:pt x="104" y="71"/>
                </a:lnTo>
                <a:lnTo>
                  <a:pt x="99" y="65"/>
                </a:lnTo>
                <a:lnTo>
                  <a:pt x="93" y="71"/>
                </a:lnTo>
                <a:lnTo>
                  <a:pt x="93" y="65"/>
                </a:lnTo>
                <a:lnTo>
                  <a:pt x="88" y="65"/>
                </a:lnTo>
                <a:lnTo>
                  <a:pt x="82" y="65"/>
                </a:lnTo>
                <a:lnTo>
                  <a:pt x="77" y="65"/>
                </a:lnTo>
                <a:lnTo>
                  <a:pt x="77" y="60"/>
                </a:lnTo>
                <a:lnTo>
                  <a:pt x="71" y="60"/>
                </a:lnTo>
                <a:lnTo>
                  <a:pt x="77" y="60"/>
                </a:lnTo>
                <a:lnTo>
                  <a:pt x="71" y="55"/>
                </a:lnTo>
                <a:lnTo>
                  <a:pt x="66" y="49"/>
                </a:lnTo>
                <a:lnTo>
                  <a:pt x="60" y="49"/>
                </a:lnTo>
                <a:lnTo>
                  <a:pt x="55" y="49"/>
                </a:lnTo>
                <a:lnTo>
                  <a:pt x="55" y="44"/>
                </a:lnTo>
                <a:lnTo>
                  <a:pt x="49" y="44"/>
                </a:lnTo>
                <a:lnTo>
                  <a:pt x="44" y="44"/>
                </a:lnTo>
                <a:lnTo>
                  <a:pt x="49" y="49"/>
                </a:lnTo>
                <a:lnTo>
                  <a:pt x="44" y="49"/>
                </a:lnTo>
                <a:lnTo>
                  <a:pt x="39" y="49"/>
                </a:lnTo>
                <a:lnTo>
                  <a:pt x="39" y="55"/>
                </a:lnTo>
                <a:lnTo>
                  <a:pt x="33" y="55"/>
                </a:lnTo>
                <a:lnTo>
                  <a:pt x="33" y="60"/>
                </a:lnTo>
                <a:lnTo>
                  <a:pt x="33" y="65"/>
                </a:lnTo>
                <a:lnTo>
                  <a:pt x="22" y="65"/>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3" name="Freeform 216">
            <a:extLst>
              <a:ext uri="{FF2B5EF4-FFF2-40B4-BE49-F238E27FC236}">
                <a16:creationId xmlns:a16="http://schemas.microsoft.com/office/drawing/2014/main" id="{21B6363E-C60D-C80D-44AB-B24CB8441303}"/>
              </a:ext>
            </a:extLst>
          </p:cNvPr>
          <p:cNvSpPr>
            <a:spLocks/>
          </p:cNvSpPr>
          <p:nvPr/>
        </p:nvSpPr>
        <p:spPr bwMode="auto">
          <a:xfrm>
            <a:off x="3452813" y="2252663"/>
            <a:ext cx="249238" cy="146050"/>
          </a:xfrm>
          <a:custGeom>
            <a:avLst/>
            <a:gdLst>
              <a:gd name="T0" fmla="*/ 5 w 223"/>
              <a:gd name="T1" fmla="*/ 11 h 120"/>
              <a:gd name="T2" fmla="*/ 16 w 223"/>
              <a:gd name="T3" fmla="*/ 5 h 120"/>
              <a:gd name="T4" fmla="*/ 32 w 223"/>
              <a:gd name="T5" fmla="*/ 11 h 120"/>
              <a:gd name="T6" fmla="*/ 38 w 223"/>
              <a:gd name="T7" fmla="*/ 21 h 120"/>
              <a:gd name="T8" fmla="*/ 49 w 223"/>
              <a:gd name="T9" fmla="*/ 21 h 120"/>
              <a:gd name="T10" fmla="*/ 65 w 223"/>
              <a:gd name="T11" fmla="*/ 21 h 120"/>
              <a:gd name="T12" fmla="*/ 65 w 223"/>
              <a:gd name="T13" fmla="*/ 11 h 120"/>
              <a:gd name="T14" fmla="*/ 71 w 223"/>
              <a:gd name="T15" fmla="*/ 5 h 120"/>
              <a:gd name="T16" fmla="*/ 81 w 223"/>
              <a:gd name="T17" fmla="*/ 5 h 120"/>
              <a:gd name="T18" fmla="*/ 81 w 223"/>
              <a:gd name="T19" fmla="*/ 0 h 120"/>
              <a:gd name="T20" fmla="*/ 87 w 223"/>
              <a:gd name="T21" fmla="*/ 5 h 120"/>
              <a:gd name="T22" fmla="*/ 98 w 223"/>
              <a:gd name="T23" fmla="*/ 5 h 120"/>
              <a:gd name="T24" fmla="*/ 109 w 223"/>
              <a:gd name="T25" fmla="*/ 16 h 120"/>
              <a:gd name="T26" fmla="*/ 109 w 223"/>
              <a:gd name="T27" fmla="*/ 16 h 120"/>
              <a:gd name="T28" fmla="*/ 114 w 223"/>
              <a:gd name="T29" fmla="*/ 21 h 120"/>
              <a:gd name="T30" fmla="*/ 125 w 223"/>
              <a:gd name="T31" fmla="*/ 21 h 120"/>
              <a:gd name="T32" fmla="*/ 131 w 223"/>
              <a:gd name="T33" fmla="*/ 21 h 120"/>
              <a:gd name="T34" fmla="*/ 136 w 223"/>
              <a:gd name="T35" fmla="*/ 32 h 120"/>
              <a:gd name="T36" fmla="*/ 147 w 223"/>
              <a:gd name="T37" fmla="*/ 38 h 120"/>
              <a:gd name="T38" fmla="*/ 152 w 223"/>
              <a:gd name="T39" fmla="*/ 43 h 120"/>
              <a:gd name="T40" fmla="*/ 174 w 223"/>
              <a:gd name="T41" fmla="*/ 54 h 120"/>
              <a:gd name="T42" fmla="*/ 185 w 223"/>
              <a:gd name="T43" fmla="*/ 60 h 120"/>
              <a:gd name="T44" fmla="*/ 201 w 223"/>
              <a:gd name="T45" fmla="*/ 71 h 120"/>
              <a:gd name="T46" fmla="*/ 212 w 223"/>
              <a:gd name="T47" fmla="*/ 71 h 120"/>
              <a:gd name="T48" fmla="*/ 223 w 223"/>
              <a:gd name="T49" fmla="*/ 81 h 120"/>
              <a:gd name="T50" fmla="*/ 218 w 223"/>
              <a:gd name="T51" fmla="*/ 87 h 120"/>
              <a:gd name="T52" fmla="*/ 207 w 223"/>
              <a:gd name="T53" fmla="*/ 81 h 120"/>
              <a:gd name="T54" fmla="*/ 201 w 223"/>
              <a:gd name="T55" fmla="*/ 87 h 120"/>
              <a:gd name="T56" fmla="*/ 201 w 223"/>
              <a:gd name="T57" fmla="*/ 92 h 120"/>
              <a:gd name="T58" fmla="*/ 201 w 223"/>
              <a:gd name="T59" fmla="*/ 98 h 120"/>
              <a:gd name="T60" fmla="*/ 190 w 223"/>
              <a:gd name="T61" fmla="*/ 103 h 120"/>
              <a:gd name="T62" fmla="*/ 190 w 223"/>
              <a:gd name="T63" fmla="*/ 103 h 120"/>
              <a:gd name="T64" fmla="*/ 180 w 223"/>
              <a:gd name="T65" fmla="*/ 109 h 120"/>
              <a:gd name="T66" fmla="*/ 185 w 223"/>
              <a:gd name="T67" fmla="*/ 114 h 120"/>
              <a:gd name="T68" fmla="*/ 174 w 223"/>
              <a:gd name="T69" fmla="*/ 120 h 120"/>
              <a:gd name="T70" fmla="*/ 163 w 223"/>
              <a:gd name="T71" fmla="*/ 114 h 120"/>
              <a:gd name="T72" fmla="*/ 152 w 223"/>
              <a:gd name="T73" fmla="*/ 109 h 120"/>
              <a:gd name="T74" fmla="*/ 147 w 223"/>
              <a:gd name="T75" fmla="*/ 98 h 120"/>
              <a:gd name="T76" fmla="*/ 131 w 223"/>
              <a:gd name="T77" fmla="*/ 87 h 120"/>
              <a:gd name="T78" fmla="*/ 120 w 223"/>
              <a:gd name="T79" fmla="*/ 87 h 120"/>
              <a:gd name="T80" fmla="*/ 114 w 223"/>
              <a:gd name="T81" fmla="*/ 81 h 120"/>
              <a:gd name="T82" fmla="*/ 103 w 223"/>
              <a:gd name="T83" fmla="*/ 81 h 120"/>
              <a:gd name="T84" fmla="*/ 92 w 223"/>
              <a:gd name="T85" fmla="*/ 76 h 120"/>
              <a:gd name="T86" fmla="*/ 87 w 223"/>
              <a:gd name="T87" fmla="*/ 71 h 120"/>
              <a:gd name="T88" fmla="*/ 76 w 223"/>
              <a:gd name="T89" fmla="*/ 71 h 120"/>
              <a:gd name="T90" fmla="*/ 65 w 223"/>
              <a:gd name="T91" fmla="*/ 71 h 120"/>
              <a:gd name="T92" fmla="*/ 54 w 223"/>
              <a:gd name="T93" fmla="*/ 76 h 120"/>
              <a:gd name="T94" fmla="*/ 49 w 223"/>
              <a:gd name="T95" fmla="*/ 81 h 120"/>
              <a:gd name="T96" fmla="*/ 43 w 223"/>
              <a:gd name="T97" fmla="*/ 87 h 120"/>
              <a:gd name="T98" fmla="*/ 38 w 223"/>
              <a:gd name="T99" fmla="*/ 71 h 120"/>
              <a:gd name="T100" fmla="*/ 38 w 223"/>
              <a:gd name="T101" fmla="*/ 60 h 120"/>
              <a:gd name="T102" fmla="*/ 27 w 223"/>
              <a:gd name="T103" fmla="*/ 54 h 120"/>
              <a:gd name="T104" fmla="*/ 21 w 223"/>
              <a:gd name="T105" fmla="*/ 49 h 120"/>
              <a:gd name="T106" fmla="*/ 21 w 223"/>
              <a:gd name="T107" fmla="*/ 43 h 120"/>
              <a:gd name="T108" fmla="*/ 11 w 223"/>
              <a:gd name="T109" fmla="*/ 38 h 120"/>
              <a:gd name="T110" fmla="*/ 11 w 223"/>
              <a:gd name="T111" fmla="*/ 27 h 120"/>
              <a:gd name="T112" fmla="*/ 5 w 223"/>
              <a:gd name="T113" fmla="*/ 1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3" h="120">
                <a:moveTo>
                  <a:pt x="0" y="16"/>
                </a:moveTo>
                <a:lnTo>
                  <a:pt x="5" y="11"/>
                </a:lnTo>
                <a:lnTo>
                  <a:pt x="11" y="5"/>
                </a:lnTo>
                <a:lnTo>
                  <a:pt x="16" y="5"/>
                </a:lnTo>
                <a:lnTo>
                  <a:pt x="21" y="5"/>
                </a:lnTo>
                <a:lnTo>
                  <a:pt x="32" y="11"/>
                </a:lnTo>
                <a:lnTo>
                  <a:pt x="32" y="16"/>
                </a:lnTo>
                <a:lnTo>
                  <a:pt x="38" y="21"/>
                </a:lnTo>
                <a:lnTo>
                  <a:pt x="43" y="21"/>
                </a:lnTo>
                <a:lnTo>
                  <a:pt x="49" y="21"/>
                </a:lnTo>
                <a:lnTo>
                  <a:pt x="54" y="21"/>
                </a:lnTo>
                <a:lnTo>
                  <a:pt x="65" y="21"/>
                </a:lnTo>
                <a:lnTo>
                  <a:pt x="65" y="16"/>
                </a:lnTo>
                <a:lnTo>
                  <a:pt x="65" y="11"/>
                </a:lnTo>
                <a:lnTo>
                  <a:pt x="71" y="11"/>
                </a:lnTo>
                <a:lnTo>
                  <a:pt x="71" y="5"/>
                </a:lnTo>
                <a:lnTo>
                  <a:pt x="76" y="5"/>
                </a:lnTo>
                <a:lnTo>
                  <a:pt x="81" y="5"/>
                </a:lnTo>
                <a:lnTo>
                  <a:pt x="76" y="0"/>
                </a:lnTo>
                <a:lnTo>
                  <a:pt x="81" y="0"/>
                </a:lnTo>
                <a:lnTo>
                  <a:pt x="87" y="0"/>
                </a:lnTo>
                <a:lnTo>
                  <a:pt x="87" y="5"/>
                </a:lnTo>
                <a:lnTo>
                  <a:pt x="92" y="5"/>
                </a:lnTo>
                <a:lnTo>
                  <a:pt x="98" y="5"/>
                </a:lnTo>
                <a:lnTo>
                  <a:pt x="103" y="11"/>
                </a:lnTo>
                <a:lnTo>
                  <a:pt x="109" y="16"/>
                </a:lnTo>
                <a:lnTo>
                  <a:pt x="103" y="16"/>
                </a:lnTo>
                <a:lnTo>
                  <a:pt x="109" y="16"/>
                </a:lnTo>
                <a:lnTo>
                  <a:pt x="109" y="21"/>
                </a:lnTo>
                <a:lnTo>
                  <a:pt x="114" y="21"/>
                </a:lnTo>
                <a:lnTo>
                  <a:pt x="120" y="21"/>
                </a:lnTo>
                <a:lnTo>
                  <a:pt x="125" y="21"/>
                </a:lnTo>
                <a:lnTo>
                  <a:pt x="125" y="27"/>
                </a:lnTo>
                <a:lnTo>
                  <a:pt x="131" y="21"/>
                </a:lnTo>
                <a:lnTo>
                  <a:pt x="136" y="27"/>
                </a:lnTo>
                <a:lnTo>
                  <a:pt x="136" y="32"/>
                </a:lnTo>
                <a:lnTo>
                  <a:pt x="141" y="32"/>
                </a:lnTo>
                <a:lnTo>
                  <a:pt x="147" y="38"/>
                </a:lnTo>
                <a:lnTo>
                  <a:pt x="147" y="43"/>
                </a:lnTo>
                <a:lnTo>
                  <a:pt x="152" y="43"/>
                </a:lnTo>
                <a:lnTo>
                  <a:pt x="169" y="54"/>
                </a:lnTo>
                <a:lnTo>
                  <a:pt x="174" y="54"/>
                </a:lnTo>
                <a:lnTo>
                  <a:pt x="180" y="60"/>
                </a:lnTo>
                <a:lnTo>
                  <a:pt x="185" y="60"/>
                </a:lnTo>
                <a:lnTo>
                  <a:pt x="190" y="65"/>
                </a:lnTo>
                <a:lnTo>
                  <a:pt x="201" y="71"/>
                </a:lnTo>
                <a:lnTo>
                  <a:pt x="207" y="71"/>
                </a:lnTo>
                <a:lnTo>
                  <a:pt x="212" y="71"/>
                </a:lnTo>
                <a:lnTo>
                  <a:pt x="218" y="76"/>
                </a:lnTo>
                <a:lnTo>
                  <a:pt x="223" y="81"/>
                </a:lnTo>
                <a:lnTo>
                  <a:pt x="223" y="87"/>
                </a:lnTo>
                <a:lnTo>
                  <a:pt x="218" y="87"/>
                </a:lnTo>
                <a:lnTo>
                  <a:pt x="212" y="81"/>
                </a:lnTo>
                <a:lnTo>
                  <a:pt x="207" y="81"/>
                </a:lnTo>
                <a:lnTo>
                  <a:pt x="207" y="87"/>
                </a:lnTo>
                <a:lnTo>
                  <a:pt x="201" y="87"/>
                </a:lnTo>
                <a:lnTo>
                  <a:pt x="196" y="87"/>
                </a:lnTo>
                <a:lnTo>
                  <a:pt x="201" y="92"/>
                </a:lnTo>
                <a:lnTo>
                  <a:pt x="196" y="98"/>
                </a:lnTo>
                <a:lnTo>
                  <a:pt x="201" y="98"/>
                </a:lnTo>
                <a:lnTo>
                  <a:pt x="196" y="103"/>
                </a:lnTo>
                <a:lnTo>
                  <a:pt x="190" y="103"/>
                </a:lnTo>
                <a:lnTo>
                  <a:pt x="196" y="109"/>
                </a:lnTo>
                <a:lnTo>
                  <a:pt x="190" y="103"/>
                </a:lnTo>
                <a:lnTo>
                  <a:pt x="185" y="109"/>
                </a:lnTo>
                <a:lnTo>
                  <a:pt x="180" y="109"/>
                </a:lnTo>
                <a:lnTo>
                  <a:pt x="185" y="109"/>
                </a:lnTo>
                <a:lnTo>
                  <a:pt x="185" y="114"/>
                </a:lnTo>
                <a:lnTo>
                  <a:pt x="180" y="114"/>
                </a:lnTo>
                <a:lnTo>
                  <a:pt x="174" y="120"/>
                </a:lnTo>
                <a:lnTo>
                  <a:pt x="169" y="114"/>
                </a:lnTo>
                <a:lnTo>
                  <a:pt x="163" y="114"/>
                </a:lnTo>
                <a:lnTo>
                  <a:pt x="158" y="114"/>
                </a:lnTo>
                <a:lnTo>
                  <a:pt x="152" y="109"/>
                </a:lnTo>
                <a:lnTo>
                  <a:pt x="152" y="103"/>
                </a:lnTo>
                <a:lnTo>
                  <a:pt x="147" y="98"/>
                </a:lnTo>
                <a:lnTo>
                  <a:pt x="136" y="98"/>
                </a:lnTo>
                <a:lnTo>
                  <a:pt x="131" y="87"/>
                </a:lnTo>
                <a:lnTo>
                  <a:pt x="125" y="87"/>
                </a:lnTo>
                <a:lnTo>
                  <a:pt x="120" y="87"/>
                </a:lnTo>
                <a:lnTo>
                  <a:pt x="120" y="81"/>
                </a:lnTo>
                <a:lnTo>
                  <a:pt x="114" y="81"/>
                </a:lnTo>
                <a:lnTo>
                  <a:pt x="109" y="81"/>
                </a:lnTo>
                <a:lnTo>
                  <a:pt x="103" y="81"/>
                </a:lnTo>
                <a:lnTo>
                  <a:pt x="103" y="76"/>
                </a:lnTo>
                <a:lnTo>
                  <a:pt x="92" y="76"/>
                </a:lnTo>
                <a:lnTo>
                  <a:pt x="87" y="76"/>
                </a:lnTo>
                <a:lnTo>
                  <a:pt x="87" y="71"/>
                </a:lnTo>
                <a:lnTo>
                  <a:pt x="81" y="71"/>
                </a:lnTo>
                <a:lnTo>
                  <a:pt x="76" y="71"/>
                </a:lnTo>
                <a:lnTo>
                  <a:pt x="71" y="71"/>
                </a:lnTo>
                <a:lnTo>
                  <a:pt x="65" y="71"/>
                </a:lnTo>
                <a:lnTo>
                  <a:pt x="60" y="71"/>
                </a:lnTo>
                <a:lnTo>
                  <a:pt x="54" y="76"/>
                </a:lnTo>
                <a:lnTo>
                  <a:pt x="54" y="81"/>
                </a:lnTo>
                <a:lnTo>
                  <a:pt x="49" y="81"/>
                </a:lnTo>
                <a:lnTo>
                  <a:pt x="49" y="87"/>
                </a:lnTo>
                <a:lnTo>
                  <a:pt x="43" y="87"/>
                </a:lnTo>
                <a:lnTo>
                  <a:pt x="38" y="76"/>
                </a:lnTo>
                <a:lnTo>
                  <a:pt x="38" y="71"/>
                </a:lnTo>
                <a:lnTo>
                  <a:pt x="32" y="65"/>
                </a:lnTo>
                <a:lnTo>
                  <a:pt x="38" y="60"/>
                </a:lnTo>
                <a:lnTo>
                  <a:pt x="32" y="60"/>
                </a:lnTo>
                <a:lnTo>
                  <a:pt x="27" y="54"/>
                </a:lnTo>
                <a:lnTo>
                  <a:pt x="21" y="54"/>
                </a:lnTo>
                <a:lnTo>
                  <a:pt x="21" y="49"/>
                </a:lnTo>
                <a:lnTo>
                  <a:pt x="27" y="49"/>
                </a:lnTo>
                <a:lnTo>
                  <a:pt x="21" y="43"/>
                </a:lnTo>
                <a:lnTo>
                  <a:pt x="16" y="43"/>
                </a:lnTo>
                <a:lnTo>
                  <a:pt x="11" y="38"/>
                </a:lnTo>
                <a:lnTo>
                  <a:pt x="11" y="32"/>
                </a:lnTo>
                <a:lnTo>
                  <a:pt x="11" y="27"/>
                </a:lnTo>
                <a:lnTo>
                  <a:pt x="5" y="21"/>
                </a:lnTo>
                <a:lnTo>
                  <a:pt x="5" y="16"/>
                </a:lnTo>
                <a:lnTo>
                  <a:pt x="0" y="16"/>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4" name="Freeform 217">
            <a:extLst>
              <a:ext uri="{FF2B5EF4-FFF2-40B4-BE49-F238E27FC236}">
                <a16:creationId xmlns:a16="http://schemas.microsoft.com/office/drawing/2014/main" id="{D0D9071B-A438-30EF-EA1E-1C3C81C7099F}"/>
              </a:ext>
            </a:extLst>
          </p:cNvPr>
          <p:cNvSpPr>
            <a:spLocks/>
          </p:cNvSpPr>
          <p:nvPr/>
        </p:nvSpPr>
        <p:spPr bwMode="auto">
          <a:xfrm>
            <a:off x="3317875" y="2278063"/>
            <a:ext cx="53975" cy="47625"/>
          </a:xfrm>
          <a:custGeom>
            <a:avLst/>
            <a:gdLst>
              <a:gd name="T0" fmla="*/ 22 w 49"/>
              <a:gd name="T1" fmla="*/ 28 h 39"/>
              <a:gd name="T2" fmla="*/ 16 w 49"/>
              <a:gd name="T3" fmla="*/ 22 h 39"/>
              <a:gd name="T4" fmla="*/ 11 w 49"/>
              <a:gd name="T5" fmla="*/ 22 h 39"/>
              <a:gd name="T6" fmla="*/ 5 w 49"/>
              <a:gd name="T7" fmla="*/ 17 h 39"/>
              <a:gd name="T8" fmla="*/ 0 w 49"/>
              <a:gd name="T9" fmla="*/ 11 h 39"/>
              <a:gd name="T10" fmla="*/ 5 w 49"/>
              <a:gd name="T11" fmla="*/ 11 h 39"/>
              <a:gd name="T12" fmla="*/ 0 w 49"/>
              <a:gd name="T13" fmla="*/ 6 h 39"/>
              <a:gd name="T14" fmla="*/ 11 w 49"/>
              <a:gd name="T15" fmla="*/ 0 h 39"/>
              <a:gd name="T16" fmla="*/ 16 w 49"/>
              <a:gd name="T17" fmla="*/ 0 h 39"/>
              <a:gd name="T18" fmla="*/ 22 w 49"/>
              <a:gd name="T19" fmla="*/ 0 h 39"/>
              <a:gd name="T20" fmla="*/ 22 w 49"/>
              <a:gd name="T21" fmla="*/ 6 h 39"/>
              <a:gd name="T22" fmla="*/ 27 w 49"/>
              <a:gd name="T23" fmla="*/ 6 h 39"/>
              <a:gd name="T24" fmla="*/ 27 w 49"/>
              <a:gd name="T25" fmla="*/ 11 h 39"/>
              <a:gd name="T26" fmla="*/ 32 w 49"/>
              <a:gd name="T27" fmla="*/ 17 h 39"/>
              <a:gd name="T28" fmla="*/ 38 w 49"/>
              <a:gd name="T29" fmla="*/ 17 h 39"/>
              <a:gd name="T30" fmla="*/ 38 w 49"/>
              <a:gd name="T31" fmla="*/ 22 h 39"/>
              <a:gd name="T32" fmla="*/ 32 w 49"/>
              <a:gd name="T33" fmla="*/ 22 h 39"/>
              <a:gd name="T34" fmla="*/ 38 w 49"/>
              <a:gd name="T35" fmla="*/ 22 h 39"/>
              <a:gd name="T36" fmla="*/ 38 w 49"/>
              <a:gd name="T37" fmla="*/ 28 h 39"/>
              <a:gd name="T38" fmla="*/ 43 w 49"/>
              <a:gd name="T39" fmla="*/ 28 h 39"/>
              <a:gd name="T40" fmla="*/ 49 w 49"/>
              <a:gd name="T41" fmla="*/ 28 h 39"/>
              <a:gd name="T42" fmla="*/ 49 w 49"/>
              <a:gd name="T43" fmla="*/ 33 h 39"/>
              <a:gd name="T44" fmla="*/ 49 w 49"/>
              <a:gd name="T45" fmla="*/ 39 h 39"/>
              <a:gd name="T46" fmla="*/ 43 w 49"/>
              <a:gd name="T47" fmla="*/ 39 h 39"/>
              <a:gd name="T48" fmla="*/ 43 w 49"/>
              <a:gd name="T49" fmla="*/ 33 h 39"/>
              <a:gd name="T50" fmla="*/ 38 w 49"/>
              <a:gd name="T51" fmla="*/ 33 h 39"/>
              <a:gd name="T52" fmla="*/ 38 w 49"/>
              <a:gd name="T53" fmla="*/ 28 h 39"/>
              <a:gd name="T54" fmla="*/ 32 w 49"/>
              <a:gd name="T55" fmla="*/ 28 h 39"/>
              <a:gd name="T56" fmla="*/ 27 w 49"/>
              <a:gd name="T57" fmla="*/ 28 h 39"/>
              <a:gd name="T58" fmla="*/ 27 w 49"/>
              <a:gd name="T59" fmla="*/ 22 h 39"/>
              <a:gd name="T60" fmla="*/ 22 w 49"/>
              <a:gd name="T61" fmla="*/ 2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9" h="39">
                <a:moveTo>
                  <a:pt x="22" y="28"/>
                </a:moveTo>
                <a:lnTo>
                  <a:pt x="16" y="22"/>
                </a:lnTo>
                <a:lnTo>
                  <a:pt x="11" y="22"/>
                </a:lnTo>
                <a:lnTo>
                  <a:pt x="5" y="17"/>
                </a:lnTo>
                <a:lnTo>
                  <a:pt x="0" y="11"/>
                </a:lnTo>
                <a:lnTo>
                  <a:pt x="5" y="11"/>
                </a:lnTo>
                <a:lnTo>
                  <a:pt x="0" y="6"/>
                </a:lnTo>
                <a:lnTo>
                  <a:pt x="11" y="0"/>
                </a:lnTo>
                <a:lnTo>
                  <a:pt x="16" y="0"/>
                </a:lnTo>
                <a:lnTo>
                  <a:pt x="22" y="0"/>
                </a:lnTo>
                <a:lnTo>
                  <a:pt x="22" y="6"/>
                </a:lnTo>
                <a:lnTo>
                  <a:pt x="27" y="6"/>
                </a:lnTo>
                <a:lnTo>
                  <a:pt x="27" y="11"/>
                </a:lnTo>
                <a:lnTo>
                  <a:pt x="32" y="17"/>
                </a:lnTo>
                <a:lnTo>
                  <a:pt x="38" y="17"/>
                </a:lnTo>
                <a:lnTo>
                  <a:pt x="38" y="22"/>
                </a:lnTo>
                <a:lnTo>
                  <a:pt x="32" y="22"/>
                </a:lnTo>
                <a:lnTo>
                  <a:pt x="38" y="22"/>
                </a:lnTo>
                <a:lnTo>
                  <a:pt x="38" y="28"/>
                </a:lnTo>
                <a:lnTo>
                  <a:pt x="43" y="28"/>
                </a:lnTo>
                <a:lnTo>
                  <a:pt x="49" y="28"/>
                </a:lnTo>
                <a:lnTo>
                  <a:pt x="49" y="33"/>
                </a:lnTo>
                <a:lnTo>
                  <a:pt x="49" y="39"/>
                </a:lnTo>
                <a:lnTo>
                  <a:pt x="43" y="39"/>
                </a:lnTo>
                <a:lnTo>
                  <a:pt x="43" y="33"/>
                </a:lnTo>
                <a:lnTo>
                  <a:pt x="38" y="33"/>
                </a:lnTo>
                <a:lnTo>
                  <a:pt x="38" y="28"/>
                </a:lnTo>
                <a:lnTo>
                  <a:pt x="32" y="28"/>
                </a:lnTo>
                <a:lnTo>
                  <a:pt x="27" y="28"/>
                </a:lnTo>
                <a:lnTo>
                  <a:pt x="27" y="22"/>
                </a:lnTo>
                <a:lnTo>
                  <a:pt x="22" y="28"/>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5" name="Freeform 218">
            <a:extLst>
              <a:ext uri="{FF2B5EF4-FFF2-40B4-BE49-F238E27FC236}">
                <a16:creationId xmlns:a16="http://schemas.microsoft.com/office/drawing/2014/main" id="{831AD078-F4EA-FC56-CB57-ADE929A3FFC1}"/>
              </a:ext>
            </a:extLst>
          </p:cNvPr>
          <p:cNvSpPr>
            <a:spLocks/>
          </p:cNvSpPr>
          <p:nvPr/>
        </p:nvSpPr>
        <p:spPr bwMode="auto">
          <a:xfrm>
            <a:off x="3341688" y="2305050"/>
            <a:ext cx="23813" cy="20638"/>
          </a:xfrm>
          <a:custGeom>
            <a:avLst/>
            <a:gdLst>
              <a:gd name="T0" fmla="*/ 0 w 21"/>
              <a:gd name="T1" fmla="*/ 6 h 17"/>
              <a:gd name="T2" fmla="*/ 5 w 21"/>
              <a:gd name="T3" fmla="*/ 0 h 17"/>
              <a:gd name="T4" fmla="*/ 5 w 21"/>
              <a:gd name="T5" fmla="*/ 6 h 17"/>
              <a:gd name="T6" fmla="*/ 10 w 21"/>
              <a:gd name="T7" fmla="*/ 6 h 17"/>
              <a:gd name="T8" fmla="*/ 16 w 21"/>
              <a:gd name="T9" fmla="*/ 6 h 17"/>
              <a:gd name="T10" fmla="*/ 16 w 21"/>
              <a:gd name="T11" fmla="*/ 11 h 17"/>
              <a:gd name="T12" fmla="*/ 21 w 21"/>
              <a:gd name="T13" fmla="*/ 11 h 17"/>
              <a:gd name="T14" fmla="*/ 21 w 21"/>
              <a:gd name="T15" fmla="*/ 17 h 17"/>
              <a:gd name="T16" fmla="*/ 10 w 21"/>
              <a:gd name="T17" fmla="*/ 17 h 17"/>
              <a:gd name="T18" fmla="*/ 10 w 21"/>
              <a:gd name="T19" fmla="*/ 11 h 17"/>
              <a:gd name="T20" fmla="*/ 5 w 21"/>
              <a:gd name="T21" fmla="*/ 6 h 17"/>
              <a:gd name="T22" fmla="*/ 0 w 21"/>
              <a:gd name="T23"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7">
                <a:moveTo>
                  <a:pt x="0" y="6"/>
                </a:moveTo>
                <a:lnTo>
                  <a:pt x="5" y="0"/>
                </a:lnTo>
                <a:lnTo>
                  <a:pt x="5" y="6"/>
                </a:lnTo>
                <a:lnTo>
                  <a:pt x="10" y="6"/>
                </a:lnTo>
                <a:lnTo>
                  <a:pt x="16" y="6"/>
                </a:lnTo>
                <a:lnTo>
                  <a:pt x="16" y="11"/>
                </a:lnTo>
                <a:lnTo>
                  <a:pt x="21" y="11"/>
                </a:lnTo>
                <a:lnTo>
                  <a:pt x="21" y="17"/>
                </a:lnTo>
                <a:lnTo>
                  <a:pt x="10" y="17"/>
                </a:lnTo>
                <a:lnTo>
                  <a:pt x="10" y="11"/>
                </a:lnTo>
                <a:lnTo>
                  <a:pt x="5" y="6"/>
                </a:lnTo>
                <a:lnTo>
                  <a:pt x="0" y="6"/>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6" name="Freeform 219">
            <a:extLst>
              <a:ext uri="{FF2B5EF4-FFF2-40B4-BE49-F238E27FC236}">
                <a16:creationId xmlns:a16="http://schemas.microsoft.com/office/drawing/2014/main" id="{7E7BEBB8-7E86-8205-42AD-386388EAF89B}"/>
              </a:ext>
            </a:extLst>
          </p:cNvPr>
          <p:cNvSpPr>
            <a:spLocks/>
          </p:cNvSpPr>
          <p:nvPr/>
        </p:nvSpPr>
        <p:spPr bwMode="auto">
          <a:xfrm>
            <a:off x="3249613" y="2232025"/>
            <a:ext cx="115888" cy="53975"/>
          </a:xfrm>
          <a:custGeom>
            <a:avLst/>
            <a:gdLst>
              <a:gd name="T0" fmla="*/ 0 w 103"/>
              <a:gd name="T1" fmla="*/ 6 h 44"/>
              <a:gd name="T2" fmla="*/ 5 w 103"/>
              <a:gd name="T3" fmla="*/ 0 h 44"/>
              <a:gd name="T4" fmla="*/ 11 w 103"/>
              <a:gd name="T5" fmla="*/ 6 h 44"/>
              <a:gd name="T6" fmla="*/ 16 w 103"/>
              <a:gd name="T7" fmla="*/ 6 h 44"/>
              <a:gd name="T8" fmla="*/ 22 w 103"/>
              <a:gd name="T9" fmla="*/ 6 h 44"/>
              <a:gd name="T10" fmla="*/ 27 w 103"/>
              <a:gd name="T11" fmla="*/ 6 h 44"/>
              <a:gd name="T12" fmla="*/ 32 w 103"/>
              <a:gd name="T13" fmla="*/ 11 h 44"/>
              <a:gd name="T14" fmla="*/ 38 w 103"/>
              <a:gd name="T15" fmla="*/ 6 h 44"/>
              <a:gd name="T16" fmla="*/ 43 w 103"/>
              <a:gd name="T17" fmla="*/ 11 h 44"/>
              <a:gd name="T18" fmla="*/ 49 w 103"/>
              <a:gd name="T19" fmla="*/ 11 h 44"/>
              <a:gd name="T20" fmla="*/ 54 w 103"/>
              <a:gd name="T21" fmla="*/ 17 h 44"/>
              <a:gd name="T22" fmla="*/ 60 w 103"/>
              <a:gd name="T23" fmla="*/ 17 h 44"/>
              <a:gd name="T24" fmla="*/ 65 w 103"/>
              <a:gd name="T25" fmla="*/ 17 h 44"/>
              <a:gd name="T26" fmla="*/ 71 w 103"/>
              <a:gd name="T27" fmla="*/ 17 h 44"/>
              <a:gd name="T28" fmla="*/ 82 w 103"/>
              <a:gd name="T29" fmla="*/ 22 h 44"/>
              <a:gd name="T30" fmla="*/ 87 w 103"/>
              <a:gd name="T31" fmla="*/ 22 h 44"/>
              <a:gd name="T32" fmla="*/ 82 w 103"/>
              <a:gd name="T33" fmla="*/ 22 h 44"/>
              <a:gd name="T34" fmla="*/ 87 w 103"/>
              <a:gd name="T35" fmla="*/ 28 h 44"/>
              <a:gd name="T36" fmla="*/ 92 w 103"/>
              <a:gd name="T37" fmla="*/ 28 h 44"/>
              <a:gd name="T38" fmla="*/ 98 w 103"/>
              <a:gd name="T39" fmla="*/ 28 h 44"/>
              <a:gd name="T40" fmla="*/ 98 w 103"/>
              <a:gd name="T41" fmla="*/ 33 h 44"/>
              <a:gd name="T42" fmla="*/ 103 w 103"/>
              <a:gd name="T43" fmla="*/ 38 h 44"/>
              <a:gd name="T44" fmla="*/ 103 w 103"/>
              <a:gd name="T45" fmla="*/ 44 h 44"/>
              <a:gd name="T46" fmla="*/ 98 w 103"/>
              <a:gd name="T47" fmla="*/ 38 h 44"/>
              <a:gd name="T48" fmla="*/ 92 w 103"/>
              <a:gd name="T49" fmla="*/ 38 h 44"/>
              <a:gd name="T50" fmla="*/ 87 w 103"/>
              <a:gd name="T51" fmla="*/ 38 h 44"/>
              <a:gd name="T52" fmla="*/ 82 w 103"/>
              <a:gd name="T53" fmla="*/ 38 h 44"/>
              <a:gd name="T54" fmla="*/ 76 w 103"/>
              <a:gd name="T55" fmla="*/ 38 h 44"/>
              <a:gd name="T56" fmla="*/ 71 w 103"/>
              <a:gd name="T57" fmla="*/ 38 h 44"/>
              <a:gd name="T58" fmla="*/ 60 w 103"/>
              <a:gd name="T59" fmla="*/ 44 h 44"/>
              <a:gd name="T60" fmla="*/ 54 w 103"/>
              <a:gd name="T61" fmla="*/ 38 h 44"/>
              <a:gd name="T62" fmla="*/ 49 w 103"/>
              <a:gd name="T63" fmla="*/ 33 h 44"/>
              <a:gd name="T64" fmla="*/ 43 w 103"/>
              <a:gd name="T65" fmla="*/ 38 h 44"/>
              <a:gd name="T66" fmla="*/ 38 w 103"/>
              <a:gd name="T67" fmla="*/ 38 h 44"/>
              <a:gd name="T68" fmla="*/ 38 w 103"/>
              <a:gd name="T69" fmla="*/ 33 h 44"/>
              <a:gd name="T70" fmla="*/ 32 w 103"/>
              <a:gd name="T71" fmla="*/ 38 h 44"/>
              <a:gd name="T72" fmla="*/ 32 w 103"/>
              <a:gd name="T73" fmla="*/ 33 h 44"/>
              <a:gd name="T74" fmla="*/ 32 w 103"/>
              <a:gd name="T75" fmla="*/ 28 h 44"/>
              <a:gd name="T76" fmla="*/ 27 w 103"/>
              <a:gd name="T77" fmla="*/ 28 h 44"/>
              <a:gd name="T78" fmla="*/ 27 w 103"/>
              <a:gd name="T79" fmla="*/ 22 h 44"/>
              <a:gd name="T80" fmla="*/ 22 w 103"/>
              <a:gd name="T81" fmla="*/ 17 h 44"/>
              <a:gd name="T82" fmla="*/ 16 w 103"/>
              <a:gd name="T83" fmla="*/ 11 h 44"/>
              <a:gd name="T84" fmla="*/ 11 w 103"/>
              <a:gd name="T85" fmla="*/ 11 h 44"/>
              <a:gd name="T86" fmla="*/ 5 w 103"/>
              <a:gd name="T87" fmla="*/ 11 h 44"/>
              <a:gd name="T88" fmla="*/ 0 w 103"/>
              <a:gd name="T89"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3" h="44">
                <a:moveTo>
                  <a:pt x="0" y="6"/>
                </a:moveTo>
                <a:lnTo>
                  <a:pt x="5" y="0"/>
                </a:lnTo>
                <a:lnTo>
                  <a:pt x="11" y="6"/>
                </a:lnTo>
                <a:lnTo>
                  <a:pt x="16" y="6"/>
                </a:lnTo>
                <a:lnTo>
                  <a:pt x="22" y="6"/>
                </a:lnTo>
                <a:lnTo>
                  <a:pt x="27" y="6"/>
                </a:lnTo>
                <a:lnTo>
                  <a:pt x="32" y="11"/>
                </a:lnTo>
                <a:lnTo>
                  <a:pt x="38" y="6"/>
                </a:lnTo>
                <a:lnTo>
                  <a:pt x="43" y="11"/>
                </a:lnTo>
                <a:lnTo>
                  <a:pt x="49" y="11"/>
                </a:lnTo>
                <a:lnTo>
                  <a:pt x="54" y="17"/>
                </a:lnTo>
                <a:lnTo>
                  <a:pt x="60" y="17"/>
                </a:lnTo>
                <a:lnTo>
                  <a:pt x="65" y="17"/>
                </a:lnTo>
                <a:lnTo>
                  <a:pt x="71" y="17"/>
                </a:lnTo>
                <a:lnTo>
                  <a:pt x="82" y="22"/>
                </a:lnTo>
                <a:lnTo>
                  <a:pt x="87" y="22"/>
                </a:lnTo>
                <a:lnTo>
                  <a:pt x="82" y="22"/>
                </a:lnTo>
                <a:lnTo>
                  <a:pt x="87" y="28"/>
                </a:lnTo>
                <a:lnTo>
                  <a:pt x="92" y="28"/>
                </a:lnTo>
                <a:lnTo>
                  <a:pt x="98" y="28"/>
                </a:lnTo>
                <a:lnTo>
                  <a:pt x="98" y="33"/>
                </a:lnTo>
                <a:lnTo>
                  <a:pt x="103" y="38"/>
                </a:lnTo>
                <a:lnTo>
                  <a:pt x="103" y="44"/>
                </a:lnTo>
                <a:lnTo>
                  <a:pt x="98" y="38"/>
                </a:lnTo>
                <a:lnTo>
                  <a:pt x="92" y="38"/>
                </a:lnTo>
                <a:lnTo>
                  <a:pt x="87" y="38"/>
                </a:lnTo>
                <a:lnTo>
                  <a:pt x="82" y="38"/>
                </a:lnTo>
                <a:lnTo>
                  <a:pt x="76" y="38"/>
                </a:lnTo>
                <a:lnTo>
                  <a:pt x="71" y="38"/>
                </a:lnTo>
                <a:lnTo>
                  <a:pt x="60" y="44"/>
                </a:lnTo>
                <a:lnTo>
                  <a:pt x="54" y="38"/>
                </a:lnTo>
                <a:lnTo>
                  <a:pt x="49" y="33"/>
                </a:lnTo>
                <a:lnTo>
                  <a:pt x="43" y="38"/>
                </a:lnTo>
                <a:lnTo>
                  <a:pt x="38" y="38"/>
                </a:lnTo>
                <a:lnTo>
                  <a:pt x="38" y="33"/>
                </a:lnTo>
                <a:lnTo>
                  <a:pt x="32" y="38"/>
                </a:lnTo>
                <a:lnTo>
                  <a:pt x="32" y="33"/>
                </a:lnTo>
                <a:lnTo>
                  <a:pt x="32" y="28"/>
                </a:lnTo>
                <a:lnTo>
                  <a:pt x="27" y="28"/>
                </a:lnTo>
                <a:lnTo>
                  <a:pt x="27" y="22"/>
                </a:lnTo>
                <a:lnTo>
                  <a:pt x="22" y="17"/>
                </a:lnTo>
                <a:lnTo>
                  <a:pt x="16" y="11"/>
                </a:lnTo>
                <a:lnTo>
                  <a:pt x="11" y="11"/>
                </a:lnTo>
                <a:lnTo>
                  <a:pt x="5" y="11"/>
                </a:lnTo>
                <a:lnTo>
                  <a:pt x="0" y="6"/>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7" name="Freeform 280">
            <a:extLst>
              <a:ext uri="{FF2B5EF4-FFF2-40B4-BE49-F238E27FC236}">
                <a16:creationId xmlns:a16="http://schemas.microsoft.com/office/drawing/2014/main" id="{6504BA01-17A4-B282-2D79-2191C0826687}"/>
              </a:ext>
            </a:extLst>
          </p:cNvPr>
          <p:cNvSpPr>
            <a:spLocks/>
          </p:cNvSpPr>
          <p:nvPr/>
        </p:nvSpPr>
        <p:spPr bwMode="auto">
          <a:xfrm>
            <a:off x="3322638" y="2006600"/>
            <a:ext cx="600075" cy="279400"/>
          </a:xfrm>
          <a:custGeom>
            <a:avLst/>
            <a:gdLst>
              <a:gd name="T0" fmla="*/ 38 w 534"/>
              <a:gd name="T1" fmla="*/ 136 h 229"/>
              <a:gd name="T2" fmla="*/ 22 w 534"/>
              <a:gd name="T3" fmla="*/ 120 h 229"/>
              <a:gd name="T4" fmla="*/ 6 w 534"/>
              <a:gd name="T5" fmla="*/ 103 h 229"/>
              <a:gd name="T6" fmla="*/ 6 w 534"/>
              <a:gd name="T7" fmla="*/ 87 h 229"/>
              <a:gd name="T8" fmla="*/ 22 w 534"/>
              <a:gd name="T9" fmla="*/ 87 h 229"/>
              <a:gd name="T10" fmla="*/ 22 w 534"/>
              <a:gd name="T11" fmla="*/ 76 h 229"/>
              <a:gd name="T12" fmla="*/ 38 w 534"/>
              <a:gd name="T13" fmla="*/ 65 h 229"/>
              <a:gd name="T14" fmla="*/ 55 w 534"/>
              <a:gd name="T15" fmla="*/ 60 h 229"/>
              <a:gd name="T16" fmla="*/ 76 w 534"/>
              <a:gd name="T17" fmla="*/ 60 h 229"/>
              <a:gd name="T18" fmla="*/ 98 w 534"/>
              <a:gd name="T19" fmla="*/ 71 h 229"/>
              <a:gd name="T20" fmla="*/ 120 w 534"/>
              <a:gd name="T21" fmla="*/ 71 h 229"/>
              <a:gd name="T22" fmla="*/ 147 w 534"/>
              <a:gd name="T23" fmla="*/ 71 h 229"/>
              <a:gd name="T24" fmla="*/ 169 w 534"/>
              <a:gd name="T25" fmla="*/ 76 h 229"/>
              <a:gd name="T26" fmla="*/ 180 w 534"/>
              <a:gd name="T27" fmla="*/ 65 h 229"/>
              <a:gd name="T28" fmla="*/ 164 w 534"/>
              <a:gd name="T29" fmla="*/ 54 h 229"/>
              <a:gd name="T30" fmla="*/ 175 w 534"/>
              <a:gd name="T31" fmla="*/ 38 h 229"/>
              <a:gd name="T32" fmla="*/ 169 w 534"/>
              <a:gd name="T33" fmla="*/ 27 h 229"/>
              <a:gd name="T34" fmla="*/ 169 w 534"/>
              <a:gd name="T35" fmla="*/ 22 h 229"/>
              <a:gd name="T36" fmla="*/ 196 w 534"/>
              <a:gd name="T37" fmla="*/ 16 h 229"/>
              <a:gd name="T38" fmla="*/ 229 w 534"/>
              <a:gd name="T39" fmla="*/ 11 h 229"/>
              <a:gd name="T40" fmla="*/ 246 w 534"/>
              <a:gd name="T41" fmla="*/ 0 h 229"/>
              <a:gd name="T42" fmla="*/ 273 w 534"/>
              <a:gd name="T43" fmla="*/ 0 h 229"/>
              <a:gd name="T44" fmla="*/ 289 w 534"/>
              <a:gd name="T45" fmla="*/ 22 h 229"/>
              <a:gd name="T46" fmla="*/ 305 w 534"/>
              <a:gd name="T47" fmla="*/ 22 h 229"/>
              <a:gd name="T48" fmla="*/ 333 w 534"/>
              <a:gd name="T49" fmla="*/ 33 h 229"/>
              <a:gd name="T50" fmla="*/ 344 w 534"/>
              <a:gd name="T51" fmla="*/ 16 h 229"/>
              <a:gd name="T52" fmla="*/ 355 w 534"/>
              <a:gd name="T53" fmla="*/ 22 h 229"/>
              <a:gd name="T54" fmla="*/ 425 w 534"/>
              <a:gd name="T55" fmla="*/ 76 h 229"/>
              <a:gd name="T56" fmla="*/ 442 w 534"/>
              <a:gd name="T57" fmla="*/ 76 h 229"/>
              <a:gd name="T58" fmla="*/ 464 w 534"/>
              <a:gd name="T59" fmla="*/ 71 h 229"/>
              <a:gd name="T60" fmla="*/ 491 w 534"/>
              <a:gd name="T61" fmla="*/ 82 h 229"/>
              <a:gd name="T62" fmla="*/ 513 w 534"/>
              <a:gd name="T63" fmla="*/ 93 h 229"/>
              <a:gd name="T64" fmla="*/ 529 w 534"/>
              <a:gd name="T65" fmla="*/ 98 h 229"/>
              <a:gd name="T66" fmla="*/ 524 w 534"/>
              <a:gd name="T67" fmla="*/ 109 h 229"/>
              <a:gd name="T68" fmla="*/ 529 w 534"/>
              <a:gd name="T69" fmla="*/ 131 h 229"/>
              <a:gd name="T70" fmla="*/ 513 w 534"/>
              <a:gd name="T71" fmla="*/ 131 h 229"/>
              <a:gd name="T72" fmla="*/ 496 w 534"/>
              <a:gd name="T73" fmla="*/ 142 h 229"/>
              <a:gd name="T74" fmla="*/ 507 w 534"/>
              <a:gd name="T75" fmla="*/ 163 h 229"/>
              <a:gd name="T76" fmla="*/ 485 w 534"/>
              <a:gd name="T77" fmla="*/ 163 h 229"/>
              <a:gd name="T78" fmla="*/ 480 w 534"/>
              <a:gd name="T79" fmla="*/ 174 h 229"/>
              <a:gd name="T80" fmla="*/ 491 w 534"/>
              <a:gd name="T81" fmla="*/ 196 h 229"/>
              <a:gd name="T82" fmla="*/ 485 w 534"/>
              <a:gd name="T83" fmla="*/ 207 h 229"/>
              <a:gd name="T84" fmla="*/ 464 w 534"/>
              <a:gd name="T85" fmla="*/ 202 h 229"/>
              <a:gd name="T86" fmla="*/ 436 w 534"/>
              <a:gd name="T87" fmla="*/ 202 h 229"/>
              <a:gd name="T88" fmla="*/ 415 w 534"/>
              <a:gd name="T89" fmla="*/ 196 h 229"/>
              <a:gd name="T90" fmla="*/ 404 w 534"/>
              <a:gd name="T91" fmla="*/ 207 h 229"/>
              <a:gd name="T92" fmla="*/ 376 w 534"/>
              <a:gd name="T93" fmla="*/ 202 h 229"/>
              <a:gd name="T94" fmla="*/ 360 w 534"/>
              <a:gd name="T95" fmla="*/ 213 h 229"/>
              <a:gd name="T96" fmla="*/ 344 w 534"/>
              <a:gd name="T97" fmla="*/ 229 h 229"/>
              <a:gd name="T98" fmla="*/ 300 w 534"/>
              <a:gd name="T99" fmla="*/ 207 h 229"/>
              <a:gd name="T100" fmla="*/ 278 w 534"/>
              <a:gd name="T101" fmla="*/ 185 h 229"/>
              <a:gd name="T102" fmla="*/ 218 w 534"/>
              <a:gd name="T103" fmla="*/ 174 h 229"/>
              <a:gd name="T104" fmla="*/ 158 w 534"/>
              <a:gd name="T105" fmla="*/ 223 h 229"/>
              <a:gd name="T106" fmla="*/ 131 w 534"/>
              <a:gd name="T107" fmla="*/ 207 h 229"/>
              <a:gd name="T108" fmla="*/ 115 w 534"/>
              <a:gd name="T109" fmla="*/ 207 h 229"/>
              <a:gd name="T110" fmla="*/ 93 w 534"/>
              <a:gd name="T111" fmla="*/ 196 h 229"/>
              <a:gd name="T112" fmla="*/ 76 w 534"/>
              <a:gd name="T113" fmla="*/ 174 h 229"/>
              <a:gd name="T114" fmla="*/ 87 w 534"/>
              <a:gd name="T115" fmla="*/ 174 h 229"/>
              <a:gd name="T116" fmla="*/ 87 w 534"/>
              <a:gd name="T117" fmla="*/ 158 h 229"/>
              <a:gd name="T118" fmla="*/ 98 w 534"/>
              <a:gd name="T119" fmla="*/ 153 h 229"/>
              <a:gd name="T120" fmla="*/ 87 w 534"/>
              <a:gd name="T121" fmla="*/ 136 h 229"/>
              <a:gd name="T122" fmla="*/ 60 w 534"/>
              <a:gd name="T123" fmla="*/ 13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4" h="229">
                <a:moveTo>
                  <a:pt x="49" y="142"/>
                </a:moveTo>
                <a:lnTo>
                  <a:pt x="44" y="142"/>
                </a:lnTo>
                <a:lnTo>
                  <a:pt x="38" y="136"/>
                </a:lnTo>
                <a:lnTo>
                  <a:pt x="44" y="136"/>
                </a:lnTo>
                <a:lnTo>
                  <a:pt x="38" y="136"/>
                </a:lnTo>
                <a:lnTo>
                  <a:pt x="38" y="131"/>
                </a:lnTo>
                <a:lnTo>
                  <a:pt x="33" y="125"/>
                </a:lnTo>
                <a:lnTo>
                  <a:pt x="27" y="125"/>
                </a:lnTo>
                <a:lnTo>
                  <a:pt x="27" y="120"/>
                </a:lnTo>
                <a:lnTo>
                  <a:pt x="22" y="120"/>
                </a:lnTo>
                <a:lnTo>
                  <a:pt x="17" y="120"/>
                </a:lnTo>
                <a:lnTo>
                  <a:pt x="11" y="120"/>
                </a:lnTo>
                <a:lnTo>
                  <a:pt x="11" y="114"/>
                </a:lnTo>
                <a:lnTo>
                  <a:pt x="0" y="109"/>
                </a:lnTo>
                <a:lnTo>
                  <a:pt x="6" y="103"/>
                </a:lnTo>
                <a:lnTo>
                  <a:pt x="6" y="98"/>
                </a:lnTo>
                <a:lnTo>
                  <a:pt x="0" y="98"/>
                </a:lnTo>
                <a:lnTo>
                  <a:pt x="0" y="93"/>
                </a:lnTo>
                <a:lnTo>
                  <a:pt x="0" y="87"/>
                </a:lnTo>
                <a:lnTo>
                  <a:pt x="6" y="87"/>
                </a:lnTo>
                <a:lnTo>
                  <a:pt x="6" y="82"/>
                </a:lnTo>
                <a:lnTo>
                  <a:pt x="11" y="82"/>
                </a:lnTo>
                <a:lnTo>
                  <a:pt x="17" y="82"/>
                </a:lnTo>
                <a:lnTo>
                  <a:pt x="17" y="87"/>
                </a:lnTo>
                <a:lnTo>
                  <a:pt x="22" y="87"/>
                </a:lnTo>
                <a:lnTo>
                  <a:pt x="27" y="87"/>
                </a:lnTo>
                <a:lnTo>
                  <a:pt x="22" y="82"/>
                </a:lnTo>
                <a:lnTo>
                  <a:pt x="22" y="76"/>
                </a:lnTo>
                <a:lnTo>
                  <a:pt x="17" y="76"/>
                </a:lnTo>
                <a:lnTo>
                  <a:pt x="22" y="76"/>
                </a:lnTo>
                <a:lnTo>
                  <a:pt x="27" y="71"/>
                </a:lnTo>
                <a:lnTo>
                  <a:pt x="27" y="65"/>
                </a:lnTo>
                <a:lnTo>
                  <a:pt x="33" y="71"/>
                </a:lnTo>
                <a:lnTo>
                  <a:pt x="33" y="65"/>
                </a:lnTo>
                <a:lnTo>
                  <a:pt x="38" y="65"/>
                </a:lnTo>
                <a:lnTo>
                  <a:pt x="44" y="60"/>
                </a:lnTo>
                <a:lnTo>
                  <a:pt x="38" y="60"/>
                </a:lnTo>
                <a:lnTo>
                  <a:pt x="44" y="60"/>
                </a:lnTo>
                <a:lnTo>
                  <a:pt x="49" y="60"/>
                </a:lnTo>
                <a:lnTo>
                  <a:pt x="55" y="60"/>
                </a:lnTo>
                <a:lnTo>
                  <a:pt x="60" y="60"/>
                </a:lnTo>
                <a:lnTo>
                  <a:pt x="66" y="65"/>
                </a:lnTo>
                <a:lnTo>
                  <a:pt x="66" y="60"/>
                </a:lnTo>
                <a:lnTo>
                  <a:pt x="71" y="65"/>
                </a:lnTo>
                <a:lnTo>
                  <a:pt x="76" y="60"/>
                </a:lnTo>
                <a:lnTo>
                  <a:pt x="82" y="65"/>
                </a:lnTo>
                <a:lnTo>
                  <a:pt x="87" y="65"/>
                </a:lnTo>
                <a:lnTo>
                  <a:pt x="93" y="71"/>
                </a:lnTo>
                <a:lnTo>
                  <a:pt x="98" y="76"/>
                </a:lnTo>
                <a:lnTo>
                  <a:pt x="98" y="71"/>
                </a:lnTo>
                <a:lnTo>
                  <a:pt x="104" y="71"/>
                </a:lnTo>
                <a:lnTo>
                  <a:pt x="109" y="76"/>
                </a:lnTo>
                <a:lnTo>
                  <a:pt x="115" y="76"/>
                </a:lnTo>
                <a:lnTo>
                  <a:pt x="115" y="71"/>
                </a:lnTo>
                <a:lnTo>
                  <a:pt x="120" y="71"/>
                </a:lnTo>
                <a:lnTo>
                  <a:pt x="126" y="71"/>
                </a:lnTo>
                <a:lnTo>
                  <a:pt x="131" y="71"/>
                </a:lnTo>
                <a:lnTo>
                  <a:pt x="136" y="65"/>
                </a:lnTo>
                <a:lnTo>
                  <a:pt x="142" y="65"/>
                </a:lnTo>
                <a:lnTo>
                  <a:pt x="147" y="71"/>
                </a:lnTo>
                <a:lnTo>
                  <a:pt x="153" y="76"/>
                </a:lnTo>
                <a:lnTo>
                  <a:pt x="158" y="76"/>
                </a:lnTo>
                <a:lnTo>
                  <a:pt x="164" y="76"/>
                </a:lnTo>
                <a:lnTo>
                  <a:pt x="164" y="71"/>
                </a:lnTo>
                <a:lnTo>
                  <a:pt x="169" y="76"/>
                </a:lnTo>
                <a:lnTo>
                  <a:pt x="175" y="76"/>
                </a:lnTo>
                <a:lnTo>
                  <a:pt x="180" y="76"/>
                </a:lnTo>
                <a:lnTo>
                  <a:pt x="186" y="71"/>
                </a:lnTo>
                <a:lnTo>
                  <a:pt x="186" y="65"/>
                </a:lnTo>
                <a:lnTo>
                  <a:pt x="180" y="65"/>
                </a:lnTo>
                <a:lnTo>
                  <a:pt x="175" y="60"/>
                </a:lnTo>
                <a:lnTo>
                  <a:pt x="169" y="60"/>
                </a:lnTo>
                <a:lnTo>
                  <a:pt x="164" y="60"/>
                </a:lnTo>
                <a:lnTo>
                  <a:pt x="158" y="54"/>
                </a:lnTo>
                <a:lnTo>
                  <a:pt x="164" y="54"/>
                </a:lnTo>
                <a:lnTo>
                  <a:pt x="169" y="49"/>
                </a:lnTo>
                <a:lnTo>
                  <a:pt x="164" y="43"/>
                </a:lnTo>
                <a:lnTo>
                  <a:pt x="164" y="38"/>
                </a:lnTo>
                <a:lnTo>
                  <a:pt x="169" y="38"/>
                </a:lnTo>
                <a:lnTo>
                  <a:pt x="175" y="38"/>
                </a:lnTo>
                <a:lnTo>
                  <a:pt x="180" y="38"/>
                </a:lnTo>
                <a:lnTo>
                  <a:pt x="169" y="33"/>
                </a:lnTo>
                <a:lnTo>
                  <a:pt x="164" y="33"/>
                </a:lnTo>
                <a:lnTo>
                  <a:pt x="169" y="33"/>
                </a:lnTo>
                <a:lnTo>
                  <a:pt x="169" y="27"/>
                </a:lnTo>
                <a:lnTo>
                  <a:pt x="164" y="27"/>
                </a:lnTo>
                <a:lnTo>
                  <a:pt x="158" y="27"/>
                </a:lnTo>
                <a:lnTo>
                  <a:pt x="158" y="22"/>
                </a:lnTo>
                <a:lnTo>
                  <a:pt x="164" y="22"/>
                </a:lnTo>
                <a:lnTo>
                  <a:pt x="169" y="22"/>
                </a:lnTo>
                <a:lnTo>
                  <a:pt x="175" y="22"/>
                </a:lnTo>
                <a:lnTo>
                  <a:pt x="180" y="22"/>
                </a:lnTo>
                <a:lnTo>
                  <a:pt x="186" y="22"/>
                </a:lnTo>
                <a:lnTo>
                  <a:pt x="191" y="16"/>
                </a:lnTo>
                <a:lnTo>
                  <a:pt x="196" y="16"/>
                </a:lnTo>
                <a:lnTo>
                  <a:pt x="202" y="16"/>
                </a:lnTo>
                <a:lnTo>
                  <a:pt x="207" y="16"/>
                </a:lnTo>
                <a:lnTo>
                  <a:pt x="207" y="11"/>
                </a:lnTo>
                <a:lnTo>
                  <a:pt x="218" y="11"/>
                </a:lnTo>
                <a:lnTo>
                  <a:pt x="229" y="11"/>
                </a:lnTo>
                <a:lnTo>
                  <a:pt x="235" y="11"/>
                </a:lnTo>
                <a:lnTo>
                  <a:pt x="235" y="5"/>
                </a:lnTo>
                <a:lnTo>
                  <a:pt x="240" y="5"/>
                </a:lnTo>
                <a:lnTo>
                  <a:pt x="246" y="5"/>
                </a:lnTo>
                <a:lnTo>
                  <a:pt x="246" y="0"/>
                </a:lnTo>
                <a:lnTo>
                  <a:pt x="251" y="0"/>
                </a:lnTo>
                <a:lnTo>
                  <a:pt x="256" y="0"/>
                </a:lnTo>
                <a:lnTo>
                  <a:pt x="267" y="5"/>
                </a:lnTo>
                <a:lnTo>
                  <a:pt x="267" y="0"/>
                </a:lnTo>
                <a:lnTo>
                  <a:pt x="273" y="0"/>
                </a:lnTo>
                <a:lnTo>
                  <a:pt x="273" y="5"/>
                </a:lnTo>
                <a:lnTo>
                  <a:pt x="284" y="11"/>
                </a:lnTo>
                <a:lnTo>
                  <a:pt x="284" y="16"/>
                </a:lnTo>
                <a:lnTo>
                  <a:pt x="284" y="22"/>
                </a:lnTo>
                <a:lnTo>
                  <a:pt x="289" y="22"/>
                </a:lnTo>
                <a:lnTo>
                  <a:pt x="289" y="16"/>
                </a:lnTo>
                <a:lnTo>
                  <a:pt x="295" y="22"/>
                </a:lnTo>
                <a:lnTo>
                  <a:pt x="295" y="16"/>
                </a:lnTo>
                <a:lnTo>
                  <a:pt x="300" y="22"/>
                </a:lnTo>
                <a:lnTo>
                  <a:pt x="305" y="22"/>
                </a:lnTo>
                <a:lnTo>
                  <a:pt x="316" y="22"/>
                </a:lnTo>
                <a:lnTo>
                  <a:pt x="316" y="27"/>
                </a:lnTo>
                <a:lnTo>
                  <a:pt x="316" y="33"/>
                </a:lnTo>
                <a:lnTo>
                  <a:pt x="322" y="27"/>
                </a:lnTo>
                <a:lnTo>
                  <a:pt x="333" y="33"/>
                </a:lnTo>
                <a:lnTo>
                  <a:pt x="327" y="27"/>
                </a:lnTo>
                <a:lnTo>
                  <a:pt x="338" y="27"/>
                </a:lnTo>
                <a:lnTo>
                  <a:pt x="338" y="22"/>
                </a:lnTo>
                <a:lnTo>
                  <a:pt x="349" y="16"/>
                </a:lnTo>
                <a:lnTo>
                  <a:pt x="344" y="16"/>
                </a:lnTo>
                <a:lnTo>
                  <a:pt x="349" y="16"/>
                </a:lnTo>
                <a:lnTo>
                  <a:pt x="355" y="16"/>
                </a:lnTo>
                <a:lnTo>
                  <a:pt x="355" y="22"/>
                </a:lnTo>
                <a:lnTo>
                  <a:pt x="349" y="22"/>
                </a:lnTo>
                <a:lnTo>
                  <a:pt x="355" y="22"/>
                </a:lnTo>
                <a:lnTo>
                  <a:pt x="365" y="27"/>
                </a:lnTo>
                <a:lnTo>
                  <a:pt x="376" y="33"/>
                </a:lnTo>
                <a:lnTo>
                  <a:pt x="387" y="43"/>
                </a:lnTo>
                <a:lnTo>
                  <a:pt x="409" y="54"/>
                </a:lnTo>
                <a:lnTo>
                  <a:pt x="425" y="76"/>
                </a:lnTo>
                <a:lnTo>
                  <a:pt x="431" y="71"/>
                </a:lnTo>
                <a:lnTo>
                  <a:pt x="431" y="65"/>
                </a:lnTo>
                <a:lnTo>
                  <a:pt x="436" y="65"/>
                </a:lnTo>
                <a:lnTo>
                  <a:pt x="436" y="71"/>
                </a:lnTo>
                <a:lnTo>
                  <a:pt x="442" y="76"/>
                </a:lnTo>
                <a:lnTo>
                  <a:pt x="447" y="71"/>
                </a:lnTo>
                <a:lnTo>
                  <a:pt x="453" y="76"/>
                </a:lnTo>
                <a:lnTo>
                  <a:pt x="458" y="76"/>
                </a:lnTo>
                <a:lnTo>
                  <a:pt x="458" y="71"/>
                </a:lnTo>
                <a:lnTo>
                  <a:pt x="464" y="71"/>
                </a:lnTo>
                <a:lnTo>
                  <a:pt x="469" y="71"/>
                </a:lnTo>
                <a:lnTo>
                  <a:pt x="475" y="71"/>
                </a:lnTo>
                <a:lnTo>
                  <a:pt x="480" y="76"/>
                </a:lnTo>
                <a:lnTo>
                  <a:pt x="485" y="82"/>
                </a:lnTo>
                <a:lnTo>
                  <a:pt x="491" y="82"/>
                </a:lnTo>
                <a:lnTo>
                  <a:pt x="496" y="82"/>
                </a:lnTo>
                <a:lnTo>
                  <a:pt x="496" y="87"/>
                </a:lnTo>
                <a:lnTo>
                  <a:pt x="502" y="93"/>
                </a:lnTo>
                <a:lnTo>
                  <a:pt x="507" y="93"/>
                </a:lnTo>
                <a:lnTo>
                  <a:pt x="513" y="93"/>
                </a:lnTo>
                <a:lnTo>
                  <a:pt x="518" y="93"/>
                </a:lnTo>
                <a:lnTo>
                  <a:pt x="518" y="87"/>
                </a:lnTo>
                <a:lnTo>
                  <a:pt x="524" y="87"/>
                </a:lnTo>
                <a:lnTo>
                  <a:pt x="524" y="93"/>
                </a:lnTo>
                <a:lnTo>
                  <a:pt x="529" y="98"/>
                </a:lnTo>
                <a:lnTo>
                  <a:pt x="534" y="98"/>
                </a:lnTo>
                <a:lnTo>
                  <a:pt x="529" y="98"/>
                </a:lnTo>
                <a:lnTo>
                  <a:pt x="529" y="103"/>
                </a:lnTo>
                <a:lnTo>
                  <a:pt x="529" y="109"/>
                </a:lnTo>
                <a:lnTo>
                  <a:pt x="524" y="109"/>
                </a:lnTo>
                <a:lnTo>
                  <a:pt x="524" y="114"/>
                </a:lnTo>
                <a:lnTo>
                  <a:pt x="524" y="120"/>
                </a:lnTo>
                <a:lnTo>
                  <a:pt x="524" y="125"/>
                </a:lnTo>
                <a:lnTo>
                  <a:pt x="529" y="125"/>
                </a:lnTo>
                <a:lnTo>
                  <a:pt x="529" y="131"/>
                </a:lnTo>
                <a:lnTo>
                  <a:pt x="524" y="131"/>
                </a:lnTo>
                <a:lnTo>
                  <a:pt x="524" y="136"/>
                </a:lnTo>
                <a:lnTo>
                  <a:pt x="518" y="136"/>
                </a:lnTo>
                <a:lnTo>
                  <a:pt x="518" y="131"/>
                </a:lnTo>
                <a:lnTo>
                  <a:pt x="513" y="131"/>
                </a:lnTo>
                <a:lnTo>
                  <a:pt x="513" y="136"/>
                </a:lnTo>
                <a:lnTo>
                  <a:pt x="502" y="131"/>
                </a:lnTo>
                <a:lnTo>
                  <a:pt x="496" y="131"/>
                </a:lnTo>
                <a:lnTo>
                  <a:pt x="496" y="136"/>
                </a:lnTo>
                <a:lnTo>
                  <a:pt x="496" y="142"/>
                </a:lnTo>
                <a:lnTo>
                  <a:pt x="496" y="147"/>
                </a:lnTo>
                <a:lnTo>
                  <a:pt x="496" y="153"/>
                </a:lnTo>
                <a:lnTo>
                  <a:pt x="496" y="158"/>
                </a:lnTo>
                <a:lnTo>
                  <a:pt x="507" y="158"/>
                </a:lnTo>
                <a:lnTo>
                  <a:pt x="507" y="163"/>
                </a:lnTo>
                <a:lnTo>
                  <a:pt x="502" y="163"/>
                </a:lnTo>
                <a:lnTo>
                  <a:pt x="496" y="163"/>
                </a:lnTo>
                <a:lnTo>
                  <a:pt x="491" y="158"/>
                </a:lnTo>
                <a:lnTo>
                  <a:pt x="491" y="163"/>
                </a:lnTo>
                <a:lnTo>
                  <a:pt x="485" y="163"/>
                </a:lnTo>
                <a:lnTo>
                  <a:pt x="480" y="163"/>
                </a:lnTo>
                <a:lnTo>
                  <a:pt x="475" y="163"/>
                </a:lnTo>
                <a:lnTo>
                  <a:pt x="469" y="169"/>
                </a:lnTo>
                <a:lnTo>
                  <a:pt x="480" y="169"/>
                </a:lnTo>
                <a:lnTo>
                  <a:pt x="480" y="174"/>
                </a:lnTo>
                <a:lnTo>
                  <a:pt x="485" y="180"/>
                </a:lnTo>
                <a:lnTo>
                  <a:pt x="485" y="185"/>
                </a:lnTo>
                <a:lnTo>
                  <a:pt x="496" y="191"/>
                </a:lnTo>
                <a:lnTo>
                  <a:pt x="496" y="196"/>
                </a:lnTo>
                <a:lnTo>
                  <a:pt x="491" y="196"/>
                </a:lnTo>
                <a:lnTo>
                  <a:pt x="496" y="196"/>
                </a:lnTo>
                <a:lnTo>
                  <a:pt x="491" y="202"/>
                </a:lnTo>
                <a:lnTo>
                  <a:pt x="496" y="207"/>
                </a:lnTo>
                <a:lnTo>
                  <a:pt x="491" y="207"/>
                </a:lnTo>
                <a:lnTo>
                  <a:pt x="485" y="207"/>
                </a:lnTo>
                <a:lnTo>
                  <a:pt x="480" y="202"/>
                </a:lnTo>
                <a:lnTo>
                  <a:pt x="475" y="202"/>
                </a:lnTo>
                <a:lnTo>
                  <a:pt x="469" y="202"/>
                </a:lnTo>
                <a:lnTo>
                  <a:pt x="469" y="196"/>
                </a:lnTo>
                <a:lnTo>
                  <a:pt x="464" y="202"/>
                </a:lnTo>
                <a:lnTo>
                  <a:pt x="458" y="196"/>
                </a:lnTo>
                <a:lnTo>
                  <a:pt x="453" y="196"/>
                </a:lnTo>
                <a:lnTo>
                  <a:pt x="447" y="196"/>
                </a:lnTo>
                <a:lnTo>
                  <a:pt x="442" y="196"/>
                </a:lnTo>
                <a:lnTo>
                  <a:pt x="436" y="202"/>
                </a:lnTo>
                <a:lnTo>
                  <a:pt x="431" y="196"/>
                </a:lnTo>
                <a:lnTo>
                  <a:pt x="431" y="202"/>
                </a:lnTo>
                <a:lnTo>
                  <a:pt x="425" y="202"/>
                </a:lnTo>
                <a:lnTo>
                  <a:pt x="420" y="202"/>
                </a:lnTo>
                <a:lnTo>
                  <a:pt x="415" y="196"/>
                </a:lnTo>
                <a:lnTo>
                  <a:pt x="409" y="191"/>
                </a:lnTo>
                <a:lnTo>
                  <a:pt x="404" y="196"/>
                </a:lnTo>
                <a:lnTo>
                  <a:pt x="398" y="196"/>
                </a:lnTo>
                <a:lnTo>
                  <a:pt x="398" y="202"/>
                </a:lnTo>
                <a:lnTo>
                  <a:pt x="404" y="207"/>
                </a:lnTo>
                <a:lnTo>
                  <a:pt x="398" y="207"/>
                </a:lnTo>
                <a:lnTo>
                  <a:pt x="393" y="202"/>
                </a:lnTo>
                <a:lnTo>
                  <a:pt x="387" y="202"/>
                </a:lnTo>
                <a:lnTo>
                  <a:pt x="382" y="202"/>
                </a:lnTo>
                <a:lnTo>
                  <a:pt x="376" y="202"/>
                </a:lnTo>
                <a:lnTo>
                  <a:pt x="371" y="202"/>
                </a:lnTo>
                <a:lnTo>
                  <a:pt x="365" y="202"/>
                </a:lnTo>
                <a:lnTo>
                  <a:pt x="371" y="207"/>
                </a:lnTo>
                <a:lnTo>
                  <a:pt x="365" y="213"/>
                </a:lnTo>
                <a:lnTo>
                  <a:pt x="360" y="213"/>
                </a:lnTo>
                <a:lnTo>
                  <a:pt x="360" y="218"/>
                </a:lnTo>
                <a:lnTo>
                  <a:pt x="355" y="218"/>
                </a:lnTo>
                <a:lnTo>
                  <a:pt x="355" y="223"/>
                </a:lnTo>
                <a:lnTo>
                  <a:pt x="349" y="223"/>
                </a:lnTo>
                <a:lnTo>
                  <a:pt x="344" y="229"/>
                </a:lnTo>
                <a:lnTo>
                  <a:pt x="333" y="223"/>
                </a:lnTo>
                <a:lnTo>
                  <a:pt x="316" y="223"/>
                </a:lnTo>
                <a:lnTo>
                  <a:pt x="311" y="213"/>
                </a:lnTo>
                <a:lnTo>
                  <a:pt x="300" y="213"/>
                </a:lnTo>
                <a:lnTo>
                  <a:pt x="300" y="207"/>
                </a:lnTo>
                <a:lnTo>
                  <a:pt x="295" y="196"/>
                </a:lnTo>
                <a:lnTo>
                  <a:pt x="295" y="202"/>
                </a:lnTo>
                <a:lnTo>
                  <a:pt x="289" y="191"/>
                </a:lnTo>
                <a:lnTo>
                  <a:pt x="284" y="191"/>
                </a:lnTo>
                <a:lnTo>
                  <a:pt x="278" y="185"/>
                </a:lnTo>
                <a:lnTo>
                  <a:pt x="273" y="185"/>
                </a:lnTo>
                <a:lnTo>
                  <a:pt x="256" y="185"/>
                </a:lnTo>
                <a:lnTo>
                  <a:pt x="240" y="191"/>
                </a:lnTo>
                <a:lnTo>
                  <a:pt x="224" y="174"/>
                </a:lnTo>
                <a:lnTo>
                  <a:pt x="218" y="174"/>
                </a:lnTo>
                <a:lnTo>
                  <a:pt x="180" y="158"/>
                </a:lnTo>
                <a:lnTo>
                  <a:pt x="147" y="163"/>
                </a:lnTo>
                <a:lnTo>
                  <a:pt x="169" y="223"/>
                </a:lnTo>
                <a:lnTo>
                  <a:pt x="164" y="223"/>
                </a:lnTo>
                <a:lnTo>
                  <a:pt x="158" y="223"/>
                </a:lnTo>
                <a:lnTo>
                  <a:pt x="153" y="223"/>
                </a:lnTo>
                <a:lnTo>
                  <a:pt x="147" y="218"/>
                </a:lnTo>
                <a:lnTo>
                  <a:pt x="147" y="213"/>
                </a:lnTo>
                <a:lnTo>
                  <a:pt x="136" y="207"/>
                </a:lnTo>
                <a:lnTo>
                  <a:pt x="131" y="207"/>
                </a:lnTo>
                <a:lnTo>
                  <a:pt x="126" y="207"/>
                </a:lnTo>
                <a:lnTo>
                  <a:pt x="120" y="213"/>
                </a:lnTo>
                <a:lnTo>
                  <a:pt x="115" y="218"/>
                </a:lnTo>
                <a:lnTo>
                  <a:pt x="115" y="213"/>
                </a:lnTo>
                <a:lnTo>
                  <a:pt x="115" y="207"/>
                </a:lnTo>
                <a:lnTo>
                  <a:pt x="115" y="202"/>
                </a:lnTo>
                <a:lnTo>
                  <a:pt x="109" y="202"/>
                </a:lnTo>
                <a:lnTo>
                  <a:pt x="104" y="202"/>
                </a:lnTo>
                <a:lnTo>
                  <a:pt x="98" y="196"/>
                </a:lnTo>
                <a:lnTo>
                  <a:pt x="93" y="196"/>
                </a:lnTo>
                <a:lnTo>
                  <a:pt x="93" y="191"/>
                </a:lnTo>
                <a:lnTo>
                  <a:pt x="93" y="185"/>
                </a:lnTo>
                <a:lnTo>
                  <a:pt x="87" y="185"/>
                </a:lnTo>
                <a:lnTo>
                  <a:pt x="82" y="180"/>
                </a:lnTo>
                <a:lnTo>
                  <a:pt x="76" y="174"/>
                </a:lnTo>
                <a:lnTo>
                  <a:pt x="71" y="174"/>
                </a:lnTo>
                <a:lnTo>
                  <a:pt x="71" y="169"/>
                </a:lnTo>
                <a:lnTo>
                  <a:pt x="76" y="169"/>
                </a:lnTo>
                <a:lnTo>
                  <a:pt x="82" y="174"/>
                </a:lnTo>
                <a:lnTo>
                  <a:pt x="87" y="174"/>
                </a:lnTo>
                <a:lnTo>
                  <a:pt x="82" y="169"/>
                </a:lnTo>
                <a:lnTo>
                  <a:pt x="76" y="169"/>
                </a:lnTo>
                <a:lnTo>
                  <a:pt x="82" y="163"/>
                </a:lnTo>
                <a:lnTo>
                  <a:pt x="82" y="158"/>
                </a:lnTo>
                <a:lnTo>
                  <a:pt x="87" y="158"/>
                </a:lnTo>
                <a:lnTo>
                  <a:pt x="93" y="158"/>
                </a:lnTo>
                <a:lnTo>
                  <a:pt x="98" y="158"/>
                </a:lnTo>
                <a:lnTo>
                  <a:pt x="104" y="158"/>
                </a:lnTo>
                <a:lnTo>
                  <a:pt x="98" y="158"/>
                </a:lnTo>
                <a:lnTo>
                  <a:pt x="98" y="153"/>
                </a:lnTo>
                <a:lnTo>
                  <a:pt x="98" y="147"/>
                </a:lnTo>
                <a:lnTo>
                  <a:pt x="98" y="142"/>
                </a:lnTo>
                <a:lnTo>
                  <a:pt x="98" y="136"/>
                </a:lnTo>
                <a:lnTo>
                  <a:pt x="93" y="136"/>
                </a:lnTo>
                <a:lnTo>
                  <a:pt x="87" y="136"/>
                </a:lnTo>
                <a:lnTo>
                  <a:pt x="82" y="136"/>
                </a:lnTo>
                <a:lnTo>
                  <a:pt x="76" y="136"/>
                </a:lnTo>
                <a:lnTo>
                  <a:pt x="71" y="131"/>
                </a:lnTo>
                <a:lnTo>
                  <a:pt x="66" y="136"/>
                </a:lnTo>
                <a:lnTo>
                  <a:pt x="60" y="136"/>
                </a:lnTo>
                <a:lnTo>
                  <a:pt x="55" y="142"/>
                </a:lnTo>
                <a:lnTo>
                  <a:pt x="55" y="147"/>
                </a:lnTo>
                <a:lnTo>
                  <a:pt x="49" y="142"/>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8" name="Freeform 281">
            <a:extLst>
              <a:ext uri="{FF2B5EF4-FFF2-40B4-BE49-F238E27FC236}">
                <a16:creationId xmlns:a16="http://schemas.microsoft.com/office/drawing/2014/main" id="{023D8EC1-516F-13CE-C03D-50E4E1EF8055}"/>
              </a:ext>
            </a:extLst>
          </p:cNvPr>
          <p:cNvSpPr>
            <a:spLocks/>
          </p:cNvSpPr>
          <p:nvPr/>
        </p:nvSpPr>
        <p:spPr bwMode="auto">
          <a:xfrm>
            <a:off x="3929063" y="2065338"/>
            <a:ext cx="508000" cy="206375"/>
          </a:xfrm>
          <a:custGeom>
            <a:avLst/>
            <a:gdLst>
              <a:gd name="T0" fmla="*/ 11 w 452"/>
              <a:gd name="T1" fmla="*/ 44 h 169"/>
              <a:gd name="T2" fmla="*/ 22 w 452"/>
              <a:gd name="T3" fmla="*/ 38 h 169"/>
              <a:gd name="T4" fmla="*/ 33 w 452"/>
              <a:gd name="T5" fmla="*/ 27 h 169"/>
              <a:gd name="T6" fmla="*/ 49 w 452"/>
              <a:gd name="T7" fmla="*/ 27 h 169"/>
              <a:gd name="T8" fmla="*/ 76 w 452"/>
              <a:gd name="T9" fmla="*/ 33 h 169"/>
              <a:gd name="T10" fmla="*/ 98 w 452"/>
              <a:gd name="T11" fmla="*/ 38 h 169"/>
              <a:gd name="T12" fmla="*/ 120 w 452"/>
              <a:gd name="T13" fmla="*/ 38 h 169"/>
              <a:gd name="T14" fmla="*/ 120 w 452"/>
              <a:gd name="T15" fmla="*/ 27 h 169"/>
              <a:gd name="T16" fmla="*/ 114 w 452"/>
              <a:gd name="T17" fmla="*/ 5 h 169"/>
              <a:gd name="T18" fmla="*/ 131 w 452"/>
              <a:gd name="T19" fmla="*/ 11 h 169"/>
              <a:gd name="T20" fmla="*/ 158 w 452"/>
              <a:gd name="T21" fmla="*/ 11 h 169"/>
              <a:gd name="T22" fmla="*/ 174 w 452"/>
              <a:gd name="T23" fmla="*/ 22 h 169"/>
              <a:gd name="T24" fmla="*/ 191 w 452"/>
              <a:gd name="T25" fmla="*/ 33 h 169"/>
              <a:gd name="T26" fmla="*/ 218 w 452"/>
              <a:gd name="T27" fmla="*/ 27 h 169"/>
              <a:gd name="T28" fmla="*/ 245 w 452"/>
              <a:gd name="T29" fmla="*/ 38 h 169"/>
              <a:gd name="T30" fmla="*/ 267 w 452"/>
              <a:gd name="T31" fmla="*/ 44 h 169"/>
              <a:gd name="T32" fmla="*/ 289 w 452"/>
              <a:gd name="T33" fmla="*/ 49 h 169"/>
              <a:gd name="T34" fmla="*/ 322 w 452"/>
              <a:gd name="T35" fmla="*/ 44 h 169"/>
              <a:gd name="T36" fmla="*/ 333 w 452"/>
              <a:gd name="T37" fmla="*/ 33 h 169"/>
              <a:gd name="T38" fmla="*/ 354 w 452"/>
              <a:gd name="T39" fmla="*/ 38 h 169"/>
              <a:gd name="T40" fmla="*/ 376 w 452"/>
              <a:gd name="T41" fmla="*/ 54 h 169"/>
              <a:gd name="T42" fmla="*/ 376 w 452"/>
              <a:gd name="T43" fmla="*/ 71 h 169"/>
              <a:gd name="T44" fmla="*/ 398 w 452"/>
              <a:gd name="T45" fmla="*/ 71 h 169"/>
              <a:gd name="T46" fmla="*/ 414 w 452"/>
              <a:gd name="T47" fmla="*/ 65 h 169"/>
              <a:gd name="T48" fmla="*/ 436 w 452"/>
              <a:gd name="T49" fmla="*/ 76 h 169"/>
              <a:gd name="T50" fmla="*/ 447 w 452"/>
              <a:gd name="T51" fmla="*/ 82 h 169"/>
              <a:gd name="T52" fmla="*/ 442 w 452"/>
              <a:gd name="T53" fmla="*/ 87 h 169"/>
              <a:gd name="T54" fmla="*/ 420 w 452"/>
              <a:gd name="T55" fmla="*/ 93 h 169"/>
              <a:gd name="T56" fmla="*/ 414 w 452"/>
              <a:gd name="T57" fmla="*/ 104 h 169"/>
              <a:gd name="T58" fmla="*/ 398 w 452"/>
              <a:gd name="T59" fmla="*/ 114 h 169"/>
              <a:gd name="T60" fmla="*/ 382 w 452"/>
              <a:gd name="T61" fmla="*/ 120 h 169"/>
              <a:gd name="T62" fmla="*/ 365 w 452"/>
              <a:gd name="T63" fmla="*/ 120 h 169"/>
              <a:gd name="T64" fmla="*/ 376 w 452"/>
              <a:gd name="T65" fmla="*/ 136 h 169"/>
              <a:gd name="T66" fmla="*/ 365 w 452"/>
              <a:gd name="T67" fmla="*/ 153 h 169"/>
              <a:gd name="T68" fmla="*/ 360 w 452"/>
              <a:gd name="T69" fmla="*/ 158 h 169"/>
              <a:gd name="T70" fmla="*/ 338 w 452"/>
              <a:gd name="T71" fmla="*/ 158 h 169"/>
              <a:gd name="T72" fmla="*/ 311 w 452"/>
              <a:gd name="T73" fmla="*/ 164 h 169"/>
              <a:gd name="T74" fmla="*/ 289 w 452"/>
              <a:gd name="T75" fmla="*/ 169 h 169"/>
              <a:gd name="T76" fmla="*/ 256 w 452"/>
              <a:gd name="T77" fmla="*/ 158 h 169"/>
              <a:gd name="T78" fmla="*/ 223 w 452"/>
              <a:gd name="T79" fmla="*/ 153 h 169"/>
              <a:gd name="T80" fmla="*/ 185 w 452"/>
              <a:gd name="T81" fmla="*/ 153 h 169"/>
              <a:gd name="T82" fmla="*/ 169 w 452"/>
              <a:gd name="T83" fmla="*/ 147 h 169"/>
              <a:gd name="T84" fmla="*/ 147 w 452"/>
              <a:gd name="T85" fmla="*/ 131 h 169"/>
              <a:gd name="T86" fmla="*/ 131 w 452"/>
              <a:gd name="T87" fmla="*/ 125 h 169"/>
              <a:gd name="T88" fmla="*/ 109 w 452"/>
              <a:gd name="T89" fmla="*/ 114 h 169"/>
              <a:gd name="T90" fmla="*/ 82 w 452"/>
              <a:gd name="T91" fmla="*/ 114 h 169"/>
              <a:gd name="T92" fmla="*/ 71 w 452"/>
              <a:gd name="T93" fmla="*/ 98 h 169"/>
              <a:gd name="T94" fmla="*/ 54 w 452"/>
              <a:gd name="T95" fmla="*/ 82 h 169"/>
              <a:gd name="T96" fmla="*/ 33 w 452"/>
              <a:gd name="T97" fmla="*/ 65 h 169"/>
              <a:gd name="T98" fmla="*/ 22 w 452"/>
              <a:gd name="T99" fmla="*/ 65 h 169"/>
              <a:gd name="T100" fmla="*/ 0 w 452"/>
              <a:gd name="T101" fmla="*/ 4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2" h="169">
                <a:moveTo>
                  <a:pt x="0" y="49"/>
                </a:moveTo>
                <a:lnTo>
                  <a:pt x="5" y="49"/>
                </a:lnTo>
                <a:lnTo>
                  <a:pt x="5" y="44"/>
                </a:lnTo>
                <a:lnTo>
                  <a:pt x="11" y="44"/>
                </a:lnTo>
                <a:lnTo>
                  <a:pt x="16" y="44"/>
                </a:lnTo>
                <a:lnTo>
                  <a:pt x="22" y="44"/>
                </a:lnTo>
                <a:lnTo>
                  <a:pt x="16" y="38"/>
                </a:lnTo>
                <a:lnTo>
                  <a:pt x="22" y="38"/>
                </a:lnTo>
                <a:lnTo>
                  <a:pt x="27" y="38"/>
                </a:lnTo>
                <a:lnTo>
                  <a:pt x="27" y="33"/>
                </a:lnTo>
                <a:lnTo>
                  <a:pt x="27" y="27"/>
                </a:lnTo>
                <a:lnTo>
                  <a:pt x="33" y="27"/>
                </a:lnTo>
                <a:lnTo>
                  <a:pt x="38" y="27"/>
                </a:lnTo>
                <a:lnTo>
                  <a:pt x="44" y="27"/>
                </a:lnTo>
                <a:lnTo>
                  <a:pt x="44" y="22"/>
                </a:lnTo>
                <a:lnTo>
                  <a:pt x="49" y="27"/>
                </a:lnTo>
                <a:lnTo>
                  <a:pt x="54" y="27"/>
                </a:lnTo>
                <a:lnTo>
                  <a:pt x="60" y="27"/>
                </a:lnTo>
                <a:lnTo>
                  <a:pt x="71" y="27"/>
                </a:lnTo>
                <a:lnTo>
                  <a:pt x="76" y="33"/>
                </a:lnTo>
                <a:lnTo>
                  <a:pt x="82" y="38"/>
                </a:lnTo>
                <a:lnTo>
                  <a:pt x="87" y="38"/>
                </a:lnTo>
                <a:lnTo>
                  <a:pt x="93" y="38"/>
                </a:lnTo>
                <a:lnTo>
                  <a:pt x="98" y="38"/>
                </a:lnTo>
                <a:lnTo>
                  <a:pt x="104" y="38"/>
                </a:lnTo>
                <a:lnTo>
                  <a:pt x="109" y="38"/>
                </a:lnTo>
                <a:lnTo>
                  <a:pt x="114" y="38"/>
                </a:lnTo>
                <a:lnTo>
                  <a:pt x="120" y="38"/>
                </a:lnTo>
                <a:lnTo>
                  <a:pt x="125" y="38"/>
                </a:lnTo>
                <a:lnTo>
                  <a:pt x="125" y="33"/>
                </a:lnTo>
                <a:lnTo>
                  <a:pt x="125" y="27"/>
                </a:lnTo>
                <a:lnTo>
                  <a:pt x="120" y="27"/>
                </a:lnTo>
                <a:lnTo>
                  <a:pt x="114" y="22"/>
                </a:lnTo>
                <a:lnTo>
                  <a:pt x="114" y="16"/>
                </a:lnTo>
                <a:lnTo>
                  <a:pt x="114" y="11"/>
                </a:lnTo>
                <a:lnTo>
                  <a:pt x="114" y="5"/>
                </a:lnTo>
                <a:lnTo>
                  <a:pt x="114" y="0"/>
                </a:lnTo>
                <a:lnTo>
                  <a:pt x="120" y="5"/>
                </a:lnTo>
                <a:lnTo>
                  <a:pt x="125" y="5"/>
                </a:lnTo>
                <a:lnTo>
                  <a:pt x="131" y="11"/>
                </a:lnTo>
                <a:lnTo>
                  <a:pt x="142" y="11"/>
                </a:lnTo>
                <a:lnTo>
                  <a:pt x="153" y="11"/>
                </a:lnTo>
                <a:lnTo>
                  <a:pt x="153" y="16"/>
                </a:lnTo>
                <a:lnTo>
                  <a:pt x="158" y="11"/>
                </a:lnTo>
                <a:lnTo>
                  <a:pt x="163" y="16"/>
                </a:lnTo>
                <a:lnTo>
                  <a:pt x="169" y="16"/>
                </a:lnTo>
                <a:lnTo>
                  <a:pt x="169" y="22"/>
                </a:lnTo>
                <a:lnTo>
                  <a:pt x="174" y="22"/>
                </a:lnTo>
                <a:lnTo>
                  <a:pt x="174" y="27"/>
                </a:lnTo>
                <a:lnTo>
                  <a:pt x="180" y="27"/>
                </a:lnTo>
                <a:lnTo>
                  <a:pt x="185" y="33"/>
                </a:lnTo>
                <a:lnTo>
                  <a:pt x="191" y="33"/>
                </a:lnTo>
                <a:lnTo>
                  <a:pt x="202" y="33"/>
                </a:lnTo>
                <a:lnTo>
                  <a:pt x="207" y="33"/>
                </a:lnTo>
                <a:lnTo>
                  <a:pt x="213" y="33"/>
                </a:lnTo>
                <a:lnTo>
                  <a:pt x="218" y="27"/>
                </a:lnTo>
                <a:lnTo>
                  <a:pt x="229" y="33"/>
                </a:lnTo>
                <a:lnTo>
                  <a:pt x="234" y="33"/>
                </a:lnTo>
                <a:lnTo>
                  <a:pt x="240" y="33"/>
                </a:lnTo>
                <a:lnTo>
                  <a:pt x="245" y="38"/>
                </a:lnTo>
                <a:lnTo>
                  <a:pt x="251" y="38"/>
                </a:lnTo>
                <a:lnTo>
                  <a:pt x="256" y="38"/>
                </a:lnTo>
                <a:lnTo>
                  <a:pt x="262" y="44"/>
                </a:lnTo>
                <a:lnTo>
                  <a:pt x="267" y="44"/>
                </a:lnTo>
                <a:lnTo>
                  <a:pt x="273" y="49"/>
                </a:lnTo>
                <a:lnTo>
                  <a:pt x="278" y="49"/>
                </a:lnTo>
                <a:lnTo>
                  <a:pt x="283" y="49"/>
                </a:lnTo>
                <a:lnTo>
                  <a:pt x="289" y="49"/>
                </a:lnTo>
                <a:lnTo>
                  <a:pt x="294" y="49"/>
                </a:lnTo>
                <a:lnTo>
                  <a:pt x="305" y="49"/>
                </a:lnTo>
                <a:lnTo>
                  <a:pt x="316" y="49"/>
                </a:lnTo>
                <a:lnTo>
                  <a:pt x="322" y="44"/>
                </a:lnTo>
                <a:lnTo>
                  <a:pt x="327" y="44"/>
                </a:lnTo>
                <a:lnTo>
                  <a:pt x="327" y="38"/>
                </a:lnTo>
                <a:lnTo>
                  <a:pt x="333" y="38"/>
                </a:lnTo>
                <a:lnTo>
                  <a:pt x="333" y="33"/>
                </a:lnTo>
                <a:lnTo>
                  <a:pt x="338" y="33"/>
                </a:lnTo>
                <a:lnTo>
                  <a:pt x="343" y="33"/>
                </a:lnTo>
                <a:lnTo>
                  <a:pt x="349" y="38"/>
                </a:lnTo>
                <a:lnTo>
                  <a:pt x="354" y="38"/>
                </a:lnTo>
                <a:lnTo>
                  <a:pt x="360" y="38"/>
                </a:lnTo>
                <a:lnTo>
                  <a:pt x="365" y="38"/>
                </a:lnTo>
                <a:lnTo>
                  <a:pt x="371" y="38"/>
                </a:lnTo>
                <a:lnTo>
                  <a:pt x="376" y="54"/>
                </a:lnTo>
                <a:lnTo>
                  <a:pt x="376" y="60"/>
                </a:lnTo>
                <a:lnTo>
                  <a:pt x="382" y="65"/>
                </a:lnTo>
                <a:lnTo>
                  <a:pt x="376" y="65"/>
                </a:lnTo>
                <a:lnTo>
                  <a:pt x="376" y="71"/>
                </a:lnTo>
                <a:lnTo>
                  <a:pt x="382" y="71"/>
                </a:lnTo>
                <a:lnTo>
                  <a:pt x="387" y="76"/>
                </a:lnTo>
                <a:lnTo>
                  <a:pt x="392" y="71"/>
                </a:lnTo>
                <a:lnTo>
                  <a:pt x="398" y="71"/>
                </a:lnTo>
                <a:lnTo>
                  <a:pt x="403" y="71"/>
                </a:lnTo>
                <a:lnTo>
                  <a:pt x="409" y="76"/>
                </a:lnTo>
                <a:lnTo>
                  <a:pt x="409" y="71"/>
                </a:lnTo>
                <a:lnTo>
                  <a:pt x="414" y="65"/>
                </a:lnTo>
                <a:lnTo>
                  <a:pt x="420" y="71"/>
                </a:lnTo>
                <a:lnTo>
                  <a:pt x="425" y="71"/>
                </a:lnTo>
                <a:lnTo>
                  <a:pt x="431" y="71"/>
                </a:lnTo>
                <a:lnTo>
                  <a:pt x="436" y="76"/>
                </a:lnTo>
                <a:lnTo>
                  <a:pt x="442" y="76"/>
                </a:lnTo>
                <a:lnTo>
                  <a:pt x="447" y="82"/>
                </a:lnTo>
                <a:lnTo>
                  <a:pt x="442" y="82"/>
                </a:lnTo>
                <a:lnTo>
                  <a:pt x="447" y="82"/>
                </a:lnTo>
                <a:lnTo>
                  <a:pt x="452" y="87"/>
                </a:lnTo>
                <a:lnTo>
                  <a:pt x="452" y="93"/>
                </a:lnTo>
                <a:lnTo>
                  <a:pt x="447" y="93"/>
                </a:lnTo>
                <a:lnTo>
                  <a:pt x="442" y="87"/>
                </a:lnTo>
                <a:lnTo>
                  <a:pt x="436" y="87"/>
                </a:lnTo>
                <a:lnTo>
                  <a:pt x="431" y="87"/>
                </a:lnTo>
                <a:lnTo>
                  <a:pt x="425" y="93"/>
                </a:lnTo>
                <a:lnTo>
                  <a:pt x="420" y="93"/>
                </a:lnTo>
                <a:lnTo>
                  <a:pt x="425" y="93"/>
                </a:lnTo>
                <a:lnTo>
                  <a:pt x="414" y="93"/>
                </a:lnTo>
                <a:lnTo>
                  <a:pt x="414" y="98"/>
                </a:lnTo>
                <a:lnTo>
                  <a:pt x="414" y="104"/>
                </a:lnTo>
                <a:lnTo>
                  <a:pt x="409" y="109"/>
                </a:lnTo>
                <a:lnTo>
                  <a:pt x="403" y="109"/>
                </a:lnTo>
                <a:lnTo>
                  <a:pt x="398" y="109"/>
                </a:lnTo>
                <a:lnTo>
                  <a:pt x="398" y="114"/>
                </a:lnTo>
                <a:lnTo>
                  <a:pt x="392" y="114"/>
                </a:lnTo>
                <a:lnTo>
                  <a:pt x="392" y="120"/>
                </a:lnTo>
                <a:lnTo>
                  <a:pt x="387" y="120"/>
                </a:lnTo>
                <a:lnTo>
                  <a:pt x="382" y="120"/>
                </a:lnTo>
                <a:lnTo>
                  <a:pt x="376" y="120"/>
                </a:lnTo>
                <a:lnTo>
                  <a:pt x="371" y="114"/>
                </a:lnTo>
                <a:lnTo>
                  <a:pt x="365" y="114"/>
                </a:lnTo>
                <a:lnTo>
                  <a:pt x="365" y="120"/>
                </a:lnTo>
                <a:lnTo>
                  <a:pt x="365" y="125"/>
                </a:lnTo>
                <a:lnTo>
                  <a:pt x="371" y="131"/>
                </a:lnTo>
                <a:lnTo>
                  <a:pt x="382" y="136"/>
                </a:lnTo>
                <a:lnTo>
                  <a:pt x="376" y="136"/>
                </a:lnTo>
                <a:lnTo>
                  <a:pt x="376" y="142"/>
                </a:lnTo>
                <a:lnTo>
                  <a:pt x="371" y="142"/>
                </a:lnTo>
                <a:lnTo>
                  <a:pt x="371" y="147"/>
                </a:lnTo>
                <a:lnTo>
                  <a:pt x="365" y="153"/>
                </a:lnTo>
                <a:lnTo>
                  <a:pt x="371" y="153"/>
                </a:lnTo>
                <a:lnTo>
                  <a:pt x="365" y="153"/>
                </a:lnTo>
                <a:lnTo>
                  <a:pt x="360" y="153"/>
                </a:lnTo>
                <a:lnTo>
                  <a:pt x="360" y="158"/>
                </a:lnTo>
                <a:lnTo>
                  <a:pt x="354" y="158"/>
                </a:lnTo>
                <a:lnTo>
                  <a:pt x="349" y="158"/>
                </a:lnTo>
                <a:lnTo>
                  <a:pt x="343" y="158"/>
                </a:lnTo>
                <a:lnTo>
                  <a:pt x="338" y="158"/>
                </a:lnTo>
                <a:lnTo>
                  <a:pt x="333" y="158"/>
                </a:lnTo>
                <a:lnTo>
                  <a:pt x="327" y="158"/>
                </a:lnTo>
                <a:lnTo>
                  <a:pt x="322" y="158"/>
                </a:lnTo>
                <a:lnTo>
                  <a:pt x="311" y="164"/>
                </a:lnTo>
                <a:lnTo>
                  <a:pt x="305" y="169"/>
                </a:lnTo>
                <a:lnTo>
                  <a:pt x="300" y="169"/>
                </a:lnTo>
                <a:lnTo>
                  <a:pt x="294" y="164"/>
                </a:lnTo>
                <a:lnTo>
                  <a:pt x="289" y="169"/>
                </a:lnTo>
                <a:lnTo>
                  <a:pt x="278" y="164"/>
                </a:lnTo>
                <a:lnTo>
                  <a:pt x="267" y="164"/>
                </a:lnTo>
                <a:lnTo>
                  <a:pt x="262" y="164"/>
                </a:lnTo>
                <a:lnTo>
                  <a:pt x="256" y="158"/>
                </a:lnTo>
                <a:lnTo>
                  <a:pt x="251" y="158"/>
                </a:lnTo>
                <a:lnTo>
                  <a:pt x="234" y="153"/>
                </a:lnTo>
                <a:lnTo>
                  <a:pt x="229" y="153"/>
                </a:lnTo>
                <a:lnTo>
                  <a:pt x="223" y="153"/>
                </a:lnTo>
                <a:lnTo>
                  <a:pt x="218" y="153"/>
                </a:lnTo>
                <a:lnTo>
                  <a:pt x="202" y="153"/>
                </a:lnTo>
                <a:lnTo>
                  <a:pt x="196" y="153"/>
                </a:lnTo>
                <a:lnTo>
                  <a:pt x="185" y="153"/>
                </a:lnTo>
                <a:lnTo>
                  <a:pt x="180" y="153"/>
                </a:lnTo>
                <a:lnTo>
                  <a:pt x="174" y="153"/>
                </a:lnTo>
                <a:lnTo>
                  <a:pt x="174" y="147"/>
                </a:lnTo>
                <a:lnTo>
                  <a:pt x="169" y="147"/>
                </a:lnTo>
                <a:lnTo>
                  <a:pt x="163" y="142"/>
                </a:lnTo>
                <a:lnTo>
                  <a:pt x="158" y="136"/>
                </a:lnTo>
                <a:lnTo>
                  <a:pt x="153" y="131"/>
                </a:lnTo>
                <a:lnTo>
                  <a:pt x="147" y="131"/>
                </a:lnTo>
                <a:lnTo>
                  <a:pt x="147" y="125"/>
                </a:lnTo>
                <a:lnTo>
                  <a:pt x="142" y="125"/>
                </a:lnTo>
                <a:lnTo>
                  <a:pt x="136" y="125"/>
                </a:lnTo>
                <a:lnTo>
                  <a:pt x="131" y="125"/>
                </a:lnTo>
                <a:lnTo>
                  <a:pt x="125" y="120"/>
                </a:lnTo>
                <a:lnTo>
                  <a:pt x="120" y="120"/>
                </a:lnTo>
                <a:lnTo>
                  <a:pt x="114" y="114"/>
                </a:lnTo>
                <a:lnTo>
                  <a:pt x="109" y="114"/>
                </a:lnTo>
                <a:lnTo>
                  <a:pt x="104" y="114"/>
                </a:lnTo>
                <a:lnTo>
                  <a:pt x="93" y="114"/>
                </a:lnTo>
                <a:lnTo>
                  <a:pt x="87" y="114"/>
                </a:lnTo>
                <a:lnTo>
                  <a:pt x="82" y="114"/>
                </a:lnTo>
                <a:lnTo>
                  <a:pt x="76" y="114"/>
                </a:lnTo>
                <a:lnTo>
                  <a:pt x="71" y="109"/>
                </a:lnTo>
                <a:lnTo>
                  <a:pt x="71" y="104"/>
                </a:lnTo>
                <a:lnTo>
                  <a:pt x="71" y="98"/>
                </a:lnTo>
                <a:lnTo>
                  <a:pt x="71" y="93"/>
                </a:lnTo>
                <a:lnTo>
                  <a:pt x="65" y="87"/>
                </a:lnTo>
                <a:lnTo>
                  <a:pt x="60" y="82"/>
                </a:lnTo>
                <a:lnTo>
                  <a:pt x="54" y="82"/>
                </a:lnTo>
                <a:lnTo>
                  <a:pt x="49" y="76"/>
                </a:lnTo>
                <a:lnTo>
                  <a:pt x="44" y="71"/>
                </a:lnTo>
                <a:lnTo>
                  <a:pt x="38" y="71"/>
                </a:lnTo>
                <a:lnTo>
                  <a:pt x="33" y="65"/>
                </a:lnTo>
                <a:lnTo>
                  <a:pt x="33" y="71"/>
                </a:lnTo>
                <a:lnTo>
                  <a:pt x="27" y="71"/>
                </a:lnTo>
                <a:lnTo>
                  <a:pt x="27" y="65"/>
                </a:lnTo>
                <a:lnTo>
                  <a:pt x="22" y="65"/>
                </a:lnTo>
                <a:lnTo>
                  <a:pt x="16" y="60"/>
                </a:lnTo>
                <a:lnTo>
                  <a:pt x="11" y="60"/>
                </a:lnTo>
                <a:lnTo>
                  <a:pt x="5" y="54"/>
                </a:lnTo>
                <a:lnTo>
                  <a:pt x="0" y="49"/>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29" name="Freeform 327">
            <a:extLst>
              <a:ext uri="{FF2B5EF4-FFF2-40B4-BE49-F238E27FC236}">
                <a16:creationId xmlns:a16="http://schemas.microsoft.com/office/drawing/2014/main" id="{6D0DBA3B-E37C-1E97-CEED-4EE05383DC5D}"/>
              </a:ext>
            </a:extLst>
          </p:cNvPr>
          <p:cNvSpPr>
            <a:spLocks/>
          </p:cNvSpPr>
          <p:nvPr/>
        </p:nvSpPr>
        <p:spPr bwMode="auto">
          <a:xfrm>
            <a:off x="4591050" y="2244725"/>
            <a:ext cx="85725" cy="106363"/>
          </a:xfrm>
          <a:custGeom>
            <a:avLst/>
            <a:gdLst>
              <a:gd name="T0" fmla="*/ 0 w 76"/>
              <a:gd name="T1" fmla="*/ 49 h 87"/>
              <a:gd name="T2" fmla="*/ 5 w 76"/>
              <a:gd name="T3" fmla="*/ 38 h 87"/>
              <a:gd name="T4" fmla="*/ 11 w 76"/>
              <a:gd name="T5" fmla="*/ 33 h 87"/>
              <a:gd name="T6" fmla="*/ 16 w 76"/>
              <a:gd name="T7" fmla="*/ 27 h 87"/>
              <a:gd name="T8" fmla="*/ 22 w 76"/>
              <a:gd name="T9" fmla="*/ 22 h 87"/>
              <a:gd name="T10" fmla="*/ 32 w 76"/>
              <a:gd name="T11" fmla="*/ 27 h 87"/>
              <a:gd name="T12" fmla="*/ 38 w 76"/>
              <a:gd name="T13" fmla="*/ 22 h 87"/>
              <a:gd name="T14" fmla="*/ 32 w 76"/>
              <a:gd name="T15" fmla="*/ 17 h 87"/>
              <a:gd name="T16" fmla="*/ 43 w 76"/>
              <a:gd name="T17" fmla="*/ 17 h 87"/>
              <a:gd name="T18" fmla="*/ 49 w 76"/>
              <a:gd name="T19" fmla="*/ 11 h 87"/>
              <a:gd name="T20" fmla="*/ 43 w 76"/>
              <a:gd name="T21" fmla="*/ 0 h 87"/>
              <a:gd name="T22" fmla="*/ 54 w 76"/>
              <a:gd name="T23" fmla="*/ 6 h 87"/>
              <a:gd name="T24" fmla="*/ 60 w 76"/>
              <a:gd name="T25" fmla="*/ 11 h 87"/>
              <a:gd name="T26" fmla="*/ 60 w 76"/>
              <a:gd name="T27" fmla="*/ 11 h 87"/>
              <a:gd name="T28" fmla="*/ 60 w 76"/>
              <a:gd name="T29" fmla="*/ 22 h 87"/>
              <a:gd name="T30" fmla="*/ 65 w 76"/>
              <a:gd name="T31" fmla="*/ 33 h 87"/>
              <a:gd name="T32" fmla="*/ 65 w 76"/>
              <a:gd name="T33" fmla="*/ 38 h 87"/>
              <a:gd name="T34" fmla="*/ 60 w 76"/>
              <a:gd name="T35" fmla="*/ 49 h 87"/>
              <a:gd name="T36" fmla="*/ 49 w 76"/>
              <a:gd name="T37" fmla="*/ 55 h 87"/>
              <a:gd name="T38" fmla="*/ 54 w 76"/>
              <a:gd name="T39" fmla="*/ 60 h 87"/>
              <a:gd name="T40" fmla="*/ 65 w 76"/>
              <a:gd name="T41" fmla="*/ 66 h 87"/>
              <a:gd name="T42" fmla="*/ 76 w 76"/>
              <a:gd name="T43" fmla="*/ 71 h 87"/>
              <a:gd name="T44" fmla="*/ 71 w 76"/>
              <a:gd name="T45" fmla="*/ 77 h 87"/>
              <a:gd name="T46" fmla="*/ 60 w 76"/>
              <a:gd name="T47" fmla="*/ 77 h 87"/>
              <a:gd name="T48" fmla="*/ 54 w 76"/>
              <a:gd name="T49" fmla="*/ 82 h 87"/>
              <a:gd name="T50" fmla="*/ 43 w 76"/>
              <a:gd name="T51" fmla="*/ 82 h 87"/>
              <a:gd name="T52" fmla="*/ 43 w 76"/>
              <a:gd name="T53" fmla="*/ 82 h 87"/>
              <a:gd name="T54" fmla="*/ 32 w 76"/>
              <a:gd name="T55" fmla="*/ 82 h 87"/>
              <a:gd name="T56" fmla="*/ 32 w 76"/>
              <a:gd name="T57" fmla="*/ 77 h 87"/>
              <a:gd name="T58" fmla="*/ 27 w 76"/>
              <a:gd name="T59" fmla="*/ 71 h 87"/>
              <a:gd name="T60" fmla="*/ 27 w 76"/>
              <a:gd name="T61" fmla="*/ 66 h 87"/>
              <a:gd name="T62" fmla="*/ 22 w 76"/>
              <a:gd name="T63" fmla="*/ 55 h 87"/>
              <a:gd name="T64" fmla="*/ 11 w 76"/>
              <a:gd name="T65" fmla="*/ 5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87">
                <a:moveTo>
                  <a:pt x="5" y="49"/>
                </a:moveTo>
                <a:lnTo>
                  <a:pt x="0" y="49"/>
                </a:lnTo>
                <a:lnTo>
                  <a:pt x="5" y="44"/>
                </a:lnTo>
                <a:lnTo>
                  <a:pt x="5" y="38"/>
                </a:lnTo>
                <a:lnTo>
                  <a:pt x="11" y="38"/>
                </a:lnTo>
                <a:lnTo>
                  <a:pt x="11" y="33"/>
                </a:lnTo>
                <a:lnTo>
                  <a:pt x="16" y="33"/>
                </a:lnTo>
                <a:lnTo>
                  <a:pt x="16" y="27"/>
                </a:lnTo>
                <a:lnTo>
                  <a:pt x="16" y="22"/>
                </a:lnTo>
                <a:lnTo>
                  <a:pt x="22" y="22"/>
                </a:lnTo>
                <a:lnTo>
                  <a:pt x="27" y="27"/>
                </a:lnTo>
                <a:lnTo>
                  <a:pt x="32" y="27"/>
                </a:lnTo>
                <a:lnTo>
                  <a:pt x="38" y="27"/>
                </a:lnTo>
                <a:lnTo>
                  <a:pt x="38" y="22"/>
                </a:lnTo>
                <a:lnTo>
                  <a:pt x="32" y="22"/>
                </a:lnTo>
                <a:lnTo>
                  <a:pt x="32" y="17"/>
                </a:lnTo>
                <a:lnTo>
                  <a:pt x="38" y="17"/>
                </a:lnTo>
                <a:lnTo>
                  <a:pt x="43" y="17"/>
                </a:lnTo>
                <a:lnTo>
                  <a:pt x="43" y="11"/>
                </a:lnTo>
                <a:lnTo>
                  <a:pt x="49" y="11"/>
                </a:lnTo>
                <a:lnTo>
                  <a:pt x="49" y="6"/>
                </a:lnTo>
                <a:lnTo>
                  <a:pt x="43" y="0"/>
                </a:lnTo>
                <a:lnTo>
                  <a:pt x="49" y="0"/>
                </a:lnTo>
                <a:lnTo>
                  <a:pt x="54" y="6"/>
                </a:lnTo>
                <a:lnTo>
                  <a:pt x="60" y="6"/>
                </a:lnTo>
                <a:lnTo>
                  <a:pt x="60" y="11"/>
                </a:lnTo>
                <a:lnTo>
                  <a:pt x="65" y="11"/>
                </a:lnTo>
                <a:lnTo>
                  <a:pt x="60" y="11"/>
                </a:lnTo>
                <a:lnTo>
                  <a:pt x="60" y="17"/>
                </a:lnTo>
                <a:lnTo>
                  <a:pt x="60" y="22"/>
                </a:lnTo>
                <a:lnTo>
                  <a:pt x="65" y="27"/>
                </a:lnTo>
                <a:lnTo>
                  <a:pt x="65" y="33"/>
                </a:lnTo>
                <a:lnTo>
                  <a:pt x="71" y="33"/>
                </a:lnTo>
                <a:lnTo>
                  <a:pt x="65" y="38"/>
                </a:lnTo>
                <a:lnTo>
                  <a:pt x="60" y="44"/>
                </a:lnTo>
                <a:lnTo>
                  <a:pt x="60" y="49"/>
                </a:lnTo>
                <a:lnTo>
                  <a:pt x="54" y="49"/>
                </a:lnTo>
                <a:lnTo>
                  <a:pt x="49" y="55"/>
                </a:lnTo>
                <a:lnTo>
                  <a:pt x="54" y="55"/>
                </a:lnTo>
                <a:lnTo>
                  <a:pt x="54" y="60"/>
                </a:lnTo>
                <a:lnTo>
                  <a:pt x="60" y="60"/>
                </a:lnTo>
                <a:lnTo>
                  <a:pt x="65" y="66"/>
                </a:lnTo>
                <a:lnTo>
                  <a:pt x="71" y="71"/>
                </a:lnTo>
                <a:lnTo>
                  <a:pt x="76" y="71"/>
                </a:lnTo>
                <a:lnTo>
                  <a:pt x="76" y="77"/>
                </a:lnTo>
                <a:lnTo>
                  <a:pt x="71" y="77"/>
                </a:lnTo>
                <a:lnTo>
                  <a:pt x="65" y="77"/>
                </a:lnTo>
                <a:lnTo>
                  <a:pt x="60" y="77"/>
                </a:lnTo>
                <a:lnTo>
                  <a:pt x="60" y="82"/>
                </a:lnTo>
                <a:lnTo>
                  <a:pt x="54" y="82"/>
                </a:lnTo>
                <a:lnTo>
                  <a:pt x="49" y="82"/>
                </a:lnTo>
                <a:lnTo>
                  <a:pt x="43" y="82"/>
                </a:lnTo>
                <a:lnTo>
                  <a:pt x="43" y="87"/>
                </a:lnTo>
                <a:lnTo>
                  <a:pt x="43" y="82"/>
                </a:lnTo>
                <a:lnTo>
                  <a:pt x="38" y="82"/>
                </a:lnTo>
                <a:lnTo>
                  <a:pt x="32" y="82"/>
                </a:lnTo>
                <a:lnTo>
                  <a:pt x="38" y="77"/>
                </a:lnTo>
                <a:lnTo>
                  <a:pt x="32" y="77"/>
                </a:lnTo>
                <a:lnTo>
                  <a:pt x="27" y="77"/>
                </a:lnTo>
                <a:lnTo>
                  <a:pt x="27" y="71"/>
                </a:lnTo>
                <a:lnTo>
                  <a:pt x="32" y="71"/>
                </a:lnTo>
                <a:lnTo>
                  <a:pt x="27" y="66"/>
                </a:lnTo>
                <a:lnTo>
                  <a:pt x="27" y="60"/>
                </a:lnTo>
                <a:lnTo>
                  <a:pt x="22" y="55"/>
                </a:lnTo>
                <a:lnTo>
                  <a:pt x="16" y="55"/>
                </a:lnTo>
                <a:lnTo>
                  <a:pt x="11" y="55"/>
                </a:lnTo>
                <a:lnTo>
                  <a:pt x="5" y="49"/>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0" name="Freeform 329">
            <a:extLst>
              <a:ext uri="{FF2B5EF4-FFF2-40B4-BE49-F238E27FC236}">
                <a16:creationId xmlns:a16="http://schemas.microsoft.com/office/drawing/2014/main" id="{D48AE8BE-46B3-1688-7D8E-B364A825EE19}"/>
              </a:ext>
            </a:extLst>
          </p:cNvPr>
          <p:cNvSpPr>
            <a:spLocks/>
          </p:cNvSpPr>
          <p:nvPr/>
        </p:nvSpPr>
        <p:spPr bwMode="auto">
          <a:xfrm>
            <a:off x="3800475" y="2038350"/>
            <a:ext cx="876300" cy="646113"/>
          </a:xfrm>
          <a:custGeom>
            <a:avLst/>
            <a:gdLst>
              <a:gd name="T0" fmla="*/ 0 w 780"/>
              <a:gd name="T1" fmla="*/ 224 h 529"/>
              <a:gd name="T2" fmla="*/ 33 w 780"/>
              <a:gd name="T3" fmla="*/ 213 h 529"/>
              <a:gd name="T4" fmla="*/ 71 w 780"/>
              <a:gd name="T5" fmla="*/ 180 h 529"/>
              <a:gd name="T6" fmla="*/ 55 w 780"/>
              <a:gd name="T7" fmla="*/ 136 h 529"/>
              <a:gd name="T8" fmla="*/ 71 w 780"/>
              <a:gd name="T9" fmla="*/ 109 h 529"/>
              <a:gd name="T10" fmla="*/ 99 w 780"/>
              <a:gd name="T11" fmla="*/ 93 h 529"/>
              <a:gd name="T12" fmla="*/ 142 w 780"/>
              <a:gd name="T13" fmla="*/ 87 h 529"/>
              <a:gd name="T14" fmla="*/ 186 w 780"/>
              <a:gd name="T15" fmla="*/ 126 h 529"/>
              <a:gd name="T16" fmla="*/ 251 w 780"/>
              <a:gd name="T17" fmla="*/ 147 h 529"/>
              <a:gd name="T18" fmla="*/ 311 w 780"/>
              <a:gd name="T19" fmla="*/ 175 h 529"/>
              <a:gd name="T20" fmla="*/ 409 w 780"/>
              <a:gd name="T21" fmla="*/ 186 h 529"/>
              <a:gd name="T22" fmla="*/ 475 w 780"/>
              <a:gd name="T23" fmla="*/ 175 h 529"/>
              <a:gd name="T24" fmla="*/ 480 w 780"/>
              <a:gd name="T25" fmla="*/ 136 h 529"/>
              <a:gd name="T26" fmla="*/ 529 w 780"/>
              <a:gd name="T27" fmla="*/ 120 h 529"/>
              <a:gd name="T28" fmla="*/ 557 w 780"/>
              <a:gd name="T29" fmla="*/ 104 h 529"/>
              <a:gd name="T30" fmla="*/ 507 w 780"/>
              <a:gd name="T31" fmla="*/ 93 h 529"/>
              <a:gd name="T32" fmla="*/ 507 w 780"/>
              <a:gd name="T33" fmla="*/ 60 h 529"/>
              <a:gd name="T34" fmla="*/ 507 w 780"/>
              <a:gd name="T35" fmla="*/ 22 h 529"/>
              <a:gd name="T36" fmla="*/ 529 w 780"/>
              <a:gd name="T37" fmla="*/ 6 h 529"/>
              <a:gd name="T38" fmla="*/ 595 w 780"/>
              <a:gd name="T39" fmla="*/ 38 h 529"/>
              <a:gd name="T40" fmla="*/ 660 w 780"/>
              <a:gd name="T41" fmla="*/ 71 h 529"/>
              <a:gd name="T42" fmla="*/ 715 w 780"/>
              <a:gd name="T43" fmla="*/ 93 h 529"/>
              <a:gd name="T44" fmla="*/ 753 w 780"/>
              <a:gd name="T45" fmla="*/ 98 h 529"/>
              <a:gd name="T46" fmla="*/ 747 w 780"/>
              <a:gd name="T47" fmla="*/ 131 h 529"/>
              <a:gd name="T48" fmla="*/ 764 w 780"/>
              <a:gd name="T49" fmla="*/ 175 h 529"/>
              <a:gd name="T50" fmla="*/ 736 w 780"/>
              <a:gd name="T51" fmla="*/ 191 h 529"/>
              <a:gd name="T52" fmla="*/ 709 w 780"/>
              <a:gd name="T53" fmla="*/ 213 h 529"/>
              <a:gd name="T54" fmla="*/ 671 w 780"/>
              <a:gd name="T55" fmla="*/ 235 h 529"/>
              <a:gd name="T56" fmla="*/ 655 w 780"/>
              <a:gd name="T57" fmla="*/ 202 h 529"/>
              <a:gd name="T58" fmla="*/ 622 w 780"/>
              <a:gd name="T59" fmla="*/ 229 h 529"/>
              <a:gd name="T60" fmla="*/ 671 w 780"/>
              <a:gd name="T61" fmla="*/ 262 h 529"/>
              <a:gd name="T62" fmla="*/ 709 w 780"/>
              <a:gd name="T63" fmla="*/ 267 h 529"/>
              <a:gd name="T64" fmla="*/ 698 w 780"/>
              <a:gd name="T65" fmla="*/ 306 h 529"/>
              <a:gd name="T66" fmla="*/ 747 w 780"/>
              <a:gd name="T67" fmla="*/ 349 h 529"/>
              <a:gd name="T68" fmla="*/ 747 w 780"/>
              <a:gd name="T69" fmla="*/ 371 h 529"/>
              <a:gd name="T70" fmla="*/ 769 w 780"/>
              <a:gd name="T71" fmla="*/ 382 h 529"/>
              <a:gd name="T72" fmla="*/ 769 w 780"/>
              <a:gd name="T73" fmla="*/ 409 h 529"/>
              <a:gd name="T74" fmla="*/ 769 w 780"/>
              <a:gd name="T75" fmla="*/ 436 h 529"/>
              <a:gd name="T76" fmla="*/ 758 w 780"/>
              <a:gd name="T77" fmla="*/ 458 h 529"/>
              <a:gd name="T78" fmla="*/ 753 w 780"/>
              <a:gd name="T79" fmla="*/ 475 h 529"/>
              <a:gd name="T80" fmla="*/ 731 w 780"/>
              <a:gd name="T81" fmla="*/ 491 h 529"/>
              <a:gd name="T82" fmla="*/ 698 w 780"/>
              <a:gd name="T83" fmla="*/ 496 h 529"/>
              <a:gd name="T84" fmla="*/ 666 w 780"/>
              <a:gd name="T85" fmla="*/ 513 h 529"/>
              <a:gd name="T86" fmla="*/ 644 w 780"/>
              <a:gd name="T87" fmla="*/ 513 h 529"/>
              <a:gd name="T88" fmla="*/ 606 w 780"/>
              <a:gd name="T89" fmla="*/ 507 h 529"/>
              <a:gd name="T90" fmla="*/ 573 w 780"/>
              <a:gd name="T91" fmla="*/ 486 h 529"/>
              <a:gd name="T92" fmla="*/ 535 w 780"/>
              <a:gd name="T93" fmla="*/ 496 h 529"/>
              <a:gd name="T94" fmla="*/ 518 w 780"/>
              <a:gd name="T95" fmla="*/ 518 h 529"/>
              <a:gd name="T96" fmla="*/ 480 w 780"/>
              <a:gd name="T97" fmla="*/ 486 h 529"/>
              <a:gd name="T98" fmla="*/ 442 w 780"/>
              <a:gd name="T99" fmla="*/ 458 h 529"/>
              <a:gd name="T100" fmla="*/ 437 w 780"/>
              <a:gd name="T101" fmla="*/ 415 h 529"/>
              <a:gd name="T102" fmla="*/ 398 w 780"/>
              <a:gd name="T103" fmla="*/ 393 h 529"/>
              <a:gd name="T104" fmla="*/ 355 w 780"/>
              <a:gd name="T105" fmla="*/ 398 h 529"/>
              <a:gd name="T106" fmla="*/ 306 w 780"/>
              <a:gd name="T107" fmla="*/ 404 h 529"/>
              <a:gd name="T108" fmla="*/ 284 w 780"/>
              <a:gd name="T109" fmla="*/ 409 h 529"/>
              <a:gd name="T110" fmla="*/ 224 w 780"/>
              <a:gd name="T111" fmla="*/ 398 h 529"/>
              <a:gd name="T112" fmla="*/ 164 w 780"/>
              <a:gd name="T113" fmla="*/ 376 h 529"/>
              <a:gd name="T114" fmla="*/ 115 w 780"/>
              <a:gd name="T115" fmla="*/ 344 h 529"/>
              <a:gd name="T116" fmla="*/ 115 w 780"/>
              <a:gd name="T117" fmla="*/ 311 h 529"/>
              <a:gd name="T118" fmla="*/ 82 w 780"/>
              <a:gd name="T119" fmla="*/ 289 h 529"/>
              <a:gd name="T120" fmla="*/ 28 w 780"/>
              <a:gd name="T121" fmla="*/ 262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0" h="529">
                <a:moveTo>
                  <a:pt x="33" y="262"/>
                </a:moveTo>
                <a:lnTo>
                  <a:pt x="33" y="256"/>
                </a:lnTo>
                <a:lnTo>
                  <a:pt x="28" y="256"/>
                </a:lnTo>
                <a:lnTo>
                  <a:pt x="28" y="251"/>
                </a:lnTo>
                <a:lnTo>
                  <a:pt x="22" y="246"/>
                </a:lnTo>
                <a:lnTo>
                  <a:pt x="22" y="240"/>
                </a:lnTo>
                <a:lnTo>
                  <a:pt x="17" y="240"/>
                </a:lnTo>
                <a:lnTo>
                  <a:pt x="11" y="240"/>
                </a:lnTo>
                <a:lnTo>
                  <a:pt x="6" y="240"/>
                </a:lnTo>
                <a:lnTo>
                  <a:pt x="6" y="235"/>
                </a:lnTo>
                <a:lnTo>
                  <a:pt x="0" y="229"/>
                </a:lnTo>
                <a:lnTo>
                  <a:pt x="0" y="224"/>
                </a:lnTo>
                <a:lnTo>
                  <a:pt x="0" y="218"/>
                </a:lnTo>
                <a:lnTo>
                  <a:pt x="6" y="218"/>
                </a:lnTo>
                <a:lnTo>
                  <a:pt x="11" y="213"/>
                </a:lnTo>
                <a:lnTo>
                  <a:pt x="6" y="213"/>
                </a:lnTo>
                <a:lnTo>
                  <a:pt x="11" y="213"/>
                </a:lnTo>
                <a:lnTo>
                  <a:pt x="11" y="207"/>
                </a:lnTo>
                <a:lnTo>
                  <a:pt x="17" y="213"/>
                </a:lnTo>
                <a:lnTo>
                  <a:pt x="17" y="207"/>
                </a:lnTo>
                <a:lnTo>
                  <a:pt x="22" y="207"/>
                </a:lnTo>
                <a:lnTo>
                  <a:pt x="22" y="213"/>
                </a:lnTo>
                <a:lnTo>
                  <a:pt x="28" y="213"/>
                </a:lnTo>
                <a:lnTo>
                  <a:pt x="33" y="213"/>
                </a:lnTo>
                <a:lnTo>
                  <a:pt x="33" y="207"/>
                </a:lnTo>
                <a:lnTo>
                  <a:pt x="33" y="202"/>
                </a:lnTo>
                <a:lnTo>
                  <a:pt x="39" y="202"/>
                </a:lnTo>
                <a:lnTo>
                  <a:pt x="44" y="202"/>
                </a:lnTo>
                <a:lnTo>
                  <a:pt x="50" y="202"/>
                </a:lnTo>
                <a:lnTo>
                  <a:pt x="55" y="196"/>
                </a:lnTo>
                <a:lnTo>
                  <a:pt x="55" y="191"/>
                </a:lnTo>
                <a:lnTo>
                  <a:pt x="60" y="191"/>
                </a:lnTo>
                <a:lnTo>
                  <a:pt x="66" y="191"/>
                </a:lnTo>
                <a:lnTo>
                  <a:pt x="66" y="186"/>
                </a:lnTo>
                <a:lnTo>
                  <a:pt x="71" y="186"/>
                </a:lnTo>
                <a:lnTo>
                  <a:pt x="71" y="180"/>
                </a:lnTo>
                <a:lnTo>
                  <a:pt x="66" y="175"/>
                </a:lnTo>
                <a:lnTo>
                  <a:pt x="71" y="169"/>
                </a:lnTo>
                <a:lnTo>
                  <a:pt x="66" y="169"/>
                </a:lnTo>
                <a:lnTo>
                  <a:pt x="71" y="169"/>
                </a:lnTo>
                <a:lnTo>
                  <a:pt x="71" y="164"/>
                </a:lnTo>
                <a:lnTo>
                  <a:pt x="60" y="158"/>
                </a:lnTo>
                <a:lnTo>
                  <a:pt x="60" y="153"/>
                </a:lnTo>
                <a:lnTo>
                  <a:pt x="55" y="147"/>
                </a:lnTo>
                <a:lnTo>
                  <a:pt x="55" y="142"/>
                </a:lnTo>
                <a:lnTo>
                  <a:pt x="44" y="142"/>
                </a:lnTo>
                <a:lnTo>
                  <a:pt x="50" y="136"/>
                </a:lnTo>
                <a:lnTo>
                  <a:pt x="55" y="136"/>
                </a:lnTo>
                <a:lnTo>
                  <a:pt x="60" y="136"/>
                </a:lnTo>
                <a:lnTo>
                  <a:pt x="66" y="136"/>
                </a:lnTo>
                <a:lnTo>
                  <a:pt x="66" y="131"/>
                </a:lnTo>
                <a:lnTo>
                  <a:pt x="71" y="136"/>
                </a:lnTo>
                <a:lnTo>
                  <a:pt x="77" y="136"/>
                </a:lnTo>
                <a:lnTo>
                  <a:pt x="82" y="136"/>
                </a:lnTo>
                <a:lnTo>
                  <a:pt x="82" y="131"/>
                </a:lnTo>
                <a:lnTo>
                  <a:pt x="71" y="131"/>
                </a:lnTo>
                <a:lnTo>
                  <a:pt x="71" y="126"/>
                </a:lnTo>
                <a:lnTo>
                  <a:pt x="71" y="120"/>
                </a:lnTo>
                <a:lnTo>
                  <a:pt x="71" y="115"/>
                </a:lnTo>
                <a:lnTo>
                  <a:pt x="71" y="109"/>
                </a:lnTo>
                <a:lnTo>
                  <a:pt x="71" y="104"/>
                </a:lnTo>
                <a:lnTo>
                  <a:pt x="77" y="104"/>
                </a:lnTo>
                <a:lnTo>
                  <a:pt x="88" y="109"/>
                </a:lnTo>
                <a:lnTo>
                  <a:pt x="88" y="104"/>
                </a:lnTo>
                <a:lnTo>
                  <a:pt x="93" y="104"/>
                </a:lnTo>
                <a:lnTo>
                  <a:pt x="93" y="109"/>
                </a:lnTo>
                <a:lnTo>
                  <a:pt x="99" y="109"/>
                </a:lnTo>
                <a:lnTo>
                  <a:pt x="99" y="104"/>
                </a:lnTo>
                <a:lnTo>
                  <a:pt x="104" y="104"/>
                </a:lnTo>
                <a:lnTo>
                  <a:pt x="104" y="98"/>
                </a:lnTo>
                <a:lnTo>
                  <a:pt x="99" y="98"/>
                </a:lnTo>
                <a:lnTo>
                  <a:pt x="99" y="93"/>
                </a:lnTo>
                <a:lnTo>
                  <a:pt x="99" y="87"/>
                </a:lnTo>
                <a:lnTo>
                  <a:pt x="99" y="82"/>
                </a:lnTo>
                <a:lnTo>
                  <a:pt x="104" y="82"/>
                </a:lnTo>
                <a:lnTo>
                  <a:pt x="104" y="76"/>
                </a:lnTo>
                <a:lnTo>
                  <a:pt x="104" y="71"/>
                </a:lnTo>
                <a:lnTo>
                  <a:pt x="109" y="71"/>
                </a:lnTo>
                <a:lnTo>
                  <a:pt x="115" y="71"/>
                </a:lnTo>
                <a:lnTo>
                  <a:pt x="120" y="76"/>
                </a:lnTo>
                <a:lnTo>
                  <a:pt x="126" y="82"/>
                </a:lnTo>
                <a:lnTo>
                  <a:pt x="131" y="82"/>
                </a:lnTo>
                <a:lnTo>
                  <a:pt x="137" y="87"/>
                </a:lnTo>
                <a:lnTo>
                  <a:pt x="142" y="87"/>
                </a:lnTo>
                <a:lnTo>
                  <a:pt x="142" y="93"/>
                </a:lnTo>
                <a:lnTo>
                  <a:pt x="148" y="93"/>
                </a:lnTo>
                <a:lnTo>
                  <a:pt x="148" y="87"/>
                </a:lnTo>
                <a:lnTo>
                  <a:pt x="153" y="93"/>
                </a:lnTo>
                <a:lnTo>
                  <a:pt x="159" y="93"/>
                </a:lnTo>
                <a:lnTo>
                  <a:pt x="164" y="98"/>
                </a:lnTo>
                <a:lnTo>
                  <a:pt x="169" y="104"/>
                </a:lnTo>
                <a:lnTo>
                  <a:pt x="175" y="104"/>
                </a:lnTo>
                <a:lnTo>
                  <a:pt x="180" y="109"/>
                </a:lnTo>
                <a:lnTo>
                  <a:pt x="186" y="115"/>
                </a:lnTo>
                <a:lnTo>
                  <a:pt x="186" y="120"/>
                </a:lnTo>
                <a:lnTo>
                  <a:pt x="186" y="126"/>
                </a:lnTo>
                <a:lnTo>
                  <a:pt x="186" y="131"/>
                </a:lnTo>
                <a:lnTo>
                  <a:pt x="191" y="136"/>
                </a:lnTo>
                <a:lnTo>
                  <a:pt x="197" y="136"/>
                </a:lnTo>
                <a:lnTo>
                  <a:pt x="202" y="136"/>
                </a:lnTo>
                <a:lnTo>
                  <a:pt x="208" y="136"/>
                </a:lnTo>
                <a:lnTo>
                  <a:pt x="219" y="136"/>
                </a:lnTo>
                <a:lnTo>
                  <a:pt x="224" y="136"/>
                </a:lnTo>
                <a:lnTo>
                  <a:pt x="229" y="136"/>
                </a:lnTo>
                <a:lnTo>
                  <a:pt x="235" y="142"/>
                </a:lnTo>
                <a:lnTo>
                  <a:pt x="240" y="142"/>
                </a:lnTo>
                <a:lnTo>
                  <a:pt x="246" y="147"/>
                </a:lnTo>
                <a:lnTo>
                  <a:pt x="251" y="147"/>
                </a:lnTo>
                <a:lnTo>
                  <a:pt x="257" y="147"/>
                </a:lnTo>
                <a:lnTo>
                  <a:pt x="262" y="147"/>
                </a:lnTo>
                <a:lnTo>
                  <a:pt x="262" y="153"/>
                </a:lnTo>
                <a:lnTo>
                  <a:pt x="268" y="153"/>
                </a:lnTo>
                <a:lnTo>
                  <a:pt x="273" y="158"/>
                </a:lnTo>
                <a:lnTo>
                  <a:pt x="278" y="164"/>
                </a:lnTo>
                <a:lnTo>
                  <a:pt x="284" y="169"/>
                </a:lnTo>
                <a:lnTo>
                  <a:pt x="289" y="169"/>
                </a:lnTo>
                <a:lnTo>
                  <a:pt x="289" y="175"/>
                </a:lnTo>
                <a:lnTo>
                  <a:pt x="295" y="175"/>
                </a:lnTo>
                <a:lnTo>
                  <a:pt x="300" y="175"/>
                </a:lnTo>
                <a:lnTo>
                  <a:pt x="311" y="175"/>
                </a:lnTo>
                <a:lnTo>
                  <a:pt x="317" y="175"/>
                </a:lnTo>
                <a:lnTo>
                  <a:pt x="333" y="175"/>
                </a:lnTo>
                <a:lnTo>
                  <a:pt x="338" y="175"/>
                </a:lnTo>
                <a:lnTo>
                  <a:pt x="344" y="175"/>
                </a:lnTo>
                <a:lnTo>
                  <a:pt x="349" y="175"/>
                </a:lnTo>
                <a:lnTo>
                  <a:pt x="366" y="180"/>
                </a:lnTo>
                <a:lnTo>
                  <a:pt x="371" y="180"/>
                </a:lnTo>
                <a:lnTo>
                  <a:pt x="377" y="186"/>
                </a:lnTo>
                <a:lnTo>
                  <a:pt x="382" y="186"/>
                </a:lnTo>
                <a:lnTo>
                  <a:pt x="393" y="186"/>
                </a:lnTo>
                <a:lnTo>
                  <a:pt x="404" y="191"/>
                </a:lnTo>
                <a:lnTo>
                  <a:pt x="409" y="186"/>
                </a:lnTo>
                <a:lnTo>
                  <a:pt x="415" y="191"/>
                </a:lnTo>
                <a:lnTo>
                  <a:pt x="420" y="191"/>
                </a:lnTo>
                <a:lnTo>
                  <a:pt x="426" y="186"/>
                </a:lnTo>
                <a:lnTo>
                  <a:pt x="437" y="180"/>
                </a:lnTo>
                <a:lnTo>
                  <a:pt x="442" y="180"/>
                </a:lnTo>
                <a:lnTo>
                  <a:pt x="448" y="180"/>
                </a:lnTo>
                <a:lnTo>
                  <a:pt x="453" y="180"/>
                </a:lnTo>
                <a:lnTo>
                  <a:pt x="458" y="180"/>
                </a:lnTo>
                <a:lnTo>
                  <a:pt x="464" y="180"/>
                </a:lnTo>
                <a:lnTo>
                  <a:pt x="469" y="180"/>
                </a:lnTo>
                <a:lnTo>
                  <a:pt x="475" y="180"/>
                </a:lnTo>
                <a:lnTo>
                  <a:pt x="475" y="175"/>
                </a:lnTo>
                <a:lnTo>
                  <a:pt x="480" y="175"/>
                </a:lnTo>
                <a:lnTo>
                  <a:pt x="486" y="175"/>
                </a:lnTo>
                <a:lnTo>
                  <a:pt x="480" y="175"/>
                </a:lnTo>
                <a:lnTo>
                  <a:pt x="486" y="169"/>
                </a:lnTo>
                <a:lnTo>
                  <a:pt x="486" y="164"/>
                </a:lnTo>
                <a:lnTo>
                  <a:pt x="491" y="164"/>
                </a:lnTo>
                <a:lnTo>
                  <a:pt x="491" y="158"/>
                </a:lnTo>
                <a:lnTo>
                  <a:pt x="497" y="158"/>
                </a:lnTo>
                <a:lnTo>
                  <a:pt x="486" y="153"/>
                </a:lnTo>
                <a:lnTo>
                  <a:pt x="480" y="147"/>
                </a:lnTo>
                <a:lnTo>
                  <a:pt x="480" y="142"/>
                </a:lnTo>
                <a:lnTo>
                  <a:pt x="480" y="136"/>
                </a:lnTo>
                <a:lnTo>
                  <a:pt x="486" y="136"/>
                </a:lnTo>
                <a:lnTo>
                  <a:pt x="491" y="142"/>
                </a:lnTo>
                <a:lnTo>
                  <a:pt x="497" y="142"/>
                </a:lnTo>
                <a:lnTo>
                  <a:pt x="502" y="142"/>
                </a:lnTo>
                <a:lnTo>
                  <a:pt x="507" y="142"/>
                </a:lnTo>
                <a:lnTo>
                  <a:pt x="507" y="136"/>
                </a:lnTo>
                <a:lnTo>
                  <a:pt x="513" y="136"/>
                </a:lnTo>
                <a:lnTo>
                  <a:pt x="513" y="131"/>
                </a:lnTo>
                <a:lnTo>
                  <a:pt x="518" y="131"/>
                </a:lnTo>
                <a:lnTo>
                  <a:pt x="524" y="131"/>
                </a:lnTo>
                <a:lnTo>
                  <a:pt x="529" y="126"/>
                </a:lnTo>
                <a:lnTo>
                  <a:pt x="529" y="120"/>
                </a:lnTo>
                <a:lnTo>
                  <a:pt x="529" y="115"/>
                </a:lnTo>
                <a:lnTo>
                  <a:pt x="540" y="115"/>
                </a:lnTo>
                <a:lnTo>
                  <a:pt x="535" y="115"/>
                </a:lnTo>
                <a:lnTo>
                  <a:pt x="540" y="115"/>
                </a:lnTo>
                <a:lnTo>
                  <a:pt x="546" y="109"/>
                </a:lnTo>
                <a:lnTo>
                  <a:pt x="551" y="109"/>
                </a:lnTo>
                <a:lnTo>
                  <a:pt x="557" y="109"/>
                </a:lnTo>
                <a:lnTo>
                  <a:pt x="562" y="115"/>
                </a:lnTo>
                <a:lnTo>
                  <a:pt x="567" y="115"/>
                </a:lnTo>
                <a:lnTo>
                  <a:pt x="567" y="109"/>
                </a:lnTo>
                <a:lnTo>
                  <a:pt x="562" y="104"/>
                </a:lnTo>
                <a:lnTo>
                  <a:pt x="557" y="104"/>
                </a:lnTo>
                <a:lnTo>
                  <a:pt x="562" y="104"/>
                </a:lnTo>
                <a:lnTo>
                  <a:pt x="557" y="98"/>
                </a:lnTo>
                <a:lnTo>
                  <a:pt x="551" y="98"/>
                </a:lnTo>
                <a:lnTo>
                  <a:pt x="546" y="93"/>
                </a:lnTo>
                <a:lnTo>
                  <a:pt x="540" y="93"/>
                </a:lnTo>
                <a:lnTo>
                  <a:pt x="535" y="93"/>
                </a:lnTo>
                <a:lnTo>
                  <a:pt x="529" y="87"/>
                </a:lnTo>
                <a:lnTo>
                  <a:pt x="524" y="93"/>
                </a:lnTo>
                <a:lnTo>
                  <a:pt x="524" y="98"/>
                </a:lnTo>
                <a:lnTo>
                  <a:pt x="518" y="93"/>
                </a:lnTo>
                <a:lnTo>
                  <a:pt x="513" y="93"/>
                </a:lnTo>
                <a:lnTo>
                  <a:pt x="507" y="93"/>
                </a:lnTo>
                <a:lnTo>
                  <a:pt x="502" y="98"/>
                </a:lnTo>
                <a:lnTo>
                  <a:pt x="497" y="93"/>
                </a:lnTo>
                <a:lnTo>
                  <a:pt x="491" y="93"/>
                </a:lnTo>
                <a:lnTo>
                  <a:pt x="491" y="87"/>
                </a:lnTo>
                <a:lnTo>
                  <a:pt x="497" y="87"/>
                </a:lnTo>
                <a:lnTo>
                  <a:pt x="491" y="82"/>
                </a:lnTo>
                <a:lnTo>
                  <a:pt x="491" y="76"/>
                </a:lnTo>
                <a:lnTo>
                  <a:pt x="486" y="60"/>
                </a:lnTo>
                <a:lnTo>
                  <a:pt x="491" y="60"/>
                </a:lnTo>
                <a:lnTo>
                  <a:pt x="497" y="66"/>
                </a:lnTo>
                <a:lnTo>
                  <a:pt x="507" y="66"/>
                </a:lnTo>
                <a:lnTo>
                  <a:pt x="507" y="60"/>
                </a:lnTo>
                <a:lnTo>
                  <a:pt x="513" y="60"/>
                </a:lnTo>
                <a:lnTo>
                  <a:pt x="518" y="60"/>
                </a:lnTo>
                <a:lnTo>
                  <a:pt x="518" y="55"/>
                </a:lnTo>
                <a:lnTo>
                  <a:pt x="513" y="55"/>
                </a:lnTo>
                <a:lnTo>
                  <a:pt x="513" y="49"/>
                </a:lnTo>
                <a:lnTo>
                  <a:pt x="513" y="44"/>
                </a:lnTo>
                <a:lnTo>
                  <a:pt x="507" y="38"/>
                </a:lnTo>
                <a:lnTo>
                  <a:pt x="507" y="33"/>
                </a:lnTo>
                <a:lnTo>
                  <a:pt x="507" y="27"/>
                </a:lnTo>
                <a:lnTo>
                  <a:pt x="513" y="27"/>
                </a:lnTo>
                <a:lnTo>
                  <a:pt x="513" y="22"/>
                </a:lnTo>
                <a:lnTo>
                  <a:pt x="507" y="22"/>
                </a:lnTo>
                <a:lnTo>
                  <a:pt x="502" y="16"/>
                </a:lnTo>
                <a:lnTo>
                  <a:pt x="497" y="16"/>
                </a:lnTo>
                <a:lnTo>
                  <a:pt x="491" y="16"/>
                </a:lnTo>
                <a:lnTo>
                  <a:pt x="497" y="11"/>
                </a:lnTo>
                <a:lnTo>
                  <a:pt x="497" y="6"/>
                </a:lnTo>
                <a:lnTo>
                  <a:pt x="502" y="6"/>
                </a:lnTo>
                <a:lnTo>
                  <a:pt x="507" y="6"/>
                </a:lnTo>
                <a:lnTo>
                  <a:pt x="513" y="6"/>
                </a:lnTo>
                <a:lnTo>
                  <a:pt x="518" y="6"/>
                </a:lnTo>
                <a:lnTo>
                  <a:pt x="524" y="0"/>
                </a:lnTo>
                <a:lnTo>
                  <a:pt x="529" y="0"/>
                </a:lnTo>
                <a:lnTo>
                  <a:pt x="529" y="6"/>
                </a:lnTo>
                <a:lnTo>
                  <a:pt x="535" y="6"/>
                </a:lnTo>
                <a:lnTo>
                  <a:pt x="540" y="6"/>
                </a:lnTo>
                <a:lnTo>
                  <a:pt x="551" y="11"/>
                </a:lnTo>
                <a:lnTo>
                  <a:pt x="551" y="6"/>
                </a:lnTo>
                <a:lnTo>
                  <a:pt x="557" y="11"/>
                </a:lnTo>
                <a:lnTo>
                  <a:pt x="562" y="11"/>
                </a:lnTo>
                <a:lnTo>
                  <a:pt x="567" y="16"/>
                </a:lnTo>
                <a:lnTo>
                  <a:pt x="573" y="16"/>
                </a:lnTo>
                <a:lnTo>
                  <a:pt x="578" y="22"/>
                </a:lnTo>
                <a:lnTo>
                  <a:pt x="584" y="27"/>
                </a:lnTo>
                <a:lnTo>
                  <a:pt x="595" y="33"/>
                </a:lnTo>
                <a:lnTo>
                  <a:pt x="595" y="38"/>
                </a:lnTo>
                <a:lnTo>
                  <a:pt x="600" y="38"/>
                </a:lnTo>
                <a:lnTo>
                  <a:pt x="606" y="44"/>
                </a:lnTo>
                <a:lnTo>
                  <a:pt x="611" y="49"/>
                </a:lnTo>
                <a:lnTo>
                  <a:pt x="617" y="49"/>
                </a:lnTo>
                <a:lnTo>
                  <a:pt x="622" y="55"/>
                </a:lnTo>
                <a:lnTo>
                  <a:pt x="627" y="60"/>
                </a:lnTo>
                <a:lnTo>
                  <a:pt x="633" y="66"/>
                </a:lnTo>
                <a:lnTo>
                  <a:pt x="644" y="66"/>
                </a:lnTo>
                <a:lnTo>
                  <a:pt x="649" y="66"/>
                </a:lnTo>
                <a:lnTo>
                  <a:pt x="655" y="71"/>
                </a:lnTo>
                <a:lnTo>
                  <a:pt x="660" y="66"/>
                </a:lnTo>
                <a:lnTo>
                  <a:pt x="660" y="71"/>
                </a:lnTo>
                <a:lnTo>
                  <a:pt x="666" y="71"/>
                </a:lnTo>
                <a:lnTo>
                  <a:pt x="671" y="71"/>
                </a:lnTo>
                <a:lnTo>
                  <a:pt x="677" y="76"/>
                </a:lnTo>
                <a:lnTo>
                  <a:pt x="682" y="76"/>
                </a:lnTo>
                <a:lnTo>
                  <a:pt x="682" y="82"/>
                </a:lnTo>
                <a:lnTo>
                  <a:pt x="687" y="82"/>
                </a:lnTo>
                <a:lnTo>
                  <a:pt x="693" y="87"/>
                </a:lnTo>
                <a:lnTo>
                  <a:pt x="698" y="93"/>
                </a:lnTo>
                <a:lnTo>
                  <a:pt x="704" y="93"/>
                </a:lnTo>
                <a:lnTo>
                  <a:pt x="709" y="93"/>
                </a:lnTo>
                <a:lnTo>
                  <a:pt x="709" y="98"/>
                </a:lnTo>
                <a:lnTo>
                  <a:pt x="715" y="93"/>
                </a:lnTo>
                <a:lnTo>
                  <a:pt x="715" y="98"/>
                </a:lnTo>
                <a:lnTo>
                  <a:pt x="720" y="93"/>
                </a:lnTo>
                <a:lnTo>
                  <a:pt x="726" y="93"/>
                </a:lnTo>
                <a:lnTo>
                  <a:pt x="720" y="93"/>
                </a:lnTo>
                <a:lnTo>
                  <a:pt x="726" y="87"/>
                </a:lnTo>
                <a:lnTo>
                  <a:pt x="731" y="87"/>
                </a:lnTo>
                <a:lnTo>
                  <a:pt x="736" y="87"/>
                </a:lnTo>
                <a:lnTo>
                  <a:pt x="736" y="82"/>
                </a:lnTo>
                <a:lnTo>
                  <a:pt x="742" y="87"/>
                </a:lnTo>
                <a:lnTo>
                  <a:pt x="747" y="87"/>
                </a:lnTo>
                <a:lnTo>
                  <a:pt x="753" y="93"/>
                </a:lnTo>
                <a:lnTo>
                  <a:pt x="753" y="98"/>
                </a:lnTo>
                <a:lnTo>
                  <a:pt x="753" y="104"/>
                </a:lnTo>
                <a:lnTo>
                  <a:pt x="753" y="109"/>
                </a:lnTo>
                <a:lnTo>
                  <a:pt x="758" y="109"/>
                </a:lnTo>
                <a:lnTo>
                  <a:pt x="758" y="115"/>
                </a:lnTo>
                <a:lnTo>
                  <a:pt x="764" y="120"/>
                </a:lnTo>
                <a:lnTo>
                  <a:pt x="758" y="120"/>
                </a:lnTo>
                <a:lnTo>
                  <a:pt x="764" y="126"/>
                </a:lnTo>
                <a:lnTo>
                  <a:pt x="758" y="126"/>
                </a:lnTo>
                <a:lnTo>
                  <a:pt x="764" y="131"/>
                </a:lnTo>
                <a:lnTo>
                  <a:pt x="764" y="136"/>
                </a:lnTo>
                <a:lnTo>
                  <a:pt x="747" y="136"/>
                </a:lnTo>
                <a:lnTo>
                  <a:pt x="747" y="131"/>
                </a:lnTo>
                <a:lnTo>
                  <a:pt x="747" y="136"/>
                </a:lnTo>
                <a:lnTo>
                  <a:pt x="742" y="136"/>
                </a:lnTo>
                <a:lnTo>
                  <a:pt x="742" y="142"/>
                </a:lnTo>
                <a:lnTo>
                  <a:pt x="747" y="147"/>
                </a:lnTo>
                <a:lnTo>
                  <a:pt x="753" y="153"/>
                </a:lnTo>
                <a:lnTo>
                  <a:pt x="758" y="158"/>
                </a:lnTo>
                <a:lnTo>
                  <a:pt x="758" y="164"/>
                </a:lnTo>
                <a:lnTo>
                  <a:pt x="764" y="164"/>
                </a:lnTo>
                <a:lnTo>
                  <a:pt x="764" y="169"/>
                </a:lnTo>
                <a:lnTo>
                  <a:pt x="764" y="175"/>
                </a:lnTo>
                <a:lnTo>
                  <a:pt x="758" y="175"/>
                </a:lnTo>
                <a:lnTo>
                  <a:pt x="764" y="175"/>
                </a:lnTo>
                <a:lnTo>
                  <a:pt x="764" y="180"/>
                </a:lnTo>
                <a:lnTo>
                  <a:pt x="764" y="175"/>
                </a:lnTo>
                <a:lnTo>
                  <a:pt x="758" y="175"/>
                </a:lnTo>
                <a:lnTo>
                  <a:pt x="753" y="169"/>
                </a:lnTo>
                <a:lnTo>
                  <a:pt x="747" y="169"/>
                </a:lnTo>
                <a:lnTo>
                  <a:pt x="753" y="175"/>
                </a:lnTo>
                <a:lnTo>
                  <a:pt x="753" y="180"/>
                </a:lnTo>
                <a:lnTo>
                  <a:pt x="747" y="180"/>
                </a:lnTo>
                <a:lnTo>
                  <a:pt x="747" y="186"/>
                </a:lnTo>
                <a:lnTo>
                  <a:pt x="742" y="186"/>
                </a:lnTo>
                <a:lnTo>
                  <a:pt x="736" y="186"/>
                </a:lnTo>
                <a:lnTo>
                  <a:pt x="736" y="191"/>
                </a:lnTo>
                <a:lnTo>
                  <a:pt x="742" y="191"/>
                </a:lnTo>
                <a:lnTo>
                  <a:pt x="742" y="196"/>
                </a:lnTo>
                <a:lnTo>
                  <a:pt x="736" y="196"/>
                </a:lnTo>
                <a:lnTo>
                  <a:pt x="731" y="196"/>
                </a:lnTo>
                <a:lnTo>
                  <a:pt x="726" y="191"/>
                </a:lnTo>
                <a:lnTo>
                  <a:pt x="720" y="191"/>
                </a:lnTo>
                <a:lnTo>
                  <a:pt x="720" y="196"/>
                </a:lnTo>
                <a:lnTo>
                  <a:pt x="720" y="202"/>
                </a:lnTo>
                <a:lnTo>
                  <a:pt x="715" y="202"/>
                </a:lnTo>
                <a:lnTo>
                  <a:pt x="715" y="207"/>
                </a:lnTo>
                <a:lnTo>
                  <a:pt x="709" y="207"/>
                </a:lnTo>
                <a:lnTo>
                  <a:pt x="709" y="213"/>
                </a:lnTo>
                <a:lnTo>
                  <a:pt x="704" y="218"/>
                </a:lnTo>
                <a:lnTo>
                  <a:pt x="709" y="218"/>
                </a:lnTo>
                <a:lnTo>
                  <a:pt x="704" y="218"/>
                </a:lnTo>
                <a:lnTo>
                  <a:pt x="698" y="218"/>
                </a:lnTo>
                <a:lnTo>
                  <a:pt x="698" y="224"/>
                </a:lnTo>
                <a:lnTo>
                  <a:pt x="693" y="224"/>
                </a:lnTo>
                <a:lnTo>
                  <a:pt x="687" y="224"/>
                </a:lnTo>
                <a:lnTo>
                  <a:pt x="682" y="229"/>
                </a:lnTo>
                <a:lnTo>
                  <a:pt x="682" y="235"/>
                </a:lnTo>
                <a:lnTo>
                  <a:pt x="677" y="235"/>
                </a:lnTo>
                <a:lnTo>
                  <a:pt x="677" y="240"/>
                </a:lnTo>
                <a:lnTo>
                  <a:pt x="671" y="235"/>
                </a:lnTo>
                <a:lnTo>
                  <a:pt x="677" y="235"/>
                </a:lnTo>
                <a:lnTo>
                  <a:pt x="677" y="229"/>
                </a:lnTo>
                <a:lnTo>
                  <a:pt x="671" y="224"/>
                </a:lnTo>
                <a:lnTo>
                  <a:pt x="671" y="229"/>
                </a:lnTo>
                <a:lnTo>
                  <a:pt x="666" y="224"/>
                </a:lnTo>
                <a:lnTo>
                  <a:pt x="671" y="224"/>
                </a:lnTo>
                <a:lnTo>
                  <a:pt x="671" y="218"/>
                </a:lnTo>
                <a:lnTo>
                  <a:pt x="671" y="213"/>
                </a:lnTo>
                <a:lnTo>
                  <a:pt x="671" y="207"/>
                </a:lnTo>
                <a:lnTo>
                  <a:pt x="666" y="207"/>
                </a:lnTo>
                <a:lnTo>
                  <a:pt x="660" y="202"/>
                </a:lnTo>
                <a:lnTo>
                  <a:pt x="655" y="202"/>
                </a:lnTo>
                <a:lnTo>
                  <a:pt x="655" y="207"/>
                </a:lnTo>
                <a:lnTo>
                  <a:pt x="649" y="207"/>
                </a:lnTo>
                <a:lnTo>
                  <a:pt x="649" y="213"/>
                </a:lnTo>
                <a:lnTo>
                  <a:pt x="644" y="218"/>
                </a:lnTo>
                <a:lnTo>
                  <a:pt x="638" y="218"/>
                </a:lnTo>
                <a:lnTo>
                  <a:pt x="638" y="224"/>
                </a:lnTo>
                <a:lnTo>
                  <a:pt x="644" y="229"/>
                </a:lnTo>
                <a:lnTo>
                  <a:pt x="638" y="229"/>
                </a:lnTo>
                <a:lnTo>
                  <a:pt x="633" y="229"/>
                </a:lnTo>
                <a:lnTo>
                  <a:pt x="633" y="235"/>
                </a:lnTo>
                <a:lnTo>
                  <a:pt x="627" y="229"/>
                </a:lnTo>
                <a:lnTo>
                  <a:pt x="622" y="229"/>
                </a:lnTo>
                <a:lnTo>
                  <a:pt x="622" y="235"/>
                </a:lnTo>
                <a:lnTo>
                  <a:pt x="622" y="240"/>
                </a:lnTo>
                <a:lnTo>
                  <a:pt x="627" y="246"/>
                </a:lnTo>
                <a:lnTo>
                  <a:pt x="638" y="246"/>
                </a:lnTo>
                <a:lnTo>
                  <a:pt x="644" y="246"/>
                </a:lnTo>
                <a:lnTo>
                  <a:pt x="649" y="246"/>
                </a:lnTo>
                <a:lnTo>
                  <a:pt x="649" y="251"/>
                </a:lnTo>
                <a:lnTo>
                  <a:pt x="655" y="251"/>
                </a:lnTo>
                <a:lnTo>
                  <a:pt x="655" y="256"/>
                </a:lnTo>
                <a:lnTo>
                  <a:pt x="660" y="262"/>
                </a:lnTo>
                <a:lnTo>
                  <a:pt x="666" y="262"/>
                </a:lnTo>
                <a:lnTo>
                  <a:pt x="671" y="262"/>
                </a:lnTo>
                <a:lnTo>
                  <a:pt x="677" y="256"/>
                </a:lnTo>
                <a:lnTo>
                  <a:pt x="677" y="251"/>
                </a:lnTo>
                <a:lnTo>
                  <a:pt x="682" y="251"/>
                </a:lnTo>
                <a:lnTo>
                  <a:pt x="687" y="256"/>
                </a:lnTo>
                <a:lnTo>
                  <a:pt x="693" y="256"/>
                </a:lnTo>
                <a:lnTo>
                  <a:pt x="698" y="256"/>
                </a:lnTo>
                <a:lnTo>
                  <a:pt x="704" y="256"/>
                </a:lnTo>
                <a:lnTo>
                  <a:pt x="709" y="256"/>
                </a:lnTo>
                <a:lnTo>
                  <a:pt x="709" y="262"/>
                </a:lnTo>
                <a:lnTo>
                  <a:pt x="709" y="267"/>
                </a:lnTo>
                <a:lnTo>
                  <a:pt x="715" y="267"/>
                </a:lnTo>
                <a:lnTo>
                  <a:pt x="709" y="267"/>
                </a:lnTo>
                <a:lnTo>
                  <a:pt x="704" y="267"/>
                </a:lnTo>
                <a:lnTo>
                  <a:pt x="698" y="267"/>
                </a:lnTo>
                <a:lnTo>
                  <a:pt x="693" y="273"/>
                </a:lnTo>
                <a:lnTo>
                  <a:pt x="693" y="278"/>
                </a:lnTo>
                <a:lnTo>
                  <a:pt x="687" y="284"/>
                </a:lnTo>
                <a:lnTo>
                  <a:pt x="687" y="289"/>
                </a:lnTo>
                <a:lnTo>
                  <a:pt x="687" y="295"/>
                </a:lnTo>
                <a:lnTo>
                  <a:pt x="682" y="295"/>
                </a:lnTo>
                <a:lnTo>
                  <a:pt x="687" y="300"/>
                </a:lnTo>
                <a:lnTo>
                  <a:pt x="693" y="300"/>
                </a:lnTo>
                <a:lnTo>
                  <a:pt x="693" y="306"/>
                </a:lnTo>
                <a:lnTo>
                  <a:pt x="698" y="306"/>
                </a:lnTo>
                <a:lnTo>
                  <a:pt x="709" y="306"/>
                </a:lnTo>
                <a:lnTo>
                  <a:pt x="709" y="311"/>
                </a:lnTo>
                <a:lnTo>
                  <a:pt x="715" y="316"/>
                </a:lnTo>
                <a:lnTo>
                  <a:pt x="720" y="322"/>
                </a:lnTo>
                <a:lnTo>
                  <a:pt x="726" y="327"/>
                </a:lnTo>
                <a:lnTo>
                  <a:pt x="731" y="333"/>
                </a:lnTo>
                <a:lnTo>
                  <a:pt x="731" y="338"/>
                </a:lnTo>
                <a:lnTo>
                  <a:pt x="742" y="338"/>
                </a:lnTo>
                <a:lnTo>
                  <a:pt x="742" y="344"/>
                </a:lnTo>
                <a:lnTo>
                  <a:pt x="747" y="344"/>
                </a:lnTo>
                <a:lnTo>
                  <a:pt x="753" y="349"/>
                </a:lnTo>
                <a:lnTo>
                  <a:pt x="747" y="349"/>
                </a:lnTo>
                <a:lnTo>
                  <a:pt x="742" y="344"/>
                </a:lnTo>
                <a:lnTo>
                  <a:pt x="742" y="349"/>
                </a:lnTo>
                <a:lnTo>
                  <a:pt x="736" y="344"/>
                </a:lnTo>
                <a:lnTo>
                  <a:pt x="736" y="349"/>
                </a:lnTo>
                <a:lnTo>
                  <a:pt x="742" y="349"/>
                </a:lnTo>
                <a:lnTo>
                  <a:pt x="747" y="355"/>
                </a:lnTo>
                <a:lnTo>
                  <a:pt x="753" y="355"/>
                </a:lnTo>
                <a:lnTo>
                  <a:pt x="758" y="360"/>
                </a:lnTo>
                <a:lnTo>
                  <a:pt x="758" y="366"/>
                </a:lnTo>
                <a:lnTo>
                  <a:pt x="753" y="366"/>
                </a:lnTo>
                <a:lnTo>
                  <a:pt x="753" y="371"/>
                </a:lnTo>
                <a:lnTo>
                  <a:pt x="747" y="371"/>
                </a:lnTo>
                <a:lnTo>
                  <a:pt x="742" y="371"/>
                </a:lnTo>
                <a:lnTo>
                  <a:pt x="747" y="371"/>
                </a:lnTo>
                <a:lnTo>
                  <a:pt x="753" y="376"/>
                </a:lnTo>
                <a:lnTo>
                  <a:pt x="753" y="371"/>
                </a:lnTo>
                <a:lnTo>
                  <a:pt x="758" y="371"/>
                </a:lnTo>
                <a:lnTo>
                  <a:pt x="764" y="376"/>
                </a:lnTo>
                <a:lnTo>
                  <a:pt x="769" y="376"/>
                </a:lnTo>
                <a:lnTo>
                  <a:pt x="775" y="376"/>
                </a:lnTo>
                <a:lnTo>
                  <a:pt x="769" y="382"/>
                </a:lnTo>
                <a:lnTo>
                  <a:pt x="764" y="387"/>
                </a:lnTo>
                <a:lnTo>
                  <a:pt x="769" y="387"/>
                </a:lnTo>
                <a:lnTo>
                  <a:pt x="769" y="382"/>
                </a:lnTo>
                <a:lnTo>
                  <a:pt x="775" y="382"/>
                </a:lnTo>
                <a:lnTo>
                  <a:pt x="775" y="387"/>
                </a:lnTo>
                <a:lnTo>
                  <a:pt x="769" y="387"/>
                </a:lnTo>
                <a:lnTo>
                  <a:pt x="775" y="393"/>
                </a:lnTo>
                <a:lnTo>
                  <a:pt x="775" y="398"/>
                </a:lnTo>
                <a:lnTo>
                  <a:pt x="780" y="404"/>
                </a:lnTo>
                <a:lnTo>
                  <a:pt x="775" y="404"/>
                </a:lnTo>
                <a:lnTo>
                  <a:pt x="775" y="409"/>
                </a:lnTo>
                <a:lnTo>
                  <a:pt x="769" y="404"/>
                </a:lnTo>
                <a:lnTo>
                  <a:pt x="769" y="409"/>
                </a:lnTo>
                <a:lnTo>
                  <a:pt x="764" y="409"/>
                </a:lnTo>
                <a:lnTo>
                  <a:pt x="769" y="409"/>
                </a:lnTo>
                <a:lnTo>
                  <a:pt x="769" y="415"/>
                </a:lnTo>
                <a:lnTo>
                  <a:pt x="769" y="420"/>
                </a:lnTo>
                <a:lnTo>
                  <a:pt x="764" y="426"/>
                </a:lnTo>
                <a:lnTo>
                  <a:pt x="769" y="426"/>
                </a:lnTo>
                <a:lnTo>
                  <a:pt x="769" y="431"/>
                </a:lnTo>
                <a:lnTo>
                  <a:pt x="764" y="431"/>
                </a:lnTo>
                <a:lnTo>
                  <a:pt x="769" y="426"/>
                </a:lnTo>
                <a:lnTo>
                  <a:pt x="764" y="431"/>
                </a:lnTo>
                <a:lnTo>
                  <a:pt x="758" y="426"/>
                </a:lnTo>
                <a:lnTo>
                  <a:pt x="758" y="431"/>
                </a:lnTo>
                <a:lnTo>
                  <a:pt x="764" y="431"/>
                </a:lnTo>
                <a:lnTo>
                  <a:pt x="769" y="436"/>
                </a:lnTo>
                <a:lnTo>
                  <a:pt x="764" y="436"/>
                </a:lnTo>
                <a:lnTo>
                  <a:pt x="769" y="442"/>
                </a:lnTo>
                <a:lnTo>
                  <a:pt x="769" y="447"/>
                </a:lnTo>
                <a:lnTo>
                  <a:pt x="769" y="453"/>
                </a:lnTo>
                <a:lnTo>
                  <a:pt x="769" y="447"/>
                </a:lnTo>
                <a:lnTo>
                  <a:pt x="764" y="447"/>
                </a:lnTo>
                <a:lnTo>
                  <a:pt x="769" y="453"/>
                </a:lnTo>
                <a:lnTo>
                  <a:pt x="764" y="453"/>
                </a:lnTo>
                <a:lnTo>
                  <a:pt x="758" y="453"/>
                </a:lnTo>
                <a:lnTo>
                  <a:pt x="764" y="453"/>
                </a:lnTo>
                <a:lnTo>
                  <a:pt x="764" y="458"/>
                </a:lnTo>
                <a:lnTo>
                  <a:pt x="758" y="458"/>
                </a:lnTo>
                <a:lnTo>
                  <a:pt x="764" y="458"/>
                </a:lnTo>
                <a:lnTo>
                  <a:pt x="758" y="464"/>
                </a:lnTo>
                <a:lnTo>
                  <a:pt x="758" y="458"/>
                </a:lnTo>
                <a:lnTo>
                  <a:pt x="758" y="464"/>
                </a:lnTo>
                <a:lnTo>
                  <a:pt x="753" y="464"/>
                </a:lnTo>
                <a:lnTo>
                  <a:pt x="758" y="469"/>
                </a:lnTo>
                <a:lnTo>
                  <a:pt x="753" y="469"/>
                </a:lnTo>
                <a:lnTo>
                  <a:pt x="753" y="475"/>
                </a:lnTo>
                <a:lnTo>
                  <a:pt x="753" y="469"/>
                </a:lnTo>
                <a:lnTo>
                  <a:pt x="753" y="475"/>
                </a:lnTo>
                <a:lnTo>
                  <a:pt x="747" y="475"/>
                </a:lnTo>
                <a:lnTo>
                  <a:pt x="753" y="475"/>
                </a:lnTo>
                <a:lnTo>
                  <a:pt x="747" y="480"/>
                </a:lnTo>
                <a:lnTo>
                  <a:pt x="747" y="475"/>
                </a:lnTo>
                <a:lnTo>
                  <a:pt x="747" y="480"/>
                </a:lnTo>
                <a:lnTo>
                  <a:pt x="742" y="480"/>
                </a:lnTo>
                <a:lnTo>
                  <a:pt x="742" y="475"/>
                </a:lnTo>
                <a:lnTo>
                  <a:pt x="742" y="480"/>
                </a:lnTo>
                <a:lnTo>
                  <a:pt x="742" y="486"/>
                </a:lnTo>
                <a:lnTo>
                  <a:pt x="736" y="486"/>
                </a:lnTo>
                <a:lnTo>
                  <a:pt x="742" y="491"/>
                </a:lnTo>
                <a:lnTo>
                  <a:pt x="736" y="486"/>
                </a:lnTo>
                <a:lnTo>
                  <a:pt x="736" y="491"/>
                </a:lnTo>
                <a:lnTo>
                  <a:pt x="731" y="491"/>
                </a:lnTo>
                <a:lnTo>
                  <a:pt x="726" y="491"/>
                </a:lnTo>
                <a:lnTo>
                  <a:pt x="720" y="491"/>
                </a:lnTo>
                <a:lnTo>
                  <a:pt x="715" y="496"/>
                </a:lnTo>
                <a:lnTo>
                  <a:pt x="715" y="491"/>
                </a:lnTo>
                <a:lnTo>
                  <a:pt x="709" y="491"/>
                </a:lnTo>
                <a:lnTo>
                  <a:pt x="715" y="496"/>
                </a:lnTo>
                <a:lnTo>
                  <a:pt x="709" y="496"/>
                </a:lnTo>
                <a:lnTo>
                  <a:pt x="704" y="496"/>
                </a:lnTo>
                <a:lnTo>
                  <a:pt x="698" y="491"/>
                </a:lnTo>
                <a:lnTo>
                  <a:pt x="693" y="486"/>
                </a:lnTo>
                <a:lnTo>
                  <a:pt x="698" y="491"/>
                </a:lnTo>
                <a:lnTo>
                  <a:pt x="698" y="496"/>
                </a:lnTo>
                <a:lnTo>
                  <a:pt x="698" y="502"/>
                </a:lnTo>
                <a:lnTo>
                  <a:pt x="693" y="502"/>
                </a:lnTo>
                <a:lnTo>
                  <a:pt x="693" y="507"/>
                </a:lnTo>
                <a:lnTo>
                  <a:pt x="687" y="502"/>
                </a:lnTo>
                <a:lnTo>
                  <a:pt x="687" y="507"/>
                </a:lnTo>
                <a:lnTo>
                  <a:pt x="682" y="507"/>
                </a:lnTo>
                <a:lnTo>
                  <a:pt x="677" y="507"/>
                </a:lnTo>
                <a:lnTo>
                  <a:pt x="671" y="507"/>
                </a:lnTo>
                <a:lnTo>
                  <a:pt x="677" y="513"/>
                </a:lnTo>
                <a:lnTo>
                  <a:pt x="671" y="507"/>
                </a:lnTo>
                <a:lnTo>
                  <a:pt x="671" y="513"/>
                </a:lnTo>
                <a:lnTo>
                  <a:pt x="666" y="513"/>
                </a:lnTo>
                <a:lnTo>
                  <a:pt x="660" y="513"/>
                </a:lnTo>
                <a:lnTo>
                  <a:pt x="660" y="518"/>
                </a:lnTo>
                <a:lnTo>
                  <a:pt x="655" y="518"/>
                </a:lnTo>
                <a:lnTo>
                  <a:pt x="660" y="524"/>
                </a:lnTo>
                <a:lnTo>
                  <a:pt x="660" y="529"/>
                </a:lnTo>
                <a:lnTo>
                  <a:pt x="655" y="529"/>
                </a:lnTo>
                <a:lnTo>
                  <a:pt x="649" y="524"/>
                </a:lnTo>
                <a:lnTo>
                  <a:pt x="649" y="518"/>
                </a:lnTo>
                <a:lnTo>
                  <a:pt x="644" y="518"/>
                </a:lnTo>
                <a:lnTo>
                  <a:pt x="644" y="513"/>
                </a:lnTo>
                <a:lnTo>
                  <a:pt x="649" y="513"/>
                </a:lnTo>
                <a:lnTo>
                  <a:pt x="644" y="513"/>
                </a:lnTo>
                <a:lnTo>
                  <a:pt x="644" y="507"/>
                </a:lnTo>
                <a:lnTo>
                  <a:pt x="644" y="513"/>
                </a:lnTo>
                <a:lnTo>
                  <a:pt x="638" y="513"/>
                </a:lnTo>
                <a:lnTo>
                  <a:pt x="633" y="507"/>
                </a:lnTo>
                <a:lnTo>
                  <a:pt x="627" y="507"/>
                </a:lnTo>
                <a:lnTo>
                  <a:pt x="622" y="507"/>
                </a:lnTo>
                <a:lnTo>
                  <a:pt x="627" y="513"/>
                </a:lnTo>
                <a:lnTo>
                  <a:pt x="622" y="507"/>
                </a:lnTo>
                <a:lnTo>
                  <a:pt x="617" y="513"/>
                </a:lnTo>
                <a:lnTo>
                  <a:pt x="617" y="507"/>
                </a:lnTo>
                <a:lnTo>
                  <a:pt x="611" y="507"/>
                </a:lnTo>
                <a:lnTo>
                  <a:pt x="606" y="507"/>
                </a:lnTo>
                <a:lnTo>
                  <a:pt x="600" y="507"/>
                </a:lnTo>
                <a:lnTo>
                  <a:pt x="600" y="502"/>
                </a:lnTo>
                <a:lnTo>
                  <a:pt x="595" y="502"/>
                </a:lnTo>
                <a:lnTo>
                  <a:pt x="595" y="496"/>
                </a:lnTo>
                <a:lnTo>
                  <a:pt x="589" y="496"/>
                </a:lnTo>
                <a:lnTo>
                  <a:pt x="595" y="496"/>
                </a:lnTo>
                <a:lnTo>
                  <a:pt x="595" y="491"/>
                </a:lnTo>
                <a:lnTo>
                  <a:pt x="589" y="491"/>
                </a:lnTo>
                <a:lnTo>
                  <a:pt x="584" y="491"/>
                </a:lnTo>
                <a:lnTo>
                  <a:pt x="584" y="486"/>
                </a:lnTo>
                <a:lnTo>
                  <a:pt x="578" y="491"/>
                </a:lnTo>
                <a:lnTo>
                  <a:pt x="573" y="486"/>
                </a:lnTo>
                <a:lnTo>
                  <a:pt x="567" y="480"/>
                </a:lnTo>
                <a:lnTo>
                  <a:pt x="567" y="486"/>
                </a:lnTo>
                <a:lnTo>
                  <a:pt x="562" y="486"/>
                </a:lnTo>
                <a:lnTo>
                  <a:pt x="562" y="491"/>
                </a:lnTo>
                <a:lnTo>
                  <a:pt x="557" y="491"/>
                </a:lnTo>
                <a:lnTo>
                  <a:pt x="551" y="491"/>
                </a:lnTo>
                <a:lnTo>
                  <a:pt x="551" y="496"/>
                </a:lnTo>
                <a:lnTo>
                  <a:pt x="546" y="491"/>
                </a:lnTo>
                <a:lnTo>
                  <a:pt x="546" y="496"/>
                </a:lnTo>
                <a:lnTo>
                  <a:pt x="540" y="491"/>
                </a:lnTo>
                <a:lnTo>
                  <a:pt x="540" y="496"/>
                </a:lnTo>
                <a:lnTo>
                  <a:pt x="535" y="496"/>
                </a:lnTo>
                <a:lnTo>
                  <a:pt x="535" y="491"/>
                </a:lnTo>
                <a:lnTo>
                  <a:pt x="529" y="491"/>
                </a:lnTo>
                <a:lnTo>
                  <a:pt x="524" y="491"/>
                </a:lnTo>
                <a:lnTo>
                  <a:pt x="524" y="496"/>
                </a:lnTo>
                <a:lnTo>
                  <a:pt x="518" y="496"/>
                </a:lnTo>
                <a:lnTo>
                  <a:pt x="513" y="502"/>
                </a:lnTo>
                <a:lnTo>
                  <a:pt x="518" y="502"/>
                </a:lnTo>
                <a:lnTo>
                  <a:pt x="524" y="507"/>
                </a:lnTo>
                <a:lnTo>
                  <a:pt x="524" y="513"/>
                </a:lnTo>
                <a:lnTo>
                  <a:pt x="524" y="518"/>
                </a:lnTo>
                <a:lnTo>
                  <a:pt x="524" y="513"/>
                </a:lnTo>
                <a:lnTo>
                  <a:pt x="518" y="518"/>
                </a:lnTo>
                <a:lnTo>
                  <a:pt x="513" y="513"/>
                </a:lnTo>
                <a:lnTo>
                  <a:pt x="513" y="507"/>
                </a:lnTo>
                <a:lnTo>
                  <a:pt x="507" y="507"/>
                </a:lnTo>
                <a:lnTo>
                  <a:pt x="507" y="513"/>
                </a:lnTo>
                <a:lnTo>
                  <a:pt x="502" y="513"/>
                </a:lnTo>
                <a:lnTo>
                  <a:pt x="497" y="507"/>
                </a:lnTo>
                <a:lnTo>
                  <a:pt x="491" y="502"/>
                </a:lnTo>
                <a:lnTo>
                  <a:pt x="486" y="502"/>
                </a:lnTo>
                <a:lnTo>
                  <a:pt x="480" y="502"/>
                </a:lnTo>
                <a:lnTo>
                  <a:pt x="480" y="496"/>
                </a:lnTo>
                <a:lnTo>
                  <a:pt x="480" y="491"/>
                </a:lnTo>
                <a:lnTo>
                  <a:pt x="480" y="486"/>
                </a:lnTo>
                <a:lnTo>
                  <a:pt x="475" y="486"/>
                </a:lnTo>
                <a:lnTo>
                  <a:pt x="469" y="486"/>
                </a:lnTo>
                <a:lnTo>
                  <a:pt x="469" y="480"/>
                </a:lnTo>
                <a:lnTo>
                  <a:pt x="464" y="475"/>
                </a:lnTo>
                <a:lnTo>
                  <a:pt x="464" y="469"/>
                </a:lnTo>
                <a:lnTo>
                  <a:pt x="458" y="469"/>
                </a:lnTo>
                <a:lnTo>
                  <a:pt x="453" y="469"/>
                </a:lnTo>
                <a:lnTo>
                  <a:pt x="448" y="469"/>
                </a:lnTo>
                <a:lnTo>
                  <a:pt x="448" y="475"/>
                </a:lnTo>
                <a:lnTo>
                  <a:pt x="448" y="469"/>
                </a:lnTo>
                <a:lnTo>
                  <a:pt x="442" y="464"/>
                </a:lnTo>
                <a:lnTo>
                  <a:pt x="442" y="458"/>
                </a:lnTo>
                <a:lnTo>
                  <a:pt x="442" y="453"/>
                </a:lnTo>
                <a:lnTo>
                  <a:pt x="448" y="447"/>
                </a:lnTo>
                <a:lnTo>
                  <a:pt x="448" y="442"/>
                </a:lnTo>
                <a:lnTo>
                  <a:pt x="453" y="442"/>
                </a:lnTo>
                <a:lnTo>
                  <a:pt x="448" y="436"/>
                </a:lnTo>
                <a:lnTo>
                  <a:pt x="453" y="436"/>
                </a:lnTo>
                <a:lnTo>
                  <a:pt x="448" y="436"/>
                </a:lnTo>
                <a:lnTo>
                  <a:pt x="448" y="431"/>
                </a:lnTo>
                <a:lnTo>
                  <a:pt x="448" y="426"/>
                </a:lnTo>
                <a:lnTo>
                  <a:pt x="442" y="420"/>
                </a:lnTo>
                <a:lnTo>
                  <a:pt x="442" y="415"/>
                </a:lnTo>
                <a:lnTo>
                  <a:pt x="437" y="415"/>
                </a:lnTo>
                <a:lnTo>
                  <a:pt x="431" y="409"/>
                </a:lnTo>
                <a:lnTo>
                  <a:pt x="431" y="404"/>
                </a:lnTo>
                <a:lnTo>
                  <a:pt x="420" y="404"/>
                </a:lnTo>
                <a:lnTo>
                  <a:pt x="420" y="398"/>
                </a:lnTo>
                <a:lnTo>
                  <a:pt x="420" y="404"/>
                </a:lnTo>
                <a:lnTo>
                  <a:pt x="415" y="404"/>
                </a:lnTo>
                <a:lnTo>
                  <a:pt x="409" y="404"/>
                </a:lnTo>
                <a:lnTo>
                  <a:pt x="404" y="398"/>
                </a:lnTo>
                <a:lnTo>
                  <a:pt x="398" y="404"/>
                </a:lnTo>
                <a:lnTo>
                  <a:pt x="398" y="398"/>
                </a:lnTo>
                <a:lnTo>
                  <a:pt x="404" y="398"/>
                </a:lnTo>
                <a:lnTo>
                  <a:pt x="398" y="393"/>
                </a:lnTo>
                <a:lnTo>
                  <a:pt x="393" y="393"/>
                </a:lnTo>
                <a:lnTo>
                  <a:pt x="398" y="387"/>
                </a:lnTo>
                <a:lnTo>
                  <a:pt x="393" y="387"/>
                </a:lnTo>
                <a:lnTo>
                  <a:pt x="388" y="387"/>
                </a:lnTo>
                <a:lnTo>
                  <a:pt x="382" y="387"/>
                </a:lnTo>
                <a:lnTo>
                  <a:pt x="382" y="393"/>
                </a:lnTo>
                <a:lnTo>
                  <a:pt x="377" y="387"/>
                </a:lnTo>
                <a:lnTo>
                  <a:pt x="371" y="387"/>
                </a:lnTo>
                <a:lnTo>
                  <a:pt x="366" y="387"/>
                </a:lnTo>
                <a:lnTo>
                  <a:pt x="366" y="393"/>
                </a:lnTo>
                <a:lnTo>
                  <a:pt x="360" y="398"/>
                </a:lnTo>
                <a:lnTo>
                  <a:pt x="355" y="398"/>
                </a:lnTo>
                <a:lnTo>
                  <a:pt x="355" y="404"/>
                </a:lnTo>
                <a:lnTo>
                  <a:pt x="349" y="404"/>
                </a:lnTo>
                <a:lnTo>
                  <a:pt x="349" y="409"/>
                </a:lnTo>
                <a:lnTo>
                  <a:pt x="344" y="409"/>
                </a:lnTo>
                <a:lnTo>
                  <a:pt x="338" y="415"/>
                </a:lnTo>
                <a:lnTo>
                  <a:pt x="333" y="409"/>
                </a:lnTo>
                <a:lnTo>
                  <a:pt x="328" y="409"/>
                </a:lnTo>
                <a:lnTo>
                  <a:pt x="322" y="409"/>
                </a:lnTo>
                <a:lnTo>
                  <a:pt x="317" y="409"/>
                </a:lnTo>
                <a:lnTo>
                  <a:pt x="311" y="409"/>
                </a:lnTo>
                <a:lnTo>
                  <a:pt x="311" y="404"/>
                </a:lnTo>
                <a:lnTo>
                  <a:pt x="306" y="404"/>
                </a:lnTo>
                <a:lnTo>
                  <a:pt x="300" y="404"/>
                </a:lnTo>
                <a:lnTo>
                  <a:pt x="300" y="409"/>
                </a:lnTo>
                <a:lnTo>
                  <a:pt x="295" y="415"/>
                </a:lnTo>
                <a:lnTo>
                  <a:pt x="295" y="420"/>
                </a:lnTo>
                <a:lnTo>
                  <a:pt x="295" y="415"/>
                </a:lnTo>
                <a:lnTo>
                  <a:pt x="295" y="409"/>
                </a:lnTo>
                <a:lnTo>
                  <a:pt x="289" y="409"/>
                </a:lnTo>
                <a:lnTo>
                  <a:pt x="289" y="404"/>
                </a:lnTo>
                <a:lnTo>
                  <a:pt x="289" y="409"/>
                </a:lnTo>
                <a:lnTo>
                  <a:pt x="284" y="409"/>
                </a:lnTo>
                <a:lnTo>
                  <a:pt x="278" y="409"/>
                </a:lnTo>
                <a:lnTo>
                  <a:pt x="284" y="409"/>
                </a:lnTo>
                <a:lnTo>
                  <a:pt x="278" y="409"/>
                </a:lnTo>
                <a:lnTo>
                  <a:pt x="273" y="409"/>
                </a:lnTo>
                <a:lnTo>
                  <a:pt x="268" y="409"/>
                </a:lnTo>
                <a:lnTo>
                  <a:pt x="262" y="409"/>
                </a:lnTo>
                <a:lnTo>
                  <a:pt x="257" y="409"/>
                </a:lnTo>
                <a:lnTo>
                  <a:pt x="251" y="404"/>
                </a:lnTo>
                <a:lnTo>
                  <a:pt x="251" y="409"/>
                </a:lnTo>
                <a:lnTo>
                  <a:pt x="246" y="404"/>
                </a:lnTo>
                <a:lnTo>
                  <a:pt x="240" y="404"/>
                </a:lnTo>
                <a:lnTo>
                  <a:pt x="235" y="404"/>
                </a:lnTo>
                <a:lnTo>
                  <a:pt x="229" y="398"/>
                </a:lnTo>
                <a:lnTo>
                  <a:pt x="224" y="398"/>
                </a:lnTo>
                <a:lnTo>
                  <a:pt x="219" y="398"/>
                </a:lnTo>
                <a:lnTo>
                  <a:pt x="219" y="393"/>
                </a:lnTo>
                <a:lnTo>
                  <a:pt x="213" y="387"/>
                </a:lnTo>
                <a:lnTo>
                  <a:pt x="208" y="387"/>
                </a:lnTo>
                <a:lnTo>
                  <a:pt x="202" y="387"/>
                </a:lnTo>
                <a:lnTo>
                  <a:pt x="197" y="382"/>
                </a:lnTo>
                <a:lnTo>
                  <a:pt x="191" y="382"/>
                </a:lnTo>
                <a:lnTo>
                  <a:pt x="186" y="376"/>
                </a:lnTo>
                <a:lnTo>
                  <a:pt x="180" y="376"/>
                </a:lnTo>
                <a:lnTo>
                  <a:pt x="180" y="371"/>
                </a:lnTo>
                <a:lnTo>
                  <a:pt x="169" y="371"/>
                </a:lnTo>
                <a:lnTo>
                  <a:pt x="164" y="376"/>
                </a:lnTo>
                <a:lnTo>
                  <a:pt x="164" y="371"/>
                </a:lnTo>
                <a:lnTo>
                  <a:pt x="159" y="371"/>
                </a:lnTo>
                <a:lnTo>
                  <a:pt x="153" y="371"/>
                </a:lnTo>
                <a:lnTo>
                  <a:pt x="148" y="366"/>
                </a:lnTo>
                <a:lnTo>
                  <a:pt x="142" y="366"/>
                </a:lnTo>
                <a:lnTo>
                  <a:pt x="142" y="360"/>
                </a:lnTo>
                <a:lnTo>
                  <a:pt x="137" y="360"/>
                </a:lnTo>
                <a:lnTo>
                  <a:pt x="131" y="355"/>
                </a:lnTo>
                <a:lnTo>
                  <a:pt x="126" y="355"/>
                </a:lnTo>
                <a:lnTo>
                  <a:pt x="120" y="349"/>
                </a:lnTo>
                <a:lnTo>
                  <a:pt x="120" y="344"/>
                </a:lnTo>
                <a:lnTo>
                  <a:pt x="115" y="344"/>
                </a:lnTo>
                <a:lnTo>
                  <a:pt x="115" y="338"/>
                </a:lnTo>
                <a:lnTo>
                  <a:pt x="109" y="338"/>
                </a:lnTo>
                <a:lnTo>
                  <a:pt x="115" y="333"/>
                </a:lnTo>
                <a:lnTo>
                  <a:pt x="115" y="338"/>
                </a:lnTo>
                <a:lnTo>
                  <a:pt x="120" y="338"/>
                </a:lnTo>
                <a:lnTo>
                  <a:pt x="126" y="333"/>
                </a:lnTo>
                <a:lnTo>
                  <a:pt x="120" y="327"/>
                </a:lnTo>
                <a:lnTo>
                  <a:pt x="115" y="327"/>
                </a:lnTo>
                <a:lnTo>
                  <a:pt x="115" y="322"/>
                </a:lnTo>
                <a:lnTo>
                  <a:pt x="115" y="316"/>
                </a:lnTo>
                <a:lnTo>
                  <a:pt x="109" y="311"/>
                </a:lnTo>
                <a:lnTo>
                  <a:pt x="115" y="311"/>
                </a:lnTo>
                <a:lnTo>
                  <a:pt x="115" y="306"/>
                </a:lnTo>
                <a:lnTo>
                  <a:pt x="120" y="306"/>
                </a:lnTo>
                <a:lnTo>
                  <a:pt x="120" y="300"/>
                </a:lnTo>
                <a:lnTo>
                  <a:pt x="120" y="295"/>
                </a:lnTo>
                <a:lnTo>
                  <a:pt x="120" y="289"/>
                </a:lnTo>
                <a:lnTo>
                  <a:pt x="115" y="289"/>
                </a:lnTo>
                <a:lnTo>
                  <a:pt x="109" y="284"/>
                </a:lnTo>
                <a:lnTo>
                  <a:pt x="104" y="284"/>
                </a:lnTo>
                <a:lnTo>
                  <a:pt x="93" y="284"/>
                </a:lnTo>
                <a:lnTo>
                  <a:pt x="88" y="284"/>
                </a:lnTo>
                <a:lnTo>
                  <a:pt x="88" y="289"/>
                </a:lnTo>
                <a:lnTo>
                  <a:pt x="82" y="289"/>
                </a:lnTo>
                <a:lnTo>
                  <a:pt x="77" y="289"/>
                </a:lnTo>
                <a:lnTo>
                  <a:pt x="71" y="284"/>
                </a:lnTo>
                <a:lnTo>
                  <a:pt x="66" y="284"/>
                </a:lnTo>
                <a:lnTo>
                  <a:pt x="60" y="284"/>
                </a:lnTo>
                <a:lnTo>
                  <a:pt x="55" y="278"/>
                </a:lnTo>
                <a:lnTo>
                  <a:pt x="55" y="273"/>
                </a:lnTo>
                <a:lnTo>
                  <a:pt x="50" y="273"/>
                </a:lnTo>
                <a:lnTo>
                  <a:pt x="44" y="267"/>
                </a:lnTo>
                <a:lnTo>
                  <a:pt x="39" y="267"/>
                </a:lnTo>
                <a:lnTo>
                  <a:pt x="33" y="267"/>
                </a:lnTo>
                <a:lnTo>
                  <a:pt x="28" y="267"/>
                </a:lnTo>
                <a:lnTo>
                  <a:pt x="28" y="262"/>
                </a:lnTo>
                <a:lnTo>
                  <a:pt x="33" y="262"/>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1" name="Freeform 330">
            <a:extLst>
              <a:ext uri="{FF2B5EF4-FFF2-40B4-BE49-F238E27FC236}">
                <a16:creationId xmlns:a16="http://schemas.microsoft.com/office/drawing/2014/main" id="{A5660809-C9AD-C828-D5BD-2534DFD17059}"/>
              </a:ext>
            </a:extLst>
          </p:cNvPr>
          <p:cNvSpPr>
            <a:spLocks/>
          </p:cNvSpPr>
          <p:nvPr/>
        </p:nvSpPr>
        <p:spPr bwMode="auto">
          <a:xfrm>
            <a:off x="4516438" y="2692400"/>
            <a:ext cx="44450" cy="33338"/>
          </a:xfrm>
          <a:custGeom>
            <a:avLst/>
            <a:gdLst>
              <a:gd name="T0" fmla="*/ 0 w 39"/>
              <a:gd name="T1" fmla="*/ 11 h 27"/>
              <a:gd name="T2" fmla="*/ 6 w 39"/>
              <a:gd name="T3" fmla="*/ 5 h 27"/>
              <a:gd name="T4" fmla="*/ 6 w 39"/>
              <a:gd name="T5" fmla="*/ 0 h 27"/>
              <a:gd name="T6" fmla="*/ 11 w 39"/>
              <a:gd name="T7" fmla="*/ 5 h 27"/>
              <a:gd name="T8" fmla="*/ 11 w 39"/>
              <a:gd name="T9" fmla="*/ 0 h 27"/>
              <a:gd name="T10" fmla="*/ 17 w 39"/>
              <a:gd name="T11" fmla="*/ 0 h 27"/>
              <a:gd name="T12" fmla="*/ 22 w 39"/>
              <a:gd name="T13" fmla="*/ 0 h 27"/>
              <a:gd name="T14" fmla="*/ 28 w 39"/>
              <a:gd name="T15" fmla="*/ 0 h 27"/>
              <a:gd name="T16" fmla="*/ 33 w 39"/>
              <a:gd name="T17" fmla="*/ 0 h 27"/>
              <a:gd name="T18" fmla="*/ 39 w 39"/>
              <a:gd name="T19" fmla="*/ 5 h 27"/>
              <a:gd name="T20" fmla="*/ 33 w 39"/>
              <a:gd name="T21" fmla="*/ 11 h 27"/>
              <a:gd name="T22" fmla="*/ 33 w 39"/>
              <a:gd name="T23" fmla="*/ 16 h 27"/>
              <a:gd name="T24" fmla="*/ 33 w 39"/>
              <a:gd name="T25" fmla="*/ 21 h 27"/>
              <a:gd name="T26" fmla="*/ 28 w 39"/>
              <a:gd name="T27" fmla="*/ 21 h 27"/>
              <a:gd name="T28" fmla="*/ 28 w 39"/>
              <a:gd name="T29" fmla="*/ 27 h 27"/>
              <a:gd name="T30" fmla="*/ 22 w 39"/>
              <a:gd name="T31" fmla="*/ 27 h 27"/>
              <a:gd name="T32" fmla="*/ 17 w 39"/>
              <a:gd name="T33" fmla="*/ 27 h 27"/>
              <a:gd name="T34" fmla="*/ 11 w 39"/>
              <a:gd name="T35" fmla="*/ 27 h 27"/>
              <a:gd name="T36" fmla="*/ 6 w 39"/>
              <a:gd name="T37" fmla="*/ 21 h 27"/>
              <a:gd name="T38" fmla="*/ 0 w 39"/>
              <a:gd name="T39" fmla="*/ 16 h 27"/>
              <a:gd name="T40" fmla="*/ 0 w 39"/>
              <a:gd name="T41"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27">
                <a:moveTo>
                  <a:pt x="0" y="11"/>
                </a:moveTo>
                <a:lnTo>
                  <a:pt x="6" y="5"/>
                </a:lnTo>
                <a:lnTo>
                  <a:pt x="6" y="0"/>
                </a:lnTo>
                <a:lnTo>
                  <a:pt x="11" y="5"/>
                </a:lnTo>
                <a:lnTo>
                  <a:pt x="11" y="0"/>
                </a:lnTo>
                <a:lnTo>
                  <a:pt x="17" y="0"/>
                </a:lnTo>
                <a:lnTo>
                  <a:pt x="22" y="0"/>
                </a:lnTo>
                <a:lnTo>
                  <a:pt x="28" y="0"/>
                </a:lnTo>
                <a:lnTo>
                  <a:pt x="33" y="0"/>
                </a:lnTo>
                <a:lnTo>
                  <a:pt x="39" y="5"/>
                </a:lnTo>
                <a:lnTo>
                  <a:pt x="33" y="11"/>
                </a:lnTo>
                <a:lnTo>
                  <a:pt x="33" y="16"/>
                </a:lnTo>
                <a:lnTo>
                  <a:pt x="33" y="21"/>
                </a:lnTo>
                <a:lnTo>
                  <a:pt x="28" y="21"/>
                </a:lnTo>
                <a:lnTo>
                  <a:pt x="28" y="27"/>
                </a:lnTo>
                <a:lnTo>
                  <a:pt x="22" y="27"/>
                </a:lnTo>
                <a:lnTo>
                  <a:pt x="17" y="27"/>
                </a:lnTo>
                <a:lnTo>
                  <a:pt x="11" y="27"/>
                </a:lnTo>
                <a:lnTo>
                  <a:pt x="6" y="21"/>
                </a:lnTo>
                <a:lnTo>
                  <a:pt x="0" y="16"/>
                </a:lnTo>
                <a:lnTo>
                  <a:pt x="0" y="11"/>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2" name="Freeform 331">
            <a:extLst>
              <a:ext uri="{FF2B5EF4-FFF2-40B4-BE49-F238E27FC236}">
                <a16:creationId xmlns:a16="http://schemas.microsoft.com/office/drawing/2014/main" id="{A30BE86B-FF49-E33A-E98C-25265D247CE3}"/>
              </a:ext>
            </a:extLst>
          </p:cNvPr>
          <p:cNvSpPr>
            <a:spLocks/>
          </p:cNvSpPr>
          <p:nvPr/>
        </p:nvSpPr>
        <p:spPr bwMode="auto">
          <a:xfrm>
            <a:off x="4132263" y="2532063"/>
            <a:ext cx="53975" cy="33338"/>
          </a:xfrm>
          <a:custGeom>
            <a:avLst/>
            <a:gdLst>
              <a:gd name="T0" fmla="*/ 38 w 49"/>
              <a:gd name="T1" fmla="*/ 5 h 27"/>
              <a:gd name="T2" fmla="*/ 38 w 49"/>
              <a:gd name="T3" fmla="*/ 11 h 27"/>
              <a:gd name="T4" fmla="*/ 49 w 49"/>
              <a:gd name="T5" fmla="*/ 11 h 27"/>
              <a:gd name="T6" fmla="*/ 49 w 49"/>
              <a:gd name="T7" fmla="*/ 16 h 27"/>
              <a:gd name="T8" fmla="*/ 49 w 49"/>
              <a:gd name="T9" fmla="*/ 22 h 27"/>
              <a:gd name="T10" fmla="*/ 43 w 49"/>
              <a:gd name="T11" fmla="*/ 22 h 27"/>
              <a:gd name="T12" fmla="*/ 38 w 49"/>
              <a:gd name="T13" fmla="*/ 22 h 27"/>
              <a:gd name="T14" fmla="*/ 33 w 49"/>
              <a:gd name="T15" fmla="*/ 22 h 27"/>
              <a:gd name="T16" fmla="*/ 27 w 49"/>
              <a:gd name="T17" fmla="*/ 22 h 27"/>
              <a:gd name="T18" fmla="*/ 22 w 49"/>
              <a:gd name="T19" fmla="*/ 22 h 27"/>
              <a:gd name="T20" fmla="*/ 16 w 49"/>
              <a:gd name="T21" fmla="*/ 27 h 27"/>
              <a:gd name="T22" fmla="*/ 11 w 49"/>
              <a:gd name="T23" fmla="*/ 22 h 27"/>
              <a:gd name="T24" fmla="*/ 5 w 49"/>
              <a:gd name="T25" fmla="*/ 22 h 27"/>
              <a:gd name="T26" fmla="*/ 0 w 49"/>
              <a:gd name="T27" fmla="*/ 16 h 27"/>
              <a:gd name="T28" fmla="*/ 0 w 49"/>
              <a:gd name="T29" fmla="*/ 11 h 27"/>
              <a:gd name="T30" fmla="*/ 5 w 49"/>
              <a:gd name="T31" fmla="*/ 5 h 27"/>
              <a:gd name="T32" fmla="*/ 5 w 49"/>
              <a:gd name="T33" fmla="*/ 0 h 27"/>
              <a:gd name="T34" fmla="*/ 11 w 49"/>
              <a:gd name="T35" fmla="*/ 0 h 27"/>
              <a:gd name="T36" fmla="*/ 16 w 49"/>
              <a:gd name="T37" fmla="*/ 0 h 27"/>
              <a:gd name="T38" fmla="*/ 16 w 49"/>
              <a:gd name="T39" fmla="*/ 5 h 27"/>
              <a:gd name="T40" fmla="*/ 22 w 49"/>
              <a:gd name="T41" fmla="*/ 5 h 27"/>
              <a:gd name="T42" fmla="*/ 27 w 49"/>
              <a:gd name="T43" fmla="*/ 5 h 27"/>
              <a:gd name="T44" fmla="*/ 33 w 49"/>
              <a:gd name="T45" fmla="*/ 5 h 27"/>
              <a:gd name="T46" fmla="*/ 38 w 49"/>
              <a:gd name="T47"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27">
                <a:moveTo>
                  <a:pt x="38" y="5"/>
                </a:moveTo>
                <a:lnTo>
                  <a:pt x="38" y="11"/>
                </a:lnTo>
                <a:lnTo>
                  <a:pt x="49" y="11"/>
                </a:lnTo>
                <a:lnTo>
                  <a:pt x="49" y="16"/>
                </a:lnTo>
                <a:lnTo>
                  <a:pt x="49" y="22"/>
                </a:lnTo>
                <a:lnTo>
                  <a:pt x="43" y="22"/>
                </a:lnTo>
                <a:lnTo>
                  <a:pt x="38" y="22"/>
                </a:lnTo>
                <a:lnTo>
                  <a:pt x="33" y="22"/>
                </a:lnTo>
                <a:lnTo>
                  <a:pt x="27" y="22"/>
                </a:lnTo>
                <a:lnTo>
                  <a:pt x="22" y="22"/>
                </a:lnTo>
                <a:lnTo>
                  <a:pt x="16" y="27"/>
                </a:lnTo>
                <a:lnTo>
                  <a:pt x="11" y="22"/>
                </a:lnTo>
                <a:lnTo>
                  <a:pt x="5" y="22"/>
                </a:lnTo>
                <a:lnTo>
                  <a:pt x="0" y="16"/>
                </a:lnTo>
                <a:lnTo>
                  <a:pt x="0" y="11"/>
                </a:lnTo>
                <a:lnTo>
                  <a:pt x="5" y="5"/>
                </a:lnTo>
                <a:lnTo>
                  <a:pt x="5" y="0"/>
                </a:lnTo>
                <a:lnTo>
                  <a:pt x="11" y="0"/>
                </a:lnTo>
                <a:lnTo>
                  <a:pt x="16" y="0"/>
                </a:lnTo>
                <a:lnTo>
                  <a:pt x="16" y="5"/>
                </a:lnTo>
                <a:lnTo>
                  <a:pt x="22" y="5"/>
                </a:lnTo>
                <a:lnTo>
                  <a:pt x="27" y="5"/>
                </a:lnTo>
                <a:lnTo>
                  <a:pt x="33" y="5"/>
                </a:lnTo>
                <a:lnTo>
                  <a:pt x="38" y="5"/>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3" name="Freeform 332">
            <a:extLst>
              <a:ext uri="{FF2B5EF4-FFF2-40B4-BE49-F238E27FC236}">
                <a16:creationId xmlns:a16="http://schemas.microsoft.com/office/drawing/2014/main" id="{88B206CE-52CA-0E74-24E7-4FF9D2E8BF92}"/>
              </a:ext>
            </a:extLst>
          </p:cNvPr>
          <p:cNvSpPr>
            <a:spLocks/>
          </p:cNvSpPr>
          <p:nvPr/>
        </p:nvSpPr>
        <p:spPr bwMode="auto">
          <a:xfrm>
            <a:off x="4124325" y="2565400"/>
            <a:ext cx="104775" cy="112713"/>
          </a:xfrm>
          <a:custGeom>
            <a:avLst/>
            <a:gdLst>
              <a:gd name="T0" fmla="*/ 33 w 93"/>
              <a:gd name="T1" fmla="*/ 71 h 93"/>
              <a:gd name="T2" fmla="*/ 33 w 93"/>
              <a:gd name="T3" fmla="*/ 60 h 93"/>
              <a:gd name="T4" fmla="*/ 28 w 93"/>
              <a:gd name="T5" fmla="*/ 49 h 93"/>
              <a:gd name="T6" fmla="*/ 22 w 93"/>
              <a:gd name="T7" fmla="*/ 38 h 93"/>
              <a:gd name="T8" fmla="*/ 17 w 93"/>
              <a:gd name="T9" fmla="*/ 38 h 93"/>
              <a:gd name="T10" fmla="*/ 11 w 93"/>
              <a:gd name="T11" fmla="*/ 33 h 93"/>
              <a:gd name="T12" fmla="*/ 11 w 93"/>
              <a:gd name="T13" fmla="*/ 27 h 93"/>
              <a:gd name="T14" fmla="*/ 17 w 93"/>
              <a:gd name="T15" fmla="*/ 22 h 93"/>
              <a:gd name="T16" fmla="*/ 17 w 93"/>
              <a:gd name="T17" fmla="*/ 16 h 93"/>
              <a:gd name="T18" fmla="*/ 6 w 93"/>
              <a:gd name="T19" fmla="*/ 11 h 93"/>
              <a:gd name="T20" fmla="*/ 6 w 93"/>
              <a:gd name="T21" fmla="*/ 5 h 93"/>
              <a:gd name="T22" fmla="*/ 6 w 93"/>
              <a:gd name="T23" fmla="*/ 0 h 93"/>
              <a:gd name="T24" fmla="*/ 17 w 93"/>
              <a:gd name="T25" fmla="*/ 5 h 93"/>
              <a:gd name="T26" fmla="*/ 17 w 93"/>
              <a:gd name="T27" fmla="*/ 5 h 93"/>
              <a:gd name="T28" fmla="*/ 22 w 93"/>
              <a:gd name="T29" fmla="*/ 5 h 93"/>
              <a:gd name="T30" fmla="*/ 33 w 93"/>
              <a:gd name="T31" fmla="*/ 16 h 93"/>
              <a:gd name="T32" fmla="*/ 39 w 93"/>
              <a:gd name="T33" fmla="*/ 22 h 93"/>
              <a:gd name="T34" fmla="*/ 49 w 93"/>
              <a:gd name="T35" fmla="*/ 22 h 93"/>
              <a:gd name="T36" fmla="*/ 60 w 93"/>
              <a:gd name="T37" fmla="*/ 22 h 93"/>
              <a:gd name="T38" fmla="*/ 71 w 93"/>
              <a:gd name="T39" fmla="*/ 22 h 93"/>
              <a:gd name="T40" fmla="*/ 71 w 93"/>
              <a:gd name="T41" fmla="*/ 27 h 93"/>
              <a:gd name="T42" fmla="*/ 71 w 93"/>
              <a:gd name="T43" fmla="*/ 38 h 93"/>
              <a:gd name="T44" fmla="*/ 60 w 93"/>
              <a:gd name="T45" fmla="*/ 38 h 93"/>
              <a:gd name="T46" fmla="*/ 66 w 93"/>
              <a:gd name="T47" fmla="*/ 49 h 93"/>
              <a:gd name="T48" fmla="*/ 71 w 93"/>
              <a:gd name="T49" fmla="*/ 55 h 93"/>
              <a:gd name="T50" fmla="*/ 71 w 93"/>
              <a:gd name="T51" fmla="*/ 55 h 93"/>
              <a:gd name="T52" fmla="*/ 71 w 93"/>
              <a:gd name="T53" fmla="*/ 44 h 93"/>
              <a:gd name="T54" fmla="*/ 77 w 93"/>
              <a:gd name="T55" fmla="*/ 49 h 93"/>
              <a:gd name="T56" fmla="*/ 82 w 93"/>
              <a:gd name="T57" fmla="*/ 60 h 93"/>
              <a:gd name="T58" fmla="*/ 88 w 93"/>
              <a:gd name="T59" fmla="*/ 65 h 93"/>
              <a:gd name="T60" fmla="*/ 88 w 93"/>
              <a:gd name="T61" fmla="*/ 71 h 93"/>
              <a:gd name="T62" fmla="*/ 93 w 93"/>
              <a:gd name="T63" fmla="*/ 76 h 93"/>
              <a:gd name="T64" fmla="*/ 88 w 93"/>
              <a:gd name="T65" fmla="*/ 82 h 93"/>
              <a:gd name="T66" fmla="*/ 93 w 93"/>
              <a:gd name="T67" fmla="*/ 93 h 93"/>
              <a:gd name="T68" fmla="*/ 82 w 93"/>
              <a:gd name="T69" fmla="*/ 82 h 93"/>
              <a:gd name="T70" fmla="*/ 82 w 93"/>
              <a:gd name="T71" fmla="*/ 71 h 93"/>
              <a:gd name="T72" fmla="*/ 77 w 93"/>
              <a:gd name="T73" fmla="*/ 65 h 93"/>
              <a:gd name="T74" fmla="*/ 66 w 93"/>
              <a:gd name="T75" fmla="*/ 60 h 93"/>
              <a:gd name="T76" fmla="*/ 55 w 93"/>
              <a:gd name="T77" fmla="*/ 55 h 93"/>
              <a:gd name="T78" fmla="*/ 49 w 93"/>
              <a:gd name="T79" fmla="*/ 49 h 93"/>
              <a:gd name="T80" fmla="*/ 39 w 93"/>
              <a:gd name="T81" fmla="*/ 44 h 93"/>
              <a:gd name="T82" fmla="*/ 33 w 93"/>
              <a:gd name="T83" fmla="*/ 44 h 93"/>
              <a:gd name="T84" fmla="*/ 33 w 93"/>
              <a:gd name="T85" fmla="*/ 44 h 93"/>
              <a:gd name="T86" fmla="*/ 44 w 93"/>
              <a:gd name="T87" fmla="*/ 49 h 93"/>
              <a:gd name="T88" fmla="*/ 55 w 93"/>
              <a:gd name="T89" fmla="*/ 55 h 93"/>
              <a:gd name="T90" fmla="*/ 55 w 93"/>
              <a:gd name="T91" fmla="*/ 65 h 93"/>
              <a:gd name="T92" fmla="*/ 60 w 93"/>
              <a:gd name="T93" fmla="*/ 71 h 93"/>
              <a:gd name="T94" fmla="*/ 55 w 93"/>
              <a:gd name="T95" fmla="*/ 76 h 93"/>
              <a:gd name="T96" fmla="*/ 49 w 93"/>
              <a:gd name="T97" fmla="*/ 76 h 93"/>
              <a:gd name="T98" fmla="*/ 44 w 93"/>
              <a:gd name="T99" fmla="*/ 7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3" h="93">
                <a:moveTo>
                  <a:pt x="39" y="71"/>
                </a:moveTo>
                <a:lnTo>
                  <a:pt x="33" y="71"/>
                </a:lnTo>
                <a:lnTo>
                  <a:pt x="33" y="65"/>
                </a:lnTo>
                <a:lnTo>
                  <a:pt x="33" y="60"/>
                </a:lnTo>
                <a:lnTo>
                  <a:pt x="28" y="55"/>
                </a:lnTo>
                <a:lnTo>
                  <a:pt x="28" y="49"/>
                </a:lnTo>
                <a:lnTo>
                  <a:pt x="22" y="44"/>
                </a:lnTo>
                <a:lnTo>
                  <a:pt x="22" y="38"/>
                </a:lnTo>
                <a:lnTo>
                  <a:pt x="22" y="33"/>
                </a:lnTo>
                <a:lnTo>
                  <a:pt x="17" y="38"/>
                </a:lnTo>
                <a:lnTo>
                  <a:pt x="17" y="33"/>
                </a:lnTo>
                <a:lnTo>
                  <a:pt x="11" y="33"/>
                </a:lnTo>
                <a:lnTo>
                  <a:pt x="6" y="27"/>
                </a:lnTo>
                <a:lnTo>
                  <a:pt x="11" y="27"/>
                </a:lnTo>
                <a:lnTo>
                  <a:pt x="11" y="22"/>
                </a:lnTo>
                <a:lnTo>
                  <a:pt x="17" y="22"/>
                </a:lnTo>
                <a:lnTo>
                  <a:pt x="22" y="22"/>
                </a:lnTo>
                <a:lnTo>
                  <a:pt x="17" y="16"/>
                </a:lnTo>
                <a:lnTo>
                  <a:pt x="11" y="16"/>
                </a:lnTo>
                <a:lnTo>
                  <a:pt x="6" y="11"/>
                </a:lnTo>
                <a:lnTo>
                  <a:pt x="0" y="5"/>
                </a:lnTo>
                <a:lnTo>
                  <a:pt x="6" y="5"/>
                </a:lnTo>
                <a:lnTo>
                  <a:pt x="0" y="0"/>
                </a:lnTo>
                <a:lnTo>
                  <a:pt x="6" y="0"/>
                </a:lnTo>
                <a:lnTo>
                  <a:pt x="11" y="5"/>
                </a:lnTo>
                <a:lnTo>
                  <a:pt x="17" y="5"/>
                </a:lnTo>
                <a:lnTo>
                  <a:pt x="17" y="0"/>
                </a:lnTo>
                <a:lnTo>
                  <a:pt x="17" y="5"/>
                </a:lnTo>
                <a:lnTo>
                  <a:pt x="22" y="11"/>
                </a:lnTo>
                <a:lnTo>
                  <a:pt x="22" y="5"/>
                </a:lnTo>
                <a:lnTo>
                  <a:pt x="28" y="11"/>
                </a:lnTo>
                <a:lnTo>
                  <a:pt x="33" y="16"/>
                </a:lnTo>
                <a:lnTo>
                  <a:pt x="33" y="22"/>
                </a:lnTo>
                <a:lnTo>
                  <a:pt x="39" y="22"/>
                </a:lnTo>
                <a:lnTo>
                  <a:pt x="44" y="22"/>
                </a:lnTo>
                <a:lnTo>
                  <a:pt x="49" y="22"/>
                </a:lnTo>
                <a:lnTo>
                  <a:pt x="55" y="22"/>
                </a:lnTo>
                <a:lnTo>
                  <a:pt x="60" y="22"/>
                </a:lnTo>
                <a:lnTo>
                  <a:pt x="66" y="22"/>
                </a:lnTo>
                <a:lnTo>
                  <a:pt x="71" y="22"/>
                </a:lnTo>
                <a:lnTo>
                  <a:pt x="77" y="27"/>
                </a:lnTo>
                <a:lnTo>
                  <a:pt x="71" y="27"/>
                </a:lnTo>
                <a:lnTo>
                  <a:pt x="71" y="33"/>
                </a:lnTo>
                <a:lnTo>
                  <a:pt x="71" y="38"/>
                </a:lnTo>
                <a:lnTo>
                  <a:pt x="66" y="38"/>
                </a:lnTo>
                <a:lnTo>
                  <a:pt x="60" y="38"/>
                </a:lnTo>
                <a:lnTo>
                  <a:pt x="60" y="44"/>
                </a:lnTo>
                <a:lnTo>
                  <a:pt x="66" y="49"/>
                </a:lnTo>
                <a:lnTo>
                  <a:pt x="66" y="55"/>
                </a:lnTo>
                <a:lnTo>
                  <a:pt x="71" y="55"/>
                </a:lnTo>
                <a:lnTo>
                  <a:pt x="71" y="60"/>
                </a:lnTo>
                <a:lnTo>
                  <a:pt x="71" y="55"/>
                </a:lnTo>
                <a:lnTo>
                  <a:pt x="71" y="49"/>
                </a:lnTo>
                <a:lnTo>
                  <a:pt x="71" y="44"/>
                </a:lnTo>
                <a:lnTo>
                  <a:pt x="77" y="44"/>
                </a:lnTo>
                <a:lnTo>
                  <a:pt x="77" y="49"/>
                </a:lnTo>
                <a:lnTo>
                  <a:pt x="82" y="55"/>
                </a:lnTo>
                <a:lnTo>
                  <a:pt x="82" y="60"/>
                </a:lnTo>
                <a:lnTo>
                  <a:pt x="88" y="60"/>
                </a:lnTo>
                <a:lnTo>
                  <a:pt x="88" y="65"/>
                </a:lnTo>
                <a:lnTo>
                  <a:pt x="93" y="71"/>
                </a:lnTo>
                <a:lnTo>
                  <a:pt x="88" y="71"/>
                </a:lnTo>
                <a:lnTo>
                  <a:pt x="93" y="71"/>
                </a:lnTo>
                <a:lnTo>
                  <a:pt x="93" y="76"/>
                </a:lnTo>
                <a:lnTo>
                  <a:pt x="93" y="82"/>
                </a:lnTo>
                <a:lnTo>
                  <a:pt x="88" y="82"/>
                </a:lnTo>
                <a:lnTo>
                  <a:pt x="88" y="87"/>
                </a:lnTo>
                <a:lnTo>
                  <a:pt x="93" y="93"/>
                </a:lnTo>
                <a:lnTo>
                  <a:pt x="88" y="87"/>
                </a:lnTo>
                <a:lnTo>
                  <a:pt x="82" y="82"/>
                </a:lnTo>
                <a:lnTo>
                  <a:pt x="82" y="76"/>
                </a:lnTo>
                <a:lnTo>
                  <a:pt x="82" y="71"/>
                </a:lnTo>
                <a:lnTo>
                  <a:pt x="77" y="71"/>
                </a:lnTo>
                <a:lnTo>
                  <a:pt x="77" y="65"/>
                </a:lnTo>
                <a:lnTo>
                  <a:pt x="71" y="60"/>
                </a:lnTo>
                <a:lnTo>
                  <a:pt x="66" y="60"/>
                </a:lnTo>
                <a:lnTo>
                  <a:pt x="60" y="60"/>
                </a:lnTo>
                <a:lnTo>
                  <a:pt x="55" y="55"/>
                </a:lnTo>
                <a:lnTo>
                  <a:pt x="55" y="49"/>
                </a:lnTo>
                <a:lnTo>
                  <a:pt x="49" y="49"/>
                </a:lnTo>
                <a:lnTo>
                  <a:pt x="44" y="49"/>
                </a:lnTo>
                <a:lnTo>
                  <a:pt x="39" y="44"/>
                </a:lnTo>
                <a:lnTo>
                  <a:pt x="39" y="38"/>
                </a:lnTo>
                <a:lnTo>
                  <a:pt x="33" y="44"/>
                </a:lnTo>
                <a:lnTo>
                  <a:pt x="28" y="38"/>
                </a:lnTo>
                <a:lnTo>
                  <a:pt x="33" y="44"/>
                </a:lnTo>
                <a:lnTo>
                  <a:pt x="39" y="44"/>
                </a:lnTo>
                <a:lnTo>
                  <a:pt x="44" y="49"/>
                </a:lnTo>
                <a:lnTo>
                  <a:pt x="55" y="49"/>
                </a:lnTo>
                <a:lnTo>
                  <a:pt x="55" y="55"/>
                </a:lnTo>
                <a:lnTo>
                  <a:pt x="55" y="60"/>
                </a:lnTo>
                <a:lnTo>
                  <a:pt x="55" y="65"/>
                </a:lnTo>
                <a:lnTo>
                  <a:pt x="60" y="65"/>
                </a:lnTo>
                <a:lnTo>
                  <a:pt x="60" y="71"/>
                </a:lnTo>
                <a:lnTo>
                  <a:pt x="55" y="71"/>
                </a:lnTo>
                <a:lnTo>
                  <a:pt x="55" y="76"/>
                </a:lnTo>
                <a:lnTo>
                  <a:pt x="49" y="71"/>
                </a:lnTo>
                <a:lnTo>
                  <a:pt x="49" y="76"/>
                </a:lnTo>
                <a:lnTo>
                  <a:pt x="44" y="71"/>
                </a:lnTo>
                <a:lnTo>
                  <a:pt x="44" y="76"/>
                </a:lnTo>
                <a:lnTo>
                  <a:pt x="39" y="71"/>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r>
              <a:rPr lang="en-US" sz="1350"/>
              <a:t> </a:t>
            </a:r>
          </a:p>
        </p:txBody>
      </p:sp>
      <p:sp>
        <p:nvSpPr>
          <p:cNvPr id="134" name="Freeform 337">
            <a:extLst>
              <a:ext uri="{FF2B5EF4-FFF2-40B4-BE49-F238E27FC236}">
                <a16:creationId xmlns:a16="http://schemas.microsoft.com/office/drawing/2014/main" id="{3FAC13BA-A6B4-2364-1056-DEFDCE0B17FD}"/>
              </a:ext>
            </a:extLst>
          </p:cNvPr>
          <p:cNvSpPr>
            <a:spLocks/>
          </p:cNvSpPr>
          <p:nvPr/>
        </p:nvSpPr>
        <p:spPr bwMode="auto">
          <a:xfrm>
            <a:off x="4364038" y="2644775"/>
            <a:ext cx="158750" cy="166688"/>
          </a:xfrm>
          <a:custGeom>
            <a:avLst/>
            <a:gdLst>
              <a:gd name="T0" fmla="*/ 0 w 142"/>
              <a:gd name="T1" fmla="*/ 28 h 137"/>
              <a:gd name="T2" fmla="*/ 5 w 142"/>
              <a:gd name="T3" fmla="*/ 22 h 137"/>
              <a:gd name="T4" fmla="*/ 11 w 142"/>
              <a:gd name="T5" fmla="*/ 17 h 137"/>
              <a:gd name="T6" fmla="*/ 22 w 142"/>
              <a:gd name="T7" fmla="*/ 17 h 137"/>
              <a:gd name="T8" fmla="*/ 22 w 142"/>
              <a:gd name="T9" fmla="*/ 17 h 137"/>
              <a:gd name="T10" fmla="*/ 16 w 142"/>
              <a:gd name="T11" fmla="*/ 6 h 137"/>
              <a:gd name="T12" fmla="*/ 16 w 142"/>
              <a:gd name="T13" fmla="*/ 0 h 137"/>
              <a:gd name="T14" fmla="*/ 22 w 142"/>
              <a:gd name="T15" fmla="*/ 6 h 137"/>
              <a:gd name="T16" fmla="*/ 33 w 142"/>
              <a:gd name="T17" fmla="*/ 11 h 137"/>
              <a:gd name="T18" fmla="*/ 38 w 142"/>
              <a:gd name="T19" fmla="*/ 17 h 137"/>
              <a:gd name="T20" fmla="*/ 44 w 142"/>
              <a:gd name="T21" fmla="*/ 28 h 137"/>
              <a:gd name="T22" fmla="*/ 55 w 142"/>
              <a:gd name="T23" fmla="*/ 28 h 137"/>
              <a:gd name="T24" fmla="*/ 65 w 142"/>
              <a:gd name="T25" fmla="*/ 22 h 137"/>
              <a:gd name="T26" fmla="*/ 71 w 142"/>
              <a:gd name="T27" fmla="*/ 28 h 137"/>
              <a:gd name="T28" fmla="*/ 71 w 142"/>
              <a:gd name="T29" fmla="*/ 33 h 137"/>
              <a:gd name="T30" fmla="*/ 76 w 142"/>
              <a:gd name="T31" fmla="*/ 44 h 137"/>
              <a:gd name="T32" fmla="*/ 65 w 142"/>
              <a:gd name="T33" fmla="*/ 44 h 137"/>
              <a:gd name="T34" fmla="*/ 71 w 142"/>
              <a:gd name="T35" fmla="*/ 55 h 137"/>
              <a:gd name="T36" fmla="*/ 82 w 142"/>
              <a:gd name="T37" fmla="*/ 60 h 137"/>
              <a:gd name="T38" fmla="*/ 87 w 142"/>
              <a:gd name="T39" fmla="*/ 66 h 137"/>
              <a:gd name="T40" fmla="*/ 98 w 142"/>
              <a:gd name="T41" fmla="*/ 71 h 137"/>
              <a:gd name="T42" fmla="*/ 104 w 142"/>
              <a:gd name="T43" fmla="*/ 77 h 137"/>
              <a:gd name="T44" fmla="*/ 115 w 142"/>
              <a:gd name="T45" fmla="*/ 88 h 137"/>
              <a:gd name="T46" fmla="*/ 125 w 142"/>
              <a:gd name="T47" fmla="*/ 99 h 137"/>
              <a:gd name="T48" fmla="*/ 131 w 142"/>
              <a:gd name="T49" fmla="*/ 104 h 137"/>
              <a:gd name="T50" fmla="*/ 136 w 142"/>
              <a:gd name="T51" fmla="*/ 104 h 137"/>
              <a:gd name="T52" fmla="*/ 136 w 142"/>
              <a:gd name="T53" fmla="*/ 110 h 137"/>
              <a:gd name="T54" fmla="*/ 136 w 142"/>
              <a:gd name="T55" fmla="*/ 120 h 137"/>
              <a:gd name="T56" fmla="*/ 136 w 142"/>
              <a:gd name="T57" fmla="*/ 126 h 137"/>
              <a:gd name="T58" fmla="*/ 125 w 142"/>
              <a:gd name="T59" fmla="*/ 126 h 137"/>
              <a:gd name="T60" fmla="*/ 120 w 142"/>
              <a:gd name="T61" fmla="*/ 131 h 137"/>
              <a:gd name="T62" fmla="*/ 115 w 142"/>
              <a:gd name="T63" fmla="*/ 131 h 137"/>
              <a:gd name="T64" fmla="*/ 104 w 142"/>
              <a:gd name="T65" fmla="*/ 131 h 137"/>
              <a:gd name="T66" fmla="*/ 109 w 142"/>
              <a:gd name="T67" fmla="*/ 120 h 137"/>
              <a:gd name="T68" fmla="*/ 104 w 142"/>
              <a:gd name="T69" fmla="*/ 115 h 137"/>
              <a:gd name="T70" fmla="*/ 104 w 142"/>
              <a:gd name="T71" fmla="*/ 104 h 137"/>
              <a:gd name="T72" fmla="*/ 93 w 142"/>
              <a:gd name="T73" fmla="*/ 99 h 137"/>
              <a:gd name="T74" fmla="*/ 87 w 142"/>
              <a:gd name="T75" fmla="*/ 93 h 137"/>
              <a:gd name="T76" fmla="*/ 87 w 142"/>
              <a:gd name="T77" fmla="*/ 82 h 137"/>
              <a:gd name="T78" fmla="*/ 82 w 142"/>
              <a:gd name="T79" fmla="*/ 77 h 137"/>
              <a:gd name="T80" fmla="*/ 71 w 142"/>
              <a:gd name="T81" fmla="*/ 66 h 137"/>
              <a:gd name="T82" fmla="*/ 60 w 142"/>
              <a:gd name="T83" fmla="*/ 66 h 137"/>
              <a:gd name="T84" fmla="*/ 55 w 142"/>
              <a:gd name="T85" fmla="*/ 71 h 137"/>
              <a:gd name="T86" fmla="*/ 44 w 142"/>
              <a:gd name="T87" fmla="*/ 71 h 137"/>
              <a:gd name="T88" fmla="*/ 38 w 142"/>
              <a:gd name="T89" fmla="*/ 71 h 137"/>
              <a:gd name="T90" fmla="*/ 27 w 142"/>
              <a:gd name="T91" fmla="*/ 77 h 137"/>
              <a:gd name="T92" fmla="*/ 27 w 142"/>
              <a:gd name="T93" fmla="*/ 66 h 137"/>
              <a:gd name="T94" fmla="*/ 27 w 142"/>
              <a:gd name="T95" fmla="*/ 60 h 137"/>
              <a:gd name="T96" fmla="*/ 22 w 142"/>
              <a:gd name="T97" fmla="*/ 55 h 137"/>
              <a:gd name="T98" fmla="*/ 22 w 142"/>
              <a:gd name="T99" fmla="*/ 44 h 137"/>
              <a:gd name="T100" fmla="*/ 16 w 142"/>
              <a:gd name="T101" fmla="*/ 50 h 137"/>
              <a:gd name="T102" fmla="*/ 11 w 142"/>
              <a:gd name="T103" fmla="*/ 39 h 137"/>
              <a:gd name="T104" fmla="*/ 0 w 142"/>
              <a:gd name="T105" fmla="*/ 3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 h="137">
                <a:moveTo>
                  <a:pt x="0" y="33"/>
                </a:moveTo>
                <a:lnTo>
                  <a:pt x="0" y="28"/>
                </a:lnTo>
                <a:lnTo>
                  <a:pt x="5" y="28"/>
                </a:lnTo>
                <a:lnTo>
                  <a:pt x="5" y="22"/>
                </a:lnTo>
                <a:lnTo>
                  <a:pt x="5" y="17"/>
                </a:lnTo>
                <a:lnTo>
                  <a:pt x="11" y="17"/>
                </a:lnTo>
                <a:lnTo>
                  <a:pt x="16" y="22"/>
                </a:lnTo>
                <a:lnTo>
                  <a:pt x="22" y="17"/>
                </a:lnTo>
                <a:lnTo>
                  <a:pt x="22" y="22"/>
                </a:lnTo>
                <a:lnTo>
                  <a:pt x="22" y="17"/>
                </a:lnTo>
                <a:lnTo>
                  <a:pt x="22" y="11"/>
                </a:lnTo>
                <a:lnTo>
                  <a:pt x="16" y="6"/>
                </a:lnTo>
                <a:lnTo>
                  <a:pt x="11" y="6"/>
                </a:lnTo>
                <a:lnTo>
                  <a:pt x="16" y="0"/>
                </a:lnTo>
                <a:lnTo>
                  <a:pt x="22" y="0"/>
                </a:lnTo>
                <a:lnTo>
                  <a:pt x="22" y="6"/>
                </a:lnTo>
                <a:lnTo>
                  <a:pt x="27" y="6"/>
                </a:lnTo>
                <a:lnTo>
                  <a:pt x="33" y="11"/>
                </a:lnTo>
                <a:lnTo>
                  <a:pt x="38" y="11"/>
                </a:lnTo>
                <a:lnTo>
                  <a:pt x="38" y="17"/>
                </a:lnTo>
                <a:lnTo>
                  <a:pt x="44" y="22"/>
                </a:lnTo>
                <a:lnTo>
                  <a:pt x="44" y="28"/>
                </a:lnTo>
                <a:lnTo>
                  <a:pt x="49" y="28"/>
                </a:lnTo>
                <a:lnTo>
                  <a:pt x="55" y="28"/>
                </a:lnTo>
                <a:lnTo>
                  <a:pt x="60" y="22"/>
                </a:lnTo>
                <a:lnTo>
                  <a:pt x="65" y="22"/>
                </a:lnTo>
                <a:lnTo>
                  <a:pt x="65" y="28"/>
                </a:lnTo>
                <a:lnTo>
                  <a:pt x="71" y="28"/>
                </a:lnTo>
                <a:lnTo>
                  <a:pt x="65" y="33"/>
                </a:lnTo>
                <a:lnTo>
                  <a:pt x="71" y="33"/>
                </a:lnTo>
                <a:lnTo>
                  <a:pt x="76" y="39"/>
                </a:lnTo>
                <a:lnTo>
                  <a:pt x="76" y="44"/>
                </a:lnTo>
                <a:lnTo>
                  <a:pt x="71" y="44"/>
                </a:lnTo>
                <a:lnTo>
                  <a:pt x="65" y="44"/>
                </a:lnTo>
                <a:lnTo>
                  <a:pt x="65" y="50"/>
                </a:lnTo>
                <a:lnTo>
                  <a:pt x="71" y="55"/>
                </a:lnTo>
                <a:lnTo>
                  <a:pt x="76" y="55"/>
                </a:lnTo>
                <a:lnTo>
                  <a:pt x="82" y="60"/>
                </a:lnTo>
                <a:lnTo>
                  <a:pt x="87" y="60"/>
                </a:lnTo>
                <a:lnTo>
                  <a:pt x="87" y="66"/>
                </a:lnTo>
                <a:lnTo>
                  <a:pt x="93" y="66"/>
                </a:lnTo>
                <a:lnTo>
                  <a:pt x="98" y="71"/>
                </a:lnTo>
                <a:lnTo>
                  <a:pt x="98" y="77"/>
                </a:lnTo>
                <a:lnTo>
                  <a:pt x="104" y="77"/>
                </a:lnTo>
                <a:lnTo>
                  <a:pt x="109" y="82"/>
                </a:lnTo>
                <a:lnTo>
                  <a:pt x="115" y="88"/>
                </a:lnTo>
                <a:lnTo>
                  <a:pt x="120" y="93"/>
                </a:lnTo>
                <a:lnTo>
                  <a:pt x="125" y="99"/>
                </a:lnTo>
                <a:lnTo>
                  <a:pt x="131" y="99"/>
                </a:lnTo>
                <a:lnTo>
                  <a:pt x="131" y="104"/>
                </a:lnTo>
                <a:lnTo>
                  <a:pt x="136" y="99"/>
                </a:lnTo>
                <a:lnTo>
                  <a:pt x="136" y="104"/>
                </a:lnTo>
                <a:lnTo>
                  <a:pt x="131" y="104"/>
                </a:lnTo>
                <a:lnTo>
                  <a:pt x="136" y="110"/>
                </a:lnTo>
                <a:lnTo>
                  <a:pt x="142" y="115"/>
                </a:lnTo>
                <a:lnTo>
                  <a:pt x="136" y="120"/>
                </a:lnTo>
                <a:lnTo>
                  <a:pt x="142" y="126"/>
                </a:lnTo>
                <a:lnTo>
                  <a:pt x="136" y="126"/>
                </a:lnTo>
                <a:lnTo>
                  <a:pt x="131" y="131"/>
                </a:lnTo>
                <a:lnTo>
                  <a:pt x="125" y="126"/>
                </a:lnTo>
                <a:lnTo>
                  <a:pt x="120" y="126"/>
                </a:lnTo>
                <a:lnTo>
                  <a:pt x="120" y="131"/>
                </a:lnTo>
                <a:lnTo>
                  <a:pt x="120" y="137"/>
                </a:lnTo>
                <a:lnTo>
                  <a:pt x="115" y="131"/>
                </a:lnTo>
                <a:lnTo>
                  <a:pt x="109" y="131"/>
                </a:lnTo>
                <a:lnTo>
                  <a:pt x="104" y="131"/>
                </a:lnTo>
                <a:lnTo>
                  <a:pt x="109" y="126"/>
                </a:lnTo>
                <a:lnTo>
                  <a:pt x="109" y="120"/>
                </a:lnTo>
                <a:lnTo>
                  <a:pt x="109" y="115"/>
                </a:lnTo>
                <a:lnTo>
                  <a:pt x="104" y="115"/>
                </a:lnTo>
                <a:lnTo>
                  <a:pt x="109" y="110"/>
                </a:lnTo>
                <a:lnTo>
                  <a:pt x="104" y="104"/>
                </a:lnTo>
                <a:lnTo>
                  <a:pt x="98" y="99"/>
                </a:lnTo>
                <a:lnTo>
                  <a:pt x="93" y="99"/>
                </a:lnTo>
                <a:lnTo>
                  <a:pt x="93" y="93"/>
                </a:lnTo>
                <a:lnTo>
                  <a:pt x="87" y="93"/>
                </a:lnTo>
                <a:lnTo>
                  <a:pt x="87" y="88"/>
                </a:lnTo>
                <a:lnTo>
                  <a:pt x="87" y="82"/>
                </a:lnTo>
                <a:lnTo>
                  <a:pt x="87" y="77"/>
                </a:lnTo>
                <a:lnTo>
                  <a:pt x="82" y="77"/>
                </a:lnTo>
                <a:lnTo>
                  <a:pt x="76" y="71"/>
                </a:lnTo>
                <a:lnTo>
                  <a:pt x="71" y="66"/>
                </a:lnTo>
                <a:lnTo>
                  <a:pt x="65" y="66"/>
                </a:lnTo>
                <a:lnTo>
                  <a:pt x="60" y="66"/>
                </a:lnTo>
                <a:lnTo>
                  <a:pt x="60" y="71"/>
                </a:lnTo>
                <a:lnTo>
                  <a:pt x="55" y="71"/>
                </a:lnTo>
                <a:lnTo>
                  <a:pt x="49" y="71"/>
                </a:lnTo>
                <a:lnTo>
                  <a:pt x="44" y="71"/>
                </a:lnTo>
                <a:lnTo>
                  <a:pt x="44" y="66"/>
                </a:lnTo>
                <a:lnTo>
                  <a:pt x="38" y="71"/>
                </a:lnTo>
                <a:lnTo>
                  <a:pt x="33" y="77"/>
                </a:lnTo>
                <a:lnTo>
                  <a:pt x="27" y="77"/>
                </a:lnTo>
                <a:lnTo>
                  <a:pt x="27" y="71"/>
                </a:lnTo>
                <a:lnTo>
                  <a:pt x="27" y="66"/>
                </a:lnTo>
                <a:lnTo>
                  <a:pt x="22" y="66"/>
                </a:lnTo>
                <a:lnTo>
                  <a:pt x="27" y="60"/>
                </a:lnTo>
                <a:lnTo>
                  <a:pt x="27" y="55"/>
                </a:lnTo>
                <a:lnTo>
                  <a:pt x="22" y="55"/>
                </a:lnTo>
                <a:lnTo>
                  <a:pt x="22" y="50"/>
                </a:lnTo>
                <a:lnTo>
                  <a:pt x="22" y="44"/>
                </a:lnTo>
                <a:lnTo>
                  <a:pt x="16" y="44"/>
                </a:lnTo>
                <a:lnTo>
                  <a:pt x="16" y="50"/>
                </a:lnTo>
                <a:lnTo>
                  <a:pt x="11" y="44"/>
                </a:lnTo>
                <a:lnTo>
                  <a:pt x="11" y="39"/>
                </a:lnTo>
                <a:lnTo>
                  <a:pt x="5" y="33"/>
                </a:lnTo>
                <a:lnTo>
                  <a:pt x="0" y="33"/>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5" name="Freeform 339">
            <a:extLst>
              <a:ext uri="{FF2B5EF4-FFF2-40B4-BE49-F238E27FC236}">
                <a16:creationId xmlns:a16="http://schemas.microsoft.com/office/drawing/2014/main" id="{F6E4367C-B264-F390-00D0-DF27E507A562}"/>
              </a:ext>
            </a:extLst>
          </p:cNvPr>
          <p:cNvSpPr>
            <a:spLocks/>
          </p:cNvSpPr>
          <p:nvPr/>
        </p:nvSpPr>
        <p:spPr bwMode="auto">
          <a:xfrm>
            <a:off x="4224338" y="2524125"/>
            <a:ext cx="169863" cy="360363"/>
          </a:xfrm>
          <a:custGeom>
            <a:avLst/>
            <a:gdLst>
              <a:gd name="T0" fmla="*/ 5 w 152"/>
              <a:gd name="T1" fmla="*/ 109 h 295"/>
              <a:gd name="T2" fmla="*/ 5 w 152"/>
              <a:gd name="T3" fmla="*/ 93 h 295"/>
              <a:gd name="T4" fmla="*/ 5 w 152"/>
              <a:gd name="T5" fmla="*/ 77 h 295"/>
              <a:gd name="T6" fmla="*/ 11 w 152"/>
              <a:gd name="T7" fmla="*/ 77 h 295"/>
              <a:gd name="T8" fmla="*/ 21 w 152"/>
              <a:gd name="T9" fmla="*/ 66 h 295"/>
              <a:gd name="T10" fmla="*/ 21 w 152"/>
              <a:gd name="T11" fmla="*/ 49 h 295"/>
              <a:gd name="T12" fmla="*/ 16 w 152"/>
              <a:gd name="T13" fmla="*/ 33 h 295"/>
              <a:gd name="T14" fmla="*/ 27 w 152"/>
              <a:gd name="T15" fmla="*/ 22 h 295"/>
              <a:gd name="T16" fmla="*/ 38 w 152"/>
              <a:gd name="T17" fmla="*/ 22 h 295"/>
              <a:gd name="T18" fmla="*/ 43 w 152"/>
              <a:gd name="T19" fmla="*/ 6 h 295"/>
              <a:gd name="T20" fmla="*/ 54 w 152"/>
              <a:gd name="T21" fmla="*/ 11 h 295"/>
              <a:gd name="T22" fmla="*/ 71 w 152"/>
              <a:gd name="T23" fmla="*/ 28 h 295"/>
              <a:gd name="T24" fmla="*/ 71 w 152"/>
              <a:gd name="T25" fmla="*/ 38 h 295"/>
              <a:gd name="T26" fmla="*/ 65 w 152"/>
              <a:gd name="T27" fmla="*/ 55 h 295"/>
              <a:gd name="T28" fmla="*/ 71 w 152"/>
              <a:gd name="T29" fmla="*/ 77 h 295"/>
              <a:gd name="T30" fmla="*/ 87 w 152"/>
              <a:gd name="T31" fmla="*/ 71 h 295"/>
              <a:gd name="T32" fmla="*/ 98 w 152"/>
              <a:gd name="T33" fmla="*/ 88 h 295"/>
              <a:gd name="T34" fmla="*/ 103 w 152"/>
              <a:gd name="T35" fmla="*/ 104 h 295"/>
              <a:gd name="T36" fmla="*/ 125 w 152"/>
              <a:gd name="T37" fmla="*/ 115 h 295"/>
              <a:gd name="T38" fmla="*/ 136 w 152"/>
              <a:gd name="T39" fmla="*/ 115 h 295"/>
              <a:gd name="T40" fmla="*/ 125 w 152"/>
              <a:gd name="T41" fmla="*/ 126 h 295"/>
              <a:gd name="T42" fmla="*/ 120 w 152"/>
              <a:gd name="T43" fmla="*/ 137 h 295"/>
              <a:gd name="T44" fmla="*/ 109 w 152"/>
              <a:gd name="T45" fmla="*/ 142 h 295"/>
              <a:gd name="T46" fmla="*/ 98 w 152"/>
              <a:gd name="T47" fmla="*/ 153 h 295"/>
              <a:gd name="T48" fmla="*/ 92 w 152"/>
              <a:gd name="T49" fmla="*/ 158 h 295"/>
              <a:gd name="T50" fmla="*/ 109 w 152"/>
              <a:gd name="T51" fmla="*/ 180 h 295"/>
              <a:gd name="T52" fmla="*/ 120 w 152"/>
              <a:gd name="T53" fmla="*/ 197 h 295"/>
              <a:gd name="T54" fmla="*/ 125 w 152"/>
              <a:gd name="T55" fmla="*/ 213 h 295"/>
              <a:gd name="T56" fmla="*/ 125 w 152"/>
              <a:gd name="T57" fmla="*/ 229 h 295"/>
              <a:gd name="T58" fmla="*/ 141 w 152"/>
              <a:gd name="T59" fmla="*/ 240 h 295"/>
              <a:gd name="T60" fmla="*/ 147 w 152"/>
              <a:gd name="T61" fmla="*/ 262 h 295"/>
              <a:gd name="T62" fmla="*/ 147 w 152"/>
              <a:gd name="T63" fmla="*/ 273 h 295"/>
              <a:gd name="T64" fmla="*/ 141 w 152"/>
              <a:gd name="T65" fmla="*/ 295 h 295"/>
              <a:gd name="T66" fmla="*/ 141 w 152"/>
              <a:gd name="T67" fmla="*/ 278 h 295"/>
              <a:gd name="T68" fmla="*/ 141 w 152"/>
              <a:gd name="T69" fmla="*/ 268 h 295"/>
              <a:gd name="T70" fmla="*/ 130 w 152"/>
              <a:gd name="T71" fmla="*/ 262 h 295"/>
              <a:gd name="T72" fmla="*/ 130 w 152"/>
              <a:gd name="T73" fmla="*/ 246 h 295"/>
              <a:gd name="T74" fmla="*/ 120 w 152"/>
              <a:gd name="T75" fmla="*/ 235 h 295"/>
              <a:gd name="T76" fmla="*/ 114 w 152"/>
              <a:gd name="T77" fmla="*/ 213 h 295"/>
              <a:gd name="T78" fmla="*/ 103 w 152"/>
              <a:gd name="T79" fmla="*/ 202 h 295"/>
              <a:gd name="T80" fmla="*/ 98 w 152"/>
              <a:gd name="T81" fmla="*/ 186 h 295"/>
              <a:gd name="T82" fmla="*/ 87 w 152"/>
              <a:gd name="T83" fmla="*/ 180 h 295"/>
              <a:gd name="T84" fmla="*/ 87 w 152"/>
              <a:gd name="T85" fmla="*/ 191 h 295"/>
              <a:gd name="T86" fmla="*/ 76 w 152"/>
              <a:gd name="T87" fmla="*/ 197 h 295"/>
              <a:gd name="T88" fmla="*/ 60 w 152"/>
              <a:gd name="T89" fmla="*/ 202 h 295"/>
              <a:gd name="T90" fmla="*/ 60 w 152"/>
              <a:gd name="T91" fmla="*/ 197 h 295"/>
              <a:gd name="T92" fmla="*/ 54 w 152"/>
              <a:gd name="T93" fmla="*/ 186 h 295"/>
              <a:gd name="T94" fmla="*/ 49 w 152"/>
              <a:gd name="T95" fmla="*/ 169 h 295"/>
              <a:gd name="T96" fmla="*/ 38 w 152"/>
              <a:gd name="T97" fmla="*/ 148 h 295"/>
              <a:gd name="T98" fmla="*/ 32 w 152"/>
              <a:gd name="T99" fmla="*/ 148 h 295"/>
              <a:gd name="T100" fmla="*/ 27 w 152"/>
              <a:gd name="T101" fmla="*/ 142 h 295"/>
              <a:gd name="T102" fmla="*/ 16 w 152"/>
              <a:gd name="T103" fmla="*/ 137 h 295"/>
              <a:gd name="T104" fmla="*/ 5 w 152"/>
              <a:gd name="T105" fmla="*/ 12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2" h="295">
                <a:moveTo>
                  <a:pt x="0" y="120"/>
                </a:moveTo>
                <a:lnTo>
                  <a:pt x="0" y="115"/>
                </a:lnTo>
                <a:lnTo>
                  <a:pt x="5" y="115"/>
                </a:lnTo>
                <a:lnTo>
                  <a:pt x="5" y="109"/>
                </a:lnTo>
                <a:lnTo>
                  <a:pt x="5" y="104"/>
                </a:lnTo>
                <a:lnTo>
                  <a:pt x="11" y="104"/>
                </a:lnTo>
                <a:lnTo>
                  <a:pt x="11" y="98"/>
                </a:lnTo>
                <a:lnTo>
                  <a:pt x="5" y="93"/>
                </a:lnTo>
                <a:lnTo>
                  <a:pt x="5" y="88"/>
                </a:lnTo>
                <a:lnTo>
                  <a:pt x="11" y="88"/>
                </a:lnTo>
                <a:lnTo>
                  <a:pt x="11" y="82"/>
                </a:lnTo>
                <a:lnTo>
                  <a:pt x="5" y="77"/>
                </a:lnTo>
                <a:lnTo>
                  <a:pt x="5" y="71"/>
                </a:lnTo>
                <a:lnTo>
                  <a:pt x="5" y="77"/>
                </a:lnTo>
                <a:lnTo>
                  <a:pt x="11" y="71"/>
                </a:lnTo>
                <a:lnTo>
                  <a:pt x="11" y="77"/>
                </a:lnTo>
                <a:lnTo>
                  <a:pt x="16" y="77"/>
                </a:lnTo>
                <a:lnTo>
                  <a:pt x="16" y="71"/>
                </a:lnTo>
                <a:lnTo>
                  <a:pt x="16" y="66"/>
                </a:lnTo>
                <a:lnTo>
                  <a:pt x="21" y="66"/>
                </a:lnTo>
                <a:lnTo>
                  <a:pt x="21" y="60"/>
                </a:lnTo>
                <a:lnTo>
                  <a:pt x="21" y="55"/>
                </a:lnTo>
                <a:lnTo>
                  <a:pt x="16" y="49"/>
                </a:lnTo>
                <a:lnTo>
                  <a:pt x="21" y="49"/>
                </a:lnTo>
                <a:lnTo>
                  <a:pt x="21" y="44"/>
                </a:lnTo>
                <a:lnTo>
                  <a:pt x="21" y="38"/>
                </a:lnTo>
                <a:lnTo>
                  <a:pt x="16" y="38"/>
                </a:lnTo>
                <a:lnTo>
                  <a:pt x="16" y="33"/>
                </a:lnTo>
                <a:lnTo>
                  <a:pt x="21" y="33"/>
                </a:lnTo>
                <a:lnTo>
                  <a:pt x="21" y="28"/>
                </a:lnTo>
                <a:lnTo>
                  <a:pt x="27" y="28"/>
                </a:lnTo>
                <a:lnTo>
                  <a:pt x="27" y="22"/>
                </a:lnTo>
                <a:lnTo>
                  <a:pt x="32" y="22"/>
                </a:lnTo>
                <a:lnTo>
                  <a:pt x="38" y="22"/>
                </a:lnTo>
                <a:lnTo>
                  <a:pt x="43" y="22"/>
                </a:lnTo>
                <a:lnTo>
                  <a:pt x="38" y="22"/>
                </a:lnTo>
                <a:lnTo>
                  <a:pt x="38" y="17"/>
                </a:lnTo>
                <a:lnTo>
                  <a:pt x="43" y="11"/>
                </a:lnTo>
                <a:lnTo>
                  <a:pt x="38" y="6"/>
                </a:lnTo>
                <a:lnTo>
                  <a:pt x="43" y="6"/>
                </a:lnTo>
                <a:lnTo>
                  <a:pt x="43" y="0"/>
                </a:lnTo>
                <a:lnTo>
                  <a:pt x="43" y="6"/>
                </a:lnTo>
                <a:lnTo>
                  <a:pt x="54" y="6"/>
                </a:lnTo>
                <a:lnTo>
                  <a:pt x="54" y="11"/>
                </a:lnTo>
                <a:lnTo>
                  <a:pt x="60" y="17"/>
                </a:lnTo>
                <a:lnTo>
                  <a:pt x="65" y="17"/>
                </a:lnTo>
                <a:lnTo>
                  <a:pt x="65" y="22"/>
                </a:lnTo>
                <a:lnTo>
                  <a:pt x="71" y="28"/>
                </a:lnTo>
                <a:lnTo>
                  <a:pt x="71" y="33"/>
                </a:lnTo>
                <a:lnTo>
                  <a:pt x="71" y="38"/>
                </a:lnTo>
                <a:lnTo>
                  <a:pt x="76" y="38"/>
                </a:lnTo>
                <a:lnTo>
                  <a:pt x="71" y="38"/>
                </a:lnTo>
                <a:lnTo>
                  <a:pt x="76" y="44"/>
                </a:lnTo>
                <a:lnTo>
                  <a:pt x="71" y="44"/>
                </a:lnTo>
                <a:lnTo>
                  <a:pt x="71" y="49"/>
                </a:lnTo>
                <a:lnTo>
                  <a:pt x="65" y="55"/>
                </a:lnTo>
                <a:lnTo>
                  <a:pt x="65" y="60"/>
                </a:lnTo>
                <a:lnTo>
                  <a:pt x="65" y="66"/>
                </a:lnTo>
                <a:lnTo>
                  <a:pt x="71" y="71"/>
                </a:lnTo>
                <a:lnTo>
                  <a:pt x="71" y="77"/>
                </a:lnTo>
                <a:lnTo>
                  <a:pt x="71" y="71"/>
                </a:lnTo>
                <a:lnTo>
                  <a:pt x="76" y="71"/>
                </a:lnTo>
                <a:lnTo>
                  <a:pt x="81" y="71"/>
                </a:lnTo>
                <a:lnTo>
                  <a:pt x="87" y="71"/>
                </a:lnTo>
                <a:lnTo>
                  <a:pt x="87" y="77"/>
                </a:lnTo>
                <a:lnTo>
                  <a:pt x="92" y="82"/>
                </a:lnTo>
                <a:lnTo>
                  <a:pt x="92" y="88"/>
                </a:lnTo>
                <a:lnTo>
                  <a:pt x="98" y="88"/>
                </a:lnTo>
                <a:lnTo>
                  <a:pt x="103" y="88"/>
                </a:lnTo>
                <a:lnTo>
                  <a:pt x="103" y="93"/>
                </a:lnTo>
                <a:lnTo>
                  <a:pt x="103" y="98"/>
                </a:lnTo>
                <a:lnTo>
                  <a:pt x="103" y="104"/>
                </a:lnTo>
                <a:lnTo>
                  <a:pt x="109" y="104"/>
                </a:lnTo>
                <a:lnTo>
                  <a:pt x="114" y="104"/>
                </a:lnTo>
                <a:lnTo>
                  <a:pt x="120" y="109"/>
                </a:lnTo>
                <a:lnTo>
                  <a:pt x="125" y="115"/>
                </a:lnTo>
                <a:lnTo>
                  <a:pt x="130" y="115"/>
                </a:lnTo>
                <a:lnTo>
                  <a:pt x="130" y="109"/>
                </a:lnTo>
                <a:lnTo>
                  <a:pt x="136" y="109"/>
                </a:lnTo>
                <a:lnTo>
                  <a:pt x="136" y="115"/>
                </a:lnTo>
                <a:lnTo>
                  <a:pt x="130" y="115"/>
                </a:lnTo>
                <a:lnTo>
                  <a:pt x="130" y="120"/>
                </a:lnTo>
                <a:lnTo>
                  <a:pt x="130" y="126"/>
                </a:lnTo>
                <a:lnTo>
                  <a:pt x="125" y="126"/>
                </a:lnTo>
                <a:lnTo>
                  <a:pt x="125" y="131"/>
                </a:lnTo>
                <a:lnTo>
                  <a:pt x="120" y="131"/>
                </a:lnTo>
                <a:lnTo>
                  <a:pt x="114" y="131"/>
                </a:lnTo>
                <a:lnTo>
                  <a:pt x="120" y="137"/>
                </a:lnTo>
                <a:lnTo>
                  <a:pt x="114" y="137"/>
                </a:lnTo>
                <a:lnTo>
                  <a:pt x="109" y="137"/>
                </a:lnTo>
                <a:lnTo>
                  <a:pt x="114" y="142"/>
                </a:lnTo>
                <a:lnTo>
                  <a:pt x="109" y="142"/>
                </a:lnTo>
                <a:lnTo>
                  <a:pt x="103" y="142"/>
                </a:lnTo>
                <a:lnTo>
                  <a:pt x="98" y="142"/>
                </a:lnTo>
                <a:lnTo>
                  <a:pt x="92" y="148"/>
                </a:lnTo>
                <a:lnTo>
                  <a:pt x="98" y="153"/>
                </a:lnTo>
                <a:lnTo>
                  <a:pt x="92" y="153"/>
                </a:lnTo>
                <a:lnTo>
                  <a:pt x="98" y="153"/>
                </a:lnTo>
                <a:lnTo>
                  <a:pt x="98" y="158"/>
                </a:lnTo>
                <a:lnTo>
                  <a:pt x="92" y="158"/>
                </a:lnTo>
                <a:lnTo>
                  <a:pt x="98" y="164"/>
                </a:lnTo>
                <a:lnTo>
                  <a:pt x="98" y="169"/>
                </a:lnTo>
                <a:lnTo>
                  <a:pt x="103" y="175"/>
                </a:lnTo>
                <a:lnTo>
                  <a:pt x="109" y="180"/>
                </a:lnTo>
                <a:lnTo>
                  <a:pt x="114" y="186"/>
                </a:lnTo>
                <a:lnTo>
                  <a:pt x="114" y="191"/>
                </a:lnTo>
                <a:lnTo>
                  <a:pt x="120" y="191"/>
                </a:lnTo>
                <a:lnTo>
                  <a:pt x="120" y="197"/>
                </a:lnTo>
                <a:lnTo>
                  <a:pt x="125" y="197"/>
                </a:lnTo>
                <a:lnTo>
                  <a:pt x="120" y="202"/>
                </a:lnTo>
                <a:lnTo>
                  <a:pt x="120" y="208"/>
                </a:lnTo>
                <a:lnTo>
                  <a:pt x="125" y="213"/>
                </a:lnTo>
                <a:lnTo>
                  <a:pt x="120" y="213"/>
                </a:lnTo>
                <a:lnTo>
                  <a:pt x="120" y="218"/>
                </a:lnTo>
                <a:lnTo>
                  <a:pt x="125" y="224"/>
                </a:lnTo>
                <a:lnTo>
                  <a:pt x="125" y="229"/>
                </a:lnTo>
                <a:lnTo>
                  <a:pt x="130" y="229"/>
                </a:lnTo>
                <a:lnTo>
                  <a:pt x="136" y="229"/>
                </a:lnTo>
                <a:lnTo>
                  <a:pt x="136" y="235"/>
                </a:lnTo>
                <a:lnTo>
                  <a:pt x="141" y="240"/>
                </a:lnTo>
                <a:lnTo>
                  <a:pt x="141" y="246"/>
                </a:lnTo>
                <a:lnTo>
                  <a:pt x="141" y="251"/>
                </a:lnTo>
                <a:lnTo>
                  <a:pt x="147" y="257"/>
                </a:lnTo>
                <a:lnTo>
                  <a:pt x="147" y="262"/>
                </a:lnTo>
                <a:lnTo>
                  <a:pt x="152" y="268"/>
                </a:lnTo>
                <a:lnTo>
                  <a:pt x="147" y="268"/>
                </a:lnTo>
                <a:lnTo>
                  <a:pt x="152" y="273"/>
                </a:lnTo>
                <a:lnTo>
                  <a:pt x="147" y="273"/>
                </a:lnTo>
                <a:lnTo>
                  <a:pt x="147" y="278"/>
                </a:lnTo>
                <a:lnTo>
                  <a:pt x="141" y="284"/>
                </a:lnTo>
                <a:lnTo>
                  <a:pt x="141" y="289"/>
                </a:lnTo>
                <a:lnTo>
                  <a:pt x="141" y="295"/>
                </a:lnTo>
                <a:lnTo>
                  <a:pt x="136" y="295"/>
                </a:lnTo>
                <a:lnTo>
                  <a:pt x="136" y="289"/>
                </a:lnTo>
                <a:lnTo>
                  <a:pt x="136" y="284"/>
                </a:lnTo>
                <a:lnTo>
                  <a:pt x="141" y="278"/>
                </a:lnTo>
                <a:lnTo>
                  <a:pt x="136" y="278"/>
                </a:lnTo>
                <a:lnTo>
                  <a:pt x="141" y="278"/>
                </a:lnTo>
                <a:lnTo>
                  <a:pt x="136" y="273"/>
                </a:lnTo>
                <a:lnTo>
                  <a:pt x="141" y="268"/>
                </a:lnTo>
                <a:lnTo>
                  <a:pt x="136" y="268"/>
                </a:lnTo>
                <a:lnTo>
                  <a:pt x="130" y="262"/>
                </a:lnTo>
                <a:lnTo>
                  <a:pt x="136" y="262"/>
                </a:lnTo>
                <a:lnTo>
                  <a:pt x="130" y="262"/>
                </a:lnTo>
                <a:lnTo>
                  <a:pt x="136" y="257"/>
                </a:lnTo>
                <a:lnTo>
                  <a:pt x="136" y="251"/>
                </a:lnTo>
                <a:lnTo>
                  <a:pt x="130" y="251"/>
                </a:lnTo>
                <a:lnTo>
                  <a:pt x="130" y="246"/>
                </a:lnTo>
                <a:lnTo>
                  <a:pt x="125" y="240"/>
                </a:lnTo>
                <a:lnTo>
                  <a:pt x="125" y="235"/>
                </a:lnTo>
                <a:lnTo>
                  <a:pt x="125" y="240"/>
                </a:lnTo>
                <a:lnTo>
                  <a:pt x="120" y="235"/>
                </a:lnTo>
                <a:lnTo>
                  <a:pt x="120" y="229"/>
                </a:lnTo>
                <a:lnTo>
                  <a:pt x="114" y="224"/>
                </a:lnTo>
                <a:lnTo>
                  <a:pt x="114" y="218"/>
                </a:lnTo>
                <a:lnTo>
                  <a:pt x="114" y="213"/>
                </a:lnTo>
                <a:lnTo>
                  <a:pt x="109" y="213"/>
                </a:lnTo>
                <a:lnTo>
                  <a:pt x="109" y="208"/>
                </a:lnTo>
                <a:lnTo>
                  <a:pt x="109" y="202"/>
                </a:lnTo>
                <a:lnTo>
                  <a:pt x="103" y="202"/>
                </a:lnTo>
                <a:lnTo>
                  <a:pt x="103" y="197"/>
                </a:lnTo>
                <a:lnTo>
                  <a:pt x="103" y="191"/>
                </a:lnTo>
                <a:lnTo>
                  <a:pt x="98" y="191"/>
                </a:lnTo>
                <a:lnTo>
                  <a:pt x="98" y="186"/>
                </a:lnTo>
                <a:lnTo>
                  <a:pt x="92" y="186"/>
                </a:lnTo>
                <a:lnTo>
                  <a:pt x="92" y="180"/>
                </a:lnTo>
                <a:lnTo>
                  <a:pt x="87" y="175"/>
                </a:lnTo>
                <a:lnTo>
                  <a:pt x="87" y="180"/>
                </a:lnTo>
                <a:lnTo>
                  <a:pt x="92" y="180"/>
                </a:lnTo>
                <a:lnTo>
                  <a:pt x="92" y="186"/>
                </a:lnTo>
                <a:lnTo>
                  <a:pt x="92" y="191"/>
                </a:lnTo>
                <a:lnTo>
                  <a:pt x="87" y="191"/>
                </a:lnTo>
                <a:lnTo>
                  <a:pt x="81" y="191"/>
                </a:lnTo>
                <a:lnTo>
                  <a:pt x="87" y="197"/>
                </a:lnTo>
                <a:lnTo>
                  <a:pt x="81" y="197"/>
                </a:lnTo>
                <a:lnTo>
                  <a:pt x="76" y="197"/>
                </a:lnTo>
                <a:lnTo>
                  <a:pt x="76" y="202"/>
                </a:lnTo>
                <a:lnTo>
                  <a:pt x="71" y="202"/>
                </a:lnTo>
                <a:lnTo>
                  <a:pt x="65" y="202"/>
                </a:lnTo>
                <a:lnTo>
                  <a:pt x="60" y="202"/>
                </a:lnTo>
                <a:lnTo>
                  <a:pt x="65" y="202"/>
                </a:lnTo>
                <a:lnTo>
                  <a:pt x="60" y="202"/>
                </a:lnTo>
                <a:lnTo>
                  <a:pt x="54" y="202"/>
                </a:lnTo>
                <a:lnTo>
                  <a:pt x="60" y="197"/>
                </a:lnTo>
                <a:lnTo>
                  <a:pt x="54" y="202"/>
                </a:lnTo>
                <a:lnTo>
                  <a:pt x="54" y="197"/>
                </a:lnTo>
                <a:lnTo>
                  <a:pt x="54" y="191"/>
                </a:lnTo>
                <a:lnTo>
                  <a:pt x="54" y="186"/>
                </a:lnTo>
                <a:lnTo>
                  <a:pt x="54" y="180"/>
                </a:lnTo>
                <a:lnTo>
                  <a:pt x="54" y="175"/>
                </a:lnTo>
                <a:lnTo>
                  <a:pt x="49" y="175"/>
                </a:lnTo>
                <a:lnTo>
                  <a:pt x="49" y="169"/>
                </a:lnTo>
                <a:lnTo>
                  <a:pt x="49" y="164"/>
                </a:lnTo>
                <a:lnTo>
                  <a:pt x="43" y="158"/>
                </a:lnTo>
                <a:lnTo>
                  <a:pt x="38" y="153"/>
                </a:lnTo>
                <a:lnTo>
                  <a:pt x="38" y="148"/>
                </a:lnTo>
                <a:lnTo>
                  <a:pt x="38" y="153"/>
                </a:lnTo>
                <a:lnTo>
                  <a:pt x="32" y="153"/>
                </a:lnTo>
                <a:lnTo>
                  <a:pt x="27" y="148"/>
                </a:lnTo>
                <a:lnTo>
                  <a:pt x="32" y="148"/>
                </a:lnTo>
                <a:lnTo>
                  <a:pt x="38" y="148"/>
                </a:lnTo>
                <a:lnTo>
                  <a:pt x="32" y="148"/>
                </a:lnTo>
                <a:lnTo>
                  <a:pt x="32" y="142"/>
                </a:lnTo>
                <a:lnTo>
                  <a:pt x="27" y="142"/>
                </a:lnTo>
                <a:lnTo>
                  <a:pt x="21" y="137"/>
                </a:lnTo>
                <a:lnTo>
                  <a:pt x="16" y="137"/>
                </a:lnTo>
                <a:lnTo>
                  <a:pt x="16" y="131"/>
                </a:lnTo>
                <a:lnTo>
                  <a:pt x="16" y="137"/>
                </a:lnTo>
                <a:lnTo>
                  <a:pt x="16" y="131"/>
                </a:lnTo>
                <a:lnTo>
                  <a:pt x="11" y="131"/>
                </a:lnTo>
                <a:lnTo>
                  <a:pt x="5" y="126"/>
                </a:lnTo>
                <a:lnTo>
                  <a:pt x="5" y="120"/>
                </a:lnTo>
                <a:lnTo>
                  <a:pt x="0" y="120"/>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6" name="Freeform 340">
            <a:extLst>
              <a:ext uri="{FF2B5EF4-FFF2-40B4-BE49-F238E27FC236}">
                <a16:creationId xmlns:a16="http://schemas.microsoft.com/office/drawing/2014/main" id="{B1640A57-1872-2DFE-B47C-3BACA2C36628}"/>
              </a:ext>
            </a:extLst>
          </p:cNvPr>
          <p:cNvSpPr>
            <a:spLocks/>
          </p:cNvSpPr>
          <p:nvPr/>
        </p:nvSpPr>
        <p:spPr bwMode="auto">
          <a:xfrm>
            <a:off x="4437063" y="2798763"/>
            <a:ext cx="92075" cy="79375"/>
          </a:xfrm>
          <a:custGeom>
            <a:avLst/>
            <a:gdLst>
              <a:gd name="T0" fmla="*/ 11 w 82"/>
              <a:gd name="T1" fmla="*/ 44 h 65"/>
              <a:gd name="T2" fmla="*/ 11 w 82"/>
              <a:gd name="T3" fmla="*/ 38 h 65"/>
              <a:gd name="T4" fmla="*/ 11 w 82"/>
              <a:gd name="T5" fmla="*/ 33 h 65"/>
              <a:gd name="T6" fmla="*/ 6 w 82"/>
              <a:gd name="T7" fmla="*/ 33 h 65"/>
              <a:gd name="T8" fmla="*/ 6 w 82"/>
              <a:gd name="T9" fmla="*/ 27 h 65"/>
              <a:gd name="T10" fmla="*/ 6 w 82"/>
              <a:gd name="T11" fmla="*/ 22 h 65"/>
              <a:gd name="T12" fmla="*/ 0 w 82"/>
              <a:gd name="T13" fmla="*/ 22 h 65"/>
              <a:gd name="T14" fmla="*/ 0 w 82"/>
              <a:gd name="T15" fmla="*/ 16 h 65"/>
              <a:gd name="T16" fmla="*/ 6 w 82"/>
              <a:gd name="T17" fmla="*/ 11 h 65"/>
              <a:gd name="T18" fmla="*/ 6 w 82"/>
              <a:gd name="T19" fmla="*/ 5 h 65"/>
              <a:gd name="T20" fmla="*/ 11 w 82"/>
              <a:gd name="T21" fmla="*/ 5 h 65"/>
              <a:gd name="T22" fmla="*/ 17 w 82"/>
              <a:gd name="T23" fmla="*/ 0 h 65"/>
              <a:gd name="T24" fmla="*/ 22 w 82"/>
              <a:gd name="T25" fmla="*/ 5 h 65"/>
              <a:gd name="T26" fmla="*/ 22 w 82"/>
              <a:gd name="T27" fmla="*/ 0 h 65"/>
              <a:gd name="T28" fmla="*/ 28 w 82"/>
              <a:gd name="T29" fmla="*/ 5 h 65"/>
              <a:gd name="T30" fmla="*/ 33 w 82"/>
              <a:gd name="T31" fmla="*/ 0 h 65"/>
              <a:gd name="T32" fmla="*/ 39 w 82"/>
              <a:gd name="T33" fmla="*/ 5 h 65"/>
              <a:gd name="T34" fmla="*/ 44 w 82"/>
              <a:gd name="T35" fmla="*/ 5 h 65"/>
              <a:gd name="T36" fmla="*/ 50 w 82"/>
              <a:gd name="T37" fmla="*/ 5 h 65"/>
              <a:gd name="T38" fmla="*/ 55 w 82"/>
              <a:gd name="T39" fmla="*/ 11 h 65"/>
              <a:gd name="T40" fmla="*/ 55 w 82"/>
              <a:gd name="T41" fmla="*/ 5 h 65"/>
              <a:gd name="T42" fmla="*/ 55 w 82"/>
              <a:gd name="T43" fmla="*/ 0 h 65"/>
              <a:gd name="T44" fmla="*/ 60 w 82"/>
              <a:gd name="T45" fmla="*/ 0 h 65"/>
              <a:gd name="T46" fmla="*/ 66 w 82"/>
              <a:gd name="T47" fmla="*/ 5 h 65"/>
              <a:gd name="T48" fmla="*/ 71 w 82"/>
              <a:gd name="T49" fmla="*/ 0 h 65"/>
              <a:gd name="T50" fmla="*/ 77 w 82"/>
              <a:gd name="T51" fmla="*/ 0 h 65"/>
              <a:gd name="T52" fmla="*/ 77 w 82"/>
              <a:gd name="T53" fmla="*/ 5 h 65"/>
              <a:gd name="T54" fmla="*/ 77 w 82"/>
              <a:gd name="T55" fmla="*/ 11 h 65"/>
              <a:gd name="T56" fmla="*/ 82 w 82"/>
              <a:gd name="T57" fmla="*/ 16 h 65"/>
              <a:gd name="T58" fmla="*/ 82 w 82"/>
              <a:gd name="T59" fmla="*/ 22 h 65"/>
              <a:gd name="T60" fmla="*/ 82 w 82"/>
              <a:gd name="T61" fmla="*/ 27 h 65"/>
              <a:gd name="T62" fmla="*/ 82 w 82"/>
              <a:gd name="T63" fmla="*/ 33 h 65"/>
              <a:gd name="T64" fmla="*/ 82 w 82"/>
              <a:gd name="T65" fmla="*/ 38 h 65"/>
              <a:gd name="T66" fmla="*/ 77 w 82"/>
              <a:gd name="T67" fmla="*/ 38 h 65"/>
              <a:gd name="T68" fmla="*/ 71 w 82"/>
              <a:gd name="T69" fmla="*/ 38 h 65"/>
              <a:gd name="T70" fmla="*/ 66 w 82"/>
              <a:gd name="T71" fmla="*/ 38 h 65"/>
              <a:gd name="T72" fmla="*/ 71 w 82"/>
              <a:gd name="T73" fmla="*/ 44 h 65"/>
              <a:gd name="T74" fmla="*/ 66 w 82"/>
              <a:gd name="T75" fmla="*/ 44 h 65"/>
              <a:gd name="T76" fmla="*/ 60 w 82"/>
              <a:gd name="T77" fmla="*/ 44 h 65"/>
              <a:gd name="T78" fmla="*/ 60 w 82"/>
              <a:gd name="T79" fmla="*/ 49 h 65"/>
              <a:gd name="T80" fmla="*/ 66 w 82"/>
              <a:gd name="T81" fmla="*/ 54 h 65"/>
              <a:gd name="T82" fmla="*/ 66 w 82"/>
              <a:gd name="T83" fmla="*/ 60 h 65"/>
              <a:gd name="T84" fmla="*/ 60 w 82"/>
              <a:gd name="T85" fmla="*/ 60 h 65"/>
              <a:gd name="T86" fmla="*/ 60 w 82"/>
              <a:gd name="T87" fmla="*/ 54 h 65"/>
              <a:gd name="T88" fmla="*/ 55 w 82"/>
              <a:gd name="T89" fmla="*/ 54 h 65"/>
              <a:gd name="T90" fmla="*/ 55 w 82"/>
              <a:gd name="T91" fmla="*/ 60 h 65"/>
              <a:gd name="T92" fmla="*/ 50 w 82"/>
              <a:gd name="T93" fmla="*/ 54 h 65"/>
              <a:gd name="T94" fmla="*/ 50 w 82"/>
              <a:gd name="T95" fmla="*/ 60 h 65"/>
              <a:gd name="T96" fmla="*/ 50 w 82"/>
              <a:gd name="T97" fmla="*/ 65 h 65"/>
              <a:gd name="T98" fmla="*/ 44 w 82"/>
              <a:gd name="T99" fmla="*/ 65 h 65"/>
              <a:gd name="T100" fmla="*/ 39 w 82"/>
              <a:gd name="T101" fmla="*/ 65 h 65"/>
              <a:gd name="T102" fmla="*/ 33 w 82"/>
              <a:gd name="T103" fmla="*/ 65 h 65"/>
              <a:gd name="T104" fmla="*/ 33 w 82"/>
              <a:gd name="T105" fmla="*/ 60 h 65"/>
              <a:gd name="T106" fmla="*/ 28 w 82"/>
              <a:gd name="T107" fmla="*/ 65 h 65"/>
              <a:gd name="T108" fmla="*/ 28 w 82"/>
              <a:gd name="T109" fmla="*/ 60 h 65"/>
              <a:gd name="T110" fmla="*/ 28 w 82"/>
              <a:gd name="T111" fmla="*/ 54 h 65"/>
              <a:gd name="T112" fmla="*/ 22 w 82"/>
              <a:gd name="T113" fmla="*/ 54 h 65"/>
              <a:gd name="T114" fmla="*/ 22 w 82"/>
              <a:gd name="T115" fmla="*/ 60 h 65"/>
              <a:gd name="T116" fmla="*/ 17 w 82"/>
              <a:gd name="T117" fmla="*/ 60 h 65"/>
              <a:gd name="T118" fmla="*/ 17 w 82"/>
              <a:gd name="T119" fmla="*/ 54 h 65"/>
              <a:gd name="T120" fmla="*/ 17 w 82"/>
              <a:gd name="T121" fmla="*/ 49 h 65"/>
              <a:gd name="T122" fmla="*/ 11 w 82"/>
              <a:gd name="T123"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2" h="65">
                <a:moveTo>
                  <a:pt x="11" y="44"/>
                </a:moveTo>
                <a:lnTo>
                  <a:pt x="11" y="38"/>
                </a:lnTo>
                <a:lnTo>
                  <a:pt x="11" y="33"/>
                </a:lnTo>
                <a:lnTo>
                  <a:pt x="6" y="33"/>
                </a:lnTo>
                <a:lnTo>
                  <a:pt x="6" y="27"/>
                </a:lnTo>
                <a:lnTo>
                  <a:pt x="6" y="22"/>
                </a:lnTo>
                <a:lnTo>
                  <a:pt x="0" y="22"/>
                </a:lnTo>
                <a:lnTo>
                  <a:pt x="0" y="16"/>
                </a:lnTo>
                <a:lnTo>
                  <a:pt x="6" y="11"/>
                </a:lnTo>
                <a:lnTo>
                  <a:pt x="6" y="5"/>
                </a:lnTo>
                <a:lnTo>
                  <a:pt x="11" y="5"/>
                </a:lnTo>
                <a:lnTo>
                  <a:pt x="17" y="0"/>
                </a:lnTo>
                <a:lnTo>
                  <a:pt x="22" y="5"/>
                </a:lnTo>
                <a:lnTo>
                  <a:pt x="22" y="0"/>
                </a:lnTo>
                <a:lnTo>
                  <a:pt x="28" y="5"/>
                </a:lnTo>
                <a:lnTo>
                  <a:pt x="33" y="0"/>
                </a:lnTo>
                <a:lnTo>
                  <a:pt x="39" y="5"/>
                </a:lnTo>
                <a:lnTo>
                  <a:pt x="44" y="5"/>
                </a:lnTo>
                <a:lnTo>
                  <a:pt x="50" y="5"/>
                </a:lnTo>
                <a:lnTo>
                  <a:pt x="55" y="11"/>
                </a:lnTo>
                <a:lnTo>
                  <a:pt x="55" y="5"/>
                </a:lnTo>
                <a:lnTo>
                  <a:pt x="55" y="0"/>
                </a:lnTo>
                <a:lnTo>
                  <a:pt x="60" y="0"/>
                </a:lnTo>
                <a:lnTo>
                  <a:pt x="66" y="5"/>
                </a:lnTo>
                <a:lnTo>
                  <a:pt x="71" y="0"/>
                </a:lnTo>
                <a:lnTo>
                  <a:pt x="77" y="0"/>
                </a:lnTo>
                <a:lnTo>
                  <a:pt x="77" y="5"/>
                </a:lnTo>
                <a:lnTo>
                  <a:pt x="77" y="11"/>
                </a:lnTo>
                <a:lnTo>
                  <a:pt x="82" y="16"/>
                </a:lnTo>
                <a:lnTo>
                  <a:pt x="82" y="22"/>
                </a:lnTo>
                <a:lnTo>
                  <a:pt x="82" y="27"/>
                </a:lnTo>
                <a:lnTo>
                  <a:pt x="82" y="33"/>
                </a:lnTo>
                <a:lnTo>
                  <a:pt x="82" y="38"/>
                </a:lnTo>
                <a:lnTo>
                  <a:pt x="77" y="38"/>
                </a:lnTo>
                <a:lnTo>
                  <a:pt x="71" y="38"/>
                </a:lnTo>
                <a:lnTo>
                  <a:pt x="66" y="38"/>
                </a:lnTo>
                <a:lnTo>
                  <a:pt x="71" y="44"/>
                </a:lnTo>
                <a:lnTo>
                  <a:pt x="66" y="44"/>
                </a:lnTo>
                <a:lnTo>
                  <a:pt x="60" y="44"/>
                </a:lnTo>
                <a:lnTo>
                  <a:pt x="60" y="49"/>
                </a:lnTo>
                <a:lnTo>
                  <a:pt x="66" y="54"/>
                </a:lnTo>
                <a:lnTo>
                  <a:pt x="66" y="60"/>
                </a:lnTo>
                <a:lnTo>
                  <a:pt x="60" y="60"/>
                </a:lnTo>
                <a:lnTo>
                  <a:pt x="60" y="54"/>
                </a:lnTo>
                <a:lnTo>
                  <a:pt x="55" y="54"/>
                </a:lnTo>
                <a:lnTo>
                  <a:pt x="55" y="60"/>
                </a:lnTo>
                <a:lnTo>
                  <a:pt x="50" y="54"/>
                </a:lnTo>
                <a:lnTo>
                  <a:pt x="50" y="60"/>
                </a:lnTo>
                <a:lnTo>
                  <a:pt x="50" y="65"/>
                </a:lnTo>
                <a:lnTo>
                  <a:pt x="44" y="65"/>
                </a:lnTo>
                <a:lnTo>
                  <a:pt x="39" y="65"/>
                </a:lnTo>
                <a:lnTo>
                  <a:pt x="33" y="65"/>
                </a:lnTo>
                <a:lnTo>
                  <a:pt x="33" y="60"/>
                </a:lnTo>
                <a:lnTo>
                  <a:pt x="28" y="65"/>
                </a:lnTo>
                <a:lnTo>
                  <a:pt x="28" y="60"/>
                </a:lnTo>
                <a:lnTo>
                  <a:pt x="28" y="54"/>
                </a:lnTo>
                <a:lnTo>
                  <a:pt x="22" y="54"/>
                </a:lnTo>
                <a:lnTo>
                  <a:pt x="22" y="60"/>
                </a:lnTo>
                <a:lnTo>
                  <a:pt x="17" y="60"/>
                </a:lnTo>
                <a:lnTo>
                  <a:pt x="17" y="54"/>
                </a:lnTo>
                <a:lnTo>
                  <a:pt x="17" y="49"/>
                </a:lnTo>
                <a:lnTo>
                  <a:pt x="11" y="44"/>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7" name="Freeform 369">
            <a:extLst>
              <a:ext uri="{FF2B5EF4-FFF2-40B4-BE49-F238E27FC236}">
                <a16:creationId xmlns:a16="http://schemas.microsoft.com/office/drawing/2014/main" id="{1D754551-FB4C-854F-B01F-B3A3C66DF86E}"/>
              </a:ext>
            </a:extLst>
          </p:cNvPr>
          <p:cNvSpPr>
            <a:spLocks/>
          </p:cNvSpPr>
          <p:nvPr/>
        </p:nvSpPr>
        <p:spPr bwMode="auto">
          <a:xfrm>
            <a:off x="5135563" y="3132138"/>
            <a:ext cx="165100" cy="152400"/>
          </a:xfrm>
          <a:custGeom>
            <a:avLst/>
            <a:gdLst>
              <a:gd name="T0" fmla="*/ 5 w 147"/>
              <a:gd name="T1" fmla="*/ 65 h 125"/>
              <a:gd name="T2" fmla="*/ 5 w 147"/>
              <a:gd name="T3" fmla="*/ 60 h 125"/>
              <a:gd name="T4" fmla="*/ 11 w 147"/>
              <a:gd name="T5" fmla="*/ 32 h 125"/>
              <a:gd name="T6" fmla="*/ 16 w 147"/>
              <a:gd name="T7" fmla="*/ 0 h 125"/>
              <a:gd name="T8" fmla="*/ 27 w 147"/>
              <a:gd name="T9" fmla="*/ 5 h 125"/>
              <a:gd name="T10" fmla="*/ 33 w 147"/>
              <a:gd name="T11" fmla="*/ 11 h 125"/>
              <a:gd name="T12" fmla="*/ 44 w 147"/>
              <a:gd name="T13" fmla="*/ 11 h 125"/>
              <a:gd name="T14" fmla="*/ 49 w 147"/>
              <a:gd name="T15" fmla="*/ 16 h 125"/>
              <a:gd name="T16" fmla="*/ 60 w 147"/>
              <a:gd name="T17" fmla="*/ 16 h 125"/>
              <a:gd name="T18" fmla="*/ 65 w 147"/>
              <a:gd name="T19" fmla="*/ 21 h 125"/>
              <a:gd name="T20" fmla="*/ 71 w 147"/>
              <a:gd name="T21" fmla="*/ 27 h 125"/>
              <a:gd name="T22" fmla="*/ 82 w 147"/>
              <a:gd name="T23" fmla="*/ 27 h 125"/>
              <a:gd name="T24" fmla="*/ 87 w 147"/>
              <a:gd name="T25" fmla="*/ 32 h 125"/>
              <a:gd name="T26" fmla="*/ 82 w 147"/>
              <a:gd name="T27" fmla="*/ 43 h 125"/>
              <a:gd name="T28" fmla="*/ 93 w 147"/>
              <a:gd name="T29" fmla="*/ 49 h 125"/>
              <a:gd name="T30" fmla="*/ 104 w 147"/>
              <a:gd name="T31" fmla="*/ 54 h 125"/>
              <a:gd name="T32" fmla="*/ 115 w 147"/>
              <a:gd name="T33" fmla="*/ 60 h 125"/>
              <a:gd name="T34" fmla="*/ 109 w 147"/>
              <a:gd name="T35" fmla="*/ 65 h 125"/>
              <a:gd name="T36" fmla="*/ 98 w 147"/>
              <a:gd name="T37" fmla="*/ 65 h 125"/>
              <a:gd name="T38" fmla="*/ 98 w 147"/>
              <a:gd name="T39" fmla="*/ 76 h 125"/>
              <a:gd name="T40" fmla="*/ 109 w 147"/>
              <a:gd name="T41" fmla="*/ 81 h 125"/>
              <a:gd name="T42" fmla="*/ 115 w 147"/>
              <a:gd name="T43" fmla="*/ 92 h 125"/>
              <a:gd name="T44" fmla="*/ 120 w 147"/>
              <a:gd name="T45" fmla="*/ 103 h 125"/>
              <a:gd name="T46" fmla="*/ 125 w 147"/>
              <a:gd name="T47" fmla="*/ 98 h 125"/>
              <a:gd name="T48" fmla="*/ 125 w 147"/>
              <a:gd name="T49" fmla="*/ 109 h 125"/>
              <a:gd name="T50" fmla="*/ 136 w 147"/>
              <a:gd name="T51" fmla="*/ 109 h 125"/>
              <a:gd name="T52" fmla="*/ 142 w 147"/>
              <a:gd name="T53" fmla="*/ 120 h 125"/>
              <a:gd name="T54" fmla="*/ 142 w 147"/>
              <a:gd name="T55" fmla="*/ 120 h 125"/>
              <a:gd name="T56" fmla="*/ 147 w 147"/>
              <a:gd name="T57" fmla="*/ 125 h 125"/>
              <a:gd name="T58" fmla="*/ 136 w 147"/>
              <a:gd name="T59" fmla="*/ 125 h 125"/>
              <a:gd name="T60" fmla="*/ 136 w 147"/>
              <a:gd name="T61" fmla="*/ 125 h 125"/>
              <a:gd name="T62" fmla="*/ 131 w 147"/>
              <a:gd name="T63" fmla="*/ 125 h 125"/>
              <a:gd name="T64" fmla="*/ 120 w 147"/>
              <a:gd name="T65" fmla="*/ 120 h 125"/>
              <a:gd name="T66" fmla="*/ 109 w 147"/>
              <a:gd name="T67" fmla="*/ 120 h 125"/>
              <a:gd name="T68" fmla="*/ 98 w 147"/>
              <a:gd name="T69" fmla="*/ 114 h 125"/>
              <a:gd name="T70" fmla="*/ 93 w 147"/>
              <a:gd name="T71" fmla="*/ 109 h 125"/>
              <a:gd name="T72" fmla="*/ 87 w 147"/>
              <a:gd name="T73" fmla="*/ 103 h 125"/>
              <a:gd name="T74" fmla="*/ 87 w 147"/>
              <a:gd name="T75" fmla="*/ 92 h 125"/>
              <a:gd name="T76" fmla="*/ 82 w 147"/>
              <a:gd name="T77" fmla="*/ 87 h 125"/>
              <a:gd name="T78" fmla="*/ 71 w 147"/>
              <a:gd name="T79" fmla="*/ 81 h 125"/>
              <a:gd name="T80" fmla="*/ 60 w 147"/>
              <a:gd name="T81" fmla="*/ 76 h 125"/>
              <a:gd name="T82" fmla="*/ 55 w 147"/>
              <a:gd name="T83" fmla="*/ 81 h 125"/>
              <a:gd name="T84" fmla="*/ 49 w 147"/>
              <a:gd name="T85" fmla="*/ 87 h 125"/>
              <a:gd name="T86" fmla="*/ 38 w 147"/>
              <a:gd name="T87" fmla="*/ 87 h 125"/>
              <a:gd name="T88" fmla="*/ 27 w 147"/>
              <a:gd name="T89" fmla="*/ 87 h 125"/>
              <a:gd name="T90" fmla="*/ 22 w 147"/>
              <a:gd name="T91" fmla="*/ 87 h 125"/>
              <a:gd name="T92" fmla="*/ 27 w 147"/>
              <a:gd name="T93" fmla="*/ 92 h 125"/>
              <a:gd name="T94" fmla="*/ 38 w 147"/>
              <a:gd name="T95" fmla="*/ 98 h 125"/>
              <a:gd name="T96" fmla="*/ 22 w 147"/>
              <a:gd name="T97" fmla="*/ 103 h 125"/>
              <a:gd name="T98" fmla="*/ 11 w 147"/>
              <a:gd name="T99" fmla="*/ 103 h 125"/>
              <a:gd name="T100" fmla="*/ 0 w 147"/>
              <a:gd name="T101" fmla="*/ 10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 h="125">
                <a:moveTo>
                  <a:pt x="0" y="103"/>
                </a:moveTo>
                <a:lnTo>
                  <a:pt x="5" y="65"/>
                </a:lnTo>
                <a:lnTo>
                  <a:pt x="0" y="65"/>
                </a:lnTo>
                <a:lnTo>
                  <a:pt x="5" y="60"/>
                </a:lnTo>
                <a:lnTo>
                  <a:pt x="5" y="54"/>
                </a:lnTo>
                <a:lnTo>
                  <a:pt x="11" y="32"/>
                </a:lnTo>
                <a:lnTo>
                  <a:pt x="11" y="0"/>
                </a:lnTo>
                <a:lnTo>
                  <a:pt x="16" y="0"/>
                </a:lnTo>
                <a:lnTo>
                  <a:pt x="22" y="5"/>
                </a:lnTo>
                <a:lnTo>
                  <a:pt x="27" y="5"/>
                </a:lnTo>
                <a:lnTo>
                  <a:pt x="33" y="5"/>
                </a:lnTo>
                <a:lnTo>
                  <a:pt x="33" y="11"/>
                </a:lnTo>
                <a:lnTo>
                  <a:pt x="38" y="11"/>
                </a:lnTo>
                <a:lnTo>
                  <a:pt x="44" y="11"/>
                </a:lnTo>
                <a:lnTo>
                  <a:pt x="49" y="11"/>
                </a:lnTo>
                <a:lnTo>
                  <a:pt x="49" y="16"/>
                </a:lnTo>
                <a:lnTo>
                  <a:pt x="55" y="16"/>
                </a:lnTo>
                <a:lnTo>
                  <a:pt x="60" y="16"/>
                </a:lnTo>
                <a:lnTo>
                  <a:pt x="65" y="16"/>
                </a:lnTo>
                <a:lnTo>
                  <a:pt x="65" y="21"/>
                </a:lnTo>
                <a:lnTo>
                  <a:pt x="71" y="21"/>
                </a:lnTo>
                <a:lnTo>
                  <a:pt x="71" y="27"/>
                </a:lnTo>
                <a:lnTo>
                  <a:pt x="76" y="27"/>
                </a:lnTo>
                <a:lnTo>
                  <a:pt x="82" y="27"/>
                </a:lnTo>
                <a:lnTo>
                  <a:pt x="82" y="32"/>
                </a:lnTo>
                <a:lnTo>
                  <a:pt x="87" y="32"/>
                </a:lnTo>
                <a:lnTo>
                  <a:pt x="82" y="38"/>
                </a:lnTo>
                <a:lnTo>
                  <a:pt x="82" y="43"/>
                </a:lnTo>
                <a:lnTo>
                  <a:pt x="87" y="43"/>
                </a:lnTo>
                <a:lnTo>
                  <a:pt x="93" y="49"/>
                </a:lnTo>
                <a:lnTo>
                  <a:pt x="98" y="49"/>
                </a:lnTo>
                <a:lnTo>
                  <a:pt x="104" y="54"/>
                </a:lnTo>
                <a:lnTo>
                  <a:pt x="109" y="54"/>
                </a:lnTo>
                <a:lnTo>
                  <a:pt x="115" y="60"/>
                </a:lnTo>
                <a:lnTo>
                  <a:pt x="115" y="65"/>
                </a:lnTo>
                <a:lnTo>
                  <a:pt x="109" y="65"/>
                </a:lnTo>
                <a:lnTo>
                  <a:pt x="104" y="65"/>
                </a:lnTo>
                <a:lnTo>
                  <a:pt x="98" y="65"/>
                </a:lnTo>
                <a:lnTo>
                  <a:pt x="98" y="71"/>
                </a:lnTo>
                <a:lnTo>
                  <a:pt x="98" y="76"/>
                </a:lnTo>
                <a:lnTo>
                  <a:pt x="104" y="76"/>
                </a:lnTo>
                <a:lnTo>
                  <a:pt x="109" y="81"/>
                </a:lnTo>
                <a:lnTo>
                  <a:pt x="115" y="87"/>
                </a:lnTo>
                <a:lnTo>
                  <a:pt x="115" y="92"/>
                </a:lnTo>
                <a:lnTo>
                  <a:pt x="120" y="98"/>
                </a:lnTo>
                <a:lnTo>
                  <a:pt x="120" y="103"/>
                </a:lnTo>
                <a:lnTo>
                  <a:pt x="125" y="103"/>
                </a:lnTo>
                <a:lnTo>
                  <a:pt x="125" y="98"/>
                </a:lnTo>
                <a:lnTo>
                  <a:pt x="131" y="103"/>
                </a:lnTo>
                <a:lnTo>
                  <a:pt x="125" y="109"/>
                </a:lnTo>
                <a:lnTo>
                  <a:pt x="131" y="109"/>
                </a:lnTo>
                <a:lnTo>
                  <a:pt x="136" y="109"/>
                </a:lnTo>
                <a:lnTo>
                  <a:pt x="136" y="114"/>
                </a:lnTo>
                <a:lnTo>
                  <a:pt x="142" y="120"/>
                </a:lnTo>
                <a:lnTo>
                  <a:pt x="147" y="120"/>
                </a:lnTo>
                <a:lnTo>
                  <a:pt x="142" y="120"/>
                </a:lnTo>
                <a:lnTo>
                  <a:pt x="142" y="125"/>
                </a:lnTo>
                <a:lnTo>
                  <a:pt x="147" y="125"/>
                </a:lnTo>
                <a:lnTo>
                  <a:pt x="142" y="125"/>
                </a:lnTo>
                <a:lnTo>
                  <a:pt x="136" y="125"/>
                </a:lnTo>
                <a:lnTo>
                  <a:pt x="131" y="125"/>
                </a:lnTo>
                <a:lnTo>
                  <a:pt x="136" y="125"/>
                </a:lnTo>
                <a:lnTo>
                  <a:pt x="131" y="120"/>
                </a:lnTo>
                <a:lnTo>
                  <a:pt x="131" y="125"/>
                </a:lnTo>
                <a:lnTo>
                  <a:pt x="125" y="120"/>
                </a:lnTo>
                <a:lnTo>
                  <a:pt x="120" y="120"/>
                </a:lnTo>
                <a:lnTo>
                  <a:pt x="115" y="120"/>
                </a:lnTo>
                <a:lnTo>
                  <a:pt x="109" y="120"/>
                </a:lnTo>
                <a:lnTo>
                  <a:pt x="104" y="120"/>
                </a:lnTo>
                <a:lnTo>
                  <a:pt x="98" y="114"/>
                </a:lnTo>
                <a:lnTo>
                  <a:pt x="98" y="109"/>
                </a:lnTo>
                <a:lnTo>
                  <a:pt x="93" y="109"/>
                </a:lnTo>
                <a:lnTo>
                  <a:pt x="93" y="103"/>
                </a:lnTo>
                <a:lnTo>
                  <a:pt x="87" y="103"/>
                </a:lnTo>
                <a:lnTo>
                  <a:pt x="87" y="98"/>
                </a:lnTo>
                <a:lnTo>
                  <a:pt x="87" y="92"/>
                </a:lnTo>
                <a:lnTo>
                  <a:pt x="82" y="92"/>
                </a:lnTo>
                <a:lnTo>
                  <a:pt x="82" y="87"/>
                </a:lnTo>
                <a:lnTo>
                  <a:pt x="76" y="81"/>
                </a:lnTo>
                <a:lnTo>
                  <a:pt x="71" y="81"/>
                </a:lnTo>
                <a:lnTo>
                  <a:pt x="65" y="81"/>
                </a:lnTo>
                <a:lnTo>
                  <a:pt x="60" y="76"/>
                </a:lnTo>
                <a:lnTo>
                  <a:pt x="60" y="81"/>
                </a:lnTo>
                <a:lnTo>
                  <a:pt x="55" y="81"/>
                </a:lnTo>
                <a:lnTo>
                  <a:pt x="49" y="81"/>
                </a:lnTo>
                <a:lnTo>
                  <a:pt x="49" y="87"/>
                </a:lnTo>
                <a:lnTo>
                  <a:pt x="44" y="87"/>
                </a:lnTo>
                <a:lnTo>
                  <a:pt x="38" y="87"/>
                </a:lnTo>
                <a:lnTo>
                  <a:pt x="33" y="92"/>
                </a:lnTo>
                <a:lnTo>
                  <a:pt x="27" y="87"/>
                </a:lnTo>
                <a:lnTo>
                  <a:pt x="22" y="92"/>
                </a:lnTo>
                <a:lnTo>
                  <a:pt x="22" y="87"/>
                </a:lnTo>
                <a:lnTo>
                  <a:pt x="22" y="92"/>
                </a:lnTo>
                <a:lnTo>
                  <a:pt x="27" y="92"/>
                </a:lnTo>
                <a:lnTo>
                  <a:pt x="33" y="92"/>
                </a:lnTo>
                <a:lnTo>
                  <a:pt x="38" y="98"/>
                </a:lnTo>
                <a:lnTo>
                  <a:pt x="33" y="103"/>
                </a:lnTo>
                <a:lnTo>
                  <a:pt x="22" y="103"/>
                </a:lnTo>
                <a:lnTo>
                  <a:pt x="16" y="103"/>
                </a:lnTo>
                <a:lnTo>
                  <a:pt x="11" y="103"/>
                </a:lnTo>
                <a:lnTo>
                  <a:pt x="5" y="103"/>
                </a:lnTo>
                <a:lnTo>
                  <a:pt x="0" y="103"/>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8" name="Freeform 374">
            <a:extLst>
              <a:ext uri="{FF2B5EF4-FFF2-40B4-BE49-F238E27FC236}">
                <a16:creationId xmlns:a16="http://schemas.microsoft.com/office/drawing/2014/main" id="{CAEE4A79-0B75-72E8-C326-D6E9E27EBACF}"/>
              </a:ext>
            </a:extLst>
          </p:cNvPr>
          <p:cNvSpPr>
            <a:spLocks/>
          </p:cNvSpPr>
          <p:nvPr/>
        </p:nvSpPr>
        <p:spPr bwMode="auto">
          <a:xfrm>
            <a:off x="5275263" y="3157538"/>
            <a:ext cx="74613" cy="47625"/>
          </a:xfrm>
          <a:custGeom>
            <a:avLst/>
            <a:gdLst>
              <a:gd name="T0" fmla="*/ 0 w 66"/>
              <a:gd name="T1" fmla="*/ 28 h 39"/>
              <a:gd name="T2" fmla="*/ 0 w 66"/>
              <a:gd name="T3" fmla="*/ 22 h 39"/>
              <a:gd name="T4" fmla="*/ 6 w 66"/>
              <a:gd name="T5" fmla="*/ 22 h 39"/>
              <a:gd name="T6" fmla="*/ 11 w 66"/>
              <a:gd name="T7" fmla="*/ 22 h 39"/>
              <a:gd name="T8" fmla="*/ 11 w 66"/>
              <a:gd name="T9" fmla="*/ 28 h 39"/>
              <a:gd name="T10" fmla="*/ 17 w 66"/>
              <a:gd name="T11" fmla="*/ 22 h 39"/>
              <a:gd name="T12" fmla="*/ 22 w 66"/>
              <a:gd name="T13" fmla="*/ 22 h 39"/>
              <a:gd name="T14" fmla="*/ 28 w 66"/>
              <a:gd name="T15" fmla="*/ 17 h 39"/>
              <a:gd name="T16" fmla="*/ 28 w 66"/>
              <a:gd name="T17" fmla="*/ 22 h 39"/>
              <a:gd name="T18" fmla="*/ 33 w 66"/>
              <a:gd name="T19" fmla="*/ 22 h 39"/>
              <a:gd name="T20" fmla="*/ 39 w 66"/>
              <a:gd name="T21" fmla="*/ 22 h 39"/>
              <a:gd name="T22" fmla="*/ 44 w 66"/>
              <a:gd name="T23" fmla="*/ 17 h 39"/>
              <a:gd name="T24" fmla="*/ 50 w 66"/>
              <a:gd name="T25" fmla="*/ 17 h 39"/>
              <a:gd name="T26" fmla="*/ 55 w 66"/>
              <a:gd name="T27" fmla="*/ 11 h 39"/>
              <a:gd name="T28" fmla="*/ 55 w 66"/>
              <a:gd name="T29" fmla="*/ 6 h 39"/>
              <a:gd name="T30" fmla="*/ 50 w 66"/>
              <a:gd name="T31" fmla="*/ 6 h 39"/>
              <a:gd name="T32" fmla="*/ 55 w 66"/>
              <a:gd name="T33" fmla="*/ 6 h 39"/>
              <a:gd name="T34" fmla="*/ 60 w 66"/>
              <a:gd name="T35" fmla="*/ 6 h 39"/>
              <a:gd name="T36" fmla="*/ 60 w 66"/>
              <a:gd name="T37" fmla="*/ 0 h 39"/>
              <a:gd name="T38" fmla="*/ 66 w 66"/>
              <a:gd name="T39" fmla="*/ 6 h 39"/>
              <a:gd name="T40" fmla="*/ 66 w 66"/>
              <a:gd name="T41" fmla="*/ 11 h 39"/>
              <a:gd name="T42" fmla="*/ 60 w 66"/>
              <a:gd name="T43" fmla="*/ 17 h 39"/>
              <a:gd name="T44" fmla="*/ 55 w 66"/>
              <a:gd name="T45" fmla="*/ 17 h 39"/>
              <a:gd name="T46" fmla="*/ 60 w 66"/>
              <a:gd name="T47" fmla="*/ 22 h 39"/>
              <a:gd name="T48" fmla="*/ 55 w 66"/>
              <a:gd name="T49" fmla="*/ 28 h 39"/>
              <a:gd name="T50" fmla="*/ 55 w 66"/>
              <a:gd name="T51" fmla="*/ 22 h 39"/>
              <a:gd name="T52" fmla="*/ 50 w 66"/>
              <a:gd name="T53" fmla="*/ 22 h 39"/>
              <a:gd name="T54" fmla="*/ 50 w 66"/>
              <a:gd name="T55" fmla="*/ 28 h 39"/>
              <a:gd name="T56" fmla="*/ 44 w 66"/>
              <a:gd name="T57" fmla="*/ 33 h 39"/>
              <a:gd name="T58" fmla="*/ 39 w 66"/>
              <a:gd name="T59" fmla="*/ 33 h 39"/>
              <a:gd name="T60" fmla="*/ 33 w 66"/>
              <a:gd name="T61" fmla="*/ 33 h 39"/>
              <a:gd name="T62" fmla="*/ 33 w 66"/>
              <a:gd name="T63" fmla="*/ 39 h 39"/>
              <a:gd name="T64" fmla="*/ 28 w 66"/>
              <a:gd name="T65" fmla="*/ 33 h 39"/>
              <a:gd name="T66" fmla="*/ 22 w 66"/>
              <a:gd name="T67" fmla="*/ 39 h 39"/>
              <a:gd name="T68" fmla="*/ 22 w 66"/>
              <a:gd name="T69" fmla="*/ 33 h 39"/>
              <a:gd name="T70" fmla="*/ 22 w 66"/>
              <a:gd name="T71" fmla="*/ 39 h 39"/>
              <a:gd name="T72" fmla="*/ 17 w 66"/>
              <a:gd name="T73" fmla="*/ 39 h 39"/>
              <a:gd name="T74" fmla="*/ 11 w 66"/>
              <a:gd name="T75" fmla="*/ 33 h 39"/>
              <a:gd name="T76" fmla="*/ 6 w 66"/>
              <a:gd name="T77" fmla="*/ 33 h 39"/>
              <a:gd name="T78" fmla="*/ 6 w 66"/>
              <a:gd name="T79" fmla="*/ 28 h 39"/>
              <a:gd name="T80" fmla="*/ 0 w 66"/>
              <a:gd name="T81" fmla="*/ 2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 h="39">
                <a:moveTo>
                  <a:pt x="0" y="28"/>
                </a:moveTo>
                <a:lnTo>
                  <a:pt x="0" y="22"/>
                </a:lnTo>
                <a:lnTo>
                  <a:pt x="6" y="22"/>
                </a:lnTo>
                <a:lnTo>
                  <a:pt x="11" y="22"/>
                </a:lnTo>
                <a:lnTo>
                  <a:pt x="11" y="28"/>
                </a:lnTo>
                <a:lnTo>
                  <a:pt x="17" y="22"/>
                </a:lnTo>
                <a:lnTo>
                  <a:pt x="22" y="22"/>
                </a:lnTo>
                <a:lnTo>
                  <a:pt x="28" y="17"/>
                </a:lnTo>
                <a:lnTo>
                  <a:pt x="28" y="22"/>
                </a:lnTo>
                <a:lnTo>
                  <a:pt x="33" y="22"/>
                </a:lnTo>
                <a:lnTo>
                  <a:pt x="39" y="22"/>
                </a:lnTo>
                <a:lnTo>
                  <a:pt x="44" y="17"/>
                </a:lnTo>
                <a:lnTo>
                  <a:pt x="50" y="17"/>
                </a:lnTo>
                <a:lnTo>
                  <a:pt x="55" y="11"/>
                </a:lnTo>
                <a:lnTo>
                  <a:pt x="55" y="6"/>
                </a:lnTo>
                <a:lnTo>
                  <a:pt x="50" y="6"/>
                </a:lnTo>
                <a:lnTo>
                  <a:pt x="55" y="6"/>
                </a:lnTo>
                <a:lnTo>
                  <a:pt x="60" y="6"/>
                </a:lnTo>
                <a:lnTo>
                  <a:pt x="60" y="0"/>
                </a:lnTo>
                <a:lnTo>
                  <a:pt x="66" y="6"/>
                </a:lnTo>
                <a:lnTo>
                  <a:pt x="66" y="11"/>
                </a:lnTo>
                <a:lnTo>
                  <a:pt x="60" y="17"/>
                </a:lnTo>
                <a:lnTo>
                  <a:pt x="55" y="17"/>
                </a:lnTo>
                <a:lnTo>
                  <a:pt x="60" y="22"/>
                </a:lnTo>
                <a:lnTo>
                  <a:pt x="55" y="28"/>
                </a:lnTo>
                <a:lnTo>
                  <a:pt x="55" y="22"/>
                </a:lnTo>
                <a:lnTo>
                  <a:pt x="50" y="22"/>
                </a:lnTo>
                <a:lnTo>
                  <a:pt x="50" y="28"/>
                </a:lnTo>
                <a:lnTo>
                  <a:pt x="44" y="33"/>
                </a:lnTo>
                <a:lnTo>
                  <a:pt x="39" y="33"/>
                </a:lnTo>
                <a:lnTo>
                  <a:pt x="33" y="33"/>
                </a:lnTo>
                <a:lnTo>
                  <a:pt x="33" y="39"/>
                </a:lnTo>
                <a:lnTo>
                  <a:pt x="28" y="33"/>
                </a:lnTo>
                <a:lnTo>
                  <a:pt x="22" y="39"/>
                </a:lnTo>
                <a:lnTo>
                  <a:pt x="22" y="33"/>
                </a:lnTo>
                <a:lnTo>
                  <a:pt x="22" y="39"/>
                </a:lnTo>
                <a:lnTo>
                  <a:pt x="17" y="39"/>
                </a:lnTo>
                <a:lnTo>
                  <a:pt x="11" y="33"/>
                </a:lnTo>
                <a:lnTo>
                  <a:pt x="6" y="33"/>
                </a:lnTo>
                <a:lnTo>
                  <a:pt x="6" y="28"/>
                </a:lnTo>
                <a:lnTo>
                  <a:pt x="0" y="28"/>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39" name="Freeform 645">
            <a:extLst>
              <a:ext uri="{FF2B5EF4-FFF2-40B4-BE49-F238E27FC236}">
                <a16:creationId xmlns:a16="http://schemas.microsoft.com/office/drawing/2014/main" id="{6C776161-C044-4B74-92D2-9753F25B66DB}"/>
              </a:ext>
            </a:extLst>
          </p:cNvPr>
          <p:cNvSpPr>
            <a:spLocks/>
          </p:cNvSpPr>
          <p:nvPr/>
        </p:nvSpPr>
        <p:spPr bwMode="auto">
          <a:xfrm>
            <a:off x="3648076" y="2365375"/>
            <a:ext cx="244475" cy="254000"/>
          </a:xfrm>
          <a:custGeom>
            <a:avLst/>
            <a:gdLst>
              <a:gd name="T0" fmla="*/ 44 w 218"/>
              <a:gd name="T1" fmla="*/ 115 h 208"/>
              <a:gd name="T2" fmla="*/ 55 w 218"/>
              <a:gd name="T3" fmla="*/ 115 h 208"/>
              <a:gd name="T4" fmla="*/ 82 w 218"/>
              <a:gd name="T5" fmla="*/ 109 h 208"/>
              <a:gd name="T6" fmla="*/ 76 w 218"/>
              <a:gd name="T7" fmla="*/ 93 h 208"/>
              <a:gd name="T8" fmla="*/ 87 w 218"/>
              <a:gd name="T9" fmla="*/ 88 h 208"/>
              <a:gd name="T10" fmla="*/ 93 w 218"/>
              <a:gd name="T11" fmla="*/ 88 h 208"/>
              <a:gd name="T12" fmla="*/ 109 w 218"/>
              <a:gd name="T13" fmla="*/ 82 h 208"/>
              <a:gd name="T14" fmla="*/ 115 w 218"/>
              <a:gd name="T15" fmla="*/ 71 h 208"/>
              <a:gd name="T16" fmla="*/ 120 w 218"/>
              <a:gd name="T17" fmla="*/ 60 h 208"/>
              <a:gd name="T18" fmla="*/ 120 w 218"/>
              <a:gd name="T19" fmla="*/ 49 h 208"/>
              <a:gd name="T20" fmla="*/ 120 w 218"/>
              <a:gd name="T21" fmla="*/ 44 h 208"/>
              <a:gd name="T22" fmla="*/ 131 w 218"/>
              <a:gd name="T23" fmla="*/ 39 h 208"/>
              <a:gd name="T24" fmla="*/ 131 w 218"/>
              <a:gd name="T25" fmla="*/ 33 h 208"/>
              <a:gd name="T26" fmla="*/ 131 w 218"/>
              <a:gd name="T27" fmla="*/ 17 h 208"/>
              <a:gd name="T28" fmla="*/ 126 w 218"/>
              <a:gd name="T29" fmla="*/ 11 h 208"/>
              <a:gd name="T30" fmla="*/ 126 w 218"/>
              <a:gd name="T31" fmla="*/ 6 h 208"/>
              <a:gd name="T32" fmla="*/ 136 w 218"/>
              <a:gd name="T33" fmla="*/ 0 h 208"/>
              <a:gd name="T34" fmla="*/ 153 w 218"/>
              <a:gd name="T35" fmla="*/ 0 h 208"/>
              <a:gd name="T36" fmla="*/ 169 w 218"/>
              <a:gd name="T37" fmla="*/ 0 h 208"/>
              <a:gd name="T38" fmla="*/ 186 w 218"/>
              <a:gd name="T39" fmla="*/ 6 h 208"/>
              <a:gd name="T40" fmla="*/ 196 w 218"/>
              <a:gd name="T41" fmla="*/ 17 h 208"/>
              <a:gd name="T42" fmla="*/ 213 w 218"/>
              <a:gd name="T43" fmla="*/ 22 h 208"/>
              <a:gd name="T44" fmla="*/ 213 w 218"/>
              <a:gd name="T45" fmla="*/ 33 h 208"/>
              <a:gd name="T46" fmla="*/ 196 w 218"/>
              <a:gd name="T47" fmla="*/ 39 h 208"/>
              <a:gd name="T48" fmla="*/ 180 w 218"/>
              <a:gd name="T49" fmla="*/ 33 h 208"/>
              <a:gd name="T50" fmla="*/ 169 w 218"/>
              <a:gd name="T51" fmla="*/ 39 h 208"/>
              <a:gd name="T52" fmla="*/ 180 w 218"/>
              <a:gd name="T53" fmla="*/ 49 h 208"/>
              <a:gd name="T54" fmla="*/ 180 w 218"/>
              <a:gd name="T55" fmla="*/ 60 h 208"/>
              <a:gd name="T56" fmla="*/ 191 w 218"/>
              <a:gd name="T57" fmla="*/ 71 h 208"/>
              <a:gd name="T58" fmla="*/ 196 w 218"/>
              <a:gd name="T59" fmla="*/ 77 h 208"/>
              <a:gd name="T60" fmla="*/ 196 w 218"/>
              <a:gd name="T61" fmla="*/ 93 h 208"/>
              <a:gd name="T62" fmla="*/ 196 w 218"/>
              <a:gd name="T63" fmla="*/ 99 h 208"/>
              <a:gd name="T64" fmla="*/ 191 w 218"/>
              <a:gd name="T65" fmla="*/ 109 h 208"/>
              <a:gd name="T66" fmla="*/ 186 w 218"/>
              <a:gd name="T67" fmla="*/ 120 h 208"/>
              <a:gd name="T68" fmla="*/ 180 w 218"/>
              <a:gd name="T69" fmla="*/ 131 h 208"/>
              <a:gd name="T70" fmla="*/ 175 w 218"/>
              <a:gd name="T71" fmla="*/ 142 h 208"/>
              <a:gd name="T72" fmla="*/ 158 w 218"/>
              <a:gd name="T73" fmla="*/ 148 h 208"/>
              <a:gd name="T74" fmla="*/ 147 w 218"/>
              <a:gd name="T75" fmla="*/ 142 h 208"/>
              <a:gd name="T76" fmla="*/ 142 w 218"/>
              <a:gd name="T77" fmla="*/ 159 h 208"/>
              <a:gd name="T78" fmla="*/ 158 w 218"/>
              <a:gd name="T79" fmla="*/ 169 h 208"/>
              <a:gd name="T80" fmla="*/ 169 w 218"/>
              <a:gd name="T81" fmla="*/ 180 h 208"/>
              <a:gd name="T82" fmla="*/ 175 w 218"/>
              <a:gd name="T83" fmla="*/ 197 h 208"/>
              <a:gd name="T84" fmla="*/ 169 w 218"/>
              <a:gd name="T85" fmla="*/ 202 h 208"/>
              <a:gd name="T86" fmla="*/ 158 w 218"/>
              <a:gd name="T87" fmla="*/ 202 h 208"/>
              <a:gd name="T88" fmla="*/ 142 w 218"/>
              <a:gd name="T89" fmla="*/ 202 h 208"/>
              <a:gd name="T90" fmla="*/ 136 w 218"/>
              <a:gd name="T91" fmla="*/ 208 h 208"/>
              <a:gd name="T92" fmla="*/ 120 w 218"/>
              <a:gd name="T93" fmla="*/ 202 h 208"/>
              <a:gd name="T94" fmla="*/ 109 w 218"/>
              <a:gd name="T95" fmla="*/ 191 h 208"/>
              <a:gd name="T96" fmla="*/ 98 w 218"/>
              <a:gd name="T97" fmla="*/ 180 h 208"/>
              <a:gd name="T98" fmla="*/ 93 w 218"/>
              <a:gd name="T99" fmla="*/ 180 h 208"/>
              <a:gd name="T100" fmla="*/ 82 w 218"/>
              <a:gd name="T101" fmla="*/ 186 h 208"/>
              <a:gd name="T102" fmla="*/ 66 w 218"/>
              <a:gd name="T103" fmla="*/ 186 h 208"/>
              <a:gd name="T104" fmla="*/ 55 w 218"/>
              <a:gd name="T105" fmla="*/ 186 h 208"/>
              <a:gd name="T106" fmla="*/ 38 w 218"/>
              <a:gd name="T107" fmla="*/ 186 h 208"/>
              <a:gd name="T108" fmla="*/ 27 w 218"/>
              <a:gd name="T109" fmla="*/ 175 h 208"/>
              <a:gd name="T110" fmla="*/ 33 w 218"/>
              <a:gd name="T111" fmla="*/ 164 h 208"/>
              <a:gd name="T112" fmla="*/ 44 w 218"/>
              <a:gd name="T113" fmla="*/ 164 h 208"/>
              <a:gd name="T114" fmla="*/ 49 w 218"/>
              <a:gd name="T115" fmla="*/ 153 h 208"/>
              <a:gd name="T116" fmla="*/ 38 w 218"/>
              <a:gd name="T117" fmla="*/ 142 h 208"/>
              <a:gd name="T118" fmla="*/ 27 w 218"/>
              <a:gd name="T119" fmla="*/ 131 h 208"/>
              <a:gd name="T120" fmla="*/ 11 w 218"/>
              <a:gd name="T121" fmla="*/ 126 h 208"/>
              <a:gd name="T122" fmla="*/ 0 w 218"/>
              <a:gd name="T123" fmla="*/ 109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8" h="208">
                <a:moveTo>
                  <a:pt x="0" y="109"/>
                </a:moveTo>
                <a:lnTo>
                  <a:pt x="27" y="120"/>
                </a:lnTo>
                <a:lnTo>
                  <a:pt x="44" y="115"/>
                </a:lnTo>
                <a:lnTo>
                  <a:pt x="49" y="120"/>
                </a:lnTo>
                <a:lnTo>
                  <a:pt x="55" y="120"/>
                </a:lnTo>
                <a:lnTo>
                  <a:pt x="55" y="115"/>
                </a:lnTo>
                <a:lnTo>
                  <a:pt x="60" y="115"/>
                </a:lnTo>
                <a:lnTo>
                  <a:pt x="66" y="115"/>
                </a:lnTo>
                <a:lnTo>
                  <a:pt x="82" y="109"/>
                </a:lnTo>
                <a:lnTo>
                  <a:pt x="82" y="104"/>
                </a:lnTo>
                <a:lnTo>
                  <a:pt x="76" y="99"/>
                </a:lnTo>
                <a:lnTo>
                  <a:pt x="76" y="93"/>
                </a:lnTo>
                <a:lnTo>
                  <a:pt x="82" y="93"/>
                </a:lnTo>
                <a:lnTo>
                  <a:pt x="82" y="88"/>
                </a:lnTo>
                <a:lnTo>
                  <a:pt x="87" y="88"/>
                </a:lnTo>
                <a:lnTo>
                  <a:pt x="93" y="88"/>
                </a:lnTo>
                <a:lnTo>
                  <a:pt x="98" y="88"/>
                </a:lnTo>
                <a:lnTo>
                  <a:pt x="93" y="88"/>
                </a:lnTo>
                <a:lnTo>
                  <a:pt x="98" y="82"/>
                </a:lnTo>
                <a:lnTo>
                  <a:pt x="104" y="82"/>
                </a:lnTo>
                <a:lnTo>
                  <a:pt x="109" y="82"/>
                </a:lnTo>
                <a:lnTo>
                  <a:pt x="115" y="82"/>
                </a:lnTo>
                <a:lnTo>
                  <a:pt x="115" y="77"/>
                </a:lnTo>
                <a:lnTo>
                  <a:pt x="115" y="71"/>
                </a:lnTo>
                <a:lnTo>
                  <a:pt x="115" y="66"/>
                </a:lnTo>
                <a:lnTo>
                  <a:pt x="115" y="60"/>
                </a:lnTo>
                <a:lnTo>
                  <a:pt x="120" y="60"/>
                </a:lnTo>
                <a:lnTo>
                  <a:pt x="126" y="55"/>
                </a:lnTo>
                <a:lnTo>
                  <a:pt x="120" y="55"/>
                </a:lnTo>
                <a:lnTo>
                  <a:pt x="120" y="49"/>
                </a:lnTo>
                <a:lnTo>
                  <a:pt x="115" y="49"/>
                </a:lnTo>
                <a:lnTo>
                  <a:pt x="115" y="44"/>
                </a:lnTo>
                <a:lnTo>
                  <a:pt x="120" y="44"/>
                </a:lnTo>
                <a:lnTo>
                  <a:pt x="126" y="44"/>
                </a:lnTo>
                <a:lnTo>
                  <a:pt x="131" y="44"/>
                </a:lnTo>
                <a:lnTo>
                  <a:pt x="131" y="39"/>
                </a:lnTo>
                <a:lnTo>
                  <a:pt x="126" y="39"/>
                </a:lnTo>
                <a:lnTo>
                  <a:pt x="131" y="39"/>
                </a:lnTo>
                <a:lnTo>
                  <a:pt x="131" y="33"/>
                </a:lnTo>
                <a:lnTo>
                  <a:pt x="131" y="28"/>
                </a:lnTo>
                <a:lnTo>
                  <a:pt x="131" y="22"/>
                </a:lnTo>
                <a:lnTo>
                  <a:pt x="131" y="17"/>
                </a:lnTo>
                <a:lnTo>
                  <a:pt x="126" y="17"/>
                </a:lnTo>
                <a:lnTo>
                  <a:pt x="120" y="11"/>
                </a:lnTo>
                <a:lnTo>
                  <a:pt x="126" y="11"/>
                </a:lnTo>
                <a:lnTo>
                  <a:pt x="126" y="6"/>
                </a:lnTo>
                <a:lnTo>
                  <a:pt x="131" y="6"/>
                </a:lnTo>
                <a:lnTo>
                  <a:pt x="126" y="6"/>
                </a:lnTo>
                <a:lnTo>
                  <a:pt x="131" y="6"/>
                </a:lnTo>
                <a:lnTo>
                  <a:pt x="131" y="0"/>
                </a:lnTo>
                <a:lnTo>
                  <a:pt x="136" y="0"/>
                </a:lnTo>
                <a:lnTo>
                  <a:pt x="142" y="0"/>
                </a:lnTo>
                <a:lnTo>
                  <a:pt x="147" y="0"/>
                </a:lnTo>
                <a:lnTo>
                  <a:pt x="153" y="0"/>
                </a:lnTo>
                <a:lnTo>
                  <a:pt x="158" y="0"/>
                </a:lnTo>
                <a:lnTo>
                  <a:pt x="164" y="0"/>
                </a:lnTo>
                <a:lnTo>
                  <a:pt x="169" y="0"/>
                </a:lnTo>
                <a:lnTo>
                  <a:pt x="175" y="0"/>
                </a:lnTo>
                <a:lnTo>
                  <a:pt x="180" y="0"/>
                </a:lnTo>
                <a:lnTo>
                  <a:pt x="186" y="6"/>
                </a:lnTo>
                <a:lnTo>
                  <a:pt x="191" y="6"/>
                </a:lnTo>
                <a:lnTo>
                  <a:pt x="191" y="11"/>
                </a:lnTo>
                <a:lnTo>
                  <a:pt x="196" y="17"/>
                </a:lnTo>
                <a:lnTo>
                  <a:pt x="202" y="17"/>
                </a:lnTo>
                <a:lnTo>
                  <a:pt x="207" y="17"/>
                </a:lnTo>
                <a:lnTo>
                  <a:pt x="213" y="22"/>
                </a:lnTo>
                <a:lnTo>
                  <a:pt x="218" y="22"/>
                </a:lnTo>
                <a:lnTo>
                  <a:pt x="213" y="28"/>
                </a:lnTo>
                <a:lnTo>
                  <a:pt x="213" y="33"/>
                </a:lnTo>
                <a:lnTo>
                  <a:pt x="207" y="33"/>
                </a:lnTo>
                <a:lnTo>
                  <a:pt x="202" y="33"/>
                </a:lnTo>
                <a:lnTo>
                  <a:pt x="196" y="39"/>
                </a:lnTo>
                <a:lnTo>
                  <a:pt x="191" y="39"/>
                </a:lnTo>
                <a:lnTo>
                  <a:pt x="186" y="33"/>
                </a:lnTo>
                <a:lnTo>
                  <a:pt x="180" y="33"/>
                </a:lnTo>
                <a:lnTo>
                  <a:pt x="175" y="33"/>
                </a:lnTo>
                <a:lnTo>
                  <a:pt x="169" y="33"/>
                </a:lnTo>
                <a:lnTo>
                  <a:pt x="169" y="39"/>
                </a:lnTo>
                <a:lnTo>
                  <a:pt x="175" y="44"/>
                </a:lnTo>
                <a:lnTo>
                  <a:pt x="180" y="44"/>
                </a:lnTo>
                <a:lnTo>
                  <a:pt x="180" y="49"/>
                </a:lnTo>
                <a:lnTo>
                  <a:pt x="175" y="49"/>
                </a:lnTo>
                <a:lnTo>
                  <a:pt x="180" y="55"/>
                </a:lnTo>
                <a:lnTo>
                  <a:pt x="180" y="60"/>
                </a:lnTo>
                <a:lnTo>
                  <a:pt x="186" y="60"/>
                </a:lnTo>
                <a:lnTo>
                  <a:pt x="191" y="66"/>
                </a:lnTo>
                <a:lnTo>
                  <a:pt x="191" y="71"/>
                </a:lnTo>
                <a:lnTo>
                  <a:pt x="196" y="71"/>
                </a:lnTo>
                <a:lnTo>
                  <a:pt x="202" y="77"/>
                </a:lnTo>
                <a:lnTo>
                  <a:pt x="196" y="77"/>
                </a:lnTo>
                <a:lnTo>
                  <a:pt x="196" y="82"/>
                </a:lnTo>
                <a:lnTo>
                  <a:pt x="196" y="88"/>
                </a:lnTo>
                <a:lnTo>
                  <a:pt x="196" y="93"/>
                </a:lnTo>
                <a:lnTo>
                  <a:pt x="202" y="93"/>
                </a:lnTo>
                <a:lnTo>
                  <a:pt x="196" y="93"/>
                </a:lnTo>
                <a:lnTo>
                  <a:pt x="196" y="99"/>
                </a:lnTo>
                <a:lnTo>
                  <a:pt x="191" y="104"/>
                </a:lnTo>
                <a:lnTo>
                  <a:pt x="196" y="104"/>
                </a:lnTo>
                <a:lnTo>
                  <a:pt x="191" y="109"/>
                </a:lnTo>
                <a:lnTo>
                  <a:pt x="186" y="109"/>
                </a:lnTo>
                <a:lnTo>
                  <a:pt x="186" y="115"/>
                </a:lnTo>
                <a:lnTo>
                  <a:pt x="186" y="120"/>
                </a:lnTo>
                <a:lnTo>
                  <a:pt x="186" y="126"/>
                </a:lnTo>
                <a:lnTo>
                  <a:pt x="180" y="126"/>
                </a:lnTo>
                <a:lnTo>
                  <a:pt x="180" y="131"/>
                </a:lnTo>
                <a:lnTo>
                  <a:pt x="175" y="131"/>
                </a:lnTo>
                <a:lnTo>
                  <a:pt x="175" y="137"/>
                </a:lnTo>
                <a:lnTo>
                  <a:pt x="175" y="142"/>
                </a:lnTo>
                <a:lnTo>
                  <a:pt x="169" y="142"/>
                </a:lnTo>
                <a:lnTo>
                  <a:pt x="164" y="142"/>
                </a:lnTo>
                <a:lnTo>
                  <a:pt x="158" y="148"/>
                </a:lnTo>
                <a:lnTo>
                  <a:pt x="158" y="142"/>
                </a:lnTo>
                <a:lnTo>
                  <a:pt x="153" y="142"/>
                </a:lnTo>
                <a:lnTo>
                  <a:pt x="147" y="142"/>
                </a:lnTo>
                <a:lnTo>
                  <a:pt x="147" y="148"/>
                </a:lnTo>
                <a:lnTo>
                  <a:pt x="142" y="153"/>
                </a:lnTo>
                <a:lnTo>
                  <a:pt x="142" y="159"/>
                </a:lnTo>
                <a:lnTo>
                  <a:pt x="147" y="164"/>
                </a:lnTo>
                <a:lnTo>
                  <a:pt x="153" y="164"/>
                </a:lnTo>
                <a:lnTo>
                  <a:pt x="158" y="169"/>
                </a:lnTo>
                <a:lnTo>
                  <a:pt x="158" y="175"/>
                </a:lnTo>
                <a:lnTo>
                  <a:pt x="164" y="180"/>
                </a:lnTo>
                <a:lnTo>
                  <a:pt x="169" y="180"/>
                </a:lnTo>
                <a:lnTo>
                  <a:pt x="169" y="186"/>
                </a:lnTo>
                <a:lnTo>
                  <a:pt x="175" y="191"/>
                </a:lnTo>
                <a:lnTo>
                  <a:pt x="175" y="197"/>
                </a:lnTo>
                <a:lnTo>
                  <a:pt x="180" y="197"/>
                </a:lnTo>
                <a:lnTo>
                  <a:pt x="175" y="202"/>
                </a:lnTo>
                <a:lnTo>
                  <a:pt x="169" y="202"/>
                </a:lnTo>
                <a:lnTo>
                  <a:pt x="169" y="197"/>
                </a:lnTo>
                <a:lnTo>
                  <a:pt x="164" y="202"/>
                </a:lnTo>
                <a:lnTo>
                  <a:pt x="158" y="202"/>
                </a:lnTo>
                <a:lnTo>
                  <a:pt x="153" y="202"/>
                </a:lnTo>
                <a:lnTo>
                  <a:pt x="147" y="202"/>
                </a:lnTo>
                <a:lnTo>
                  <a:pt x="142" y="202"/>
                </a:lnTo>
                <a:lnTo>
                  <a:pt x="142" y="208"/>
                </a:lnTo>
                <a:lnTo>
                  <a:pt x="136" y="202"/>
                </a:lnTo>
                <a:lnTo>
                  <a:pt x="136" y="208"/>
                </a:lnTo>
                <a:lnTo>
                  <a:pt x="131" y="208"/>
                </a:lnTo>
                <a:lnTo>
                  <a:pt x="126" y="208"/>
                </a:lnTo>
                <a:lnTo>
                  <a:pt x="120" y="202"/>
                </a:lnTo>
                <a:lnTo>
                  <a:pt x="120" y="197"/>
                </a:lnTo>
                <a:lnTo>
                  <a:pt x="115" y="191"/>
                </a:lnTo>
                <a:lnTo>
                  <a:pt x="109" y="191"/>
                </a:lnTo>
                <a:lnTo>
                  <a:pt x="109" y="186"/>
                </a:lnTo>
                <a:lnTo>
                  <a:pt x="104" y="180"/>
                </a:lnTo>
                <a:lnTo>
                  <a:pt x="98" y="180"/>
                </a:lnTo>
                <a:lnTo>
                  <a:pt x="104" y="180"/>
                </a:lnTo>
                <a:lnTo>
                  <a:pt x="98" y="180"/>
                </a:lnTo>
                <a:lnTo>
                  <a:pt x="93" y="180"/>
                </a:lnTo>
                <a:lnTo>
                  <a:pt x="93" y="186"/>
                </a:lnTo>
                <a:lnTo>
                  <a:pt x="87" y="180"/>
                </a:lnTo>
                <a:lnTo>
                  <a:pt x="82" y="186"/>
                </a:lnTo>
                <a:lnTo>
                  <a:pt x="76" y="186"/>
                </a:lnTo>
                <a:lnTo>
                  <a:pt x="71" y="186"/>
                </a:lnTo>
                <a:lnTo>
                  <a:pt x="66" y="186"/>
                </a:lnTo>
                <a:lnTo>
                  <a:pt x="60" y="180"/>
                </a:lnTo>
                <a:lnTo>
                  <a:pt x="60" y="186"/>
                </a:lnTo>
                <a:lnTo>
                  <a:pt x="55" y="186"/>
                </a:lnTo>
                <a:lnTo>
                  <a:pt x="49" y="186"/>
                </a:lnTo>
                <a:lnTo>
                  <a:pt x="44" y="186"/>
                </a:lnTo>
                <a:lnTo>
                  <a:pt x="38" y="186"/>
                </a:lnTo>
                <a:lnTo>
                  <a:pt x="33" y="186"/>
                </a:lnTo>
                <a:lnTo>
                  <a:pt x="33" y="175"/>
                </a:lnTo>
                <a:lnTo>
                  <a:pt x="27" y="175"/>
                </a:lnTo>
                <a:lnTo>
                  <a:pt x="33" y="175"/>
                </a:lnTo>
                <a:lnTo>
                  <a:pt x="33" y="169"/>
                </a:lnTo>
                <a:lnTo>
                  <a:pt x="33" y="164"/>
                </a:lnTo>
                <a:lnTo>
                  <a:pt x="38" y="169"/>
                </a:lnTo>
                <a:lnTo>
                  <a:pt x="38" y="164"/>
                </a:lnTo>
                <a:lnTo>
                  <a:pt x="44" y="164"/>
                </a:lnTo>
                <a:lnTo>
                  <a:pt x="49" y="164"/>
                </a:lnTo>
                <a:lnTo>
                  <a:pt x="49" y="159"/>
                </a:lnTo>
                <a:lnTo>
                  <a:pt x="49" y="153"/>
                </a:lnTo>
                <a:lnTo>
                  <a:pt x="38" y="153"/>
                </a:lnTo>
                <a:lnTo>
                  <a:pt x="44" y="148"/>
                </a:lnTo>
                <a:lnTo>
                  <a:pt x="38" y="142"/>
                </a:lnTo>
                <a:lnTo>
                  <a:pt x="38" y="137"/>
                </a:lnTo>
                <a:lnTo>
                  <a:pt x="33" y="137"/>
                </a:lnTo>
                <a:lnTo>
                  <a:pt x="27" y="131"/>
                </a:lnTo>
                <a:lnTo>
                  <a:pt x="22" y="131"/>
                </a:lnTo>
                <a:lnTo>
                  <a:pt x="16" y="126"/>
                </a:lnTo>
                <a:lnTo>
                  <a:pt x="11" y="126"/>
                </a:lnTo>
                <a:lnTo>
                  <a:pt x="11" y="120"/>
                </a:lnTo>
                <a:lnTo>
                  <a:pt x="6" y="115"/>
                </a:lnTo>
                <a:lnTo>
                  <a:pt x="0" y="109"/>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0" name="Freeform 646">
            <a:extLst>
              <a:ext uri="{FF2B5EF4-FFF2-40B4-BE49-F238E27FC236}">
                <a16:creationId xmlns:a16="http://schemas.microsoft.com/office/drawing/2014/main" id="{32D6CD8E-C260-F804-6AEC-CB060C72A09F}"/>
              </a:ext>
            </a:extLst>
          </p:cNvPr>
          <p:cNvSpPr>
            <a:spLocks/>
          </p:cNvSpPr>
          <p:nvPr/>
        </p:nvSpPr>
        <p:spPr bwMode="auto">
          <a:xfrm>
            <a:off x="3751263" y="2298699"/>
            <a:ext cx="6350" cy="6350"/>
          </a:xfrm>
          <a:custGeom>
            <a:avLst/>
            <a:gdLst>
              <a:gd name="T0" fmla="*/ 0 w 5"/>
              <a:gd name="T1" fmla="*/ 0 h 5"/>
              <a:gd name="T2" fmla="*/ 5 w 5"/>
              <a:gd name="T3" fmla="*/ 0 h 5"/>
              <a:gd name="T4" fmla="*/ 5 w 5"/>
              <a:gd name="T5" fmla="*/ 5 h 5"/>
              <a:gd name="T6" fmla="*/ 0 w 5"/>
              <a:gd name="T7" fmla="*/ 0 h 5"/>
            </a:gdLst>
            <a:ahLst/>
            <a:cxnLst>
              <a:cxn ang="0">
                <a:pos x="T0" y="T1"/>
              </a:cxn>
              <a:cxn ang="0">
                <a:pos x="T2" y="T3"/>
              </a:cxn>
              <a:cxn ang="0">
                <a:pos x="T4" y="T5"/>
              </a:cxn>
              <a:cxn ang="0">
                <a:pos x="T6" y="T7"/>
              </a:cxn>
            </a:cxnLst>
            <a:rect l="0" t="0" r="r" b="b"/>
            <a:pathLst>
              <a:path w="5" h="5">
                <a:moveTo>
                  <a:pt x="0" y="0"/>
                </a:moveTo>
                <a:lnTo>
                  <a:pt x="5" y="0"/>
                </a:lnTo>
                <a:lnTo>
                  <a:pt x="5" y="5"/>
                </a:lnTo>
                <a:lnTo>
                  <a:pt x="0" y="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1" name="Freeform 647">
            <a:extLst>
              <a:ext uri="{FF2B5EF4-FFF2-40B4-BE49-F238E27FC236}">
                <a16:creationId xmlns:a16="http://schemas.microsoft.com/office/drawing/2014/main" id="{BE4DAA1C-870F-8823-2555-A72FB0A87899}"/>
              </a:ext>
            </a:extLst>
          </p:cNvPr>
          <p:cNvSpPr>
            <a:spLocks/>
          </p:cNvSpPr>
          <p:nvPr/>
        </p:nvSpPr>
        <p:spPr bwMode="auto">
          <a:xfrm>
            <a:off x="3702050" y="2286000"/>
            <a:ext cx="134938" cy="85725"/>
          </a:xfrm>
          <a:custGeom>
            <a:avLst/>
            <a:gdLst>
              <a:gd name="T0" fmla="*/ 17 w 120"/>
              <a:gd name="T1" fmla="*/ 54 h 71"/>
              <a:gd name="T2" fmla="*/ 22 w 120"/>
              <a:gd name="T3" fmla="*/ 49 h 71"/>
              <a:gd name="T4" fmla="*/ 17 w 120"/>
              <a:gd name="T5" fmla="*/ 38 h 71"/>
              <a:gd name="T6" fmla="*/ 11 w 120"/>
              <a:gd name="T7" fmla="*/ 33 h 71"/>
              <a:gd name="T8" fmla="*/ 0 w 120"/>
              <a:gd name="T9" fmla="*/ 27 h 71"/>
              <a:gd name="T10" fmla="*/ 11 w 120"/>
              <a:gd name="T11" fmla="*/ 22 h 71"/>
              <a:gd name="T12" fmla="*/ 17 w 120"/>
              <a:gd name="T13" fmla="*/ 16 h 71"/>
              <a:gd name="T14" fmla="*/ 11 w 120"/>
              <a:gd name="T15" fmla="*/ 11 h 71"/>
              <a:gd name="T16" fmla="*/ 22 w 120"/>
              <a:gd name="T17" fmla="*/ 11 h 71"/>
              <a:gd name="T18" fmla="*/ 22 w 120"/>
              <a:gd name="T19" fmla="*/ 5 h 71"/>
              <a:gd name="T20" fmla="*/ 27 w 120"/>
              <a:gd name="T21" fmla="*/ 0 h 71"/>
              <a:gd name="T22" fmla="*/ 38 w 120"/>
              <a:gd name="T23" fmla="*/ 5 h 71"/>
              <a:gd name="T24" fmla="*/ 33 w 120"/>
              <a:gd name="T25" fmla="*/ 11 h 71"/>
              <a:gd name="T26" fmla="*/ 44 w 120"/>
              <a:gd name="T27" fmla="*/ 11 h 71"/>
              <a:gd name="T28" fmla="*/ 33 w 120"/>
              <a:gd name="T29" fmla="*/ 11 h 71"/>
              <a:gd name="T30" fmla="*/ 22 w 120"/>
              <a:gd name="T31" fmla="*/ 16 h 71"/>
              <a:gd name="T32" fmla="*/ 22 w 120"/>
              <a:gd name="T33" fmla="*/ 16 h 71"/>
              <a:gd name="T34" fmla="*/ 33 w 120"/>
              <a:gd name="T35" fmla="*/ 22 h 71"/>
              <a:gd name="T36" fmla="*/ 44 w 120"/>
              <a:gd name="T37" fmla="*/ 22 h 71"/>
              <a:gd name="T38" fmla="*/ 49 w 120"/>
              <a:gd name="T39" fmla="*/ 27 h 71"/>
              <a:gd name="T40" fmla="*/ 55 w 120"/>
              <a:gd name="T41" fmla="*/ 22 h 71"/>
              <a:gd name="T42" fmla="*/ 60 w 120"/>
              <a:gd name="T43" fmla="*/ 27 h 71"/>
              <a:gd name="T44" fmla="*/ 77 w 120"/>
              <a:gd name="T45" fmla="*/ 27 h 71"/>
              <a:gd name="T46" fmla="*/ 87 w 120"/>
              <a:gd name="T47" fmla="*/ 22 h 71"/>
              <a:gd name="T48" fmla="*/ 93 w 120"/>
              <a:gd name="T49" fmla="*/ 33 h 71"/>
              <a:gd name="T50" fmla="*/ 98 w 120"/>
              <a:gd name="T51" fmla="*/ 38 h 71"/>
              <a:gd name="T52" fmla="*/ 109 w 120"/>
              <a:gd name="T53" fmla="*/ 38 h 71"/>
              <a:gd name="T54" fmla="*/ 115 w 120"/>
              <a:gd name="T55" fmla="*/ 49 h 71"/>
              <a:gd name="T56" fmla="*/ 120 w 120"/>
              <a:gd name="T57" fmla="*/ 54 h 71"/>
              <a:gd name="T58" fmla="*/ 115 w 120"/>
              <a:gd name="T59" fmla="*/ 54 h 71"/>
              <a:gd name="T60" fmla="*/ 109 w 120"/>
              <a:gd name="T61" fmla="*/ 60 h 71"/>
              <a:gd name="T62" fmla="*/ 98 w 120"/>
              <a:gd name="T63" fmla="*/ 54 h 71"/>
              <a:gd name="T64" fmla="*/ 93 w 120"/>
              <a:gd name="T65" fmla="*/ 60 h 71"/>
              <a:gd name="T66" fmla="*/ 87 w 120"/>
              <a:gd name="T67" fmla="*/ 65 h 71"/>
              <a:gd name="T68" fmla="*/ 77 w 120"/>
              <a:gd name="T69" fmla="*/ 65 h 71"/>
              <a:gd name="T70" fmla="*/ 71 w 120"/>
              <a:gd name="T71" fmla="*/ 65 h 71"/>
              <a:gd name="T72" fmla="*/ 71 w 120"/>
              <a:gd name="T73" fmla="*/ 54 h 71"/>
              <a:gd name="T74" fmla="*/ 60 w 120"/>
              <a:gd name="T75" fmla="*/ 49 h 71"/>
              <a:gd name="T76" fmla="*/ 55 w 120"/>
              <a:gd name="T77" fmla="*/ 44 h 71"/>
              <a:gd name="T78" fmla="*/ 49 w 120"/>
              <a:gd name="T79" fmla="*/ 44 h 71"/>
              <a:gd name="T80" fmla="*/ 49 w 120"/>
              <a:gd name="T81" fmla="*/ 54 h 71"/>
              <a:gd name="T82" fmla="*/ 38 w 120"/>
              <a:gd name="T83" fmla="*/ 54 h 71"/>
              <a:gd name="T84" fmla="*/ 33 w 120"/>
              <a:gd name="T85" fmla="*/ 60 h 71"/>
              <a:gd name="T86" fmla="*/ 27 w 120"/>
              <a:gd name="T87" fmla="*/ 65 h 71"/>
              <a:gd name="T88" fmla="*/ 17 w 120"/>
              <a:gd name="T89"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71">
                <a:moveTo>
                  <a:pt x="17" y="60"/>
                </a:moveTo>
                <a:lnTo>
                  <a:pt x="17" y="54"/>
                </a:lnTo>
                <a:lnTo>
                  <a:pt x="17" y="49"/>
                </a:lnTo>
                <a:lnTo>
                  <a:pt x="22" y="49"/>
                </a:lnTo>
                <a:lnTo>
                  <a:pt x="22" y="44"/>
                </a:lnTo>
                <a:lnTo>
                  <a:pt x="17" y="38"/>
                </a:lnTo>
                <a:lnTo>
                  <a:pt x="11" y="38"/>
                </a:lnTo>
                <a:lnTo>
                  <a:pt x="11" y="33"/>
                </a:lnTo>
                <a:lnTo>
                  <a:pt x="6" y="33"/>
                </a:lnTo>
                <a:lnTo>
                  <a:pt x="0" y="27"/>
                </a:lnTo>
                <a:lnTo>
                  <a:pt x="0" y="22"/>
                </a:lnTo>
                <a:lnTo>
                  <a:pt x="11" y="22"/>
                </a:lnTo>
                <a:lnTo>
                  <a:pt x="11" y="16"/>
                </a:lnTo>
                <a:lnTo>
                  <a:pt x="17" y="16"/>
                </a:lnTo>
                <a:lnTo>
                  <a:pt x="17" y="11"/>
                </a:lnTo>
                <a:lnTo>
                  <a:pt x="11" y="11"/>
                </a:lnTo>
                <a:lnTo>
                  <a:pt x="17" y="11"/>
                </a:lnTo>
                <a:lnTo>
                  <a:pt x="22" y="11"/>
                </a:lnTo>
                <a:lnTo>
                  <a:pt x="17" y="5"/>
                </a:lnTo>
                <a:lnTo>
                  <a:pt x="22" y="5"/>
                </a:lnTo>
                <a:lnTo>
                  <a:pt x="27" y="5"/>
                </a:lnTo>
                <a:lnTo>
                  <a:pt x="27" y="0"/>
                </a:lnTo>
                <a:lnTo>
                  <a:pt x="33" y="0"/>
                </a:lnTo>
                <a:lnTo>
                  <a:pt x="38" y="5"/>
                </a:lnTo>
                <a:lnTo>
                  <a:pt x="33" y="5"/>
                </a:lnTo>
                <a:lnTo>
                  <a:pt x="33" y="11"/>
                </a:lnTo>
                <a:lnTo>
                  <a:pt x="38" y="11"/>
                </a:lnTo>
                <a:lnTo>
                  <a:pt x="44" y="11"/>
                </a:lnTo>
                <a:lnTo>
                  <a:pt x="38" y="16"/>
                </a:lnTo>
                <a:lnTo>
                  <a:pt x="33" y="11"/>
                </a:lnTo>
                <a:lnTo>
                  <a:pt x="27" y="16"/>
                </a:lnTo>
                <a:lnTo>
                  <a:pt x="22" y="16"/>
                </a:lnTo>
                <a:lnTo>
                  <a:pt x="27" y="16"/>
                </a:lnTo>
                <a:lnTo>
                  <a:pt x="22" y="16"/>
                </a:lnTo>
                <a:lnTo>
                  <a:pt x="27" y="22"/>
                </a:lnTo>
                <a:lnTo>
                  <a:pt x="33" y="22"/>
                </a:lnTo>
                <a:lnTo>
                  <a:pt x="38" y="22"/>
                </a:lnTo>
                <a:lnTo>
                  <a:pt x="44" y="22"/>
                </a:lnTo>
                <a:lnTo>
                  <a:pt x="44" y="27"/>
                </a:lnTo>
                <a:lnTo>
                  <a:pt x="49" y="27"/>
                </a:lnTo>
                <a:lnTo>
                  <a:pt x="49" y="22"/>
                </a:lnTo>
                <a:lnTo>
                  <a:pt x="55" y="22"/>
                </a:lnTo>
                <a:lnTo>
                  <a:pt x="60" y="22"/>
                </a:lnTo>
                <a:lnTo>
                  <a:pt x="60" y="27"/>
                </a:lnTo>
                <a:lnTo>
                  <a:pt x="71" y="27"/>
                </a:lnTo>
                <a:lnTo>
                  <a:pt x="77" y="27"/>
                </a:lnTo>
                <a:lnTo>
                  <a:pt x="82" y="27"/>
                </a:lnTo>
                <a:lnTo>
                  <a:pt x="87" y="22"/>
                </a:lnTo>
                <a:lnTo>
                  <a:pt x="87" y="27"/>
                </a:lnTo>
                <a:lnTo>
                  <a:pt x="93" y="33"/>
                </a:lnTo>
                <a:lnTo>
                  <a:pt x="93" y="38"/>
                </a:lnTo>
                <a:lnTo>
                  <a:pt x="98" y="38"/>
                </a:lnTo>
                <a:lnTo>
                  <a:pt x="104" y="38"/>
                </a:lnTo>
                <a:lnTo>
                  <a:pt x="109" y="38"/>
                </a:lnTo>
                <a:lnTo>
                  <a:pt x="109" y="44"/>
                </a:lnTo>
                <a:lnTo>
                  <a:pt x="115" y="49"/>
                </a:lnTo>
                <a:lnTo>
                  <a:pt x="115" y="54"/>
                </a:lnTo>
                <a:lnTo>
                  <a:pt x="120" y="54"/>
                </a:lnTo>
                <a:lnTo>
                  <a:pt x="120" y="60"/>
                </a:lnTo>
                <a:lnTo>
                  <a:pt x="115" y="54"/>
                </a:lnTo>
                <a:lnTo>
                  <a:pt x="109" y="54"/>
                </a:lnTo>
                <a:lnTo>
                  <a:pt x="109" y="60"/>
                </a:lnTo>
                <a:lnTo>
                  <a:pt x="104" y="60"/>
                </a:lnTo>
                <a:lnTo>
                  <a:pt x="98" y="54"/>
                </a:lnTo>
                <a:lnTo>
                  <a:pt x="93" y="54"/>
                </a:lnTo>
                <a:lnTo>
                  <a:pt x="93" y="60"/>
                </a:lnTo>
                <a:lnTo>
                  <a:pt x="87" y="60"/>
                </a:lnTo>
                <a:lnTo>
                  <a:pt x="87" y="65"/>
                </a:lnTo>
                <a:lnTo>
                  <a:pt x="82" y="65"/>
                </a:lnTo>
                <a:lnTo>
                  <a:pt x="77" y="65"/>
                </a:lnTo>
                <a:lnTo>
                  <a:pt x="77" y="71"/>
                </a:lnTo>
                <a:lnTo>
                  <a:pt x="71" y="65"/>
                </a:lnTo>
                <a:lnTo>
                  <a:pt x="71" y="60"/>
                </a:lnTo>
                <a:lnTo>
                  <a:pt x="71" y="54"/>
                </a:lnTo>
                <a:lnTo>
                  <a:pt x="66" y="49"/>
                </a:lnTo>
                <a:lnTo>
                  <a:pt x="60" y="49"/>
                </a:lnTo>
                <a:lnTo>
                  <a:pt x="60" y="44"/>
                </a:lnTo>
                <a:lnTo>
                  <a:pt x="55" y="44"/>
                </a:lnTo>
                <a:lnTo>
                  <a:pt x="55" y="38"/>
                </a:lnTo>
                <a:lnTo>
                  <a:pt x="49" y="44"/>
                </a:lnTo>
                <a:lnTo>
                  <a:pt x="49" y="49"/>
                </a:lnTo>
                <a:lnTo>
                  <a:pt x="49" y="54"/>
                </a:lnTo>
                <a:lnTo>
                  <a:pt x="44" y="54"/>
                </a:lnTo>
                <a:lnTo>
                  <a:pt x="38" y="54"/>
                </a:lnTo>
                <a:lnTo>
                  <a:pt x="38" y="60"/>
                </a:lnTo>
                <a:lnTo>
                  <a:pt x="33" y="60"/>
                </a:lnTo>
                <a:lnTo>
                  <a:pt x="27" y="60"/>
                </a:lnTo>
                <a:lnTo>
                  <a:pt x="27" y="65"/>
                </a:lnTo>
                <a:lnTo>
                  <a:pt x="22" y="65"/>
                </a:lnTo>
                <a:lnTo>
                  <a:pt x="17" y="6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2" name="Freeform 648">
            <a:extLst>
              <a:ext uri="{FF2B5EF4-FFF2-40B4-BE49-F238E27FC236}">
                <a16:creationId xmlns:a16="http://schemas.microsoft.com/office/drawing/2014/main" id="{DADBC8B0-0B03-EF09-7E58-39DD0240617A}"/>
              </a:ext>
            </a:extLst>
          </p:cNvPr>
          <p:cNvSpPr>
            <a:spLocks/>
          </p:cNvSpPr>
          <p:nvPr/>
        </p:nvSpPr>
        <p:spPr bwMode="auto">
          <a:xfrm>
            <a:off x="3341688" y="2265363"/>
            <a:ext cx="85725" cy="74613"/>
          </a:xfrm>
          <a:custGeom>
            <a:avLst/>
            <a:gdLst>
              <a:gd name="T0" fmla="*/ 0 w 76"/>
              <a:gd name="T1" fmla="*/ 10 h 60"/>
              <a:gd name="T2" fmla="*/ 5 w 76"/>
              <a:gd name="T3" fmla="*/ 10 h 60"/>
              <a:gd name="T4" fmla="*/ 10 w 76"/>
              <a:gd name="T5" fmla="*/ 10 h 60"/>
              <a:gd name="T6" fmla="*/ 16 w 76"/>
              <a:gd name="T7" fmla="*/ 10 h 60"/>
              <a:gd name="T8" fmla="*/ 21 w 76"/>
              <a:gd name="T9" fmla="*/ 16 h 60"/>
              <a:gd name="T10" fmla="*/ 21 w 76"/>
              <a:gd name="T11" fmla="*/ 10 h 60"/>
              <a:gd name="T12" fmla="*/ 16 w 76"/>
              <a:gd name="T13" fmla="*/ 5 h 60"/>
              <a:gd name="T14" fmla="*/ 16 w 76"/>
              <a:gd name="T15" fmla="*/ 0 h 60"/>
              <a:gd name="T16" fmla="*/ 21 w 76"/>
              <a:gd name="T17" fmla="*/ 0 h 60"/>
              <a:gd name="T18" fmla="*/ 21 w 76"/>
              <a:gd name="T19" fmla="*/ 5 h 60"/>
              <a:gd name="T20" fmla="*/ 27 w 76"/>
              <a:gd name="T21" fmla="*/ 5 h 60"/>
              <a:gd name="T22" fmla="*/ 27 w 76"/>
              <a:gd name="T23" fmla="*/ 10 h 60"/>
              <a:gd name="T24" fmla="*/ 32 w 76"/>
              <a:gd name="T25" fmla="*/ 10 h 60"/>
              <a:gd name="T26" fmla="*/ 38 w 76"/>
              <a:gd name="T27" fmla="*/ 10 h 60"/>
              <a:gd name="T28" fmla="*/ 43 w 76"/>
              <a:gd name="T29" fmla="*/ 5 h 60"/>
              <a:gd name="T30" fmla="*/ 43 w 76"/>
              <a:gd name="T31" fmla="*/ 0 h 60"/>
              <a:gd name="T32" fmla="*/ 43 w 76"/>
              <a:gd name="T33" fmla="*/ 5 h 60"/>
              <a:gd name="T34" fmla="*/ 54 w 76"/>
              <a:gd name="T35" fmla="*/ 10 h 60"/>
              <a:gd name="T36" fmla="*/ 54 w 76"/>
              <a:gd name="T37" fmla="*/ 16 h 60"/>
              <a:gd name="T38" fmla="*/ 59 w 76"/>
              <a:gd name="T39" fmla="*/ 16 h 60"/>
              <a:gd name="T40" fmla="*/ 65 w 76"/>
              <a:gd name="T41" fmla="*/ 21 h 60"/>
              <a:gd name="T42" fmla="*/ 70 w 76"/>
              <a:gd name="T43" fmla="*/ 21 h 60"/>
              <a:gd name="T44" fmla="*/ 76 w 76"/>
              <a:gd name="T45" fmla="*/ 27 h 60"/>
              <a:gd name="T46" fmla="*/ 70 w 76"/>
              <a:gd name="T47" fmla="*/ 27 h 60"/>
              <a:gd name="T48" fmla="*/ 65 w 76"/>
              <a:gd name="T49" fmla="*/ 27 h 60"/>
              <a:gd name="T50" fmla="*/ 65 w 76"/>
              <a:gd name="T51" fmla="*/ 32 h 60"/>
              <a:gd name="T52" fmla="*/ 65 w 76"/>
              <a:gd name="T53" fmla="*/ 38 h 60"/>
              <a:gd name="T54" fmla="*/ 70 w 76"/>
              <a:gd name="T55" fmla="*/ 43 h 60"/>
              <a:gd name="T56" fmla="*/ 65 w 76"/>
              <a:gd name="T57" fmla="*/ 43 h 60"/>
              <a:gd name="T58" fmla="*/ 65 w 76"/>
              <a:gd name="T59" fmla="*/ 49 h 60"/>
              <a:gd name="T60" fmla="*/ 59 w 76"/>
              <a:gd name="T61" fmla="*/ 43 h 60"/>
              <a:gd name="T62" fmla="*/ 59 w 76"/>
              <a:gd name="T63" fmla="*/ 49 h 60"/>
              <a:gd name="T64" fmla="*/ 59 w 76"/>
              <a:gd name="T65" fmla="*/ 54 h 60"/>
              <a:gd name="T66" fmla="*/ 65 w 76"/>
              <a:gd name="T67" fmla="*/ 54 h 60"/>
              <a:gd name="T68" fmla="*/ 59 w 76"/>
              <a:gd name="T69" fmla="*/ 60 h 60"/>
              <a:gd name="T70" fmla="*/ 59 w 76"/>
              <a:gd name="T71" fmla="*/ 54 h 60"/>
              <a:gd name="T72" fmla="*/ 54 w 76"/>
              <a:gd name="T73" fmla="*/ 54 h 60"/>
              <a:gd name="T74" fmla="*/ 49 w 76"/>
              <a:gd name="T75" fmla="*/ 49 h 60"/>
              <a:gd name="T76" fmla="*/ 54 w 76"/>
              <a:gd name="T77" fmla="*/ 49 h 60"/>
              <a:gd name="T78" fmla="*/ 49 w 76"/>
              <a:gd name="T79" fmla="*/ 43 h 60"/>
              <a:gd name="T80" fmla="*/ 54 w 76"/>
              <a:gd name="T81" fmla="*/ 43 h 60"/>
              <a:gd name="T82" fmla="*/ 49 w 76"/>
              <a:gd name="T83" fmla="*/ 38 h 60"/>
              <a:gd name="T84" fmla="*/ 43 w 76"/>
              <a:gd name="T85" fmla="*/ 38 h 60"/>
              <a:gd name="T86" fmla="*/ 38 w 76"/>
              <a:gd name="T87" fmla="*/ 38 h 60"/>
              <a:gd name="T88" fmla="*/ 32 w 76"/>
              <a:gd name="T89" fmla="*/ 43 h 60"/>
              <a:gd name="T90" fmla="*/ 27 w 76"/>
              <a:gd name="T91" fmla="*/ 49 h 60"/>
              <a:gd name="T92" fmla="*/ 27 w 76"/>
              <a:gd name="T93" fmla="*/ 43 h 60"/>
              <a:gd name="T94" fmla="*/ 27 w 76"/>
              <a:gd name="T95" fmla="*/ 38 h 60"/>
              <a:gd name="T96" fmla="*/ 21 w 76"/>
              <a:gd name="T97" fmla="*/ 38 h 60"/>
              <a:gd name="T98" fmla="*/ 16 w 76"/>
              <a:gd name="T99" fmla="*/ 38 h 60"/>
              <a:gd name="T100" fmla="*/ 16 w 76"/>
              <a:gd name="T101" fmla="*/ 32 h 60"/>
              <a:gd name="T102" fmla="*/ 10 w 76"/>
              <a:gd name="T103" fmla="*/ 32 h 60"/>
              <a:gd name="T104" fmla="*/ 16 w 76"/>
              <a:gd name="T105" fmla="*/ 32 h 60"/>
              <a:gd name="T106" fmla="*/ 16 w 76"/>
              <a:gd name="T107" fmla="*/ 27 h 60"/>
              <a:gd name="T108" fmla="*/ 10 w 76"/>
              <a:gd name="T109" fmla="*/ 27 h 60"/>
              <a:gd name="T110" fmla="*/ 5 w 76"/>
              <a:gd name="T111" fmla="*/ 21 h 60"/>
              <a:gd name="T112" fmla="*/ 5 w 76"/>
              <a:gd name="T113" fmla="*/ 16 h 60"/>
              <a:gd name="T114" fmla="*/ 0 w 76"/>
              <a:gd name="T115" fmla="*/ 16 h 60"/>
              <a:gd name="T116" fmla="*/ 0 w 76"/>
              <a:gd name="T117"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 h="60">
                <a:moveTo>
                  <a:pt x="0" y="10"/>
                </a:moveTo>
                <a:lnTo>
                  <a:pt x="5" y="10"/>
                </a:lnTo>
                <a:lnTo>
                  <a:pt x="10" y="10"/>
                </a:lnTo>
                <a:lnTo>
                  <a:pt x="16" y="10"/>
                </a:lnTo>
                <a:lnTo>
                  <a:pt x="21" y="16"/>
                </a:lnTo>
                <a:lnTo>
                  <a:pt x="21" y="10"/>
                </a:lnTo>
                <a:lnTo>
                  <a:pt x="16" y="5"/>
                </a:lnTo>
                <a:lnTo>
                  <a:pt x="16" y="0"/>
                </a:lnTo>
                <a:lnTo>
                  <a:pt x="21" y="0"/>
                </a:lnTo>
                <a:lnTo>
                  <a:pt x="21" y="5"/>
                </a:lnTo>
                <a:lnTo>
                  <a:pt x="27" y="5"/>
                </a:lnTo>
                <a:lnTo>
                  <a:pt x="27" y="10"/>
                </a:lnTo>
                <a:lnTo>
                  <a:pt x="32" y="10"/>
                </a:lnTo>
                <a:lnTo>
                  <a:pt x="38" y="10"/>
                </a:lnTo>
                <a:lnTo>
                  <a:pt x="43" y="5"/>
                </a:lnTo>
                <a:lnTo>
                  <a:pt x="43" y="0"/>
                </a:lnTo>
                <a:lnTo>
                  <a:pt x="43" y="5"/>
                </a:lnTo>
                <a:lnTo>
                  <a:pt x="54" y="10"/>
                </a:lnTo>
                <a:lnTo>
                  <a:pt x="54" y="16"/>
                </a:lnTo>
                <a:lnTo>
                  <a:pt x="59" y="16"/>
                </a:lnTo>
                <a:lnTo>
                  <a:pt x="65" y="21"/>
                </a:lnTo>
                <a:lnTo>
                  <a:pt x="70" y="21"/>
                </a:lnTo>
                <a:lnTo>
                  <a:pt x="76" y="27"/>
                </a:lnTo>
                <a:lnTo>
                  <a:pt x="70" y="27"/>
                </a:lnTo>
                <a:lnTo>
                  <a:pt x="65" y="27"/>
                </a:lnTo>
                <a:lnTo>
                  <a:pt x="65" y="32"/>
                </a:lnTo>
                <a:lnTo>
                  <a:pt x="65" y="38"/>
                </a:lnTo>
                <a:lnTo>
                  <a:pt x="70" y="43"/>
                </a:lnTo>
                <a:lnTo>
                  <a:pt x="65" y="43"/>
                </a:lnTo>
                <a:lnTo>
                  <a:pt x="65" y="49"/>
                </a:lnTo>
                <a:lnTo>
                  <a:pt x="59" y="43"/>
                </a:lnTo>
                <a:lnTo>
                  <a:pt x="59" y="49"/>
                </a:lnTo>
                <a:lnTo>
                  <a:pt x="59" y="54"/>
                </a:lnTo>
                <a:lnTo>
                  <a:pt x="65" y="54"/>
                </a:lnTo>
                <a:lnTo>
                  <a:pt x="59" y="60"/>
                </a:lnTo>
                <a:lnTo>
                  <a:pt x="59" y="54"/>
                </a:lnTo>
                <a:lnTo>
                  <a:pt x="54" y="54"/>
                </a:lnTo>
                <a:lnTo>
                  <a:pt x="49" y="49"/>
                </a:lnTo>
                <a:lnTo>
                  <a:pt x="54" y="49"/>
                </a:lnTo>
                <a:lnTo>
                  <a:pt x="49" y="43"/>
                </a:lnTo>
                <a:lnTo>
                  <a:pt x="54" y="43"/>
                </a:lnTo>
                <a:lnTo>
                  <a:pt x="49" y="38"/>
                </a:lnTo>
                <a:lnTo>
                  <a:pt x="43" y="38"/>
                </a:lnTo>
                <a:lnTo>
                  <a:pt x="38" y="38"/>
                </a:lnTo>
                <a:lnTo>
                  <a:pt x="32" y="43"/>
                </a:lnTo>
                <a:lnTo>
                  <a:pt x="27" y="49"/>
                </a:lnTo>
                <a:lnTo>
                  <a:pt x="27" y="43"/>
                </a:lnTo>
                <a:lnTo>
                  <a:pt x="27" y="38"/>
                </a:lnTo>
                <a:lnTo>
                  <a:pt x="21" y="38"/>
                </a:lnTo>
                <a:lnTo>
                  <a:pt x="16" y="38"/>
                </a:lnTo>
                <a:lnTo>
                  <a:pt x="16" y="32"/>
                </a:lnTo>
                <a:lnTo>
                  <a:pt x="10" y="32"/>
                </a:lnTo>
                <a:lnTo>
                  <a:pt x="16" y="32"/>
                </a:lnTo>
                <a:lnTo>
                  <a:pt x="16" y="27"/>
                </a:lnTo>
                <a:lnTo>
                  <a:pt x="10" y="27"/>
                </a:lnTo>
                <a:lnTo>
                  <a:pt x="5" y="21"/>
                </a:lnTo>
                <a:lnTo>
                  <a:pt x="5" y="16"/>
                </a:lnTo>
                <a:lnTo>
                  <a:pt x="0" y="16"/>
                </a:lnTo>
                <a:lnTo>
                  <a:pt x="0" y="1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3" name="Freeform 744">
            <a:extLst>
              <a:ext uri="{FF2B5EF4-FFF2-40B4-BE49-F238E27FC236}">
                <a16:creationId xmlns:a16="http://schemas.microsoft.com/office/drawing/2014/main" id="{014000C9-BABC-93E5-6B44-8B99AC339619}"/>
              </a:ext>
            </a:extLst>
          </p:cNvPr>
          <p:cNvSpPr>
            <a:spLocks/>
          </p:cNvSpPr>
          <p:nvPr/>
        </p:nvSpPr>
        <p:spPr bwMode="auto">
          <a:xfrm>
            <a:off x="4756150" y="2419350"/>
            <a:ext cx="49213" cy="58738"/>
          </a:xfrm>
          <a:custGeom>
            <a:avLst/>
            <a:gdLst>
              <a:gd name="T0" fmla="*/ 0 w 44"/>
              <a:gd name="T1" fmla="*/ 11 h 49"/>
              <a:gd name="T2" fmla="*/ 5 w 44"/>
              <a:gd name="T3" fmla="*/ 11 h 49"/>
              <a:gd name="T4" fmla="*/ 11 w 44"/>
              <a:gd name="T5" fmla="*/ 11 h 49"/>
              <a:gd name="T6" fmla="*/ 11 w 44"/>
              <a:gd name="T7" fmla="*/ 5 h 49"/>
              <a:gd name="T8" fmla="*/ 16 w 44"/>
              <a:gd name="T9" fmla="*/ 5 h 49"/>
              <a:gd name="T10" fmla="*/ 16 w 44"/>
              <a:gd name="T11" fmla="*/ 0 h 49"/>
              <a:gd name="T12" fmla="*/ 22 w 44"/>
              <a:gd name="T13" fmla="*/ 5 h 49"/>
              <a:gd name="T14" fmla="*/ 27 w 44"/>
              <a:gd name="T15" fmla="*/ 11 h 49"/>
              <a:gd name="T16" fmla="*/ 27 w 44"/>
              <a:gd name="T17" fmla="*/ 5 h 49"/>
              <a:gd name="T18" fmla="*/ 33 w 44"/>
              <a:gd name="T19" fmla="*/ 11 h 49"/>
              <a:gd name="T20" fmla="*/ 27 w 44"/>
              <a:gd name="T21" fmla="*/ 11 h 49"/>
              <a:gd name="T22" fmla="*/ 33 w 44"/>
              <a:gd name="T23" fmla="*/ 11 h 49"/>
              <a:gd name="T24" fmla="*/ 33 w 44"/>
              <a:gd name="T25" fmla="*/ 16 h 49"/>
              <a:gd name="T26" fmla="*/ 44 w 44"/>
              <a:gd name="T27" fmla="*/ 16 h 49"/>
              <a:gd name="T28" fmla="*/ 38 w 44"/>
              <a:gd name="T29" fmla="*/ 16 h 49"/>
              <a:gd name="T30" fmla="*/ 38 w 44"/>
              <a:gd name="T31" fmla="*/ 22 h 49"/>
              <a:gd name="T32" fmla="*/ 38 w 44"/>
              <a:gd name="T33" fmla="*/ 27 h 49"/>
              <a:gd name="T34" fmla="*/ 44 w 44"/>
              <a:gd name="T35" fmla="*/ 33 h 49"/>
              <a:gd name="T36" fmla="*/ 44 w 44"/>
              <a:gd name="T37" fmla="*/ 38 h 49"/>
              <a:gd name="T38" fmla="*/ 44 w 44"/>
              <a:gd name="T39" fmla="*/ 44 h 49"/>
              <a:gd name="T40" fmla="*/ 38 w 44"/>
              <a:gd name="T41" fmla="*/ 44 h 49"/>
              <a:gd name="T42" fmla="*/ 44 w 44"/>
              <a:gd name="T43" fmla="*/ 44 h 49"/>
              <a:gd name="T44" fmla="*/ 44 w 44"/>
              <a:gd name="T45" fmla="*/ 49 h 49"/>
              <a:gd name="T46" fmla="*/ 38 w 44"/>
              <a:gd name="T47" fmla="*/ 49 h 49"/>
              <a:gd name="T48" fmla="*/ 38 w 44"/>
              <a:gd name="T49" fmla="*/ 44 h 49"/>
              <a:gd name="T50" fmla="*/ 33 w 44"/>
              <a:gd name="T51" fmla="*/ 38 h 49"/>
              <a:gd name="T52" fmla="*/ 33 w 44"/>
              <a:gd name="T53" fmla="*/ 44 h 49"/>
              <a:gd name="T54" fmla="*/ 38 w 44"/>
              <a:gd name="T55" fmla="*/ 49 h 49"/>
              <a:gd name="T56" fmla="*/ 27 w 44"/>
              <a:gd name="T57" fmla="*/ 44 h 49"/>
              <a:gd name="T58" fmla="*/ 27 w 44"/>
              <a:gd name="T59" fmla="*/ 38 h 49"/>
              <a:gd name="T60" fmla="*/ 22 w 44"/>
              <a:gd name="T61" fmla="*/ 38 h 49"/>
              <a:gd name="T62" fmla="*/ 22 w 44"/>
              <a:gd name="T63" fmla="*/ 33 h 49"/>
              <a:gd name="T64" fmla="*/ 22 w 44"/>
              <a:gd name="T65" fmla="*/ 27 h 49"/>
              <a:gd name="T66" fmla="*/ 22 w 44"/>
              <a:gd name="T67" fmla="*/ 22 h 49"/>
              <a:gd name="T68" fmla="*/ 16 w 44"/>
              <a:gd name="T69" fmla="*/ 16 h 49"/>
              <a:gd name="T70" fmla="*/ 11 w 44"/>
              <a:gd name="T71" fmla="*/ 16 h 49"/>
              <a:gd name="T72" fmla="*/ 11 w 44"/>
              <a:gd name="T73" fmla="*/ 22 h 49"/>
              <a:gd name="T74" fmla="*/ 16 w 44"/>
              <a:gd name="T75" fmla="*/ 22 h 49"/>
              <a:gd name="T76" fmla="*/ 11 w 44"/>
              <a:gd name="T77" fmla="*/ 22 h 49"/>
              <a:gd name="T78" fmla="*/ 11 w 44"/>
              <a:gd name="T79" fmla="*/ 27 h 49"/>
              <a:gd name="T80" fmla="*/ 11 w 44"/>
              <a:gd name="T81" fmla="*/ 22 h 49"/>
              <a:gd name="T82" fmla="*/ 5 w 44"/>
              <a:gd name="T83" fmla="*/ 16 h 49"/>
              <a:gd name="T84" fmla="*/ 0 w 44"/>
              <a:gd name="T85"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 h="49">
                <a:moveTo>
                  <a:pt x="0" y="11"/>
                </a:moveTo>
                <a:lnTo>
                  <a:pt x="5" y="11"/>
                </a:lnTo>
                <a:lnTo>
                  <a:pt x="11" y="11"/>
                </a:lnTo>
                <a:lnTo>
                  <a:pt x="11" y="5"/>
                </a:lnTo>
                <a:lnTo>
                  <a:pt x="16" y="5"/>
                </a:lnTo>
                <a:lnTo>
                  <a:pt x="16" y="0"/>
                </a:lnTo>
                <a:lnTo>
                  <a:pt x="22" y="5"/>
                </a:lnTo>
                <a:lnTo>
                  <a:pt x="27" y="11"/>
                </a:lnTo>
                <a:lnTo>
                  <a:pt x="27" y="5"/>
                </a:lnTo>
                <a:lnTo>
                  <a:pt x="33" y="11"/>
                </a:lnTo>
                <a:lnTo>
                  <a:pt x="27" y="11"/>
                </a:lnTo>
                <a:lnTo>
                  <a:pt x="33" y="11"/>
                </a:lnTo>
                <a:lnTo>
                  <a:pt x="33" y="16"/>
                </a:lnTo>
                <a:lnTo>
                  <a:pt x="44" y="16"/>
                </a:lnTo>
                <a:lnTo>
                  <a:pt x="38" y="16"/>
                </a:lnTo>
                <a:lnTo>
                  <a:pt x="38" y="22"/>
                </a:lnTo>
                <a:lnTo>
                  <a:pt x="38" y="27"/>
                </a:lnTo>
                <a:lnTo>
                  <a:pt x="44" y="33"/>
                </a:lnTo>
                <a:lnTo>
                  <a:pt x="44" y="38"/>
                </a:lnTo>
                <a:lnTo>
                  <a:pt x="44" y="44"/>
                </a:lnTo>
                <a:lnTo>
                  <a:pt x="38" y="44"/>
                </a:lnTo>
                <a:lnTo>
                  <a:pt x="44" y="44"/>
                </a:lnTo>
                <a:lnTo>
                  <a:pt x="44" y="49"/>
                </a:lnTo>
                <a:lnTo>
                  <a:pt x="38" y="49"/>
                </a:lnTo>
                <a:lnTo>
                  <a:pt x="38" y="44"/>
                </a:lnTo>
                <a:lnTo>
                  <a:pt x="33" y="38"/>
                </a:lnTo>
                <a:lnTo>
                  <a:pt x="33" y="44"/>
                </a:lnTo>
                <a:lnTo>
                  <a:pt x="38" y="49"/>
                </a:lnTo>
                <a:lnTo>
                  <a:pt x="27" y="44"/>
                </a:lnTo>
                <a:lnTo>
                  <a:pt x="27" y="38"/>
                </a:lnTo>
                <a:lnTo>
                  <a:pt x="22" y="38"/>
                </a:lnTo>
                <a:lnTo>
                  <a:pt x="22" y="33"/>
                </a:lnTo>
                <a:lnTo>
                  <a:pt x="22" y="27"/>
                </a:lnTo>
                <a:lnTo>
                  <a:pt x="22" y="22"/>
                </a:lnTo>
                <a:lnTo>
                  <a:pt x="16" y="16"/>
                </a:lnTo>
                <a:lnTo>
                  <a:pt x="11" y="16"/>
                </a:lnTo>
                <a:lnTo>
                  <a:pt x="11" y="22"/>
                </a:lnTo>
                <a:lnTo>
                  <a:pt x="16" y="22"/>
                </a:lnTo>
                <a:lnTo>
                  <a:pt x="11" y="22"/>
                </a:lnTo>
                <a:lnTo>
                  <a:pt x="11" y="27"/>
                </a:lnTo>
                <a:lnTo>
                  <a:pt x="11" y="22"/>
                </a:lnTo>
                <a:lnTo>
                  <a:pt x="5" y="16"/>
                </a:lnTo>
                <a:lnTo>
                  <a:pt x="0" y="11"/>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grpSp>
        <p:nvGrpSpPr>
          <p:cNvPr id="144" name="Gruppieren 873">
            <a:extLst>
              <a:ext uri="{FF2B5EF4-FFF2-40B4-BE49-F238E27FC236}">
                <a16:creationId xmlns:a16="http://schemas.microsoft.com/office/drawing/2014/main" id="{6FDC8D93-E06A-127C-B559-740C3CA96992}"/>
              </a:ext>
            </a:extLst>
          </p:cNvPr>
          <p:cNvGrpSpPr/>
          <p:nvPr/>
        </p:nvGrpSpPr>
        <p:grpSpPr>
          <a:xfrm>
            <a:off x="4768850" y="2198689"/>
            <a:ext cx="139700" cy="246063"/>
            <a:chOff x="7718569" y="3145329"/>
            <a:chExt cx="198438" cy="320675"/>
          </a:xfrm>
          <a:solidFill>
            <a:schemeClr val="bg2"/>
          </a:solidFill>
        </p:grpSpPr>
        <p:sp>
          <p:nvSpPr>
            <p:cNvPr id="145" name="Freeform 749">
              <a:extLst>
                <a:ext uri="{FF2B5EF4-FFF2-40B4-BE49-F238E27FC236}">
                  <a16:creationId xmlns:a16="http://schemas.microsoft.com/office/drawing/2014/main" id="{622E990F-3D7E-4DC6-42D4-6B8D0310FCA6}"/>
                </a:ext>
              </a:extLst>
            </p:cNvPr>
            <p:cNvSpPr>
              <a:spLocks/>
            </p:cNvSpPr>
            <p:nvPr/>
          </p:nvSpPr>
          <p:spPr bwMode="auto">
            <a:xfrm>
              <a:off x="7761432" y="3423141"/>
              <a:ext cx="52388" cy="42863"/>
            </a:xfrm>
            <a:custGeom>
              <a:avLst/>
              <a:gdLst>
                <a:gd name="T0" fmla="*/ 0 w 33"/>
                <a:gd name="T1" fmla="*/ 16 h 27"/>
                <a:gd name="T2" fmla="*/ 0 w 33"/>
                <a:gd name="T3" fmla="*/ 10 h 27"/>
                <a:gd name="T4" fmla="*/ 6 w 33"/>
                <a:gd name="T5" fmla="*/ 10 h 27"/>
                <a:gd name="T6" fmla="*/ 0 w 33"/>
                <a:gd name="T7" fmla="*/ 5 h 27"/>
                <a:gd name="T8" fmla="*/ 6 w 33"/>
                <a:gd name="T9" fmla="*/ 5 h 27"/>
                <a:gd name="T10" fmla="*/ 11 w 33"/>
                <a:gd name="T11" fmla="*/ 10 h 27"/>
                <a:gd name="T12" fmla="*/ 11 w 33"/>
                <a:gd name="T13" fmla="*/ 5 h 27"/>
                <a:gd name="T14" fmla="*/ 17 w 33"/>
                <a:gd name="T15" fmla="*/ 0 h 27"/>
                <a:gd name="T16" fmla="*/ 22 w 33"/>
                <a:gd name="T17" fmla="*/ 5 h 27"/>
                <a:gd name="T18" fmla="*/ 27 w 33"/>
                <a:gd name="T19" fmla="*/ 5 h 27"/>
                <a:gd name="T20" fmla="*/ 33 w 33"/>
                <a:gd name="T21" fmla="*/ 10 h 27"/>
                <a:gd name="T22" fmla="*/ 27 w 33"/>
                <a:gd name="T23" fmla="*/ 10 h 27"/>
                <a:gd name="T24" fmla="*/ 27 w 33"/>
                <a:gd name="T25" fmla="*/ 16 h 27"/>
                <a:gd name="T26" fmla="*/ 33 w 33"/>
                <a:gd name="T27" fmla="*/ 21 h 27"/>
                <a:gd name="T28" fmla="*/ 22 w 33"/>
                <a:gd name="T29" fmla="*/ 16 h 27"/>
                <a:gd name="T30" fmla="*/ 17 w 33"/>
                <a:gd name="T31" fmla="*/ 16 h 27"/>
                <a:gd name="T32" fmla="*/ 17 w 33"/>
                <a:gd name="T33" fmla="*/ 21 h 27"/>
                <a:gd name="T34" fmla="*/ 17 w 33"/>
                <a:gd name="T35" fmla="*/ 27 h 27"/>
                <a:gd name="T36" fmla="*/ 11 w 33"/>
                <a:gd name="T37" fmla="*/ 27 h 27"/>
                <a:gd name="T38" fmla="*/ 6 w 33"/>
                <a:gd name="T39" fmla="*/ 21 h 27"/>
                <a:gd name="T40" fmla="*/ 0 w 33"/>
                <a:gd name="T41"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7">
                  <a:moveTo>
                    <a:pt x="0" y="16"/>
                  </a:moveTo>
                  <a:lnTo>
                    <a:pt x="0" y="10"/>
                  </a:lnTo>
                  <a:lnTo>
                    <a:pt x="6" y="10"/>
                  </a:lnTo>
                  <a:lnTo>
                    <a:pt x="0" y="5"/>
                  </a:lnTo>
                  <a:lnTo>
                    <a:pt x="6" y="5"/>
                  </a:lnTo>
                  <a:lnTo>
                    <a:pt x="11" y="10"/>
                  </a:lnTo>
                  <a:lnTo>
                    <a:pt x="11" y="5"/>
                  </a:lnTo>
                  <a:lnTo>
                    <a:pt x="17" y="0"/>
                  </a:lnTo>
                  <a:lnTo>
                    <a:pt x="22" y="5"/>
                  </a:lnTo>
                  <a:lnTo>
                    <a:pt x="27" y="5"/>
                  </a:lnTo>
                  <a:lnTo>
                    <a:pt x="33" y="10"/>
                  </a:lnTo>
                  <a:lnTo>
                    <a:pt x="27" y="10"/>
                  </a:lnTo>
                  <a:lnTo>
                    <a:pt x="27" y="16"/>
                  </a:lnTo>
                  <a:lnTo>
                    <a:pt x="33" y="21"/>
                  </a:lnTo>
                  <a:lnTo>
                    <a:pt x="22" y="16"/>
                  </a:lnTo>
                  <a:lnTo>
                    <a:pt x="17" y="16"/>
                  </a:lnTo>
                  <a:lnTo>
                    <a:pt x="17" y="21"/>
                  </a:lnTo>
                  <a:lnTo>
                    <a:pt x="17" y="27"/>
                  </a:lnTo>
                  <a:lnTo>
                    <a:pt x="11" y="27"/>
                  </a:lnTo>
                  <a:lnTo>
                    <a:pt x="6" y="21"/>
                  </a:lnTo>
                  <a:lnTo>
                    <a:pt x="0" y="16"/>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6" name="Freeform 754">
              <a:extLst>
                <a:ext uri="{FF2B5EF4-FFF2-40B4-BE49-F238E27FC236}">
                  <a16:creationId xmlns:a16="http://schemas.microsoft.com/office/drawing/2014/main" id="{A759A576-EC63-0C98-D51A-3A716983FC55}"/>
                </a:ext>
              </a:extLst>
            </p:cNvPr>
            <p:cNvSpPr>
              <a:spLocks/>
            </p:cNvSpPr>
            <p:nvPr/>
          </p:nvSpPr>
          <p:spPr bwMode="auto">
            <a:xfrm>
              <a:off x="7718569" y="3240579"/>
              <a:ext cx="198438" cy="207963"/>
            </a:xfrm>
            <a:custGeom>
              <a:avLst/>
              <a:gdLst>
                <a:gd name="T0" fmla="*/ 5 w 125"/>
                <a:gd name="T1" fmla="*/ 115 h 131"/>
                <a:gd name="T2" fmla="*/ 11 w 125"/>
                <a:gd name="T3" fmla="*/ 104 h 131"/>
                <a:gd name="T4" fmla="*/ 22 w 125"/>
                <a:gd name="T5" fmla="*/ 98 h 131"/>
                <a:gd name="T6" fmla="*/ 38 w 125"/>
                <a:gd name="T7" fmla="*/ 93 h 131"/>
                <a:gd name="T8" fmla="*/ 49 w 125"/>
                <a:gd name="T9" fmla="*/ 98 h 131"/>
                <a:gd name="T10" fmla="*/ 54 w 125"/>
                <a:gd name="T11" fmla="*/ 93 h 131"/>
                <a:gd name="T12" fmla="*/ 54 w 125"/>
                <a:gd name="T13" fmla="*/ 87 h 131"/>
                <a:gd name="T14" fmla="*/ 49 w 125"/>
                <a:gd name="T15" fmla="*/ 71 h 131"/>
                <a:gd name="T16" fmla="*/ 54 w 125"/>
                <a:gd name="T17" fmla="*/ 71 h 131"/>
                <a:gd name="T18" fmla="*/ 71 w 125"/>
                <a:gd name="T19" fmla="*/ 71 h 131"/>
                <a:gd name="T20" fmla="*/ 76 w 125"/>
                <a:gd name="T21" fmla="*/ 60 h 131"/>
                <a:gd name="T22" fmla="*/ 76 w 125"/>
                <a:gd name="T23" fmla="*/ 44 h 131"/>
                <a:gd name="T24" fmla="*/ 65 w 125"/>
                <a:gd name="T25" fmla="*/ 27 h 131"/>
                <a:gd name="T26" fmla="*/ 54 w 125"/>
                <a:gd name="T27" fmla="*/ 16 h 131"/>
                <a:gd name="T28" fmla="*/ 54 w 125"/>
                <a:gd name="T29" fmla="*/ 5 h 131"/>
                <a:gd name="T30" fmla="*/ 71 w 125"/>
                <a:gd name="T31" fmla="*/ 11 h 131"/>
                <a:gd name="T32" fmla="*/ 60 w 125"/>
                <a:gd name="T33" fmla="*/ 5 h 131"/>
                <a:gd name="T34" fmla="*/ 71 w 125"/>
                <a:gd name="T35" fmla="*/ 11 h 131"/>
                <a:gd name="T36" fmla="*/ 82 w 125"/>
                <a:gd name="T37" fmla="*/ 22 h 131"/>
                <a:gd name="T38" fmla="*/ 93 w 125"/>
                <a:gd name="T39" fmla="*/ 33 h 131"/>
                <a:gd name="T40" fmla="*/ 103 w 125"/>
                <a:gd name="T41" fmla="*/ 38 h 131"/>
                <a:gd name="T42" fmla="*/ 98 w 125"/>
                <a:gd name="T43" fmla="*/ 49 h 131"/>
                <a:gd name="T44" fmla="*/ 98 w 125"/>
                <a:gd name="T45" fmla="*/ 55 h 131"/>
                <a:gd name="T46" fmla="*/ 114 w 125"/>
                <a:gd name="T47" fmla="*/ 71 h 131"/>
                <a:gd name="T48" fmla="*/ 114 w 125"/>
                <a:gd name="T49" fmla="*/ 87 h 131"/>
                <a:gd name="T50" fmla="*/ 125 w 125"/>
                <a:gd name="T51" fmla="*/ 98 h 131"/>
                <a:gd name="T52" fmla="*/ 120 w 125"/>
                <a:gd name="T53" fmla="*/ 109 h 131"/>
                <a:gd name="T54" fmla="*/ 114 w 125"/>
                <a:gd name="T55" fmla="*/ 93 h 131"/>
                <a:gd name="T56" fmla="*/ 109 w 125"/>
                <a:gd name="T57" fmla="*/ 104 h 131"/>
                <a:gd name="T58" fmla="*/ 109 w 125"/>
                <a:gd name="T59" fmla="*/ 109 h 131"/>
                <a:gd name="T60" fmla="*/ 103 w 125"/>
                <a:gd name="T61" fmla="*/ 104 h 131"/>
                <a:gd name="T62" fmla="*/ 98 w 125"/>
                <a:gd name="T63" fmla="*/ 109 h 131"/>
                <a:gd name="T64" fmla="*/ 87 w 125"/>
                <a:gd name="T65" fmla="*/ 115 h 131"/>
                <a:gd name="T66" fmla="*/ 76 w 125"/>
                <a:gd name="T67" fmla="*/ 104 h 131"/>
                <a:gd name="T68" fmla="*/ 82 w 125"/>
                <a:gd name="T69" fmla="*/ 115 h 131"/>
                <a:gd name="T70" fmla="*/ 76 w 125"/>
                <a:gd name="T71" fmla="*/ 120 h 131"/>
                <a:gd name="T72" fmla="*/ 82 w 125"/>
                <a:gd name="T73" fmla="*/ 120 h 131"/>
                <a:gd name="T74" fmla="*/ 76 w 125"/>
                <a:gd name="T75" fmla="*/ 131 h 131"/>
                <a:gd name="T76" fmla="*/ 65 w 125"/>
                <a:gd name="T77" fmla="*/ 125 h 131"/>
                <a:gd name="T78" fmla="*/ 60 w 125"/>
                <a:gd name="T79" fmla="*/ 109 h 131"/>
                <a:gd name="T80" fmla="*/ 44 w 125"/>
                <a:gd name="T81" fmla="*/ 109 h 131"/>
                <a:gd name="T82" fmla="*/ 33 w 125"/>
                <a:gd name="T83" fmla="*/ 115 h 131"/>
                <a:gd name="T84" fmla="*/ 22 w 125"/>
                <a:gd name="T85" fmla="*/ 115 h 131"/>
                <a:gd name="T86" fmla="*/ 22 w 125"/>
                <a:gd name="T87" fmla="*/ 125 h 131"/>
                <a:gd name="T88" fmla="*/ 5 w 125"/>
                <a:gd name="T89"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5" h="131">
                  <a:moveTo>
                    <a:pt x="0" y="120"/>
                  </a:moveTo>
                  <a:lnTo>
                    <a:pt x="0" y="115"/>
                  </a:lnTo>
                  <a:lnTo>
                    <a:pt x="5" y="115"/>
                  </a:lnTo>
                  <a:lnTo>
                    <a:pt x="5" y="109"/>
                  </a:lnTo>
                  <a:lnTo>
                    <a:pt x="11" y="109"/>
                  </a:lnTo>
                  <a:lnTo>
                    <a:pt x="11" y="104"/>
                  </a:lnTo>
                  <a:lnTo>
                    <a:pt x="11" y="98"/>
                  </a:lnTo>
                  <a:lnTo>
                    <a:pt x="16" y="98"/>
                  </a:lnTo>
                  <a:lnTo>
                    <a:pt x="22" y="98"/>
                  </a:lnTo>
                  <a:lnTo>
                    <a:pt x="27" y="98"/>
                  </a:lnTo>
                  <a:lnTo>
                    <a:pt x="33" y="98"/>
                  </a:lnTo>
                  <a:lnTo>
                    <a:pt x="38" y="93"/>
                  </a:lnTo>
                  <a:lnTo>
                    <a:pt x="44" y="98"/>
                  </a:lnTo>
                  <a:lnTo>
                    <a:pt x="44" y="93"/>
                  </a:lnTo>
                  <a:lnTo>
                    <a:pt x="49" y="98"/>
                  </a:lnTo>
                  <a:lnTo>
                    <a:pt x="54" y="98"/>
                  </a:lnTo>
                  <a:lnTo>
                    <a:pt x="60" y="98"/>
                  </a:lnTo>
                  <a:lnTo>
                    <a:pt x="54" y="93"/>
                  </a:lnTo>
                  <a:lnTo>
                    <a:pt x="60" y="93"/>
                  </a:lnTo>
                  <a:lnTo>
                    <a:pt x="54" y="93"/>
                  </a:lnTo>
                  <a:lnTo>
                    <a:pt x="54" y="87"/>
                  </a:lnTo>
                  <a:lnTo>
                    <a:pt x="54" y="82"/>
                  </a:lnTo>
                  <a:lnTo>
                    <a:pt x="54" y="76"/>
                  </a:lnTo>
                  <a:lnTo>
                    <a:pt x="49" y="71"/>
                  </a:lnTo>
                  <a:lnTo>
                    <a:pt x="54" y="65"/>
                  </a:lnTo>
                  <a:lnTo>
                    <a:pt x="60" y="71"/>
                  </a:lnTo>
                  <a:lnTo>
                    <a:pt x="54" y="71"/>
                  </a:lnTo>
                  <a:lnTo>
                    <a:pt x="60" y="76"/>
                  </a:lnTo>
                  <a:lnTo>
                    <a:pt x="65" y="76"/>
                  </a:lnTo>
                  <a:lnTo>
                    <a:pt x="71" y="71"/>
                  </a:lnTo>
                  <a:lnTo>
                    <a:pt x="76" y="71"/>
                  </a:lnTo>
                  <a:lnTo>
                    <a:pt x="76" y="65"/>
                  </a:lnTo>
                  <a:lnTo>
                    <a:pt x="76" y="60"/>
                  </a:lnTo>
                  <a:lnTo>
                    <a:pt x="76" y="55"/>
                  </a:lnTo>
                  <a:lnTo>
                    <a:pt x="76" y="49"/>
                  </a:lnTo>
                  <a:lnTo>
                    <a:pt x="76" y="44"/>
                  </a:lnTo>
                  <a:lnTo>
                    <a:pt x="71" y="38"/>
                  </a:lnTo>
                  <a:lnTo>
                    <a:pt x="71" y="33"/>
                  </a:lnTo>
                  <a:lnTo>
                    <a:pt x="65" y="27"/>
                  </a:lnTo>
                  <a:lnTo>
                    <a:pt x="60" y="27"/>
                  </a:lnTo>
                  <a:lnTo>
                    <a:pt x="60" y="22"/>
                  </a:lnTo>
                  <a:lnTo>
                    <a:pt x="54" y="16"/>
                  </a:lnTo>
                  <a:lnTo>
                    <a:pt x="60" y="16"/>
                  </a:lnTo>
                  <a:lnTo>
                    <a:pt x="54" y="11"/>
                  </a:lnTo>
                  <a:lnTo>
                    <a:pt x="54" y="5"/>
                  </a:lnTo>
                  <a:lnTo>
                    <a:pt x="60" y="5"/>
                  </a:lnTo>
                  <a:lnTo>
                    <a:pt x="65" y="11"/>
                  </a:lnTo>
                  <a:lnTo>
                    <a:pt x="71" y="11"/>
                  </a:lnTo>
                  <a:lnTo>
                    <a:pt x="65" y="5"/>
                  </a:lnTo>
                  <a:lnTo>
                    <a:pt x="60" y="11"/>
                  </a:lnTo>
                  <a:lnTo>
                    <a:pt x="60" y="5"/>
                  </a:lnTo>
                  <a:lnTo>
                    <a:pt x="54" y="0"/>
                  </a:lnTo>
                  <a:lnTo>
                    <a:pt x="65" y="5"/>
                  </a:lnTo>
                  <a:lnTo>
                    <a:pt x="71" y="11"/>
                  </a:lnTo>
                  <a:lnTo>
                    <a:pt x="76" y="16"/>
                  </a:lnTo>
                  <a:lnTo>
                    <a:pt x="82" y="16"/>
                  </a:lnTo>
                  <a:lnTo>
                    <a:pt x="82" y="22"/>
                  </a:lnTo>
                  <a:lnTo>
                    <a:pt x="87" y="22"/>
                  </a:lnTo>
                  <a:lnTo>
                    <a:pt x="87" y="27"/>
                  </a:lnTo>
                  <a:lnTo>
                    <a:pt x="93" y="33"/>
                  </a:lnTo>
                  <a:lnTo>
                    <a:pt x="98" y="33"/>
                  </a:lnTo>
                  <a:lnTo>
                    <a:pt x="98" y="38"/>
                  </a:lnTo>
                  <a:lnTo>
                    <a:pt x="103" y="38"/>
                  </a:lnTo>
                  <a:lnTo>
                    <a:pt x="98" y="44"/>
                  </a:lnTo>
                  <a:lnTo>
                    <a:pt x="103" y="44"/>
                  </a:lnTo>
                  <a:lnTo>
                    <a:pt x="98" y="49"/>
                  </a:lnTo>
                  <a:lnTo>
                    <a:pt x="103" y="49"/>
                  </a:lnTo>
                  <a:lnTo>
                    <a:pt x="109" y="55"/>
                  </a:lnTo>
                  <a:lnTo>
                    <a:pt x="98" y="55"/>
                  </a:lnTo>
                  <a:lnTo>
                    <a:pt x="103" y="60"/>
                  </a:lnTo>
                  <a:lnTo>
                    <a:pt x="109" y="65"/>
                  </a:lnTo>
                  <a:lnTo>
                    <a:pt x="114" y="71"/>
                  </a:lnTo>
                  <a:lnTo>
                    <a:pt x="114" y="76"/>
                  </a:lnTo>
                  <a:lnTo>
                    <a:pt x="114" y="82"/>
                  </a:lnTo>
                  <a:lnTo>
                    <a:pt x="114" y="87"/>
                  </a:lnTo>
                  <a:lnTo>
                    <a:pt x="120" y="87"/>
                  </a:lnTo>
                  <a:lnTo>
                    <a:pt x="125" y="93"/>
                  </a:lnTo>
                  <a:lnTo>
                    <a:pt x="125" y="98"/>
                  </a:lnTo>
                  <a:lnTo>
                    <a:pt x="125" y="104"/>
                  </a:lnTo>
                  <a:lnTo>
                    <a:pt x="125" y="109"/>
                  </a:lnTo>
                  <a:lnTo>
                    <a:pt x="120" y="109"/>
                  </a:lnTo>
                  <a:lnTo>
                    <a:pt x="114" y="104"/>
                  </a:lnTo>
                  <a:lnTo>
                    <a:pt x="120" y="98"/>
                  </a:lnTo>
                  <a:lnTo>
                    <a:pt x="114" y="93"/>
                  </a:lnTo>
                  <a:lnTo>
                    <a:pt x="114" y="98"/>
                  </a:lnTo>
                  <a:lnTo>
                    <a:pt x="114" y="104"/>
                  </a:lnTo>
                  <a:lnTo>
                    <a:pt x="109" y="104"/>
                  </a:lnTo>
                  <a:lnTo>
                    <a:pt x="114" y="109"/>
                  </a:lnTo>
                  <a:lnTo>
                    <a:pt x="109" y="115"/>
                  </a:lnTo>
                  <a:lnTo>
                    <a:pt x="109" y="109"/>
                  </a:lnTo>
                  <a:lnTo>
                    <a:pt x="103" y="104"/>
                  </a:lnTo>
                  <a:lnTo>
                    <a:pt x="109" y="104"/>
                  </a:lnTo>
                  <a:lnTo>
                    <a:pt x="103" y="104"/>
                  </a:lnTo>
                  <a:lnTo>
                    <a:pt x="98" y="109"/>
                  </a:lnTo>
                  <a:lnTo>
                    <a:pt x="103" y="115"/>
                  </a:lnTo>
                  <a:lnTo>
                    <a:pt x="98" y="109"/>
                  </a:lnTo>
                  <a:lnTo>
                    <a:pt x="93" y="109"/>
                  </a:lnTo>
                  <a:lnTo>
                    <a:pt x="87" y="109"/>
                  </a:lnTo>
                  <a:lnTo>
                    <a:pt x="87" y="115"/>
                  </a:lnTo>
                  <a:lnTo>
                    <a:pt x="87" y="109"/>
                  </a:lnTo>
                  <a:lnTo>
                    <a:pt x="82" y="109"/>
                  </a:lnTo>
                  <a:lnTo>
                    <a:pt x="76" y="104"/>
                  </a:lnTo>
                  <a:lnTo>
                    <a:pt x="76" y="109"/>
                  </a:lnTo>
                  <a:lnTo>
                    <a:pt x="76" y="115"/>
                  </a:lnTo>
                  <a:lnTo>
                    <a:pt x="82" y="115"/>
                  </a:lnTo>
                  <a:lnTo>
                    <a:pt x="87" y="120"/>
                  </a:lnTo>
                  <a:lnTo>
                    <a:pt x="82" y="115"/>
                  </a:lnTo>
                  <a:lnTo>
                    <a:pt x="76" y="120"/>
                  </a:lnTo>
                  <a:lnTo>
                    <a:pt x="82" y="120"/>
                  </a:lnTo>
                  <a:lnTo>
                    <a:pt x="76" y="120"/>
                  </a:lnTo>
                  <a:lnTo>
                    <a:pt x="82" y="120"/>
                  </a:lnTo>
                  <a:lnTo>
                    <a:pt x="76" y="125"/>
                  </a:lnTo>
                  <a:lnTo>
                    <a:pt x="82" y="131"/>
                  </a:lnTo>
                  <a:lnTo>
                    <a:pt x="76" y="131"/>
                  </a:lnTo>
                  <a:lnTo>
                    <a:pt x="71" y="131"/>
                  </a:lnTo>
                  <a:lnTo>
                    <a:pt x="71" y="125"/>
                  </a:lnTo>
                  <a:lnTo>
                    <a:pt x="65" y="125"/>
                  </a:lnTo>
                  <a:lnTo>
                    <a:pt x="60" y="120"/>
                  </a:lnTo>
                  <a:lnTo>
                    <a:pt x="60" y="115"/>
                  </a:lnTo>
                  <a:lnTo>
                    <a:pt x="60" y="109"/>
                  </a:lnTo>
                  <a:lnTo>
                    <a:pt x="54" y="115"/>
                  </a:lnTo>
                  <a:lnTo>
                    <a:pt x="49" y="109"/>
                  </a:lnTo>
                  <a:lnTo>
                    <a:pt x="44" y="109"/>
                  </a:lnTo>
                  <a:lnTo>
                    <a:pt x="44" y="115"/>
                  </a:lnTo>
                  <a:lnTo>
                    <a:pt x="38" y="115"/>
                  </a:lnTo>
                  <a:lnTo>
                    <a:pt x="33" y="115"/>
                  </a:lnTo>
                  <a:lnTo>
                    <a:pt x="27" y="115"/>
                  </a:lnTo>
                  <a:lnTo>
                    <a:pt x="27" y="120"/>
                  </a:lnTo>
                  <a:lnTo>
                    <a:pt x="22" y="115"/>
                  </a:lnTo>
                  <a:lnTo>
                    <a:pt x="16" y="120"/>
                  </a:lnTo>
                  <a:lnTo>
                    <a:pt x="22" y="120"/>
                  </a:lnTo>
                  <a:lnTo>
                    <a:pt x="22" y="125"/>
                  </a:lnTo>
                  <a:lnTo>
                    <a:pt x="16" y="120"/>
                  </a:lnTo>
                  <a:lnTo>
                    <a:pt x="11" y="120"/>
                  </a:lnTo>
                  <a:lnTo>
                    <a:pt x="5" y="125"/>
                  </a:lnTo>
                  <a:lnTo>
                    <a:pt x="5" y="120"/>
                  </a:lnTo>
                  <a:lnTo>
                    <a:pt x="0" y="120"/>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7" name="Freeform 755">
              <a:extLst>
                <a:ext uri="{FF2B5EF4-FFF2-40B4-BE49-F238E27FC236}">
                  <a16:creationId xmlns:a16="http://schemas.microsoft.com/office/drawing/2014/main" id="{8195510A-B05D-6E5E-9F61-6787F9921EA9}"/>
                </a:ext>
              </a:extLst>
            </p:cNvPr>
            <p:cNvSpPr>
              <a:spLocks/>
            </p:cNvSpPr>
            <p:nvPr/>
          </p:nvSpPr>
          <p:spPr bwMode="auto">
            <a:xfrm>
              <a:off x="7743969" y="3145329"/>
              <a:ext cx="130175" cy="103188"/>
            </a:xfrm>
            <a:custGeom>
              <a:avLst/>
              <a:gdLst>
                <a:gd name="T0" fmla="*/ 17 w 82"/>
                <a:gd name="T1" fmla="*/ 49 h 65"/>
                <a:gd name="T2" fmla="*/ 11 w 82"/>
                <a:gd name="T3" fmla="*/ 44 h 65"/>
                <a:gd name="T4" fmla="*/ 17 w 82"/>
                <a:gd name="T5" fmla="*/ 44 h 65"/>
                <a:gd name="T6" fmla="*/ 17 w 82"/>
                <a:gd name="T7" fmla="*/ 38 h 65"/>
                <a:gd name="T8" fmla="*/ 11 w 82"/>
                <a:gd name="T9" fmla="*/ 38 h 65"/>
                <a:gd name="T10" fmla="*/ 11 w 82"/>
                <a:gd name="T11" fmla="*/ 33 h 65"/>
                <a:gd name="T12" fmla="*/ 17 w 82"/>
                <a:gd name="T13" fmla="*/ 38 h 65"/>
                <a:gd name="T14" fmla="*/ 22 w 82"/>
                <a:gd name="T15" fmla="*/ 38 h 65"/>
                <a:gd name="T16" fmla="*/ 22 w 82"/>
                <a:gd name="T17" fmla="*/ 33 h 65"/>
                <a:gd name="T18" fmla="*/ 17 w 82"/>
                <a:gd name="T19" fmla="*/ 27 h 65"/>
                <a:gd name="T20" fmla="*/ 17 w 82"/>
                <a:gd name="T21" fmla="*/ 22 h 65"/>
                <a:gd name="T22" fmla="*/ 17 w 82"/>
                <a:gd name="T23" fmla="*/ 16 h 65"/>
                <a:gd name="T24" fmla="*/ 11 w 82"/>
                <a:gd name="T25" fmla="*/ 16 h 65"/>
                <a:gd name="T26" fmla="*/ 11 w 82"/>
                <a:gd name="T27" fmla="*/ 11 h 65"/>
                <a:gd name="T28" fmla="*/ 6 w 82"/>
                <a:gd name="T29" fmla="*/ 5 h 65"/>
                <a:gd name="T30" fmla="*/ 0 w 82"/>
                <a:gd name="T31" fmla="*/ 5 h 65"/>
                <a:gd name="T32" fmla="*/ 0 w 82"/>
                <a:gd name="T33" fmla="*/ 0 h 65"/>
                <a:gd name="T34" fmla="*/ 6 w 82"/>
                <a:gd name="T35" fmla="*/ 0 h 65"/>
                <a:gd name="T36" fmla="*/ 17 w 82"/>
                <a:gd name="T37" fmla="*/ 5 h 65"/>
                <a:gd name="T38" fmla="*/ 22 w 82"/>
                <a:gd name="T39" fmla="*/ 11 h 65"/>
                <a:gd name="T40" fmla="*/ 33 w 82"/>
                <a:gd name="T41" fmla="*/ 16 h 65"/>
                <a:gd name="T42" fmla="*/ 38 w 82"/>
                <a:gd name="T43" fmla="*/ 16 h 65"/>
                <a:gd name="T44" fmla="*/ 44 w 82"/>
                <a:gd name="T45" fmla="*/ 22 h 65"/>
                <a:gd name="T46" fmla="*/ 49 w 82"/>
                <a:gd name="T47" fmla="*/ 22 h 65"/>
                <a:gd name="T48" fmla="*/ 55 w 82"/>
                <a:gd name="T49" fmla="*/ 22 h 65"/>
                <a:gd name="T50" fmla="*/ 60 w 82"/>
                <a:gd name="T51" fmla="*/ 22 h 65"/>
                <a:gd name="T52" fmla="*/ 66 w 82"/>
                <a:gd name="T53" fmla="*/ 22 h 65"/>
                <a:gd name="T54" fmla="*/ 66 w 82"/>
                <a:gd name="T55" fmla="*/ 16 h 65"/>
                <a:gd name="T56" fmla="*/ 66 w 82"/>
                <a:gd name="T57" fmla="*/ 22 h 65"/>
                <a:gd name="T58" fmla="*/ 66 w 82"/>
                <a:gd name="T59" fmla="*/ 27 h 65"/>
                <a:gd name="T60" fmla="*/ 77 w 82"/>
                <a:gd name="T61" fmla="*/ 27 h 65"/>
                <a:gd name="T62" fmla="*/ 82 w 82"/>
                <a:gd name="T63" fmla="*/ 33 h 65"/>
                <a:gd name="T64" fmla="*/ 82 w 82"/>
                <a:gd name="T65" fmla="*/ 38 h 65"/>
                <a:gd name="T66" fmla="*/ 77 w 82"/>
                <a:gd name="T67" fmla="*/ 38 h 65"/>
                <a:gd name="T68" fmla="*/ 71 w 82"/>
                <a:gd name="T69" fmla="*/ 38 h 65"/>
                <a:gd name="T70" fmla="*/ 66 w 82"/>
                <a:gd name="T71" fmla="*/ 38 h 65"/>
                <a:gd name="T72" fmla="*/ 66 w 82"/>
                <a:gd name="T73" fmla="*/ 44 h 65"/>
                <a:gd name="T74" fmla="*/ 66 w 82"/>
                <a:gd name="T75" fmla="*/ 49 h 65"/>
                <a:gd name="T76" fmla="*/ 66 w 82"/>
                <a:gd name="T77" fmla="*/ 55 h 65"/>
                <a:gd name="T78" fmla="*/ 71 w 82"/>
                <a:gd name="T79" fmla="*/ 55 h 65"/>
                <a:gd name="T80" fmla="*/ 60 w 82"/>
                <a:gd name="T81" fmla="*/ 55 h 65"/>
                <a:gd name="T82" fmla="*/ 55 w 82"/>
                <a:gd name="T83" fmla="*/ 49 h 65"/>
                <a:gd name="T84" fmla="*/ 49 w 82"/>
                <a:gd name="T85" fmla="*/ 49 h 65"/>
                <a:gd name="T86" fmla="*/ 44 w 82"/>
                <a:gd name="T87" fmla="*/ 49 h 65"/>
                <a:gd name="T88" fmla="*/ 38 w 82"/>
                <a:gd name="T89" fmla="*/ 44 h 65"/>
                <a:gd name="T90" fmla="*/ 33 w 82"/>
                <a:gd name="T91" fmla="*/ 44 h 65"/>
                <a:gd name="T92" fmla="*/ 33 w 82"/>
                <a:gd name="T93" fmla="*/ 49 h 65"/>
                <a:gd name="T94" fmla="*/ 22 w 82"/>
                <a:gd name="T95" fmla="*/ 44 h 65"/>
                <a:gd name="T96" fmla="*/ 22 w 82"/>
                <a:gd name="T97" fmla="*/ 49 h 65"/>
                <a:gd name="T98" fmla="*/ 28 w 82"/>
                <a:gd name="T99" fmla="*/ 55 h 65"/>
                <a:gd name="T100" fmla="*/ 33 w 82"/>
                <a:gd name="T101" fmla="*/ 55 h 65"/>
                <a:gd name="T102" fmla="*/ 38 w 82"/>
                <a:gd name="T103" fmla="*/ 55 h 65"/>
                <a:gd name="T104" fmla="*/ 44 w 82"/>
                <a:gd name="T105" fmla="*/ 60 h 65"/>
                <a:gd name="T106" fmla="*/ 38 w 82"/>
                <a:gd name="T107" fmla="*/ 60 h 65"/>
                <a:gd name="T108" fmla="*/ 33 w 82"/>
                <a:gd name="T109" fmla="*/ 60 h 65"/>
                <a:gd name="T110" fmla="*/ 33 w 82"/>
                <a:gd name="T111" fmla="*/ 65 h 65"/>
                <a:gd name="T112" fmla="*/ 28 w 82"/>
                <a:gd name="T113" fmla="*/ 60 h 65"/>
                <a:gd name="T114" fmla="*/ 22 w 82"/>
                <a:gd name="T115" fmla="*/ 55 h 65"/>
                <a:gd name="T116" fmla="*/ 17 w 82"/>
                <a:gd name="T117" fmla="*/ 4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65">
                  <a:moveTo>
                    <a:pt x="17" y="49"/>
                  </a:moveTo>
                  <a:lnTo>
                    <a:pt x="11" y="44"/>
                  </a:lnTo>
                  <a:lnTo>
                    <a:pt x="17" y="44"/>
                  </a:lnTo>
                  <a:lnTo>
                    <a:pt x="17" y="38"/>
                  </a:lnTo>
                  <a:lnTo>
                    <a:pt x="11" y="38"/>
                  </a:lnTo>
                  <a:lnTo>
                    <a:pt x="11" y="33"/>
                  </a:lnTo>
                  <a:lnTo>
                    <a:pt x="17" y="38"/>
                  </a:lnTo>
                  <a:lnTo>
                    <a:pt x="22" y="38"/>
                  </a:lnTo>
                  <a:lnTo>
                    <a:pt x="22" y="33"/>
                  </a:lnTo>
                  <a:lnTo>
                    <a:pt x="17" y="27"/>
                  </a:lnTo>
                  <a:lnTo>
                    <a:pt x="17" y="22"/>
                  </a:lnTo>
                  <a:lnTo>
                    <a:pt x="17" y="16"/>
                  </a:lnTo>
                  <a:lnTo>
                    <a:pt x="11" y="16"/>
                  </a:lnTo>
                  <a:lnTo>
                    <a:pt x="11" y="11"/>
                  </a:lnTo>
                  <a:lnTo>
                    <a:pt x="6" y="5"/>
                  </a:lnTo>
                  <a:lnTo>
                    <a:pt x="0" y="5"/>
                  </a:lnTo>
                  <a:lnTo>
                    <a:pt x="0" y="0"/>
                  </a:lnTo>
                  <a:lnTo>
                    <a:pt x="6" y="0"/>
                  </a:lnTo>
                  <a:lnTo>
                    <a:pt x="17" y="5"/>
                  </a:lnTo>
                  <a:lnTo>
                    <a:pt x="22" y="11"/>
                  </a:lnTo>
                  <a:lnTo>
                    <a:pt x="33" y="16"/>
                  </a:lnTo>
                  <a:lnTo>
                    <a:pt x="38" y="16"/>
                  </a:lnTo>
                  <a:lnTo>
                    <a:pt x="44" y="22"/>
                  </a:lnTo>
                  <a:lnTo>
                    <a:pt x="49" y="22"/>
                  </a:lnTo>
                  <a:lnTo>
                    <a:pt x="55" y="22"/>
                  </a:lnTo>
                  <a:lnTo>
                    <a:pt x="60" y="22"/>
                  </a:lnTo>
                  <a:lnTo>
                    <a:pt x="66" y="22"/>
                  </a:lnTo>
                  <a:lnTo>
                    <a:pt x="66" y="16"/>
                  </a:lnTo>
                  <a:lnTo>
                    <a:pt x="66" y="22"/>
                  </a:lnTo>
                  <a:lnTo>
                    <a:pt x="66" y="27"/>
                  </a:lnTo>
                  <a:lnTo>
                    <a:pt x="77" y="27"/>
                  </a:lnTo>
                  <a:lnTo>
                    <a:pt x="82" y="33"/>
                  </a:lnTo>
                  <a:lnTo>
                    <a:pt x="82" y="38"/>
                  </a:lnTo>
                  <a:lnTo>
                    <a:pt x="77" y="38"/>
                  </a:lnTo>
                  <a:lnTo>
                    <a:pt x="71" y="38"/>
                  </a:lnTo>
                  <a:lnTo>
                    <a:pt x="66" y="38"/>
                  </a:lnTo>
                  <a:lnTo>
                    <a:pt x="66" y="44"/>
                  </a:lnTo>
                  <a:lnTo>
                    <a:pt x="66" y="49"/>
                  </a:lnTo>
                  <a:lnTo>
                    <a:pt x="66" y="55"/>
                  </a:lnTo>
                  <a:lnTo>
                    <a:pt x="71" y="55"/>
                  </a:lnTo>
                  <a:lnTo>
                    <a:pt x="60" y="55"/>
                  </a:lnTo>
                  <a:lnTo>
                    <a:pt x="55" y="49"/>
                  </a:lnTo>
                  <a:lnTo>
                    <a:pt x="49" y="49"/>
                  </a:lnTo>
                  <a:lnTo>
                    <a:pt x="44" y="49"/>
                  </a:lnTo>
                  <a:lnTo>
                    <a:pt x="38" y="44"/>
                  </a:lnTo>
                  <a:lnTo>
                    <a:pt x="33" y="44"/>
                  </a:lnTo>
                  <a:lnTo>
                    <a:pt x="33" y="49"/>
                  </a:lnTo>
                  <a:lnTo>
                    <a:pt x="22" y="44"/>
                  </a:lnTo>
                  <a:lnTo>
                    <a:pt x="22" y="49"/>
                  </a:lnTo>
                  <a:lnTo>
                    <a:pt x="28" y="55"/>
                  </a:lnTo>
                  <a:lnTo>
                    <a:pt x="33" y="55"/>
                  </a:lnTo>
                  <a:lnTo>
                    <a:pt x="38" y="55"/>
                  </a:lnTo>
                  <a:lnTo>
                    <a:pt x="44" y="60"/>
                  </a:lnTo>
                  <a:lnTo>
                    <a:pt x="38" y="60"/>
                  </a:lnTo>
                  <a:lnTo>
                    <a:pt x="33" y="60"/>
                  </a:lnTo>
                  <a:lnTo>
                    <a:pt x="33" y="65"/>
                  </a:lnTo>
                  <a:lnTo>
                    <a:pt x="28" y="60"/>
                  </a:lnTo>
                  <a:lnTo>
                    <a:pt x="22" y="55"/>
                  </a:lnTo>
                  <a:lnTo>
                    <a:pt x="17" y="49"/>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grpSp>
      <p:sp>
        <p:nvSpPr>
          <p:cNvPr id="148" name="Freeform 758">
            <a:extLst>
              <a:ext uri="{FF2B5EF4-FFF2-40B4-BE49-F238E27FC236}">
                <a16:creationId xmlns:a16="http://schemas.microsoft.com/office/drawing/2014/main" id="{D8D3D280-3C56-5B2A-E0BC-8DD2575EF808}"/>
              </a:ext>
            </a:extLst>
          </p:cNvPr>
          <p:cNvSpPr>
            <a:spLocks/>
          </p:cNvSpPr>
          <p:nvPr/>
        </p:nvSpPr>
        <p:spPr bwMode="auto">
          <a:xfrm>
            <a:off x="4657725" y="2332038"/>
            <a:ext cx="73025" cy="87313"/>
          </a:xfrm>
          <a:custGeom>
            <a:avLst/>
            <a:gdLst>
              <a:gd name="T0" fmla="*/ 16 w 65"/>
              <a:gd name="T1" fmla="*/ 0 h 71"/>
              <a:gd name="T2" fmla="*/ 22 w 65"/>
              <a:gd name="T3" fmla="*/ 6 h 71"/>
              <a:gd name="T4" fmla="*/ 27 w 65"/>
              <a:gd name="T5" fmla="*/ 11 h 71"/>
              <a:gd name="T6" fmla="*/ 32 w 65"/>
              <a:gd name="T7" fmla="*/ 16 h 71"/>
              <a:gd name="T8" fmla="*/ 38 w 65"/>
              <a:gd name="T9" fmla="*/ 16 h 71"/>
              <a:gd name="T10" fmla="*/ 43 w 65"/>
              <a:gd name="T11" fmla="*/ 22 h 71"/>
              <a:gd name="T12" fmla="*/ 49 w 65"/>
              <a:gd name="T13" fmla="*/ 22 h 71"/>
              <a:gd name="T14" fmla="*/ 49 w 65"/>
              <a:gd name="T15" fmla="*/ 27 h 71"/>
              <a:gd name="T16" fmla="*/ 49 w 65"/>
              <a:gd name="T17" fmla="*/ 33 h 71"/>
              <a:gd name="T18" fmla="*/ 54 w 65"/>
              <a:gd name="T19" fmla="*/ 33 h 71"/>
              <a:gd name="T20" fmla="*/ 54 w 65"/>
              <a:gd name="T21" fmla="*/ 38 h 71"/>
              <a:gd name="T22" fmla="*/ 60 w 65"/>
              <a:gd name="T23" fmla="*/ 38 h 71"/>
              <a:gd name="T24" fmla="*/ 60 w 65"/>
              <a:gd name="T25" fmla="*/ 44 h 71"/>
              <a:gd name="T26" fmla="*/ 60 w 65"/>
              <a:gd name="T27" fmla="*/ 49 h 71"/>
              <a:gd name="T28" fmla="*/ 65 w 65"/>
              <a:gd name="T29" fmla="*/ 49 h 71"/>
              <a:gd name="T30" fmla="*/ 60 w 65"/>
              <a:gd name="T31" fmla="*/ 49 h 71"/>
              <a:gd name="T32" fmla="*/ 65 w 65"/>
              <a:gd name="T33" fmla="*/ 49 h 71"/>
              <a:gd name="T34" fmla="*/ 60 w 65"/>
              <a:gd name="T35" fmla="*/ 55 h 71"/>
              <a:gd name="T36" fmla="*/ 65 w 65"/>
              <a:gd name="T37" fmla="*/ 55 h 71"/>
              <a:gd name="T38" fmla="*/ 54 w 65"/>
              <a:gd name="T39" fmla="*/ 55 h 71"/>
              <a:gd name="T40" fmla="*/ 54 w 65"/>
              <a:gd name="T41" fmla="*/ 60 h 71"/>
              <a:gd name="T42" fmla="*/ 49 w 65"/>
              <a:gd name="T43" fmla="*/ 60 h 71"/>
              <a:gd name="T44" fmla="*/ 49 w 65"/>
              <a:gd name="T45" fmla="*/ 55 h 71"/>
              <a:gd name="T46" fmla="*/ 49 w 65"/>
              <a:gd name="T47" fmla="*/ 60 h 71"/>
              <a:gd name="T48" fmla="*/ 43 w 65"/>
              <a:gd name="T49" fmla="*/ 60 h 71"/>
              <a:gd name="T50" fmla="*/ 49 w 65"/>
              <a:gd name="T51" fmla="*/ 66 h 71"/>
              <a:gd name="T52" fmla="*/ 38 w 65"/>
              <a:gd name="T53" fmla="*/ 60 h 71"/>
              <a:gd name="T54" fmla="*/ 43 w 65"/>
              <a:gd name="T55" fmla="*/ 66 h 71"/>
              <a:gd name="T56" fmla="*/ 38 w 65"/>
              <a:gd name="T57" fmla="*/ 60 h 71"/>
              <a:gd name="T58" fmla="*/ 38 w 65"/>
              <a:gd name="T59" fmla="*/ 66 h 71"/>
              <a:gd name="T60" fmla="*/ 32 w 65"/>
              <a:gd name="T61" fmla="*/ 66 h 71"/>
              <a:gd name="T62" fmla="*/ 32 w 65"/>
              <a:gd name="T63" fmla="*/ 71 h 71"/>
              <a:gd name="T64" fmla="*/ 32 w 65"/>
              <a:gd name="T65" fmla="*/ 66 h 71"/>
              <a:gd name="T66" fmla="*/ 27 w 65"/>
              <a:gd name="T67" fmla="*/ 60 h 71"/>
              <a:gd name="T68" fmla="*/ 32 w 65"/>
              <a:gd name="T69" fmla="*/ 66 h 71"/>
              <a:gd name="T70" fmla="*/ 27 w 65"/>
              <a:gd name="T71" fmla="*/ 60 h 71"/>
              <a:gd name="T72" fmla="*/ 22 w 65"/>
              <a:gd name="T73" fmla="*/ 55 h 71"/>
              <a:gd name="T74" fmla="*/ 27 w 65"/>
              <a:gd name="T75" fmla="*/ 55 h 71"/>
              <a:gd name="T76" fmla="*/ 22 w 65"/>
              <a:gd name="T77" fmla="*/ 55 h 71"/>
              <a:gd name="T78" fmla="*/ 22 w 65"/>
              <a:gd name="T79" fmla="*/ 49 h 71"/>
              <a:gd name="T80" fmla="*/ 22 w 65"/>
              <a:gd name="T81" fmla="*/ 44 h 71"/>
              <a:gd name="T82" fmla="*/ 16 w 65"/>
              <a:gd name="T83" fmla="*/ 38 h 71"/>
              <a:gd name="T84" fmla="*/ 11 w 65"/>
              <a:gd name="T85" fmla="*/ 38 h 71"/>
              <a:gd name="T86" fmla="*/ 11 w 65"/>
              <a:gd name="T87" fmla="*/ 33 h 71"/>
              <a:gd name="T88" fmla="*/ 0 w 65"/>
              <a:gd name="T89" fmla="*/ 27 h 71"/>
              <a:gd name="T90" fmla="*/ 5 w 65"/>
              <a:gd name="T91" fmla="*/ 27 h 71"/>
              <a:gd name="T92" fmla="*/ 5 w 65"/>
              <a:gd name="T93" fmla="*/ 22 h 71"/>
              <a:gd name="T94" fmla="*/ 11 w 65"/>
              <a:gd name="T95" fmla="*/ 27 h 71"/>
              <a:gd name="T96" fmla="*/ 5 w 65"/>
              <a:gd name="T97" fmla="*/ 22 h 71"/>
              <a:gd name="T98" fmla="*/ 0 w 65"/>
              <a:gd name="T99" fmla="*/ 16 h 71"/>
              <a:gd name="T100" fmla="*/ 0 w 65"/>
              <a:gd name="T101" fmla="*/ 11 h 71"/>
              <a:gd name="T102" fmla="*/ 0 w 65"/>
              <a:gd name="T103" fmla="*/ 6 h 71"/>
              <a:gd name="T104" fmla="*/ 5 w 65"/>
              <a:gd name="T105" fmla="*/ 6 h 71"/>
              <a:gd name="T106" fmla="*/ 11 w 65"/>
              <a:gd name="T107" fmla="*/ 6 h 71"/>
              <a:gd name="T108" fmla="*/ 16 w 65"/>
              <a:gd name="T109" fmla="*/ 6 h 71"/>
              <a:gd name="T110" fmla="*/ 16 w 65"/>
              <a:gd name="T11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5" h="71">
                <a:moveTo>
                  <a:pt x="16" y="0"/>
                </a:moveTo>
                <a:lnTo>
                  <a:pt x="22" y="6"/>
                </a:lnTo>
                <a:lnTo>
                  <a:pt x="27" y="11"/>
                </a:lnTo>
                <a:lnTo>
                  <a:pt x="32" y="16"/>
                </a:lnTo>
                <a:lnTo>
                  <a:pt x="38" y="16"/>
                </a:lnTo>
                <a:lnTo>
                  <a:pt x="43" y="22"/>
                </a:lnTo>
                <a:lnTo>
                  <a:pt x="49" y="22"/>
                </a:lnTo>
                <a:lnTo>
                  <a:pt x="49" y="27"/>
                </a:lnTo>
                <a:lnTo>
                  <a:pt x="49" y="33"/>
                </a:lnTo>
                <a:lnTo>
                  <a:pt x="54" y="33"/>
                </a:lnTo>
                <a:lnTo>
                  <a:pt x="54" y="38"/>
                </a:lnTo>
                <a:lnTo>
                  <a:pt x="60" y="38"/>
                </a:lnTo>
                <a:lnTo>
                  <a:pt x="60" y="44"/>
                </a:lnTo>
                <a:lnTo>
                  <a:pt x="60" y="49"/>
                </a:lnTo>
                <a:lnTo>
                  <a:pt x="65" y="49"/>
                </a:lnTo>
                <a:lnTo>
                  <a:pt x="60" y="49"/>
                </a:lnTo>
                <a:lnTo>
                  <a:pt x="65" y="49"/>
                </a:lnTo>
                <a:lnTo>
                  <a:pt x="60" y="55"/>
                </a:lnTo>
                <a:lnTo>
                  <a:pt x="65" y="55"/>
                </a:lnTo>
                <a:lnTo>
                  <a:pt x="54" y="55"/>
                </a:lnTo>
                <a:lnTo>
                  <a:pt x="54" y="60"/>
                </a:lnTo>
                <a:lnTo>
                  <a:pt x="49" y="60"/>
                </a:lnTo>
                <a:lnTo>
                  <a:pt x="49" y="55"/>
                </a:lnTo>
                <a:lnTo>
                  <a:pt x="49" y="60"/>
                </a:lnTo>
                <a:lnTo>
                  <a:pt x="43" y="60"/>
                </a:lnTo>
                <a:lnTo>
                  <a:pt x="49" y="66"/>
                </a:lnTo>
                <a:lnTo>
                  <a:pt x="38" y="60"/>
                </a:lnTo>
                <a:lnTo>
                  <a:pt x="43" y="66"/>
                </a:lnTo>
                <a:lnTo>
                  <a:pt x="38" y="60"/>
                </a:lnTo>
                <a:lnTo>
                  <a:pt x="38" y="66"/>
                </a:lnTo>
                <a:lnTo>
                  <a:pt x="32" y="66"/>
                </a:lnTo>
                <a:lnTo>
                  <a:pt x="32" y="71"/>
                </a:lnTo>
                <a:lnTo>
                  <a:pt x="32" y="66"/>
                </a:lnTo>
                <a:lnTo>
                  <a:pt x="27" y="60"/>
                </a:lnTo>
                <a:lnTo>
                  <a:pt x="32" y="66"/>
                </a:lnTo>
                <a:lnTo>
                  <a:pt x="27" y="60"/>
                </a:lnTo>
                <a:lnTo>
                  <a:pt x="22" y="55"/>
                </a:lnTo>
                <a:lnTo>
                  <a:pt x="27" y="55"/>
                </a:lnTo>
                <a:lnTo>
                  <a:pt x="22" y="55"/>
                </a:lnTo>
                <a:lnTo>
                  <a:pt x="22" y="49"/>
                </a:lnTo>
                <a:lnTo>
                  <a:pt x="22" y="44"/>
                </a:lnTo>
                <a:lnTo>
                  <a:pt x="16" y="38"/>
                </a:lnTo>
                <a:lnTo>
                  <a:pt x="11" y="38"/>
                </a:lnTo>
                <a:lnTo>
                  <a:pt x="11" y="33"/>
                </a:lnTo>
                <a:lnTo>
                  <a:pt x="0" y="27"/>
                </a:lnTo>
                <a:lnTo>
                  <a:pt x="5" y="27"/>
                </a:lnTo>
                <a:lnTo>
                  <a:pt x="5" y="22"/>
                </a:lnTo>
                <a:lnTo>
                  <a:pt x="11" y="27"/>
                </a:lnTo>
                <a:lnTo>
                  <a:pt x="5" y="22"/>
                </a:lnTo>
                <a:lnTo>
                  <a:pt x="0" y="16"/>
                </a:lnTo>
                <a:lnTo>
                  <a:pt x="0" y="11"/>
                </a:lnTo>
                <a:lnTo>
                  <a:pt x="0" y="6"/>
                </a:lnTo>
                <a:lnTo>
                  <a:pt x="5" y="6"/>
                </a:lnTo>
                <a:lnTo>
                  <a:pt x="11" y="6"/>
                </a:lnTo>
                <a:lnTo>
                  <a:pt x="16" y="6"/>
                </a:lnTo>
                <a:lnTo>
                  <a:pt x="16" y="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49" name="Freeform 763">
            <a:extLst>
              <a:ext uri="{FF2B5EF4-FFF2-40B4-BE49-F238E27FC236}">
                <a16:creationId xmlns:a16="http://schemas.microsoft.com/office/drawing/2014/main" id="{0F01701F-6CC6-1269-AEDF-18ACFF4EC212}"/>
              </a:ext>
            </a:extLst>
          </p:cNvPr>
          <p:cNvSpPr>
            <a:spLocks/>
          </p:cNvSpPr>
          <p:nvPr/>
        </p:nvSpPr>
        <p:spPr bwMode="auto">
          <a:xfrm>
            <a:off x="4687888" y="2592388"/>
            <a:ext cx="25400" cy="65088"/>
          </a:xfrm>
          <a:custGeom>
            <a:avLst/>
            <a:gdLst>
              <a:gd name="T0" fmla="*/ 0 w 22"/>
              <a:gd name="T1" fmla="*/ 27 h 54"/>
              <a:gd name="T2" fmla="*/ 0 w 22"/>
              <a:gd name="T3" fmla="*/ 22 h 54"/>
              <a:gd name="T4" fmla="*/ 0 w 22"/>
              <a:gd name="T5" fmla="*/ 16 h 54"/>
              <a:gd name="T6" fmla="*/ 0 w 22"/>
              <a:gd name="T7" fmla="*/ 11 h 54"/>
              <a:gd name="T8" fmla="*/ 5 w 22"/>
              <a:gd name="T9" fmla="*/ 5 h 54"/>
              <a:gd name="T10" fmla="*/ 5 w 22"/>
              <a:gd name="T11" fmla="*/ 0 h 54"/>
              <a:gd name="T12" fmla="*/ 11 w 22"/>
              <a:gd name="T13" fmla="*/ 0 h 54"/>
              <a:gd name="T14" fmla="*/ 16 w 22"/>
              <a:gd name="T15" fmla="*/ 0 h 54"/>
              <a:gd name="T16" fmla="*/ 16 w 22"/>
              <a:gd name="T17" fmla="*/ 5 h 54"/>
              <a:gd name="T18" fmla="*/ 22 w 22"/>
              <a:gd name="T19" fmla="*/ 11 h 54"/>
              <a:gd name="T20" fmla="*/ 22 w 22"/>
              <a:gd name="T21" fmla="*/ 16 h 54"/>
              <a:gd name="T22" fmla="*/ 16 w 22"/>
              <a:gd name="T23" fmla="*/ 16 h 54"/>
              <a:gd name="T24" fmla="*/ 22 w 22"/>
              <a:gd name="T25" fmla="*/ 16 h 54"/>
              <a:gd name="T26" fmla="*/ 22 w 22"/>
              <a:gd name="T27" fmla="*/ 22 h 54"/>
              <a:gd name="T28" fmla="*/ 22 w 22"/>
              <a:gd name="T29" fmla="*/ 27 h 54"/>
              <a:gd name="T30" fmla="*/ 22 w 22"/>
              <a:gd name="T31" fmla="*/ 33 h 54"/>
              <a:gd name="T32" fmla="*/ 22 w 22"/>
              <a:gd name="T33" fmla="*/ 38 h 54"/>
              <a:gd name="T34" fmla="*/ 22 w 22"/>
              <a:gd name="T35" fmla="*/ 43 h 54"/>
              <a:gd name="T36" fmla="*/ 22 w 22"/>
              <a:gd name="T37" fmla="*/ 49 h 54"/>
              <a:gd name="T38" fmla="*/ 22 w 22"/>
              <a:gd name="T39" fmla="*/ 54 h 54"/>
              <a:gd name="T40" fmla="*/ 22 w 22"/>
              <a:gd name="T41" fmla="*/ 49 h 54"/>
              <a:gd name="T42" fmla="*/ 16 w 22"/>
              <a:gd name="T43" fmla="*/ 49 h 54"/>
              <a:gd name="T44" fmla="*/ 16 w 22"/>
              <a:gd name="T45" fmla="*/ 43 h 54"/>
              <a:gd name="T46" fmla="*/ 11 w 22"/>
              <a:gd name="T47" fmla="*/ 43 h 54"/>
              <a:gd name="T48" fmla="*/ 5 w 22"/>
              <a:gd name="T49" fmla="*/ 43 h 54"/>
              <a:gd name="T50" fmla="*/ 5 w 22"/>
              <a:gd name="T51" fmla="*/ 33 h 54"/>
              <a:gd name="T52" fmla="*/ 0 w 22"/>
              <a:gd name="T53" fmla="*/ 33 h 54"/>
              <a:gd name="T54" fmla="*/ 0 w 22"/>
              <a:gd name="T55"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54">
                <a:moveTo>
                  <a:pt x="0" y="27"/>
                </a:moveTo>
                <a:lnTo>
                  <a:pt x="0" y="22"/>
                </a:lnTo>
                <a:lnTo>
                  <a:pt x="0" y="16"/>
                </a:lnTo>
                <a:lnTo>
                  <a:pt x="0" y="11"/>
                </a:lnTo>
                <a:lnTo>
                  <a:pt x="5" y="5"/>
                </a:lnTo>
                <a:lnTo>
                  <a:pt x="5" y="0"/>
                </a:lnTo>
                <a:lnTo>
                  <a:pt x="11" y="0"/>
                </a:lnTo>
                <a:lnTo>
                  <a:pt x="16" y="0"/>
                </a:lnTo>
                <a:lnTo>
                  <a:pt x="16" y="5"/>
                </a:lnTo>
                <a:lnTo>
                  <a:pt x="22" y="11"/>
                </a:lnTo>
                <a:lnTo>
                  <a:pt x="22" y="16"/>
                </a:lnTo>
                <a:lnTo>
                  <a:pt x="16" y="16"/>
                </a:lnTo>
                <a:lnTo>
                  <a:pt x="22" y="16"/>
                </a:lnTo>
                <a:lnTo>
                  <a:pt x="22" y="22"/>
                </a:lnTo>
                <a:lnTo>
                  <a:pt x="22" y="27"/>
                </a:lnTo>
                <a:lnTo>
                  <a:pt x="22" y="33"/>
                </a:lnTo>
                <a:lnTo>
                  <a:pt x="22" y="38"/>
                </a:lnTo>
                <a:lnTo>
                  <a:pt x="22" y="43"/>
                </a:lnTo>
                <a:lnTo>
                  <a:pt x="22" y="49"/>
                </a:lnTo>
                <a:lnTo>
                  <a:pt x="22" y="54"/>
                </a:lnTo>
                <a:lnTo>
                  <a:pt x="22" y="49"/>
                </a:lnTo>
                <a:lnTo>
                  <a:pt x="16" y="49"/>
                </a:lnTo>
                <a:lnTo>
                  <a:pt x="16" y="43"/>
                </a:lnTo>
                <a:lnTo>
                  <a:pt x="11" y="43"/>
                </a:lnTo>
                <a:lnTo>
                  <a:pt x="5" y="43"/>
                </a:lnTo>
                <a:lnTo>
                  <a:pt x="5" y="33"/>
                </a:lnTo>
                <a:lnTo>
                  <a:pt x="0" y="33"/>
                </a:lnTo>
                <a:lnTo>
                  <a:pt x="0" y="27"/>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0" name="Freeform 766">
            <a:extLst>
              <a:ext uri="{FF2B5EF4-FFF2-40B4-BE49-F238E27FC236}">
                <a16:creationId xmlns:a16="http://schemas.microsoft.com/office/drawing/2014/main" id="{9702C223-F45B-3741-114A-371D57E24A95}"/>
              </a:ext>
            </a:extLst>
          </p:cNvPr>
          <p:cNvSpPr>
            <a:spLocks/>
          </p:cNvSpPr>
          <p:nvPr/>
        </p:nvSpPr>
        <p:spPr bwMode="auto">
          <a:xfrm>
            <a:off x="4327525" y="2684463"/>
            <a:ext cx="158750" cy="287338"/>
          </a:xfrm>
          <a:custGeom>
            <a:avLst/>
            <a:gdLst>
              <a:gd name="T0" fmla="*/ 49 w 142"/>
              <a:gd name="T1" fmla="*/ 153 h 235"/>
              <a:gd name="T2" fmla="*/ 60 w 142"/>
              <a:gd name="T3" fmla="*/ 142 h 235"/>
              <a:gd name="T4" fmla="*/ 55 w 142"/>
              <a:gd name="T5" fmla="*/ 131 h 235"/>
              <a:gd name="T6" fmla="*/ 49 w 142"/>
              <a:gd name="T7" fmla="*/ 115 h 235"/>
              <a:gd name="T8" fmla="*/ 44 w 142"/>
              <a:gd name="T9" fmla="*/ 98 h 235"/>
              <a:gd name="T10" fmla="*/ 33 w 142"/>
              <a:gd name="T11" fmla="*/ 93 h 235"/>
              <a:gd name="T12" fmla="*/ 33 w 142"/>
              <a:gd name="T13" fmla="*/ 82 h 235"/>
              <a:gd name="T14" fmla="*/ 33 w 142"/>
              <a:gd name="T15" fmla="*/ 66 h 235"/>
              <a:gd name="T16" fmla="*/ 22 w 142"/>
              <a:gd name="T17" fmla="*/ 60 h 235"/>
              <a:gd name="T18" fmla="*/ 11 w 142"/>
              <a:gd name="T19" fmla="*/ 44 h 235"/>
              <a:gd name="T20" fmla="*/ 0 w 142"/>
              <a:gd name="T21" fmla="*/ 27 h 235"/>
              <a:gd name="T22" fmla="*/ 0 w 142"/>
              <a:gd name="T23" fmla="*/ 22 h 235"/>
              <a:gd name="T24" fmla="*/ 6 w 142"/>
              <a:gd name="T25" fmla="*/ 11 h 235"/>
              <a:gd name="T26" fmla="*/ 22 w 142"/>
              <a:gd name="T27" fmla="*/ 11 h 235"/>
              <a:gd name="T28" fmla="*/ 28 w 142"/>
              <a:gd name="T29" fmla="*/ 6 h 235"/>
              <a:gd name="T30" fmla="*/ 33 w 142"/>
              <a:gd name="T31" fmla="*/ 0 h 235"/>
              <a:gd name="T32" fmla="*/ 44 w 142"/>
              <a:gd name="T33" fmla="*/ 11 h 235"/>
              <a:gd name="T34" fmla="*/ 55 w 142"/>
              <a:gd name="T35" fmla="*/ 11 h 235"/>
              <a:gd name="T36" fmla="*/ 60 w 142"/>
              <a:gd name="T37" fmla="*/ 22 h 235"/>
              <a:gd name="T38" fmla="*/ 60 w 142"/>
              <a:gd name="T39" fmla="*/ 33 h 235"/>
              <a:gd name="T40" fmla="*/ 66 w 142"/>
              <a:gd name="T41" fmla="*/ 44 h 235"/>
              <a:gd name="T42" fmla="*/ 77 w 142"/>
              <a:gd name="T43" fmla="*/ 38 h 235"/>
              <a:gd name="T44" fmla="*/ 93 w 142"/>
              <a:gd name="T45" fmla="*/ 38 h 235"/>
              <a:gd name="T46" fmla="*/ 104 w 142"/>
              <a:gd name="T47" fmla="*/ 33 h 235"/>
              <a:gd name="T48" fmla="*/ 120 w 142"/>
              <a:gd name="T49" fmla="*/ 44 h 235"/>
              <a:gd name="T50" fmla="*/ 120 w 142"/>
              <a:gd name="T51" fmla="*/ 60 h 235"/>
              <a:gd name="T52" fmla="*/ 131 w 142"/>
              <a:gd name="T53" fmla="*/ 66 h 235"/>
              <a:gd name="T54" fmla="*/ 137 w 142"/>
              <a:gd name="T55" fmla="*/ 82 h 235"/>
              <a:gd name="T56" fmla="*/ 142 w 142"/>
              <a:gd name="T57" fmla="*/ 93 h 235"/>
              <a:gd name="T58" fmla="*/ 126 w 142"/>
              <a:gd name="T59" fmla="*/ 98 h 235"/>
              <a:gd name="T60" fmla="*/ 115 w 142"/>
              <a:gd name="T61" fmla="*/ 93 h 235"/>
              <a:gd name="T62" fmla="*/ 104 w 142"/>
              <a:gd name="T63" fmla="*/ 104 h 235"/>
              <a:gd name="T64" fmla="*/ 104 w 142"/>
              <a:gd name="T65" fmla="*/ 115 h 235"/>
              <a:gd name="T66" fmla="*/ 109 w 142"/>
              <a:gd name="T67" fmla="*/ 126 h 235"/>
              <a:gd name="T68" fmla="*/ 109 w 142"/>
              <a:gd name="T69" fmla="*/ 131 h 235"/>
              <a:gd name="T70" fmla="*/ 98 w 142"/>
              <a:gd name="T71" fmla="*/ 126 h 235"/>
              <a:gd name="T72" fmla="*/ 88 w 142"/>
              <a:gd name="T73" fmla="*/ 120 h 235"/>
              <a:gd name="T74" fmla="*/ 77 w 142"/>
              <a:gd name="T75" fmla="*/ 126 h 235"/>
              <a:gd name="T76" fmla="*/ 71 w 142"/>
              <a:gd name="T77" fmla="*/ 109 h 235"/>
              <a:gd name="T78" fmla="*/ 60 w 142"/>
              <a:gd name="T79" fmla="*/ 120 h 235"/>
              <a:gd name="T80" fmla="*/ 60 w 142"/>
              <a:gd name="T81" fmla="*/ 131 h 235"/>
              <a:gd name="T82" fmla="*/ 60 w 142"/>
              <a:gd name="T83" fmla="*/ 147 h 235"/>
              <a:gd name="T84" fmla="*/ 60 w 142"/>
              <a:gd name="T85" fmla="*/ 158 h 235"/>
              <a:gd name="T86" fmla="*/ 55 w 142"/>
              <a:gd name="T87" fmla="*/ 169 h 235"/>
              <a:gd name="T88" fmla="*/ 60 w 142"/>
              <a:gd name="T89" fmla="*/ 180 h 235"/>
              <a:gd name="T90" fmla="*/ 71 w 142"/>
              <a:gd name="T91" fmla="*/ 180 h 235"/>
              <a:gd name="T92" fmla="*/ 82 w 142"/>
              <a:gd name="T93" fmla="*/ 202 h 235"/>
              <a:gd name="T94" fmla="*/ 93 w 142"/>
              <a:gd name="T95" fmla="*/ 213 h 235"/>
              <a:gd name="T96" fmla="*/ 104 w 142"/>
              <a:gd name="T97" fmla="*/ 224 h 235"/>
              <a:gd name="T98" fmla="*/ 109 w 142"/>
              <a:gd name="T99" fmla="*/ 235 h 235"/>
              <a:gd name="T100" fmla="*/ 98 w 142"/>
              <a:gd name="T101" fmla="*/ 235 h 235"/>
              <a:gd name="T102" fmla="*/ 88 w 142"/>
              <a:gd name="T103" fmla="*/ 218 h 235"/>
              <a:gd name="T104" fmla="*/ 77 w 142"/>
              <a:gd name="T105" fmla="*/ 224 h 235"/>
              <a:gd name="T106" fmla="*/ 71 w 142"/>
              <a:gd name="T107" fmla="*/ 207 h 235"/>
              <a:gd name="T108" fmla="*/ 60 w 142"/>
              <a:gd name="T109" fmla="*/ 197 h 235"/>
              <a:gd name="T110" fmla="*/ 49 w 142"/>
              <a:gd name="T111" fmla="*/ 197 h 235"/>
              <a:gd name="T112" fmla="*/ 44 w 142"/>
              <a:gd name="T113" fmla="*/ 180 h 235"/>
              <a:gd name="T114" fmla="*/ 44 w 142"/>
              <a:gd name="T115" fmla="*/ 16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2" h="235">
                <a:moveTo>
                  <a:pt x="49" y="164"/>
                </a:moveTo>
                <a:lnTo>
                  <a:pt x="49" y="158"/>
                </a:lnTo>
                <a:lnTo>
                  <a:pt x="49" y="153"/>
                </a:lnTo>
                <a:lnTo>
                  <a:pt x="55" y="147"/>
                </a:lnTo>
                <a:lnTo>
                  <a:pt x="55" y="142"/>
                </a:lnTo>
                <a:lnTo>
                  <a:pt x="60" y="142"/>
                </a:lnTo>
                <a:lnTo>
                  <a:pt x="55" y="137"/>
                </a:lnTo>
                <a:lnTo>
                  <a:pt x="60" y="137"/>
                </a:lnTo>
                <a:lnTo>
                  <a:pt x="55" y="131"/>
                </a:lnTo>
                <a:lnTo>
                  <a:pt x="55" y="126"/>
                </a:lnTo>
                <a:lnTo>
                  <a:pt x="49" y="120"/>
                </a:lnTo>
                <a:lnTo>
                  <a:pt x="49" y="115"/>
                </a:lnTo>
                <a:lnTo>
                  <a:pt x="49" y="109"/>
                </a:lnTo>
                <a:lnTo>
                  <a:pt x="44" y="104"/>
                </a:lnTo>
                <a:lnTo>
                  <a:pt x="44" y="98"/>
                </a:lnTo>
                <a:lnTo>
                  <a:pt x="38" y="98"/>
                </a:lnTo>
                <a:lnTo>
                  <a:pt x="33" y="98"/>
                </a:lnTo>
                <a:lnTo>
                  <a:pt x="33" y="93"/>
                </a:lnTo>
                <a:lnTo>
                  <a:pt x="28" y="87"/>
                </a:lnTo>
                <a:lnTo>
                  <a:pt x="28" y="82"/>
                </a:lnTo>
                <a:lnTo>
                  <a:pt x="33" y="82"/>
                </a:lnTo>
                <a:lnTo>
                  <a:pt x="28" y="77"/>
                </a:lnTo>
                <a:lnTo>
                  <a:pt x="28" y="71"/>
                </a:lnTo>
                <a:lnTo>
                  <a:pt x="33" y="66"/>
                </a:lnTo>
                <a:lnTo>
                  <a:pt x="28" y="66"/>
                </a:lnTo>
                <a:lnTo>
                  <a:pt x="28" y="60"/>
                </a:lnTo>
                <a:lnTo>
                  <a:pt x="22" y="60"/>
                </a:lnTo>
                <a:lnTo>
                  <a:pt x="22" y="55"/>
                </a:lnTo>
                <a:lnTo>
                  <a:pt x="17" y="49"/>
                </a:lnTo>
                <a:lnTo>
                  <a:pt x="11" y="44"/>
                </a:lnTo>
                <a:lnTo>
                  <a:pt x="6" y="38"/>
                </a:lnTo>
                <a:lnTo>
                  <a:pt x="6" y="33"/>
                </a:lnTo>
                <a:lnTo>
                  <a:pt x="0" y="27"/>
                </a:lnTo>
                <a:lnTo>
                  <a:pt x="6" y="27"/>
                </a:lnTo>
                <a:lnTo>
                  <a:pt x="6" y="22"/>
                </a:lnTo>
                <a:lnTo>
                  <a:pt x="0" y="22"/>
                </a:lnTo>
                <a:lnTo>
                  <a:pt x="6" y="22"/>
                </a:lnTo>
                <a:lnTo>
                  <a:pt x="0" y="17"/>
                </a:lnTo>
                <a:lnTo>
                  <a:pt x="6" y="11"/>
                </a:lnTo>
                <a:lnTo>
                  <a:pt x="11" y="11"/>
                </a:lnTo>
                <a:lnTo>
                  <a:pt x="17" y="11"/>
                </a:lnTo>
                <a:lnTo>
                  <a:pt x="22" y="11"/>
                </a:lnTo>
                <a:lnTo>
                  <a:pt x="17" y="6"/>
                </a:lnTo>
                <a:lnTo>
                  <a:pt x="22" y="6"/>
                </a:lnTo>
                <a:lnTo>
                  <a:pt x="28" y="6"/>
                </a:lnTo>
                <a:lnTo>
                  <a:pt x="22" y="0"/>
                </a:lnTo>
                <a:lnTo>
                  <a:pt x="28" y="0"/>
                </a:lnTo>
                <a:lnTo>
                  <a:pt x="33" y="0"/>
                </a:lnTo>
                <a:lnTo>
                  <a:pt x="38" y="0"/>
                </a:lnTo>
                <a:lnTo>
                  <a:pt x="44" y="6"/>
                </a:lnTo>
                <a:lnTo>
                  <a:pt x="44" y="11"/>
                </a:lnTo>
                <a:lnTo>
                  <a:pt x="49" y="17"/>
                </a:lnTo>
                <a:lnTo>
                  <a:pt x="49" y="11"/>
                </a:lnTo>
                <a:lnTo>
                  <a:pt x="55" y="11"/>
                </a:lnTo>
                <a:lnTo>
                  <a:pt x="55" y="17"/>
                </a:lnTo>
                <a:lnTo>
                  <a:pt x="55" y="22"/>
                </a:lnTo>
                <a:lnTo>
                  <a:pt x="60" y="22"/>
                </a:lnTo>
                <a:lnTo>
                  <a:pt x="60" y="27"/>
                </a:lnTo>
                <a:lnTo>
                  <a:pt x="55" y="33"/>
                </a:lnTo>
                <a:lnTo>
                  <a:pt x="60" y="33"/>
                </a:lnTo>
                <a:lnTo>
                  <a:pt x="60" y="38"/>
                </a:lnTo>
                <a:lnTo>
                  <a:pt x="60" y="44"/>
                </a:lnTo>
                <a:lnTo>
                  <a:pt x="66" y="44"/>
                </a:lnTo>
                <a:lnTo>
                  <a:pt x="71" y="38"/>
                </a:lnTo>
                <a:lnTo>
                  <a:pt x="77" y="33"/>
                </a:lnTo>
                <a:lnTo>
                  <a:pt x="77" y="38"/>
                </a:lnTo>
                <a:lnTo>
                  <a:pt x="82" y="38"/>
                </a:lnTo>
                <a:lnTo>
                  <a:pt x="88" y="38"/>
                </a:lnTo>
                <a:lnTo>
                  <a:pt x="93" y="38"/>
                </a:lnTo>
                <a:lnTo>
                  <a:pt x="93" y="33"/>
                </a:lnTo>
                <a:lnTo>
                  <a:pt x="98" y="33"/>
                </a:lnTo>
                <a:lnTo>
                  <a:pt x="104" y="33"/>
                </a:lnTo>
                <a:lnTo>
                  <a:pt x="109" y="38"/>
                </a:lnTo>
                <a:lnTo>
                  <a:pt x="115" y="44"/>
                </a:lnTo>
                <a:lnTo>
                  <a:pt x="120" y="44"/>
                </a:lnTo>
                <a:lnTo>
                  <a:pt x="120" y="49"/>
                </a:lnTo>
                <a:lnTo>
                  <a:pt x="120" y="55"/>
                </a:lnTo>
                <a:lnTo>
                  <a:pt x="120" y="60"/>
                </a:lnTo>
                <a:lnTo>
                  <a:pt x="126" y="60"/>
                </a:lnTo>
                <a:lnTo>
                  <a:pt x="126" y="66"/>
                </a:lnTo>
                <a:lnTo>
                  <a:pt x="131" y="66"/>
                </a:lnTo>
                <a:lnTo>
                  <a:pt x="137" y="71"/>
                </a:lnTo>
                <a:lnTo>
                  <a:pt x="142" y="77"/>
                </a:lnTo>
                <a:lnTo>
                  <a:pt x="137" y="82"/>
                </a:lnTo>
                <a:lnTo>
                  <a:pt x="142" y="82"/>
                </a:lnTo>
                <a:lnTo>
                  <a:pt x="142" y="87"/>
                </a:lnTo>
                <a:lnTo>
                  <a:pt x="142" y="93"/>
                </a:lnTo>
                <a:lnTo>
                  <a:pt x="137" y="98"/>
                </a:lnTo>
                <a:lnTo>
                  <a:pt x="131" y="93"/>
                </a:lnTo>
                <a:lnTo>
                  <a:pt x="126" y="98"/>
                </a:lnTo>
                <a:lnTo>
                  <a:pt x="120" y="93"/>
                </a:lnTo>
                <a:lnTo>
                  <a:pt x="120" y="98"/>
                </a:lnTo>
                <a:lnTo>
                  <a:pt x="115" y="93"/>
                </a:lnTo>
                <a:lnTo>
                  <a:pt x="109" y="98"/>
                </a:lnTo>
                <a:lnTo>
                  <a:pt x="104" y="98"/>
                </a:lnTo>
                <a:lnTo>
                  <a:pt x="104" y="104"/>
                </a:lnTo>
                <a:lnTo>
                  <a:pt x="98" y="109"/>
                </a:lnTo>
                <a:lnTo>
                  <a:pt x="98" y="115"/>
                </a:lnTo>
                <a:lnTo>
                  <a:pt x="104" y="115"/>
                </a:lnTo>
                <a:lnTo>
                  <a:pt x="104" y="120"/>
                </a:lnTo>
                <a:lnTo>
                  <a:pt x="104" y="126"/>
                </a:lnTo>
                <a:lnTo>
                  <a:pt x="109" y="126"/>
                </a:lnTo>
                <a:lnTo>
                  <a:pt x="109" y="131"/>
                </a:lnTo>
                <a:lnTo>
                  <a:pt x="109" y="137"/>
                </a:lnTo>
                <a:lnTo>
                  <a:pt x="109" y="131"/>
                </a:lnTo>
                <a:lnTo>
                  <a:pt x="104" y="131"/>
                </a:lnTo>
                <a:lnTo>
                  <a:pt x="98" y="131"/>
                </a:lnTo>
                <a:lnTo>
                  <a:pt x="98" y="126"/>
                </a:lnTo>
                <a:lnTo>
                  <a:pt x="93" y="126"/>
                </a:lnTo>
                <a:lnTo>
                  <a:pt x="93" y="120"/>
                </a:lnTo>
                <a:lnTo>
                  <a:pt x="88" y="120"/>
                </a:lnTo>
                <a:lnTo>
                  <a:pt x="88" y="126"/>
                </a:lnTo>
                <a:lnTo>
                  <a:pt x="82" y="120"/>
                </a:lnTo>
                <a:lnTo>
                  <a:pt x="77" y="126"/>
                </a:lnTo>
                <a:lnTo>
                  <a:pt x="77" y="115"/>
                </a:lnTo>
                <a:lnTo>
                  <a:pt x="77" y="109"/>
                </a:lnTo>
                <a:lnTo>
                  <a:pt x="71" y="109"/>
                </a:lnTo>
                <a:lnTo>
                  <a:pt x="66" y="109"/>
                </a:lnTo>
                <a:lnTo>
                  <a:pt x="60" y="115"/>
                </a:lnTo>
                <a:lnTo>
                  <a:pt x="60" y="120"/>
                </a:lnTo>
                <a:lnTo>
                  <a:pt x="60" y="126"/>
                </a:lnTo>
                <a:lnTo>
                  <a:pt x="66" y="131"/>
                </a:lnTo>
                <a:lnTo>
                  <a:pt x="60" y="131"/>
                </a:lnTo>
                <a:lnTo>
                  <a:pt x="60" y="137"/>
                </a:lnTo>
                <a:lnTo>
                  <a:pt x="60" y="142"/>
                </a:lnTo>
                <a:lnTo>
                  <a:pt x="60" y="147"/>
                </a:lnTo>
                <a:lnTo>
                  <a:pt x="60" y="153"/>
                </a:lnTo>
                <a:lnTo>
                  <a:pt x="55" y="158"/>
                </a:lnTo>
                <a:lnTo>
                  <a:pt x="60" y="158"/>
                </a:lnTo>
                <a:lnTo>
                  <a:pt x="55" y="158"/>
                </a:lnTo>
                <a:lnTo>
                  <a:pt x="55" y="164"/>
                </a:lnTo>
                <a:lnTo>
                  <a:pt x="55" y="169"/>
                </a:lnTo>
                <a:lnTo>
                  <a:pt x="60" y="169"/>
                </a:lnTo>
                <a:lnTo>
                  <a:pt x="60" y="175"/>
                </a:lnTo>
                <a:lnTo>
                  <a:pt x="60" y="180"/>
                </a:lnTo>
                <a:lnTo>
                  <a:pt x="66" y="175"/>
                </a:lnTo>
                <a:lnTo>
                  <a:pt x="71" y="175"/>
                </a:lnTo>
                <a:lnTo>
                  <a:pt x="71" y="180"/>
                </a:lnTo>
                <a:lnTo>
                  <a:pt x="71" y="186"/>
                </a:lnTo>
                <a:lnTo>
                  <a:pt x="77" y="191"/>
                </a:lnTo>
                <a:lnTo>
                  <a:pt x="82" y="202"/>
                </a:lnTo>
                <a:lnTo>
                  <a:pt x="82" y="207"/>
                </a:lnTo>
                <a:lnTo>
                  <a:pt x="88" y="213"/>
                </a:lnTo>
                <a:lnTo>
                  <a:pt x="93" y="213"/>
                </a:lnTo>
                <a:lnTo>
                  <a:pt x="98" y="213"/>
                </a:lnTo>
                <a:lnTo>
                  <a:pt x="104" y="218"/>
                </a:lnTo>
                <a:lnTo>
                  <a:pt x="104" y="224"/>
                </a:lnTo>
                <a:lnTo>
                  <a:pt x="109" y="224"/>
                </a:lnTo>
                <a:lnTo>
                  <a:pt x="109" y="229"/>
                </a:lnTo>
                <a:lnTo>
                  <a:pt x="109" y="235"/>
                </a:lnTo>
                <a:lnTo>
                  <a:pt x="104" y="229"/>
                </a:lnTo>
                <a:lnTo>
                  <a:pt x="98" y="229"/>
                </a:lnTo>
                <a:lnTo>
                  <a:pt x="98" y="235"/>
                </a:lnTo>
                <a:lnTo>
                  <a:pt x="93" y="229"/>
                </a:lnTo>
                <a:lnTo>
                  <a:pt x="93" y="224"/>
                </a:lnTo>
                <a:lnTo>
                  <a:pt x="88" y="218"/>
                </a:lnTo>
                <a:lnTo>
                  <a:pt x="88" y="224"/>
                </a:lnTo>
                <a:lnTo>
                  <a:pt x="82" y="218"/>
                </a:lnTo>
                <a:lnTo>
                  <a:pt x="77" y="224"/>
                </a:lnTo>
                <a:lnTo>
                  <a:pt x="77" y="218"/>
                </a:lnTo>
                <a:lnTo>
                  <a:pt x="71" y="213"/>
                </a:lnTo>
                <a:lnTo>
                  <a:pt x="71" y="207"/>
                </a:lnTo>
                <a:lnTo>
                  <a:pt x="66" y="207"/>
                </a:lnTo>
                <a:lnTo>
                  <a:pt x="60" y="202"/>
                </a:lnTo>
                <a:lnTo>
                  <a:pt x="60" y="197"/>
                </a:lnTo>
                <a:lnTo>
                  <a:pt x="55" y="197"/>
                </a:lnTo>
                <a:lnTo>
                  <a:pt x="55" y="191"/>
                </a:lnTo>
                <a:lnTo>
                  <a:pt x="49" y="197"/>
                </a:lnTo>
                <a:lnTo>
                  <a:pt x="49" y="191"/>
                </a:lnTo>
                <a:lnTo>
                  <a:pt x="44" y="186"/>
                </a:lnTo>
                <a:lnTo>
                  <a:pt x="44" y="180"/>
                </a:lnTo>
                <a:lnTo>
                  <a:pt x="44" y="175"/>
                </a:lnTo>
                <a:lnTo>
                  <a:pt x="49" y="169"/>
                </a:lnTo>
                <a:lnTo>
                  <a:pt x="44" y="169"/>
                </a:lnTo>
                <a:lnTo>
                  <a:pt x="49" y="169"/>
                </a:lnTo>
                <a:lnTo>
                  <a:pt x="49" y="164"/>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1" name="Freeform 767">
            <a:extLst>
              <a:ext uri="{FF2B5EF4-FFF2-40B4-BE49-F238E27FC236}">
                <a16:creationId xmlns:a16="http://schemas.microsoft.com/office/drawing/2014/main" id="{130CEF3F-E27E-0D94-FEC6-17A1E5BEE58E}"/>
              </a:ext>
            </a:extLst>
          </p:cNvPr>
          <p:cNvSpPr>
            <a:spLocks/>
          </p:cNvSpPr>
          <p:nvPr/>
        </p:nvSpPr>
        <p:spPr bwMode="auto">
          <a:xfrm>
            <a:off x="4389438" y="2624138"/>
            <a:ext cx="176213" cy="287338"/>
          </a:xfrm>
          <a:custGeom>
            <a:avLst/>
            <a:gdLst>
              <a:gd name="T0" fmla="*/ 5 w 158"/>
              <a:gd name="T1" fmla="*/ 11 h 235"/>
              <a:gd name="T2" fmla="*/ 16 w 158"/>
              <a:gd name="T3" fmla="*/ 16 h 235"/>
              <a:gd name="T4" fmla="*/ 22 w 158"/>
              <a:gd name="T5" fmla="*/ 11 h 235"/>
              <a:gd name="T6" fmla="*/ 33 w 158"/>
              <a:gd name="T7" fmla="*/ 11 h 235"/>
              <a:gd name="T8" fmla="*/ 43 w 158"/>
              <a:gd name="T9" fmla="*/ 6 h 235"/>
              <a:gd name="T10" fmla="*/ 54 w 158"/>
              <a:gd name="T11" fmla="*/ 11 h 235"/>
              <a:gd name="T12" fmla="*/ 65 w 158"/>
              <a:gd name="T13" fmla="*/ 11 h 235"/>
              <a:gd name="T14" fmla="*/ 65 w 158"/>
              <a:gd name="T15" fmla="*/ 16 h 235"/>
              <a:gd name="T16" fmla="*/ 76 w 158"/>
              <a:gd name="T17" fmla="*/ 22 h 235"/>
              <a:gd name="T18" fmla="*/ 87 w 158"/>
              <a:gd name="T19" fmla="*/ 27 h 235"/>
              <a:gd name="T20" fmla="*/ 87 w 158"/>
              <a:gd name="T21" fmla="*/ 33 h 235"/>
              <a:gd name="T22" fmla="*/ 82 w 158"/>
              <a:gd name="T23" fmla="*/ 38 h 235"/>
              <a:gd name="T24" fmla="*/ 82 w 158"/>
              <a:gd name="T25" fmla="*/ 44 h 235"/>
              <a:gd name="T26" fmla="*/ 76 w 158"/>
              <a:gd name="T27" fmla="*/ 55 h 235"/>
              <a:gd name="T28" fmla="*/ 71 w 158"/>
              <a:gd name="T29" fmla="*/ 66 h 235"/>
              <a:gd name="T30" fmla="*/ 76 w 158"/>
              <a:gd name="T31" fmla="*/ 82 h 235"/>
              <a:gd name="T32" fmla="*/ 93 w 158"/>
              <a:gd name="T33" fmla="*/ 93 h 235"/>
              <a:gd name="T34" fmla="*/ 114 w 158"/>
              <a:gd name="T35" fmla="*/ 109 h 235"/>
              <a:gd name="T36" fmla="*/ 125 w 158"/>
              <a:gd name="T37" fmla="*/ 120 h 235"/>
              <a:gd name="T38" fmla="*/ 131 w 158"/>
              <a:gd name="T39" fmla="*/ 120 h 235"/>
              <a:gd name="T40" fmla="*/ 136 w 158"/>
              <a:gd name="T41" fmla="*/ 131 h 235"/>
              <a:gd name="T42" fmla="*/ 147 w 158"/>
              <a:gd name="T43" fmla="*/ 147 h 235"/>
              <a:gd name="T44" fmla="*/ 147 w 158"/>
              <a:gd name="T45" fmla="*/ 158 h 235"/>
              <a:gd name="T46" fmla="*/ 158 w 158"/>
              <a:gd name="T47" fmla="*/ 175 h 235"/>
              <a:gd name="T48" fmla="*/ 153 w 158"/>
              <a:gd name="T49" fmla="*/ 180 h 235"/>
              <a:gd name="T50" fmla="*/ 158 w 158"/>
              <a:gd name="T51" fmla="*/ 186 h 235"/>
              <a:gd name="T52" fmla="*/ 142 w 158"/>
              <a:gd name="T53" fmla="*/ 202 h 235"/>
              <a:gd name="T54" fmla="*/ 125 w 158"/>
              <a:gd name="T55" fmla="*/ 207 h 235"/>
              <a:gd name="T56" fmla="*/ 120 w 158"/>
              <a:gd name="T57" fmla="*/ 218 h 235"/>
              <a:gd name="T58" fmla="*/ 103 w 158"/>
              <a:gd name="T59" fmla="*/ 229 h 235"/>
              <a:gd name="T60" fmla="*/ 93 w 158"/>
              <a:gd name="T61" fmla="*/ 235 h 235"/>
              <a:gd name="T62" fmla="*/ 93 w 158"/>
              <a:gd name="T63" fmla="*/ 218 h 235"/>
              <a:gd name="T64" fmla="*/ 87 w 158"/>
              <a:gd name="T65" fmla="*/ 213 h 235"/>
              <a:gd name="T66" fmla="*/ 93 w 158"/>
              <a:gd name="T67" fmla="*/ 207 h 235"/>
              <a:gd name="T68" fmla="*/ 98 w 158"/>
              <a:gd name="T69" fmla="*/ 202 h 235"/>
              <a:gd name="T70" fmla="*/ 103 w 158"/>
              <a:gd name="T71" fmla="*/ 202 h 235"/>
              <a:gd name="T72" fmla="*/ 103 w 158"/>
              <a:gd name="T73" fmla="*/ 191 h 235"/>
              <a:gd name="T74" fmla="*/ 114 w 158"/>
              <a:gd name="T75" fmla="*/ 186 h 235"/>
              <a:gd name="T76" fmla="*/ 120 w 158"/>
              <a:gd name="T77" fmla="*/ 180 h 235"/>
              <a:gd name="T78" fmla="*/ 125 w 158"/>
              <a:gd name="T79" fmla="*/ 169 h 235"/>
              <a:gd name="T80" fmla="*/ 120 w 158"/>
              <a:gd name="T81" fmla="*/ 153 h 235"/>
              <a:gd name="T82" fmla="*/ 114 w 158"/>
              <a:gd name="T83" fmla="*/ 136 h 235"/>
              <a:gd name="T84" fmla="*/ 109 w 158"/>
              <a:gd name="T85" fmla="*/ 120 h 235"/>
              <a:gd name="T86" fmla="*/ 109 w 158"/>
              <a:gd name="T87" fmla="*/ 120 h 235"/>
              <a:gd name="T88" fmla="*/ 98 w 158"/>
              <a:gd name="T89" fmla="*/ 109 h 235"/>
              <a:gd name="T90" fmla="*/ 82 w 158"/>
              <a:gd name="T91" fmla="*/ 93 h 235"/>
              <a:gd name="T92" fmla="*/ 71 w 158"/>
              <a:gd name="T93" fmla="*/ 82 h 235"/>
              <a:gd name="T94" fmla="*/ 60 w 158"/>
              <a:gd name="T95" fmla="*/ 76 h 235"/>
              <a:gd name="T96" fmla="*/ 43 w 158"/>
              <a:gd name="T97" fmla="*/ 66 h 235"/>
              <a:gd name="T98" fmla="*/ 54 w 158"/>
              <a:gd name="T99" fmla="*/ 60 h 235"/>
              <a:gd name="T100" fmla="*/ 43 w 158"/>
              <a:gd name="T101" fmla="*/ 49 h 235"/>
              <a:gd name="T102" fmla="*/ 43 w 158"/>
              <a:gd name="T103" fmla="*/ 38 h 235"/>
              <a:gd name="T104" fmla="*/ 27 w 158"/>
              <a:gd name="T105" fmla="*/ 44 h 235"/>
              <a:gd name="T106" fmla="*/ 16 w 158"/>
              <a:gd name="T107" fmla="*/ 33 h 235"/>
              <a:gd name="T108" fmla="*/ 5 w 158"/>
              <a:gd name="T109"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8" h="235">
                <a:moveTo>
                  <a:pt x="0" y="16"/>
                </a:moveTo>
                <a:lnTo>
                  <a:pt x="0" y="11"/>
                </a:lnTo>
                <a:lnTo>
                  <a:pt x="5" y="11"/>
                </a:lnTo>
                <a:lnTo>
                  <a:pt x="11" y="11"/>
                </a:lnTo>
                <a:lnTo>
                  <a:pt x="11" y="16"/>
                </a:lnTo>
                <a:lnTo>
                  <a:pt x="16" y="16"/>
                </a:lnTo>
                <a:lnTo>
                  <a:pt x="16" y="11"/>
                </a:lnTo>
                <a:lnTo>
                  <a:pt x="22" y="16"/>
                </a:lnTo>
                <a:lnTo>
                  <a:pt x="22" y="11"/>
                </a:lnTo>
                <a:lnTo>
                  <a:pt x="27" y="16"/>
                </a:lnTo>
                <a:lnTo>
                  <a:pt x="27" y="11"/>
                </a:lnTo>
                <a:lnTo>
                  <a:pt x="33" y="11"/>
                </a:lnTo>
                <a:lnTo>
                  <a:pt x="38" y="11"/>
                </a:lnTo>
                <a:lnTo>
                  <a:pt x="38" y="6"/>
                </a:lnTo>
                <a:lnTo>
                  <a:pt x="43" y="6"/>
                </a:lnTo>
                <a:lnTo>
                  <a:pt x="43" y="0"/>
                </a:lnTo>
                <a:lnTo>
                  <a:pt x="49" y="6"/>
                </a:lnTo>
                <a:lnTo>
                  <a:pt x="54" y="11"/>
                </a:lnTo>
                <a:lnTo>
                  <a:pt x="60" y="6"/>
                </a:lnTo>
                <a:lnTo>
                  <a:pt x="60" y="11"/>
                </a:lnTo>
                <a:lnTo>
                  <a:pt x="65" y="11"/>
                </a:lnTo>
                <a:lnTo>
                  <a:pt x="71" y="11"/>
                </a:lnTo>
                <a:lnTo>
                  <a:pt x="71" y="16"/>
                </a:lnTo>
                <a:lnTo>
                  <a:pt x="65" y="16"/>
                </a:lnTo>
                <a:lnTo>
                  <a:pt x="71" y="16"/>
                </a:lnTo>
                <a:lnTo>
                  <a:pt x="71" y="22"/>
                </a:lnTo>
                <a:lnTo>
                  <a:pt x="76" y="22"/>
                </a:lnTo>
                <a:lnTo>
                  <a:pt x="76" y="27"/>
                </a:lnTo>
                <a:lnTo>
                  <a:pt x="82" y="27"/>
                </a:lnTo>
                <a:lnTo>
                  <a:pt x="87" y="27"/>
                </a:lnTo>
                <a:lnTo>
                  <a:pt x="93" y="27"/>
                </a:lnTo>
                <a:lnTo>
                  <a:pt x="93" y="33"/>
                </a:lnTo>
                <a:lnTo>
                  <a:pt x="87" y="33"/>
                </a:lnTo>
                <a:lnTo>
                  <a:pt x="93" y="38"/>
                </a:lnTo>
                <a:lnTo>
                  <a:pt x="87" y="38"/>
                </a:lnTo>
                <a:lnTo>
                  <a:pt x="82" y="38"/>
                </a:lnTo>
                <a:lnTo>
                  <a:pt x="82" y="44"/>
                </a:lnTo>
                <a:lnTo>
                  <a:pt x="76" y="44"/>
                </a:lnTo>
                <a:lnTo>
                  <a:pt x="82" y="44"/>
                </a:lnTo>
                <a:lnTo>
                  <a:pt x="76" y="44"/>
                </a:lnTo>
                <a:lnTo>
                  <a:pt x="76" y="49"/>
                </a:lnTo>
                <a:lnTo>
                  <a:pt x="76" y="55"/>
                </a:lnTo>
                <a:lnTo>
                  <a:pt x="71" y="55"/>
                </a:lnTo>
                <a:lnTo>
                  <a:pt x="71" y="60"/>
                </a:lnTo>
                <a:lnTo>
                  <a:pt x="71" y="66"/>
                </a:lnTo>
                <a:lnTo>
                  <a:pt x="71" y="71"/>
                </a:lnTo>
                <a:lnTo>
                  <a:pt x="76" y="76"/>
                </a:lnTo>
                <a:lnTo>
                  <a:pt x="76" y="82"/>
                </a:lnTo>
                <a:lnTo>
                  <a:pt x="82" y="82"/>
                </a:lnTo>
                <a:lnTo>
                  <a:pt x="87" y="87"/>
                </a:lnTo>
                <a:lnTo>
                  <a:pt x="93" y="93"/>
                </a:lnTo>
                <a:lnTo>
                  <a:pt x="98" y="98"/>
                </a:lnTo>
                <a:lnTo>
                  <a:pt x="103" y="104"/>
                </a:lnTo>
                <a:lnTo>
                  <a:pt x="114" y="109"/>
                </a:lnTo>
                <a:lnTo>
                  <a:pt x="120" y="115"/>
                </a:lnTo>
                <a:lnTo>
                  <a:pt x="125" y="115"/>
                </a:lnTo>
                <a:lnTo>
                  <a:pt x="125" y="120"/>
                </a:lnTo>
                <a:lnTo>
                  <a:pt x="125" y="115"/>
                </a:lnTo>
                <a:lnTo>
                  <a:pt x="125" y="120"/>
                </a:lnTo>
                <a:lnTo>
                  <a:pt x="131" y="120"/>
                </a:lnTo>
                <a:lnTo>
                  <a:pt x="131" y="126"/>
                </a:lnTo>
                <a:lnTo>
                  <a:pt x="136" y="126"/>
                </a:lnTo>
                <a:lnTo>
                  <a:pt x="136" y="131"/>
                </a:lnTo>
                <a:lnTo>
                  <a:pt x="142" y="136"/>
                </a:lnTo>
                <a:lnTo>
                  <a:pt x="142" y="142"/>
                </a:lnTo>
                <a:lnTo>
                  <a:pt x="147" y="147"/>
                </a:lnTo>
                <a:lnTo>
                  <a:pt x="147" y="153"/>
                </a:lnTo>
                <a:lnTo>
                  <a:pt x="153" y="158"/>
                </a:lnTo>
                <a:lnTo>
                  <a:pt x="147" y="158"/>
                </a:lnTo>
                <a:lnTo>
                  <a:pt x="153" y="164"/>
                </a:lnTo>
                <a:lnTo>
                  <a:pt x="153" y="169"/>
                </a:lnTo>
                <a:lnTo>
                  <a:pt x="158" y="175"/>
                </a:lnTo>
                <a:lnTo>
                  <a:pt x="153" y="169"/>
                </a:lnTo>
                <a:lnTo>
                  <a:pt x="153" y="175"/>
                </a:lnTo>
                <a:lnTo>
                  <a:pt x="153" y="180"/>
                </a:lnTo>
                <a:lnTo>
                  <a:pt x="158" y="186"/>
                </a:lnTo>
                <a:lnTo>
                  <a:pt x="153" y="186"/>
                </a:lnTo>
                <a:lnTo>
                  <a:pt x="158" y="186"/>
                </a:lnTo>
                <a:lnTo>
                  <a:pt x="153" y="191"/>
                </a:lnTo>
                <a:lnTo>
                  <a:pt x="147" y="196"/>
                </a:lnTo>
                <a:lnTo>
                  <a:pt x="142" y="202"/>
                </a:lnTo>
                <a:lnTo>
                  <a:pt x="136" y="202"/>
                </a:lnTo>
                <a:lnTo>
                  <a:pt x="131" y="207"/>
                </a:lnTo>
                <a:lnTo>
                  <a:pt x="125" y="207"/>
                </a:lnTo>
                <a:lnTo>
                  <a:pt x="120" y="207"/>
                </a:lnTo>
                <a:lnTo>
                  <a:pt x="120" y="213"/>
                </a:lnTo>
                <a:lnTo>
                  <a:pt x="120" y="218"/>
                </a:lnTo>
                <a:lnTo>
                  <a:pt x="114" y="218"/>
                </a:lnTo>
                <a:lnTo>
                  <a:pt x="114" y="224"/>
                </a:lnTo>
                <a:lnTo>
                  <a:pt x="103" y="229"/>
                </a:lnTo>
                <a:lnTo>
                  <a:pt x="103" y="235"/>
                </a:lnTo>
                <a:lnTo>
                  <a:pt x="98" y="235"/>
                </a:lnTo>
                <a:lnTo>
                  <a:pt x="93" y="235"/>
                </a:lnTo>
                <a:lnTo>
                  <a:pt x="93" y="229"/>
                </a:lnTo>
                <a:lnTo>
                  <a:pt x="93" y="224"/>
                </a:lnTo>
                <a:lnTo>
                  <a:pt x="93" y="218"/>
                </a:lnTo>
                <a:lnTo>
                  <a:pt x="98" y="213"/>
                </a:lnTo>
                <a:lnTo>
                  <a:pt x="93" y="213"/>
                </a:lnTo>
                <a:lnTo>
                  <a:pt x="87" y="213"/>
                </a:lnTo>
                <a:lnTo>
                  <a:pt x="82" y="207"/>
                </a:lnTo>
                <a:lnTo>
                  <a:pt x="87" y="207"/>
                </a:lnTo>
                <a:lnTo>
                  <a:pt x="93" y="207"/>
                </a:lnTo>
                <a:lnTo>
                  <a:pt x="93" y="202"/>
                </a:lnTo>
                <a:lnTo>
                  <a:pt x="93" y="196"/>
                </a:lnTo>
                <a:lnTo>
                  <a:pt x="98" y="202"/>
                </a:lnTo>
                <a:lnTo>
                  <a:pt x="98" y="196"/>
                </a:lnTo>
                <a:lnTo>
                  <a:pt x="103" y="196"/>
                </a:lnTo>
                <a:lnTo>
                  <a:pt x="103" y="202"/>
                </a:lnTo>
                <a:lnTo>
                  <a:pt x="109" y="202"/>
                </a:lnTo>
                <a:lnTo>
                  <a:pt x="109" y="196"/>
                </a:lnTo>
                <a:lnTo>
                  <a:pt x="103" y="191"/>
                </a:lnTo>
                <a:lnTo>
                  <a:pt x="103" y="186"/>
                </a:lnTo>
                <a:lnTo>
                  <a:pt x="109" y="186"/>
                </a:lnTo>
                <a:lnTo>
                  <a:pt x="114" y="186"/>
                </a:lnTo>
                <a:lnTo>
                  <a:pt x="109" y="180"/>
                </a:lnTo>
                <a:lnTo>
                  <a:pt x="114" y="180"/>
                </a:lnTo>
                <a:lnTo>
                  <a:pt x="120" y="180"/>
                </a:lnTo>
                <a:lnTo>
                  <a:pt x="125" y="180"/>
                </a:lnTo>
                <a:lnTo>
                  <a:pt x="125" y="175"/>
                </a:lnTo>
                <a:lnTo>
                  <a:pt x="125" y="169"/>
                </a:lnTo>
                <a:lnTo>
                  <a:pt x="125" y="164"/>
                </a:lnTo>
                <a:lnTo>
                  <a:pt x="125" y="158"/>
                </a:lnTo>
                <a:lnTo>
                  <a:pt x="120" y="153"/>
                </a:lnTo>
                <a:lnTo>
                  <a:pt x="120" y="147"/>
                </a:lnTo>
                <a:lnTo>
                  <a:pt x="120" y="142"/>
                </a:lnTo>
                <a:lnTo>
                  <a:pt x="114" y="136"/>
                </a:lnTo>
                <a:lnTo>
                  <a:pt x="120" y="131"/>
                </a:lnTo>
                <a:lnTo>
                  <a:pt x="114" y="126"/>
                </a:lnTo>
                <a:lnTo>
                  <a:pt x="109" y="120"/>
                </a:lnTo>
                <a:lnTo>
                  <a:pt x="114" y="120"/>
                </a:lnTo>
                <a:lnTo>
                  <a:pt x="114" y="115"/>
                </a:lnTo>
                <a:lnTo>
                  <a:pt x="109" y="120"/>
                </a:lnTo>
                <a:lnTo>
                  <a:pt x="109" y="115"/>
                </a:lnTo>
                <a:lnTo>
                  <a:pt x="103" y="115"/>
                </a:lnTo>
                <a:lnTo>
                  <a:pt x="98" y="109"/>
                </a:lnTo>
                <a:lnTo>
                  <a:pt x="93" y="104"/>
                </a:lnTo>
                <a:lnTo>
                  <a:pt x="87" y="98"/>
                </a:lnTo>
                <a:lnTo>
                  <a:pt x="82" y="93"/>
                </a:lnTo>
                <a:lnTo>
                  <a:pt x="76" y="93"/>
                </a:lnTo>
                <a:lnTo>
                  <a:pt x="76" y="87"/>
                </a:lnTo>
                <a:lnTo>
                  <a:pt x="71" y="82"/>
                </a:lnTo>
                <a:lnTo>
                  <a:pt x="65" y="82"/>
                </a:lnTo>
                <a:lnTo>
                  <a:pt x="65" y="76"/>
                </a:lnTo>
                <a:lnTo>
                  <a:pt x="60" y="76"/>
                </a:lnTo>
                <a:lnTo>
                  <a:pt x="54" y="71"/>
                </a:lnTo>
                <a:lnTo>
                  <a:pt x="49" y="71"/>
                </a:lnTo>
                <a:lnTo>
                  <a:pt x="43" y="66"/>
                </a:lnTo>
                <a:lnTo>
                  <a:pt x="43" y="60"/>
                </a:lnTo>
                <a:lnTo>
                  <a:pt x="49" y="60"/>
                </a:lnTo>
                <a:lnTo>
                  <a:pt x="54" y="60"/>
                </a:lnTo>
                <a:lnTo>
                  <a:pt x="54" y="55"/>
                </a:lnTo>
                <a:lnTo>
                  <a:pt x="49" y="49"/>
                </a:lnTo>
                <a:lnTo>
                  <a:pt x="43" y="49"/>
                </a:lnTo>
                <a:lnTo>
                  <a:pt x="49" y="44"/>
                </a:lnTo>
                <a:lnTo>
                  <a:pt x="43" y="44"/>
                </a:lnTo>
                <a:lnTo>
                  <a:pt x="43" y="38"/>
                </a:lnTo>
                <a:lnTo>
                  <a:pt x="38" y="38"/>
                </a:lnTo>
                <a:lnTo>
                  <a:pt x="33" y="44"/>
                </a:lnTo>
                <a:lnTo>
                  <a:pt x="27" y="44"/>
                </a:lnTo>
                <a:lnTo>
                  <a:pt x="22" y="44"/>
                </a:lnTo>
                <a:lnTo>
                  <a:pt x="22" y="38"/>
                </a:lnTo>
                <a:lnTo>
                  <a:pt x="16" y="33"/>
                </a:lnTo>
                <a:lnTo>
                  <a:pt x="16" y="27"/>
                </a:lnTo>
                <a:lnTo>
                  <a:pt x="11" y="27"/>
                </a:lnTo>
                <a:lnTo>
                  <a:pt x="5" y="22"/>
                </a:lnTo>
                <a:lnTo>
                  <a:pt x="0" y="22"/>
                </a:lnTo>
                <a:lnTo>
                  <a:pt x="0" y="16"/>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2" name="Freeform 346">
            <a:extLst>
              <a:ext uri="{FF2B5EF4-FFF2-40B4-BE49-F238E27FC236}">
                <a16:creationId xmlns:a16="http://schemas.microsoft.com/office/drawing/2014/main" id="{F2F0E1AA-267B-3336-8F7B-80A387B60530}"/>
              </a:ext>
            </a:extLst>
          </p:cNvPr>
          <p:cNvSpPr>
            <a:spLocks/>
          </p:cNvSpPr>
          <p:nvPr/>
        </p:nvSpPr>
        <p:spPr bwMode="auto">
          <a:xfrm>
            <a:off x="4413250" y="2951163"/>
            <a:ext cx="79375" cy="106363"/>
          </a:xfrm>
          <a:custGeom>
            <a:avLst/>
            <a:gdLst>
              <a:gd name="T0" fmla="*/ 0 w 71"/>
              <a:gd name="T1" fmla="*/ 6 h 88"/>
              <a:gd name="T2" fmla="*/ 5 w 71"/>
              <a:gd name="T3" fmla="*/ 0 h 88"/>
              <a:gd name="T4" fmla="*/ 11 w 71"/>
              <a:gd name="T5" fmla="*/ 6 h 88"/>
              <a:gd name="T6" fmla="*/ 11 w 71"/>
              <a:gd name="T7" fmla="*/ 0 h 88"/>
              <a:gd name="T8" fmla="*/ 16 w 71"/>
              <a:gd name="T9" fmla="*/ 6 h 88"/>
              <a:gd name="T10" fmla="*/ 16 w 71"/>
              <a:gd name="T11" fmla="*/ 11 h 88"/>
              <a:gd name="T12" fmla="*/ 21 w 71"/>
              <a:gd name="T13" fmla="*/ 17 h 88"/>
              <a:gd name="T14" fmla="*/ 21 w 71"/>
              <a:gd name="T15" fmla="*/ 11 h 88"/>
              <a:gd name="T16" fmla="*/ 27 w 71"/>
              <a:gd name="T17" fmla="*/ 11 h 88"/>
              <a:gd name="T18" fmla="*/ 32 w 71"/>
              <a:gd name="T19" fmla="*/ 17 h 88"/>
              <a:gd name="T20" fmla="*/ 32 w 71"/>
              <a:gd name="T21" fmla="*/ 11 h 88"/>
              <a:gd name="T22" fmla="*/ 32 w 71"/>
              <a:gd name="T23" fmla="*/ 6 h 88"/>
              <a:gd name="T24" fmla="*/ 38 w 71"/>
              <a:gd name="T25" fmla="*/ 6 h 88"/>
              <a:gd name="T26" fmla="*/ 38 w 71"/>
              <a:gd name="T27" fmla="*/ 11 h 88"/>
              <a:gd name="T28" fmla="*/ 49 w 71"/>
              <a:gd name="T29" fmla="*/ 17 h 88"/>
              <a:gd name="T30" fmla="*/ 49 w 71"/>
              <a:gd name="T31" fmla="*/ 22 h 88"/>
              <a:gd name="T32" fmla="*/ 54 w 71"/>
              <a:gd name="T33" fmla="*/ 22 h 88"/>
              <a:gd name="T34" fmla="*/ 54 w 71"/>
              <a:gd name="T35" fmla="*/ 28 h 88"/>
              <a:gd name="T36" fmla="*/ 60 w 71"/>
              <a:gd name="T37" fmla="*/ 33 h 88"/>
              <a:gd name="T38" fmla="*/ 60 w 71"/>
              <a:gd name="T39" fmla="*/ 39 h 88"/>
              <a:gd name="T40" fmla="*/ 60 w 71"/>
              <a:gd name="T41" fmla="*/ 44 h 88"/>
              <a:gd name="T42" fmla="*/ 54 w 71"/>
              <a:gd name="T43" fmla="*/ 44 h 88"/>
              <a:gd name="T44" fmla="*/ 60 w 71"/>
              <a:gd name="T45" fmla="*/ 49 h 88"/>
              <a:gd name="T46" fmla="*/ 60 w 71"/>
              <a:gd name="T47" fmla="*/ 55 h 88"/>
              <a:gd name="T48" fmla="*/ 60 w 71"/>
              <a:gd name="T49" fmla="*/ 60 h 88"/>
              <a:gd name="T50" fmla="*/ 60 w 71"/>
              <a:gd name="T51" fmla="*/ 66 h 88"/>
              <a:gd name="T52" fmla="*/ 65 w 71"/>
              <a:gd name="T53" fmla="*/ 66 h 88"/>
              <a:gd name="T54" fmla="*/ 65 w 71"/>
              <a:gd name="T55" fmla="*/ 71 h 88"/>
              <a:gd name="T56" fmla="*/ 65 w 71"/>
              <a:gd name="T57" fmla="*/ 77 h 88"/>
              <a:gd name="T58" fmla="*/ 71 w 71"/>
              <a:gd name="T59" fmla="*/ 77 h 88"/>
              <a:gd name="T60" fmla="*/ 71 w 71"/>
              <a:gd name="T61" fmla="*/ 82 h 88"/>
              <a:gd name="T62" fmla="*/ 65 w 71"/>
              <a:gd name="T63" fmla="*/ 82 h 88"/>
              <a:gd name="T64" fmla="*/ 71 w 71"/>
              <a:gd name="T65" fmla="*/ 82 h 88"/>
              <a:gd name="T66" fmla="*/ 65 w 71"/>
              <a:gd name="T67" fmla="*/ 82 h 88"/>
              <a:gd name="T68" fmla="*/ 60 w 71"/>
              <a:gd name="T69" fmla="*/ 88 h 88"/>
              <a:gd name="T70" fmla="*/ 60 w 71"/>
              <a:gd name="T71" fmla="*/ 82 h 88"/>
              <a:gd name="T72" fmla="*/ 54 w 71"/>
              <a:gd name="T73" fmla="*/ 82 h 88"/>
              <a:gd name="T74" fmla="*/ 54 w 71"/>
              <a:gd name="T75" fmla="*/ 77 h 88"/>
              <a:gd name="T76" fmla="*/ 49 w 71"/>
              <a:gd name="T77" fmla="*/ 77 h 88"/>
              <a:gd name="T78" fmla="*/ 43 w 71"/>
              <a:gd name="T79" fmla="*/ 71 h 88"/>
              <a:gd name="T80" fmla="*/ 38 w 71"/>
              <a:gd name="T81" fmla="*/ 71 h 88"/>
              <a:gd name="T82" fmla="*/ 32 w 71"/>
              <a:gd name="T83" fmla="*/ 66 h 88"/>
              <a:gd name="T84" fmla="*/ 27 w 71"/>
              <a:gd name="T85" fmla="*/ 60 h 88"/>
              <a:gd name="T86" fmla="*/ 27 w 71"/>
              <a:gd name="T87" fmla="*/ 55 h 88"/>
              <a:gd name="T88" fmla="*/ 21 w 71"/>
              <a:gd name="T89" fmla="*/ 55 h 88"/>
              <a:gd name="T90" fmla="*/ 21 w 71"/>
              <a:gd name="T91" fmla="*/ 49 h 88"/>
              <a:gd name="T92" fmla="*/ 16 w 71"/>
              <a:gd name="T93" fmla="*/ 44 h 88"/>
              <a:gd name="T94" fmla="*/ 16 w 71"/>
              <a:gd name="T95" fmla="*/ 39 h 88"/>
              <a:gd name="T96" fmla="*/ 11 w 71"/>
              <a:gd name="T97" fmla="*/ 39 h 88"/>
              <a:gd name="T98" fmla="*/ 11 w 71"/>
              <a:gd name="T99" fmla="*/ 33 h 88"/>
              <a:gd name="T100" fmla="*/ 11 w 71"/>
              <a:gd name="T101" fmla="*/ 28 h 88"/>
              <a:gd name="T102" fmla="*/ 11 w 71"/>
              <a:gd name="T103" fmla="*/ 22 h 88"/>
              <a:gd name="T104" fmla="*/ 5 w 71"/>
              <a:gd name="T105" fmla="*/ 17 h 88"/>
              <a:gd name="T106" fmla="*/ 5 w 71"/>
              <a:gd name="T107" fmla="*/ 11 h 88"/>
              <a:gd name="T108" fmla="*/ 0 w 71"/>
              <a:gd name="T109"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 h="88">
                <a:moveTo>
                  <a:pt x="0" y="6"/>
                </a:moveTo>
                <a:lnTo>
                  <a:pt x="5" y="0"/>
                </a:lnTo>
                <a:lnTo>
                  <a:pt x="11" y="6"/>
                </a:lnTo>
                <a:lnTo>
                  <a:pt x="11" y="0"/>
                </a:lnTo>
                <a:lnTo>
                  <a:pt x="16" y="6"/>
                </a:lnTo>
                <a:lnTo>
                  <a:pt x="16" y="11"/>
                </a:lnTo>
                <a:lnTo>
                  <a:pt x="21" y="17"/>
                </a:lnTo>
                <a:lnTo>
                  <a:pt x="21" y="11"/>
                </a:lnTo>
                <a:lnTo>
                  <a:pt x="27" y="11"/>
                </a:lnTo>
                <a:lnTo>
                  <a:pt x="32" y="17"/>
                </a:lnTo>
                <a:lnTo>
                  <a:pt x="32" y="11"/>
                </a:lnTo>
                <a:lnTo>
                  <a:pt x="32" y="6"/>
                </a:lnTo>
                <a:lnTo>
                  <a:pt x="38" y="6"/>
                </a:lnTo>
                <a:lnTo>
                  <a:pt x="38" y="11"/>
                </a:lnTo>
                <a:lnTo>
                  <a:pt x="49" y="17"/>
                </a:lnTo>
                <a:lnTo>
                  <a:pt x="49" y="22"/>
                </a:lnTo>
                <a:lnTo>
                  <a:pt x="54" y="22"/>
                </a:lnTo>
                <a:lnTo>
                  <a:pt x="54" y="28"/>
                </a:lnTo>
                <a:lnTo>
                  <a:pt x="60" y="33"/>
                </a:lnTo>
                <a:lnTo>
                  <a:pt x="60" y="39"/>
                </a:lnTo>
                <a:lnTo>
                  <a:pt x="60" y="44"/>
                </a:lnTo>
                <a:lnTo>
                  <a:pt x="54" y="44"/>
                </a:lnTo>
                <a:lnTo>
                  <a:pt x="60" y="49"/>
                </a:lnTo>
                <a:lnTo>
                  <a:pt x="60" y="55"/>
                </a:lnTo>
                <a:lnTo>
                  <a:pt x="60" y="60"/>
                </a:lnTo>
                <a:lnTo>
                  <a:pt x="60" y="66"/>
                </a:lnTo>
                <a:lnTo>
                  <a:pt x="65" y="66"/>
                </a:lnTo>
                <a:lnTo>
                  <a:pt x="65" y="71"/>
                </a:lnTo>
                <a:lnTo>
                  <a:pt x="65" y="77"/>
                </a:lnTo>
                <a:lnTo>
                  <a:pt x="71" y="77"/>
                </a:lnTo>
                <a:lnTo>
                  <a:pt x="71" y="82"/>
                </a:lnTo>
                <a:lnTo>
                  <a:pt x="65" y="82"/>
                </a:lnTo>
                <a:lnTo>
                  <a:pt x="71" y="82"/>
                </a:lnTo>
                <a:lnTo>
                  <a:pt x="65" y="82"/>
                </a:lnTo>
                <a:lnTo>
                  <a:pt x="60" y="88"/>
                </a:lnTo>
                <a:lnTo>
                  <a:pt x="60" y="82"/>
                </a:lnTo>
                <a:lnTo>
                  <a:pt x="54" y="82"/>
                </a:lnTo>
                <a:lnTo>
                  <a:pt x="54" y="77"/>
                </a:lnTo>
                <a:lnTo>
                  <a:pt x="49" y="77"/>
                </a:lnTo>
                <a:lnTo>
                  <a:pt x="43" y="71"/>
                </a:lnTo>
                <a:lnTo>
                  <a:pt x="38" y="71"/>
                </a:lnTo>
                <a:lnTo>
                  <a:pt x="32" y="66"/>
                </a:lnTo>
                <a:lnTo>
                  <a:pt x="27" y="60"/>
                </a:lnTo>
                <a:lnTo>
                  <a:pt x="27" y="55"/>
                </a:lnTo>
                <a:lnTo>
                  <a:pt x="21" y="55"/>
                </a:lnTo>
                <a:lnTo>
                  <a:pt x="21" y="49"/>
                </a:lnTo>
                <a:lnTo>
                  <a:pt x="16" y="44"/>
                </a:lnTo>
                <a:lnTo>
                  <a:pt x="16" y="39"/>
                </a:lnTo>
                <a:lnTo>
                  <a:pt x="11" y="39"/>
                </a:lnTo>
                <a:lnTo>
                  <a:pt x="11" y="33"/>
                </a:lnTo>
                <a:lnTo>
                  <a:pt x="11" y="28"/>
                </a:lnTo>
                <a:lnTo>
                  <a:pt x="11" y="22"/>
                </a:lnTo>
                <a:lnTo>
                  <a:pt x="5" y="17"/>
                </a:lnTo>
                <a:lnTo>
                  <a:pt x="5" y="11"/>
                </a:lnTo>
                <a:lnTo>
                  <a:pt x="0" y="6"/>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3" name="Freeform 768">
            <a:extLst>
              <a:ext uri="{FF2B5EF4-FFF2-40B4-BE49-F238E27FC236}">
                <a16:creationId xmlns:a16="http://schemas.microsoft.com/office/drawing/2014/main" id="{4BC26AE4-3D90-ABD9-1A10-E727D60DF7A7}"/>
              </a:ext>
            </a:extLst>
          </p:cNvPr>
          <p:cNvSpPr>
            <a:spLocks/>
          </p:cNvSpPr>
          <p:nvPr/>
        </p:nvSpPr>
        <p:spPr bwMode="auto">
          <a:xfrm>
            <a:off x="4591050" y="2944814"/>
            <a:ext cx="165100" cy="119063"/>
          </a:xfrm>
          <a:custGeom>
            <a:avLst/>
            <a:gdLst>
              <a:gd name="T0" fmla="*/ 120 w 147"/>
              <a:gd name="T1" fmla="*/ 44 h 98"/>
              <a:gd name="T2" fmla="*/ 109 w 147"/>
              <a:gd name="T3" fmla="*/ 44 h 98"/>
              <a:gd name="T4" fmla="*/ 103 w 147"/>
              <a:gd name="T5" fmla="*/ 44 h 98"/>
              <a:gd name="T6" fmla="*/ 92 w 147"/>
              <a:gd name="T7" fmla="*/ 44 h 98"/>
              <a:gd name="T8" fmla="*/ 92 w 147"/>
              <a:gd name="T9" fmla="*/ 54 h 98"/>
              <a:gd name="T10" fmla="*/ 87 w 147"/>
              <a:gd name="T11" fmla="*/ 60 h 98"/>
              <a:gd name="T12" fmla="*/ 87 w 147"/>
              <a:gd name="T13" fmla="*/ 71 h 98"/>
              <a:gd name="T14" fmla="*/ 82 w 147"/>
              <a:gd name="T15" fmla="*/ 76 h 98"/>
              <a:gd name="T16" fmla="*/ 76 w 147"/>
              <a:gd name="T17" fmla="*/ 87 h 98"/>
              <a:gd name="T18" fmla="*/ 65 w 147"/>
              <a:gd name="T19" fmla="*/ 87 h 98"/>
              <a:gd name="T20" fmla="*/ 60 w 147"/>
              <a:gd name="T21" fmla="*/ 93 h 98"/>
              <a:gd name="T22" fmla="*/ 54 w 147"/>
              <a:gd name="T23" fmla="*/ 87 h 98"/>
              <a:gd name="T24" fmla="*/ 43 w 147"/>
              <a:gd name="T25" fmla="*/ 87 h 98"/>
              <a:gd name="T26" fmla="*/ 38 w 147"/>
              <a:gd name="T27" fmla="*/ 93 h 98"/>
              <a:gd name="T28" fmla="*/ 32 w 147"/>
              <a:gd name="T29" fmla="*/ 98 h 98"/>
              <a:gd name="T30" fmla="*/ 22 w 147"/>
              <a:gd name="T31" fmla="*/ 93 h 98"/>
              <a:gd name="T32" fmla="*/ 11 w 147"/>
              <a:gd name="T33" fmla="*/ 93 h 98"/>
              <a:gd name="T34" fmla="*/ 5 w 147"/>
              <a:gd name="T35" fmla="*/ 87 h 98"/>
              <a:gd name="T36" fmla="*/ 0 w 147"/>
              <a:gd name="T37" fmla="*/ 82 h 98"/>
              <a:gd name="T38" fmla="*/ 0 w 147"/>
              <a:gd name="T39" fmla="*/ 82 h 98"/>
              <a:gd name="T40" fmla="*/ 11 w 147"/>
              <a:gd name="T41" fmla="*/ 82 h 98"/>
              <a:gd name="T42" fmla="*/ 22 w 147"/>
              <a:gd name="T43" fmla="*/ 87 h 98"/>
              <a:gd name="T44" fmla="*/ 22 w 147"/>
              <a:gd name="T45" fmla="*/ 76 h 98"/>
              <a:gd name="T46" fmla="*/ 27 w 147"/>
              <a:gd name="T47" fmla="*/ 71 h 98"/>
              <a:gd name="T48" fmla="*/ 32 w 147"/>
              <a:gd name="T49" fmla="*/ 65 h 98"/>
              <a:gd name="T50" fmla="*/ 43 w 147"/>
              <a:gd name="T51" fmla="*/ 60 h 98"/>
              <a:gd name="T52" fmla="*/ 54 w 147"/>
              <a:gd name="T53" fmla="*/ 60 h 98"/>
              <a:gd name="T54" fmla="*/ 60 w 147"/>
              <a:gd name="T55" fmla="*/ 49 h 98"/>
              <a:gd name="T56" fmla="*/ 65 w 147"/>
              <a:gd name="T57" fmla="*/ 38 h 98"/>
              <a:gd name="T58" fmla="*/ 71 w 147"/>
              <a:gd name="T59" fmla="*/ 44 h 98"/>
              <a:gd name="T60" fmla="*/ 76 w 147"/>
              <a:gd name="T61" fmla="*/ 49 h 98"/>
              <a:gd name="T62" fmla="*/ 82 w 147"/>
              <a:gd name="T63" fmla="*/ 38 h 98"/>
              <a:gd name="T64" fmla="*/ 82 w 147"/>
              <a:gd name="T65" fmla="*/ 33 h 98"/>
              <a:gd name="T66" fmla="*/ 82 w 147"/>
              <a:gd name="T67" fmla="*/ 44 h 98"/>
              <a:gd name="T68" fmla="*/ 87 w 147"/>
              <a:gd name="T69" fmla="*/ 38 h 98"/>
              <a:gd name="T70" fmla="*/ 87 w 147"/>
              <a:gd name="T71" fmla="*/ 33 h 98"/>
              <a:gd name="T72" fmla="*/ 92 w 147"/>
              <a:gd name="T73" fmla="*/ 27 h 98"/>
              <a:gd name="T74" fmla="*/ 92 w 147"/>
              <a:gd name="T75" fmla="*/ 22 h 98"/>
              <a:gd name="T76" fmla="*/ 98 w 147"/>
              <a:gd name="T77" fmla="*/ 11 h 98"/>
              <a:gd name="T78" fmla="*/ 103 w 147"/>
              <a:gd name="T79" fmla="*/ 0 h 98"/>
              <a:gd name="T80" fmla="*/ 109 w 147"/>
              <a:gd name="T81" fmla="*/ 5 h 98"/>
              <a:gd name="T82" fmla="*/ 114 w 147"/>
              <a:gd name="T83" fmla="*/ 0 h 98"/>
              <a:gd name="T84" fmla="*/ 120 w 147"/>
              <a:gd name="T85" fmla="*/ 5 h 98"/>
              <a:gd name="T86" fmla="*/ 120 w 147"/>
              <a:gd name="T87" fmla="*/ 11 h 98"/>
              <a:gd name="T88" fmla="*/ 125 w 147"/>
              <a:gd name="T89" fmla="*/ 16 h 98"/>
              <a:gd name="T90" fmla="*/ 125 w 147"/>
              <a:gd name="T91" fmla="*/ 22 h 98"/>
              <a:gd name="T92" fmla="*/ 136 w 147"/>
              <a:gd name="T93" fmla="*/ 22 h 98"/>
              <a:gd name="T94" fmla="*/ 142 w 147"/>
              <a:gd name="T95" fmla="*/ 27 h 98"/>
              <a:gd name="T96" fmla="*/ 142 w 147"/>
              <a:gd name="T97" fmla="*/ 33 h 98"/>
              <a:gd name="T98" fmla="*/ 131 w 147"/>
              <a:gd name="T99" fmla="*/ 33 h 98"/>
              <a:gd name="T100" fmla="*/ 136 w 147"/>
              <a:gd name="T101" fmla="*/ 38 h 98"/>
              <a:gd name="T102" fmla="*/ 136 w 147"/>
              <a:gd name="T103" fmla="*/ 44 h 98"/>
              <a:gd name="T104" fmla="*/ 125 w 147"/>
              <a:gd name="T105"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7" h="98">
                <a:moveTo>
                  <a:pt x="125" y="44"/>
                </a:moveTo>
                <a:lnTo>
                  <a:pt x="120" y="44"/>
                </a:lnTo>
                <a:lnTo>
                  <a:pt x="114" y="44"/>
                </a:lnTo>
                <a:lnTo>
                  <a:pt x="109" y="44"/>
                </a:lnTo>
                <a:lnTo>
                  <a:pt x="109" y="38"/>
                </a:lnTo>
                <a:lnTo>
                  <a:pt x="103" y="44"/>
                </a:lnTo>
                <a:lnTo>
                  <a:pt x="98" y="44"/>
                </a:lnTo>
                <a:lnTo>
                  <a:pt x="92" y="44"/>
                </a:lnTo>
                <a:lnTo>
                  <a:pt x="92" y="49"/>
                </a:lnTo>
                <a:lnTo>
                  <a:pt x="92" y="54"/>
                </a:lnTo>
                <a:lnTo>
                  <a:pt x="92" y="60"/>
                </a:lnTo>
                <a:lnTo>
                  <a:pt x="87" y="60"/>
                </a:lnTo>
                <a:lnTo>
                  <a:pt x="87" y="65"/>
                </a:lnTo>
                <a:lnTo>
                  <a:pt x="87" y="71"/>
                </a:lnTo>
                <a:lnTo>
                  <a:pt x="82" y="71"/>
                </a:lnTo>
                <a:lnTo>
                  <a:pt x="82" y="76"/>
                </a:lnTo>
                <a:lnTo>
                  <a:pt x="82" y="82"/>
                </a:lnTo>
                <a:lnTo>
                  <a:pt x="76" y="87"/>
                </a:lnTo>
                <a:lnTo>
                  <a:pt x="71" y="87"/>
                </a:lnTo>
                <a:lnTo>
                  <a:pt x="65" y="87"/>
                </a:lnTo>
                <a:lnTo>
                  <a:pt x="65" y="93"/>
                </a:lnTo>
                <a:lnTo>
                  <a:pt x="60" y="93"/>
                </a:lnTo>
                <a:lnTo>
                  <a:pt x="60" y="87"/>
                </a:lnTo>
                <a:lnTo>
                  <a:pt x="54" y="87"/>
                </a:lnTo>
                <a:lnTo>
                  <a:pt x="49" y="87"/>
                </a:lnTo>
                <a:lnTo>
                  <a:pt x="43" y="87"/>
                </a:lnTo>
                <a:lnTo>
                  <a:pt x="38" y="87"/>
                </a:lnTo>
                <a:lnTo>
                  <a:pt x="38" y="93"/>
                </a:lnTo>
                <a:lnTo>
                  <a:pt x="32" y="93"/>
                </a:lnTo>
                <a:lnTo>
                  <a:pt x="32" y="98"/>
                </a:lnTo>
                <a:lnTo>
                  <a:pt x="27" y="93"/>
                </a:lnTo>
                <a:lnTo>
                  <a:pt x="22" y="93"/>
                </a:lnTo>
                <a:lnTo>
                  <a:pt x="16" y="98"/>
                </a:lnTo>
                <a:lnTo>
                  <a:pt x="11" y="93"/>
                </a:lnTo>
                <a:lnTo>
                  <a:pt x="5" y="93"/>
                </a:lnTo>
                <a:lnTo>
                  <a:pt x="5" y="87"/>
                </a:lnTo>
                <a:lnTo>
                  <a:pt x="0" y="87"/>
                </a:lnTo>
                <a:lnTo>
                  <a:pt x="0" y="82"/>
                </a:lnTo>
                <a:lnTo>
                  <a:pt x="0" y="76"/>
                </a:lnTo>
                <a:lnTo>
                  <a:pt x="0" y="82"/>
                </a:lnTo>
                <a:lnTo>
                  <a:pt x="5" y="82"/>
                </a:lnTo>
                <a:lnTo>
                  <a:pt x="11" y="82"/>
                </a:lnTo>
                <a:lnTo>
                  <a:pt x="16" y="87"/>
                </a:lnTo>
                <a:lnTo>
                  <a:pt x="22" y="87"/>
                </a:lnTo>
                <a:lnTo>
                  <a:pt x="22" y="82"/>
                </a:lnTo>
                <a:lnTo>
                  <a:pt x="22" y="76"/>
                </a:lnTo>
                <a:lnTo>
                  <a:pt x="22" y="71"/>
                </a:lnTo>
                <a:lnTo>
                  <a:pt x="27" y="71"/>
                </a:lnTo>
                <a:lnTo>
                  <a:pt x="27" y="65"/>
                </a:lnTo>
                <a:lnTo>
                  <a:pt x="32" y="65"/>
                </a:lnTo>
                <a:lnTo>
                  <a:pt x="38" y="65"/>
                </a:lnTo>
                <a:lnTo>
                  <a:pt x="43" y="60"/>
                </a:lnTo>
                <a:lnTo>
                  <a:pt x="49" y="60"/>
                </a:lnTo>
                <a:lnTo>
                  <a:pt x="54" y="60"/>
                </a:lnTo>
                <a:lnTo>
                  <a:pt x="54" y="54"/>
                </a:lnTo>
                <a:lnTo>
                  <a:pt x="60" y="49"/>
                </a:lnTo>
                <a:lnTo>
                  <a:pt x="65" y="44"/>
                </a:lnTo>
                <a:lnTo>
                  <a:pt x="65" y="38"/>
                </a:lnTo>
                <a:lnTo>
                  <a:pt x="71" y="38"/>
                </a:lnTo>
                <a:lnTo>
                  <a:pt x="71" y="44"/>
                </a:lnTo>
                <a:lnTo>
                  <a:pt x="76" y="44"/>
                </a:lnTo>
                <a:lnTo>
                  <a:pt x="76" y="49"/>
                </a:lnTo>
                <a:lnTo>
                  <a:pt x="82" y="44"/>
                </a:lnTo>
                <a:lnTo>
                  <a:pt x="82" y="38"/>
                </a:lnTo>
                <a:lnTo>
                  <a:pt x="76" y="38"/>
                </a:lnTo>
                <a:lnTo>
                  <a:pt x="82" y="33"/>
                </a:lnTo>
                <a:lnTo>
                  <a:pt x="82" y="38"/>
                </a:lnTo>
                <a:lnTo>
                  <a:pt x="82" y="44"/>
                </a:lnTo>
                <a:lnTo>
                  <a:pt x="87" y="44"/>
                </a:lnTo>
                <a:lnTo>
                  <a:pt x="87" y="38"/>
                </a:lnTo>
                <a:lnTo>
                  <a:pt x="82" y="33"/>
                </a:lnTo>
                <a:lnTo>
                  <a:pt x="87" y="33"/>
                </a:lnTo>
                <a:lnTo>
                  <a:pt x="92" y="33"/>
                </a:lnTo>
                <a:lnTo>
                  <a:pt x="92" y="27"/>
                </a:lnTo>
                <a:lnTo>
                  <a:pt x="87" y="27"/>
                </a:lnTo>
                <a:lnTo>
                  <a:pt x="92" y="22"/>
                </a:lnTo>
                <a:lnTo>
                  <a:pt x="98" y="16"/>
                </a:lnTo>
                <a:lnTo>
                  <a:pt x="98" y="11"/>
                </a:lnTo>
                <a:lnTo>
                  <a:pt x="103" y="5"/>
                </a:lnTo>
                <a:lnTo>
                  <a:pt x="103" y="0"/>
                </a:lnTo>
                <a:lnTo>
                  <a:pt x="109" y="0"/>
                </a:lnTo>
                <a:lnTo>
                  <a:pt x="109" y="5"/>
                </a:lnTo>
                <a:lnTo>
                  <a:pt x="109" y="0"/>
                </a:lnTo>
                <a:lnTo>
                  <a:pt x="114" y="0"/>
                </a:lnTo>
                <a:lnTo>
                  <a:pt x="114" y="5"/>
                </a:lnTo>
                <a:lnTo>
                  <a:pt x="120" y="5"/>
                </a:lnTo>
                <a:lnTo>
                  <a:pt x="125" y="11"/>
                </a:lnTo>
                <a:lnTo>
                  <a:pt x="120" y="11"/>
                </a:lnTo>
                <a:lnTo>
                  <a:pt x="120" y="16"/>
                </a:lnTo>
                <a:lnTo>
                  <a:pt x="125" y="16"/>
                </a:lnTo>
                <a:lnTo>
                  <a:pt x="131" y="16"/>
                </a:lnTo>
                <a:lnTo>
                  <a:pt x="125" y="22"/>
                </a:lnTo>
                <a:lnTo>
                  <a:pt x="131" y="16"/>
                </a:lnTo>
                <a:lnTo>
                  <a:pt x="136" y="22"/>
                </a:lnTo>
                <a:lnTo>
                  <a:pt x="142" y="22"/>
                </a:lnTo>
                <a:lnTo>
                  <a:pt x="142" y="27"/>
                </a:lnTo>
                <a:lnTo>
                  <a:pt x="147" y="27"/>
                </a:lnTo>
                <a:lnTo>
                  <a:pt x="142" y="33"/>
                </a:lnTo>
                <a:lnTo>
                  <a:pt x="136" y="33"/>
                </a:lnTo>
                <a:lnTo>
                  <a:pt x="131" y="33"/>
                </a:lnTo>
                <a:lnTo>
                  <a:pt x="131" y="38"/>
                </a:lnTo>
                <a:lnTo>
                  <a:pt x="136" y="38"/>
                </a:lnTo>
                <a:lnTo>
                  <a:pt x="142" y="38"/>
                </a:lnTo>
                <a:lnTo>
                  <a:pt x="136" y="44"/>
                </a:lnTo>
                <a:lnTo>
                  <a:pt x="131" y="44"/>
                </a:lnTo>
                <a:lnTo>
                  <a:pt x="125" y="38"/>
                </a:lnTo>
                <a:lnTo>
                  <a:pt x="125" y="44"/>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4" name="Freeform 352">
            <a:extLst>
              <a:ext uri="{FF2B5EF4-FFF2-40B4-BE49-F238E27FC236}">
                <a16:creationId xmlns:a16="http://schemas.microsoft.com/office/drawing/2014/main" id="{D309F5E8-D428-DA67-581E-AC7074DFB5FB}"/>
              </a:ext>
            </a:extLst>
          </p:cNvPr>
          <p:cNvSpPr>
            <a:spLocks/>
          </p:cNvSpPr>
          <p:nvPr/>
        </p:nvSpPr>
        <p:spPr bwMode="auto">
          <a:xfrm>
            <a:off x="4730750" y="2717800"/>
            <a:ext cx="92075" cy="120650"/>
          </a:xfrm>
          <a:custGeom>
            <a:avLst/>
            <a:gdLst>
              <a:gd name="T0" fmla="*/ 0 w 82"/>
              <a:gd name="T1" fmla="*/ 39 h 99"/>
              <a:gd name="T2" fmla="*/ 6 w 82"/>
              <a:gd name="T3" fmla="*/ 39 h 99"/>
              <a:gd name="T4" fmla="*/ 6 w 82"/>
              <a:gd name="T5" fmla="*/ 39 h 99"/>
              <a:gd name="T6" fmla="*/ 6 w 82"/>
              <a:gd name="T7" fmla="*/ 28 h 99"/>
              <a:gd name="T8" fmla="*/ 0 w 82"/>
              <a:gd name="T9" fmla="*/ 17 h 99"/>
              <a:gd name="T10" fmla="*/ 0 w 82"/>
              <a:gd name="T11" fmla="*/ 6 h 99"/>
              <a:gd name="T12" fmla="*/ 6 w 82"/>
              <a:gd name="T13" fmla="*/ 0 h 99"/>
              <a:gd name="T14" fmla="*/ 22 w 82"/>
              <a:gd name="T15" fmla="*/ 6 h 99"/>
              <a:gd name="T16" fmla="*/ 27 w 82"/>
              <a:gd name="T17" fmla="*/ 6 h 99"/>
              <a:gd name="T18" fmla="*/ 27 w 82"/>
              <a:gd name="T19" fmla="*/ 17 h 99"/>
              <a:gd name="T20" fmla="*/ 38 w 82"/>
              <a:gd name="T21" fmla="*/ 28 h 99"/>
              <a:gd name="T22" fmla="*/ 33 w 82"/>
              <a:gd name="T23" fmla="*/ 33 h 99"/>
              <a:gd name="T24" fmla="*/ 33 w 82"/>
              <a:gd name="T25" fmla="*/ 44 h 99"/>
              <a:gd name="T26" fmla="*/ 27 w 82"/>
              <a:gd name="T27" fmla="*/ 44 h 99"/>
              <a:gd name="T28" fmla="*/ 27 w 82"/>
              <a:gd name="T29" fmla="*/ 55 h 99"/>
              <a:gd name="T30" fmla="*/ 33 w 82"/>
              <a:gd name="T31" fmla="*/ 66 h 99"/>
              <a:gd name="T32" fmla="*/ 44 w 82"/>
              <a:gd name="T33" fmla="*/ 77 h 99"/>
              <a:gd name="T34" fmla="*/ 49 w 82"/>
              <a:gd name="T35" fmla="*/ 71 h 99"/>
              <a:gd name="T36" fmla="*/ 60 w 82"/>
              <a:gd name="T37" fmla="*/ 71 h 99"/>
              <a:gd name="T38" fmla="*/ 66 w 82"/>
              <a:gd name="T39" fmla="*/ 77 h 99"/>
              <a:gd name="T40" fmla="*/ 66 w 82"/>
              <a:gd name="T41" fmla="*/ 77 h 99"/>
              <a:gd name="T42" fmla="*/ 77 w 82"/>
              <a:gd name="T43" fmla="*/ 77 h 99"/>
              <a:gd name="T44" fmla="*/ 66 w 82"/>
              <a:gd name="T45" fmla="*/ 82 h 99"/>
              <a:gd name="T46" fmla="*/ 77 w 82"/>
              <a:gd name="T47" fmla="*/ 88 h 99"/>
              <a:gd name="T48" fmla="*/ 82 w 82"/>
              <a:gd name="T49" fmla="*/ 93 h 99"/>
              <a:gd name="T50" fmla="*/ 77 w 82"/>
              <a:gd name="T51" fmla="*/ 93 h 99"/>
              <a:gd name="T52" fmla="*/ 71 w 82"/>
              <a:gd name="T53" fmla="*/ 88 h 99"/>
              <a:gd name="T54" fmla="*/ 66 w 82"/>
              <a:gd name="T55" fmla="*/ 82 h 99"/>
              <a:gd name="T56" fmla="*/ 55 w 82"/>
              <a:gd name="T57" fmla="*/ 82 h 99"/>
              <a:gd name="T58" fmla="*/ 49 w 82"/>
              <a:gd name="T59" fmla="*/ 82 h 99"/>
              <a:gd name="T60" fmla="*/ 55 w 82"/>
              <a:gd name="T61" fmla="*/ 88 h 99"/>
              <a:gd name="T62" fmla="*/ 44 w 82"/>
              <a:gd name="T63" fmla="*/ 77 h 99"/>
              <a:gd name="T64" fmla="*/ 33 w 82"/>
              <a:gd name="T65" fmla="*/ 77 h 99"/>
              <a:gd name="T66" fmla="*/ 27 w 82"/>
              <a:gd name="T67" fmla="*/ 77 h 99"/>
              <a:gd name="T68" fmla="*/ 22 w 82"/>
              <a:gd name="T69" fmla="*/ 71 h 99"/>
              <a:gd name="T70" fmla="*/ 22 w 82"/>
              <a:gd name="T71" fmla="*/ 60 h 99"/>
              <a:gd name="T72" fmla="*/ 17 w 82"/>
              <a:gd name="T73" fmla="*/ 66 h 99"/>
              <a:gd name="T74" fmla="*/ 11 w 82"/>
              <a:gd name="T75" fmla="*/ 60 h 99"/>
              <a:gd name="T76" fmla="*/ 6 w 82"/>
              <a:gd name="T77" fmla="*/ 55 h 99"/>
              <a:gd name="T78" fmla="*/ 0 w 82"/>
              <a:gd name="T79"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 h="99">
                <a:moveTo>
                  <a:pt x="0" y="44"/>
                </a:moveTo>
                <a:lnTo>
                  <a:pt x="0" y="39"/>
                </a:lnTo>
                <a:lnTo>
                  <a:pt x="0" y="33"/>
                </a:lnTo>
                <a:lnTo>
                  <a:pt x="6" y="39"/>
                </a:lnTo>
                <a:lnTo>
                  <a:pt x="6" y="44"/>
                </a:lnTo>
                <a:lnTo>
                  <a:pt x="6" y="39"/>
                </a:lnTo>
                <a:lnTo>
                  <a:pt x="6" y="33"/>
                </a:lnTo>
                <a:lnTo>
                  <a:pt x="6" y="28"/>
                </a:lnTo>
                <a:lnTo>
                  <a:pt x="6" y="22"/>
                </a:lnTo>
                <a:lnTo>
                  <a:pt x="0" y="17"/>
                </a:lnTo>
                <a:lnTo>
                  <a:pt x="0" y="11"/>
                </a:lnTo>
                <a:lnTo>
                  <a:pt x="0" y="6"/>
                </a:lnTo>
                <a:lnTo>
                  <a:pt x="0" y="0"/>
                </a:lnTo>
                <a:lnTo>
                  <a:pt x="6" y="0"/>
                </a:lnTo>
                <a:lnTo>
                  <a:pt x="17" y="6"/>
                </a:lnTo>
                <a:lnTo>
                  <a:pt x="22" y="6"/>
                </a:lnTo>
                <a:lnTo>
                  <a:pt x="22" y="0"/>
                </a:lnTo>
                <a:lnTo>
                  <a:pt x="27" y="6"/>
                </a:lnTo>
                <a:lnTo>
                  <a:pt x="27" y="11"/>
                </a:lnTo>
                <a:lnTo>
                  <a:pt x="27" y="17"/>
                </a:lnTo>
                <a:lnTo>
                  <a:pt x="33" y="22"/>
                </a:lnTo>
                <a:lnTo>
                  <a:pt x="38" y="28"/>
                </a:lnTo>
                <a:lnTo>
                  <a:pt x="38" y="33"/>
                </a:lnTo>
                <a:lnTo>
                  <a:pt x="33" y="33"/>
                </a:lnTo>
                <a:lnTo>
                  <a:pt x="38" y="39"/>
                </a:lnTo>
                <a:lnTo>
                  <a:pt x="33" y="44"/>
                </a:lnTo>
                <a:lnTo>
                  <a:pt x="33" y="39"/>
                </a:lnTo>
                <a:lnTo>
                  <a:pt x="27" y="44"/>
                </a:lnTo>
                <a:lnTo>
                  <a:pt x="27" y="50"/>
                </a:lnTo>
                <a:lnTo>
                  <a:pt x="27" y="55"/>
                </a:lnTo>
                <a:lnTo>
                  <a:pt x="33" y="60"/>
                </a:lnTo>
                <a:lnTo>
                  <a:pt x="33" y="66"/>
                </a:lnTo>
                <a:lnTo>
                  <a:pt x="38" y="71"/>
                </a:lnTo>
                <a:lnTo>
                  <a:pt x="44" y="77"/>
                </a:lnTo>
                <a:lnTo>
                  <a:pt x="44" y="71"/>
                </a:lnTo>
                <a:lnTo>
                  <a:pt x="49" y="71"/>
                </a:lnTo>
                <a:lnTo>
                  <a:pt x="55" y="71"/>
                </a:lnTo>
                <a:lnTo>
                  <a:pt x="60" y="71"/>
                </a:lnTo>
                <a:lnTo>
                  <a:pt x="60" y="77"/>
                </a:lnTo>
                <a:lnTo>
                  <a:pt x="66" y="77"/>
                </a:lnTo>
                <a:lnTo>
                  <a:pt x="60" y="71"/>
                </a:lnTo>
                <a:lnTo>
                  <a:pt x="66" y="77"/>
                </a:lnTo>
                <a:lnTo>
                  <a:pt x="71" y="77"/>
                </a:lnTo>
                <a:lnTo>
                  <a:pt x="77" y="77"/>
                </a:lnTo>
                <a:lnTo>
                  <a:pt x="71" y="77"/>
                </a:lnTo>
                <a:lnTo>
                  <a:pt x="66" y="82"/>
                </a:lnTo>
                <a:lnTo>
                  <a:pt x="71" y="88"/>
                </a:lnTo>
                <a:lnTo>
                  <a:pt x="77" y="88"/>
                </a:lnTo>
                <a:lnTo>
                  <a:pt x="82" y="88"/>
                </a:lnTo>
                <a:lnTo>
                  <a:pt x="82" y="93"/>
                </a:lnTo>
                <a:lnTo>
                  <a:pt x="82" y="99"/>
                </a:lnTo>
                <a:lnTo>
                  <a:pt x="77" y="93"/>
                </a:lnTo>
                <a:lnTo>
                  <a:pt x="71" y="93"/>
                </a:lnTo>
                <a:lnTo>
                  <a:pt x="71" y="88"/>
                </a:lnTo>
                <a:lnTo>
                  <a:pt x="66" y="88"/>
                </a:lnTo>
                <a:lnTo>
                  <a:pt x="66" y="82"/>
                </a:lnTo>
                <a:lnTo>
                  <a:pt x="60" y="82"/>
                </a:lnTo>
                <a:lnTo>
                  <a:pt x="55" y="82"/>
                </a:lnTo>
                <a:lnTo>
                  <a:pt x="49" y="77"/>
                </a:lnTo>
                <a:lnTo>
                  <a:pt x="49" y="82"/>
                </a:lnTo>
                <a:lnTo>
                  <a:pt x="55" y="82"/>
                </a:lnTo>
                <a:lnTo>
                  <a:pt x="55" y="88"/>
                </a:lnTo>
                <a:lnTo>
                  <a:pt x="49" y="82"/>
                </a:lnTo>
                <a:lnTo>
                  <a:pt x="44" y="77"/>
                </a:lnTo>
                <a:lnTo>
                  <a:pt x="38" y="77"/>
                </a:lnTo>
                <a:lnTo>
                  <a:pt x="33" y="77"/>
                </a:lnTo>
                <a:lnTo>
                  <a:pt x="33" y="82"/>
                </a:lnTo>
                <a:lnTo>
                  <a:pt x="27" y="77"/>
                </a:lnTo>
                <a:lnTo>
                  <a:pt x="22" y="77"/>
                </a:lnTo>
                <a:lnTo>
                  <a:pt x="22" y="71"/>
                </a:lnTo>
                <a:lnTo>
                  <a:pt x="22" y="66"/>
                </a:lnTo>
                <a:lnTo>
                  <a:pt x="22" y="60"/>
                </a:lnTo>
                <a:lnTo>
                  <a:pt x="17" y="60"/>
                </a:lnTo>
                <a:lnTo>
                  <a:pt x="17" y="66"/>
                </a:lnTo>
                <a:lnTo>
                  <a:pt x="11" y="66"/>
                </a:lnTo>
                <a:lnTo>
                  <a:pt x="11" y="60"/>
                </a:lnTo>
                <a:lnTo>
                  <a:pt x="6" y="60"/>
                </a:lnTo>
                <a:lnTo>
                  <a:pt x="6" y="55"/>
                </a:lnTo>
                <a:lnTo>
                  <a:pt x="6" y="50"/>
                </a:lnTo>
                <a:lnTo>
                  <a:pt x="0" y="44"/>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5" name="Freeform 781">
            <a:extLst>
              <a:ext uri="{FF2B5EF4-FFF2-40B4-BE49-F238E27FC236}">
                <a16:creationId xmlns:a16="http://schemas.microsoft.com/office/drawing/2014/main" id="{32F72E85-C920-0C43-1BFC-14DDBFD294C6}"/>
              </a:ext>
            </a:extLst>
          </p:cNvPr>
          <p:cNvSpPr>
            <a:spLocks/>
          </p:cNvSpPr>
          <p:nvPr/>
        </p:nvSpPr>
        <p:spPr bwMode="auto">
          <a:xfrm>
            <a:off x="4799013" y="2890838"/>
            <a:ext cx="85725" cy="80963"/>
          </a:xfrm>
          <a:custGeom>
            <a:avLst/>
            <a:gdLst>
              <a:gd name="T0" fmla="*/ 0 w 76"/>
              <a:gd name="T1" fmla="*/ 38 h 66"/>
              <a:gd name="T2" fmla="*/ 6 w 76"/>
              <a:gd name="T3" fmla="*/ 33 h 66"/>
              <a:gd name="T4" fmla="*/ 11 w 76"/>
              <a:gd name="T5" fmla="*/ 28 h 66"/>
              <a:gd name="T6" fmla="*/ 22 w 76"/>
              <a:gd name="T7" fmla="*/ 22 h 66"/>
              <a:gd name="T8" fmla="*/ 27 w 76"/>
              <a:gd name="T9" fmla="*/ 17 h 66"/>
              <a:gd name="T10" fmla="*/ 33 w 76"/>
              <a:gd name="T11" fmla="*/ 28 h 66"/>
              <a:gd name="T12" fmla="*/ 33 w 76"/>
              <a:gd name="T13" fmla="*/ 28 h 66"/>
              <a:gd name="T14" fmla="*/ 38 w 76"/>
              <a:gd name="T15" fmla="*/ 22 h 66"/>
              <a:gd name="T16" fmla="*/ 44 w 76"/>
              <a:gd name="T17" fmla="*/ 22 h 66"/>
              <a:gd name="T18" fmla="*/ 44 w 76"/>
              <a:gd name="T19" fmla="*/ 11 h 66"/>
              <a:gd name="T20" fmla="*/ 49 w 76"/>
              <a:gd name="T21" fmla="*/ 11 h 66"/>
              <a:gd name="T22" fmla="*/ 55 w 76"/>
              <a:gd name="T23" fmla="*/ 6 h 66"/>
              <a:gd name="T24" fmla="*/ 55 w 76"/>
              <a:gd name="T25" fmla="*/ 0 h 66"/>
              <a:gd name="T26" fmla="*/ 66 w 76"/>
              <a:gd name="T27" fmla="*/ 6 h 66"/>
              <a:gd name="T28" fmla="*/ 66 w 76"/>
              <a:gd name="T29" fmla="*/ 17 h 66"/>
              <a:gd name="T30" fmla="*/ 71 w 76"/>
              <a:gd name="T31" fmla="*/ 28 h 66"/>
              <a:gd name="T32" fmla="*/ 76 w 76"/>
              <a:gd name="T33" fmla="*/ 38 h 66"/>
              <a:gd name="T34" fmla="*/ 71 w 76"/>
              <a:gd name="T35" fmla="*/ 44 h 66"/>
              <a:gd name="T36" fmla="*/ 71 w 76"/>
              <a:gd name="T37" fmla="*/ 44 h 66"/>
              <a:gd name="T38" fmla="*/ 71 w 76"/>
              <a:gd name="T39" fmla="*/ 55 h 66"/>
              <a:gd name="T40" fmla="*/ 71 w 76"/>
              <a:gd name="T41" fmla="*/ 44 h 66"/>
              <a:gd name="T42" fmla="*/ 66 w 76"/>
              <a:gd name="T43" fmla="*/ 38 h 66"/>
              <a:gd name="T44" fmla="*/ 60 w 76"/>
              <a:gd name="T45" fmla="*/ 44 h 66"/>
              <a:gd name="T46" fmla="*/ 60 w 76"/>
              <a:gd name="T47" fmla="*/ 55 h 66"/>
              <a:gd name="T48" fmla="*/ 66 w 76"/>
              <a:gd name="T49" fmla="*/ 60 h 66"/>
              <a:gd name="T50" fmla="*/ 55 w 76"/>
              <a:gd name="T51" fmla="*/ 60 h 66"/>
              <a:gd name="T52" fmla="*/ 44 w 76"/>
              <a:gd name="T53" fmla="*/ 60 h 66"/>
              <a:gd name="T54" fmla="*/ 38 w 76"/>
              <a:gd name="T55" fmla="*/ 49 h 66"/>
              <a:gd name="T56" fmla="*/ 38 w 76"/>
              <a:gd name="T57" fmla="*/ 44 h 66"/>
              <a:gd name="T58" fmla="*/ 33 w 76"/>
              <a:gd name="T59" fmla="*/ 33 h 66"/>
              <a:gd name="T60" fmla="*/ 22 w 76"/>
              <a:gd name="T61" fmla="*/ 33 h 66"/>
              <a:gd name="T62" fmla="*/ 22 w 76"/>
              <a:gd name="T63" fmla="*/ 33 h 66"/>
              <a:gd name="T64" fmla="*/ 17 w 76"/>
              <a:gd name="T65" fmla="*/ 33 h 66"/>
              <a:gd name="T66" fmla="*/ 11 w 76"/>
              <a:gd name="T67" fmla="*/ 38 h 66"/>
              <a:gd name="T68" fmla="*/ 6 w 76"/>
              <a:gd name="T69"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66">
                <a:moveTo>
                  <a:pt x="0" y="44"/>
                </a:moveTo>
                <a:lnTo>
                  <a:pt x="0" y="38"/>
                </a:lnTo>
                <a:lnTo>
                  <a:pt x="6" y="38"/>
                </a:lnTo>
                <a:lnTo>
                  <a:pt x="6" y="33"/>
                </a:lnTo>
                <a:lnTo>
                  <a:pt x="6" y="28"/>
                </a:lnTo>
                <a:lnTo>
                  <a:pt x="11" y="28"/>
                </a:lnTo>
                <a:lnTo>
                  <a:pt x="17" y="22"/>
                </a:lnTo>
                <a:lnTo>
                  <a:pt x="22" y="22"/>
                </a:lnTo>
                <a:lnTo>
                  <a:pt x="22" y="17"/>
                </a:lnTo>
                <a:lnTo>
                  <a:pt x="27" y="17"/>
                </a:lnTo>
                <a:lnTo>
                  <a:pt x="27" y="22"/>
                </a:lnTo>
                <a:lnTo>
                  <a:pt x="33" y="28"/>
                </a:lnTo>
                <a:lnTo>
                  <a:pt x="27" y="28"/>
                </a:lnTo>
                <a:lnTo>
                  <a:pt x="33" y="28"/>
                </a:lnTo>
                <a:lnTo>
                  <a:pt x="33" y="22"/>
                </a:lnTo>
                <a:lnTo>
                  <a:pt x="38" y="22"/>
                </a:lnTo>
                <a:lnTo>
                  <a:pt x="38" y="17"/>
                </a:lnTo>
                <a:lnTo>
                  <a:pt x="44" y="22"/>
                </a:lnTo>
                <a:lnTo>
                  <a:pt x="44" y="17"/>
                </a:lnTo>
                <a:lnTo>
                  <a:pt x="44" y="11"/>
                </a:lnTo>
                <a:lnTo>
                  <a:pt x="49" y="17"/>
                </a:lnTo>
                <a:lnTo>
                  <a:pt x="49" y="11"/>
                </a:lnTo>
                <a:lnTo>
                  <a:pt x="55" y="11"/>
                </a:lnTo>
                <a:lnTo>
                  <a:pt x="55" y="6"/>
                </a:lnTo>
                <a:lnTo>
                  <a:pt x="49" y="0"/>
                </a:lnTo>
                <a:lnTo>
                  <a:pt x="55" y="0"/>
                </a:lnTo>
                <a:lnTo>
                  <a:pt x="60" y="6"/>
                </a:lnTo>
                <a:lnTo>
                  <a:pt x="66" y="6"/>
                </a:lnTo>
                <a:lnTo>
                  <a:pt x="66" y="11"/>
                </a:lnTo>
                <a:lnTo>
                  <a:pt x="66" y="17"/>
                </a:lnTo>
                <a:lnTo>
                  <a:pt x="71" y="22"/>
                </a:lnTo>
                <a:lnTo>
                  <a:pt x="71" y="28"/>
                </a:lnTo>
                <a:lnTo>
                  <a:pt x="76" y="33"/>
                </a:lnTo>
                <a:lnTo>
                  <a:pt x="76" y="38"/>
                </a:lnTo>
                <a:lnTo>
                  <a:pt x="76" y="44"/>
                </a:lnTo>
                <a:lnTo>
                  <a:pt x="71" y="44"/>
                </a:lnTo>
                <a:lnTo>
                  <a:pt x="71" y="49"/>
                </a:lnTo>
                <a:lnTo>
                  <a:pt x="71" y="44"/>
                </a:lnTo>
                <a:lnTo>
                  <a:pt x="71" y="49"/>
                </a:lnTo>
                <a:lnTo>
                  <a:pt x="71" y="55"/>
                </a:lnTo>
                <a:lnTo>
                  <a:pt x="71" y="49"/>
                </a:lnTo>
                <a:lnTo>
                  <a:pt x="71" y="44"/>
                </a:lnTo>
                <a:lnTo>
                  <a:pt x="66" y="44"/>
                </a:lnTo>
                <a:lnTo>
                  <a:pt x="66" y="38"/>
                </a:lnTo>
                <a:lnTo>
                  <a:pt x="60" y="38"/>
                </a:lnTo>
                <a:lnTo>
                  <a:pt x="60" y="44"/>
                </a:lnTo>
                <a:lnTo>
                  <a:pt x="60" y="49"/>
                </a:lnTo>
                <a:lnTo>
                  <a:pt x="60" y="55"/>
                </a:lnTo>
                <a:lnTo>
                  <a:pt x="66" y="55"/>
                </a:lnTo>
                <a:lnTo>
                  <a:pt x="66" y="60"/>
                </a:lnTo>
                <a:lnTo>
                  <a:pt x="60" y="66"/>
                </a:lnTo>
                <a:lnTo>
                  <a:pt x="55" y="60"/>
                </a:lnTo>
                <a:lnTo>
                  <a:pt x="49" y="60"/>
                </a:lnTo>
                <a:lnTo>
                  <a:pt x="44" y="60"/>
                </a:lnTo>
                <a:lnTo>
                  <a:pt x="38" y="55"/>
                </a:lnTo>
                <a:lnTo>
                  <a:pt x="38" y="49"/>
                </a:lnTo>
                <a:lnTo>
                  <a:pt x="33" y="44"/>
                </a:lnTo>
                <a:lnTo>
                  <a:pt x="38" y="44"/>
                </a:lnTo>
                <a:lnTo>
                  <a:pt x="38" y="38"/>
                </a:lnTo>
                <a:lnTo>
                  <a:pt x="33" y="33"/>
                </a:lnTo>
                <a:lnTo>
                  <a:pt x="27" y="33"/>
                </a:lnTo>
                <a:lnTo>
                  <a:pt x="22" y="33"/>
                </a:lnTo>
                <a:lnTo>
                  <a:pt x="27" y="38"/>
                </a:lnTo>
                <a:lnTo>
                  <a:pt x="22" y="33"/>
                </a:lnTo>
                <a:lnTo>
                  <a:pt x="17" y="38"/>
                </a:lnTo>
                <a:lnTo>
                  <a:pt x="17" y="33"/>
                </a:lnTo>
                <a:lnTo>
                  <a:pt x="11" y="33"/>
                </a:lnTo>
                <a:lnTo>
                  <a:pt x="11" y="38"/>
                </a:lnTo>
                <a:lnTo>
                  <a:pt x="6" y="38"/>
                </a:lnTo>
                <a:lnTo>
                  <a:pt x="6" y="44"/>
                </a:lnTo>
                <a:lnTo>
                  <a:pt x="0" y="44"/>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6" name="Freeform 384">
            <a:extLst>
              <a:ext uri="{FF2B5EF4-FFF2-40B4-BE49-F238E27FC236}">
                <a16:creationId xmlns:a16="http://schemas.microsoft.com/office/drawing/2014/main" id="{FFE78325-30D7-D648-B312-A14B352A3CBB}"/>
              </a:ext>
            </a:extLst>
          </p:cNvPr>
          <p:cNvSpPr>
            <a:spLocks/>
          </p:cNvSpPr>
          <p:nvPr/>
        </p:nvSpPr>
        <p:spPr bwMode="auto">
          <a:xfrm>
            <a:off x="5148264" y="3863975"/>
            <a:ext cx="214313" cy="119063"/>
          </a:xfrm>
          <a:custGeom>
            <a:avLst/>
            <a:gdLst>
              <a:gd name="T0" fmla="*/ 5 w 191"/>
              <a:gd name="T1" fmla="*/ 81 h 98"/>
              <a:gd name="T2" fmla="*/ 16 w 191"/>
              <a:gd name="T3" fmla="*/ 81 h 98"/>
              <a:gd name="T4" fmla="*/ 33 w 191"/>
              <a:gd name="T5" fmla="*/ 71 h 98"/>
              <a:gd name="T6" fmla="*/ 38 w 191"/>
              <a:gd name="T7" fmla="*/ 65 h 98"/>
              <a:gd name="T8" fmla="*/ 54 w 191"/>
              <a:gd name="T9" fmla="*/ 60 h 98"/>
              <a:gd name="T10" fmla="*/ 65 w 191"/>
              <a:gd name="T11" fmla="*/ 54 h 98"/>
              <a:gd name="T12" fmla="*/ 93 w 191"/>
              <a:gd name="T13" fmla="*/ 49 h 98"/>
              <a:gd name="T14" fmla="*/ 104 w 191"/>
              <a:gd name="T15" fmla="*/ 43 h 98"/>
              <a:gd name="T16" fmla="*/ 114 w 191"/>
              <a:gd name="T17" fmla="*/ 38 h 98"/>
              <a:gd name="T18" fmla="*/ 125 w 191"/>
              <a:gd name="T19" fmla="*/ 32 h 98"/>
              <a:gd name="T20" fmla="*/ 136 w 191"/>
              <a:gd name="T21" fmla="*/ 21 h 98"/>
              <a:gd name="T22" fmla="*/ 147 w 191"/>
              <a:gd name="T23" fmla="*/ 21 h 98"/>
              <a:gd name="T24" fmla="*/ 158 w 191"/>
              <a:gd name="T25" fmla="*/ 11 h 98"/>
              <a:gd name="T26" fmla="*/ 169 w 191"/>
              <a:gd name="T27" fmla="*/ 5 h 98"/>
              <a:gd name="T28" fmla="*/ 180 w 191"/>
              <a:gd name="T29" fmla="*/ 0 h 98"/>
              <a:gd name="T30" fmla="*/ 169 w 191"/>
              <a:gd name="T31" fmla="*/ 11 h 98"/>
              <a:gd name="T32" fmla="*/ 180 w 191"/>
              <a:gd name="T33" fmla="*/ 11 h 98"/>
              <a:gd name="T34" fmla="*/ 191 w 191"/>
              <a:gd name="T35" fmla="*/ 11 h 98"/>
              <a:gd name="T36" fmla="*/ 180 w 191"/>
              <a:gd name="T37" fmla="*/ 21 h 98"/>
              <a:gd name="T38" fmla="*/ 158 w 191"/>
              <a:gd name="T39" fmla="*/ 32 h 98"/>
              <a:gd name="T40" fmla="*/ 147 w 191"/>
              <a:gd name="T41" fmla="*/ 38 h 98"/>
              <a:gd name="T42" fmla="*/ 136 w 191"/>
              <a:gd name="T43" fmla="*/ 43 h 98"/>
              <a:gd name="T44" fmla="*/ 131 w 191"/>
              <a:gd name="T45" fmla="*/ 54 h 98"/>
              <a:gd name="T46" fmla="*/ 120 w 191"/>
              <a:gd name="T47" fmla="*/ 54 h 98"/>
              <a:gd name="T48" fmla="*/ 98 w 191"/>
              <a:gd name="T49" fmla="*/ 60 h 98"/>
              <a:gd name="T50" fmla="*/ 93 w 191"/>
              <a:gd name="T51" fmla="*/ 65 h 98"/>
              <a:gd name="T52" fmla="*/ 82 w 191"/>
              <a:gd name="T53" fmla="*/ 71 h 98"/>
              <a:gd name="T54" fmla="*/ 71 w 191"/>
              <a:gd name="T55" fmla="*/ 81 h 98"/>
              <a:gd name="T56" fmla="*/ 60 w 191"/>
              <a:gd name="T57" fmla="*/ 87 h 98"/>
              <a:gd name="T58" fmla="*/ 49 w 191"/>
              <a:gd name="T59" fmla="*/ 92 h 98"/>
              <a:gd name="T60" fmla="*/ 38 w 191"/>
              <a:gd name="T61" fmla="*/ 98 h 98"/>
              <a:gd name="T62" fmla="*/ 27 w 191"/>
              <a:gd name="T63" fmla="*/ 98 h 98"/>
              <a:gd name="T64" fmla="*/ 16 w 191"/>
              <a:gd name="T65" fmla="*/ 98 h 98"/>
              <a:gd name="T66" fmla="*/ 16 w 191"/>
              <a:gd name="T67" fmla="*/ 92 h 98"/>
              <a:gd name="T68" fmla="*/ 5 w 191"/>
              <a:gd name="T69" fmla="*/ 92 h 98"/>
              <a:gd name="T70" fmla="*/ 5 w 191"/>
              <a:gd name="T71" fmla="*/ 8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1" h="98">
                <a:moveTo>
                  <a:pt x="5" y="87"/>
                </a:moveTo>
                <a:lnTo>
                  <a:pt x="5" y="81"/>
                </a:lnTo>
                <a:lnTo>
                  <a:pt x="11" y="81"/>
                </a:lnTo>
                <a:lnTo>
                  <a:pt x="16" y="81"/>
                </a:lnTo>
                <a:lnTo>
                  <a:pt x="22" y="76"/>
                </a:lnTo>
                <a:lnTo>
                  <a:pt x="33" y="71"/>
                </a:lnTo>
                <a:lnTo>
                  <a:pt x="38" y="71"/>
                </a:lnTo>
                <a:lnTo>
                  <a:pt x="38" y="65"/>
                </a:lnTo>
                <a:lnTo>
                  <a:pt x="44" y="65"/>
                </a:lnTo>
                <a:lnTo>
                  <a:pt x="54" y="60"/>
                </a:lnTo>
                <a:lnTo>
                  <a:pt x="60" y="54"/>
                </a:lnTo>
                <a:lnTo>
                  <a:pt x="65" y="54"/>
                </a:lnTo>
                <a:lnTo>
                  <a:pt x="82" y="49"/>
                </a:lnTo>
                <a:lnTo>
                  <a:pt x="93" y="49"/>
                </a:lnTo>
                <a:lnTo>
                  <a:pt x="98" y="43"/>
                </a:lnTo>
                <a:lnTo>
                  <a:pt x="104" y="43"/>
                </a:lnTo>
                <a:lnTo>
                  <a:pt x="109" y="38"/>
                </a:lnTo>
                <a:lnTo>
                  <a:pt x="114" y="38"/>
                </a:lnTo>
                <a:lnTo>
                  <a:pt x="120" y="32"/>
                </a:lnTo>
                <a:lnTo>
                  <a:pt x="125" y="32"/>
                </a:lnTo>
                <a:lnTo>
                  <a:pt x="131" y="27"/>
                </a:lnTo>
                <a:lnTo>
                  <a:pt x="136" y="21"/>
                </a:lnTo>
                <a:lnTo>
                  <a:pt x="142" y="21"/>
                </a:lnTo>
                <a:lnTo>
                  <a:pt x="147" y="21"/>
                </a:lnTo>
                <a:lnTo>
                  <a:pt x="153" y="16"/>
                </a:lnTo>
                <a:lnTo>
                  <a:pt x="158" y="11"/>
                </a:lnTo>
                <a:lnTo>
                  <a:pt x="164" y="5"/>
                </a:lnTo>
                <a:lnTo>
                  <a:pt x="169" y="5"/>
                </a:lnTo>
                <a:lnTo>
                  <a:pt x="174" y="0"/>
                </a:lnTo>
                <a:lnTo>
                  <a:pt x="180" y="0"/>
                </a:lnTo>
                <a:lnTo>
                  <a:pt x="174" y="5"/>
                </a:lnTo>
                <a:lnTo>
                  <a:pt x="169" y="11"/>
                </a:lnTo>
                <a:lnTo>
                  <a:pt x="174" y="11"/>
                </a:lnTo>
                <a:lnTo>
                  <a:pt x="180" y="11"/>
                </a:lnTo>
                <a:lnTo>
                  <a:pt x="191" y="5"/>
                </a:lnTo>
                <a:lnTo>
                  <a:pt x="191" y="11"/>
                </a:lnTo>
                <a:lnTo>
                  <a:pt x="180" y="16"/>
                </a:lnTo>
                <a:lnTo>
                  <a:pt x="180" y="21"/>
                </a:lnTo>
                <a:lnTo>
                  <a:pt x="169" y="27"/>
                </a:lnTo>
                <a:lnTo>
                  <a:pt x="158" y="32"/>
                </a:lnTo>
                <a:lnTo>
                  <a:pt x="153" y="32"/>
                </a:lnTo>
                <a:lnTo>
                  <a:pt x="147" y="38"/>
                </a:lnTo>
                <a:lnTo>
                  <a:pt x="142" y="43"/>
                </a:lnTo>
                <a:lnTo>
                  <a:pt x="136" y="43"/>
                </a:lnTo>
                <a:lnTo>
                  <a:pt x="131" y="49"/>
                </a:lnTo>
                <a:lnTo>
                  <a:pt x="131" y="54"/>
                </a:lnTo>
                <a:lnTo>
                  <a:pt x="125" y="54"/>
                </a:lnTo>
                <a:lnTo>
                  <a:pt x="120" y="54"/>
                </a:lnTo>
                <a:lnTo>
                  <a:pt x="109" y="54"/>
                </a:lnTo>
                <a:lnTo>
                  <a:pt x="98" y="60"/>
                </a:lnTo>
                <a:lnTo>
                  <a:pt x="93" y="60"/>
                </a:lnTo>
                <a:lnTo>
                  <a:pt x="93" y="65"/>
                </a:lnTo>
                <a:lnTo>
                  <a:pt x="87" y="71"/>
                </a:lnTo>
                <a:lnTo>
                  <a:pt x="82" y="71"/>
                </a:lnTo>
                <a:lnTo>
                  <a:pt x="76" y="76"/>
                </a:lnTo>
                <a:lnTo>
                  <a:pt x="71" y="81"/>
                </a:lnTo>
                <a:lnTo>
                  <a:pt x="60" y="81"/>
                </a:lnTo>
                <a:lnTo>
                  <a:pt x="60" y="87"/>
                </a:lnTo>
                <a:lnTo>
                  <a:pt x="54" y="87"/>
                </a:lnTo>
                <a:lnTo>
                  <a:pt x="49" y="92"/>
                </a:lnTo>
                <a:lnTo>
                  <a:pt x="44" y="92"/>
                </a:lnTo>
                <a:lnTo>
                  <a:pt x="38" y="98"/>
                </a:lnTo>
                <a:lnTo>
                  <a:pt x="33" y="98"/>
                </a:lnTo>
                <a:lnTo>
                  <a:pt x="27" y="98"/>
                </a:lnTo>
                <a:lnTo>
                  <a:pt x="22" y="98"/>
                </a:lnTo>
                <a:lnTo>
                  <a:pt x="16" y="98"/>
                </a:lnTo>
                <a:lnTo>
                  <a:pt x="22" y="92"/>
                </a:lnTo>
                <a:lnTo>
                  <a:pt x="16" y="92"/>
                </a:lnTo>
                <a:lnTo>
                  <a:pt x="11" y="92"/>
                </a:lnTo>
                <a:lnTo>
                  <a:pt x="5" y="92"/>
                </a:lnTo>
                <a:lnTo>
                  <a:pt x="0" y="92"/>
                </a:lnTo>
                <a:lnTo>
                  <a:pt x="5" y="87"/>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7" name="Freeform 800">
            <a:extLst>
              <a:ext uri="{FF2B5EF4-FFF2-40B4-BE49-F238E27FC236}">
                <a16:creationId xmlns:a16="http://schemas.microsoft.com/office/drawing/2014/main" id="{9B06A1D6-1A6D-DECA-FA48-8229ADD7BA9F}"/>
              </a:ext>
            </a:extLst>
          </p:cNvPr>
          <p:cNvSpPr>
            <a:spLocks/>
          </p:cNvSpPr>
          <p:nvPr/>
        </p:nvSpPr>
        <p:spPr bwMode="auto">
          <a:xfrm>
            <a:off x="5362575" y="3743325"/>
            <a:ext cx="122238" cy="139700"/>
          </a:xfrm>
          <a:custGeom>
            <a:avLst/>
            <a:gdLst>
              <a:gd name="T0" fmla="*/ 0 w 109"/>
              <a:gd name="T1" fmla="*/ 110 h 115"/>
              <a:gd name="T2" fmla="*/ 11 w 109"/>
              <a:gd name="T3" fmla="*/ 104 h 115"/>
              <a:gd name="T4" fmla="*/ 22 w 109"/>
              <a:gd name="T5" fmla="*/ 99 h 115"/>
              <a:gd name="T6" fmla="*/ 27 w 109"/>
              <a:gd name="T7" fmla="*/ 88 h 115"/>
              <a:gd name="T8" fmla="*/ 16 w 109"/>
              <a:gd name="T9" fmla="*/ 82 h 115"/>
              <a:gd name="T10" fmla="*/ 22 w 109"/>
              <a:gd name="T11" fmla="*/ 77 h 115"/>
              <a:gd name="T12" fmla="*/ 38 w 109"/>
              <a:gd name="T13" fmla="*/ 71 h 115"/>
              <a:gd name="T14" fmla="*/ 49 w 109"/>
              <a:gd name="T15" fmla="*/ 66 h 115"/>
              <a:gd name="T16" fmla="*/ 54 w 109"/>
              <a:gd name="T17" fmla="*/ 55 h 115"/>
              <a:gd name="T18" fmla="*/ 65 w 109"/>
              <a:gd name="T19" fmla="*/ 44 h 115"/>
              <a:gd name="T20" fmla="*/ 65 w 109"/>
              <a:gd name="T21" fmla="*/ 33 h 115"/>
              <a:gd name="T22" fmla="*/ 71 w 109"/>
              <a:gd name="T23" fmla="*/ 33 h 115"/>
              <a:gd name="T24" fmla="*/ 71 w 109"/>
              <a:gd name="T25" fmla="*/ 22 h 115"/>
              <a:gd name="T26" fmla="*/ 71 w 109"/>
              <a:gd name="T27" fmla="*/ 11 h 115"/>
              <a:gd name="T28" fmla="*/ 76 w 109"/>
              <a:gd name="T29" fmla="*/ 6 h 115"/>
              <a:gd name="T30" fmla="*/ 76 w 109"/>
              <a:gd name="T31" fmla="*/ 6 h 115"/>
              <a:gd name="T32" fmla="*/ 82 w 109"/>
              <a:gd name="T33" fmla="*/ 11 h 115"/>
              <a:gd name="T34" fmla="*/ 82 w 109"/>
              <a:gd name="T35" fmla="*/ 11 h 115"/>
              <a:gd name="T36" fmla="*/ 87 w 109"/>
              <a:gd name="T37" fmla="*/ 17 h 115"/>
              <a:gd name="T38" fmla="*/ 82 w 109"/>
              <a:gd name="T39" fmla="*/ 28 h 115"/>
              <a:gd name="T40" fmla="*/ 76 w 109"/>
              <a:gd name="T41" fmla="*/ 33 h 115"/>
              <a:gd name="T42" fmla="*/ 71 w 109"/>
              <a:gd name="T43" fmla="*/ 39 h 115"/>
              <a:gd name="T44" fmla="*/ 76 w 109"/>
              <a:gd name="T45" fmla="*/ 44 h 115"/>
              <a:gd name="T46" fmla="*/ 76 w 109"/>
              <a:gd name="T47" fmla="*/ 50 h 115"/>
              <a:gd name="T48" fmla="*/ 82 w 109"/>
              <a:gd name="T49" fmla="*/ 39 h 115"/>
              <a:gd name="T50" fmla="*/ 82 w 109"/>
              <a:gd name="T51" fmla="*/ 39 h 115"/>
              <a:gd name="T52" fmla="*/ 82 w 109"/>
              <a:gd name="T53" fmla="*/ 39 h 115"/>
              <a:gd name="T54" fmla="*/ 82 w 109"/>
              <a:gd name="T55" fmla="*/ 50 h 115"/>
              <a:gd name="T56" fmla="*/ 76 w 109"/>
              <a:gd name="T57" fmla="*/ 55 h 115"/>
              <a:gd name="T58" fmla="*/ 87 w 109"/>
              <a:gd name="T59" fmla="*/ 60 h 115"/>
              <a:gd name="T60" fmla="*/ 98 w 109"/>
              <a:gd name="T61" fmla="*/ 55 h 115"/>
              <a:gd name="T62" fmla="*/ 109 w 109"/>
              <a:gd name="T63" fmla="*/ 55 h 115"/>
              <a:gd name="T64" fmla="*/ 98 w 109"/>
              <a:gd name="T65" fmla="*/ 66 h 115"/>
              <a:gd name="T66" fmla="*/ 87 w 109"/>
              <a:gd name="T67" fmla="*/ 71 h 115"/>
              <a:gd name="T68" fmla="*/ 76 w 109"/>
              <a:gd name="T69" fmla="*/ 82 h 115"/>
              <a:gd name="T70" fmla="*/ 76 w 109"/>
              <a:gd name="T71" fmla="*/ 77 h 115"/>
              <a:gd name="T72" fmla="*/ 60 w 109"/>
              <a:gd name="T73" fmla="*/ 82 h 115"/>
              <a:gd name="T74" fmla="*/ 54 w 109"/>
              <a:gd name="T75" fmla="*/ 88 h 115"/>
              <a:gd name="T76" fmla="*/ 43 w 109"/>
              <a:gd name="T77" fmla="*/ 99 h 115"/>
              <a:gd name="T78" fmla="*/ 32 w 109"/>
              <a:gd name="T79" fmla="*/ 104 h 115"/>
              <a:gd name="T80" fmla="*/ 5 w 109"/>
              <a:gd name="T81" fmla="*/ 115 h 115"/>
              <a:gd name="T82" fmla="*/ 5 w 109"/>
              <a:gd name="T83" fmla="*/ 11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9" h="115">
                <a:moveTo>
                  <a:pt x="0" y="115"/>
                </a:moveTo>
                <a:lnTo>
                  <a:pt x="0" y="110"/>
                </a:lnTo>
                <a:lnTo>
                  <a:pt x="11" y="110"/>
                </a:lnTo>
                <a:lnTo>
                  <a:pt x="11" y="104"/>
                </a:lnTo>
                <a:lnTo>
                  <a:pt x="16" y="104"/>
                </a:lnTo>
                <a:lnTo>
                  <a:pt x="22" y="99"/>
                </a:lnTo>
                <a:lnTo>
                  <a:pt x="27" y="93"/>
                </a:lnTo>
                <a:lnTo>
                  <a:pt x="27" y="88"/>
                </a:lnTo>
                <a:lnTo>
                  <a:pt x="22" y="88"/>
                </a:lnTo>
                <a:lnTo>
                  <a:pt x="16" y="82"/>
                </a:lnTo>
                <a:lnTo>
                  <a:pt x="22" y="82"/>
                </a:lnTo>
                <a:lnTo>
                  <a:pt x="22" y="77"/>
                </a:lnTo>
                <a:lnTo>
                  <a:pt x="32" y="77"/>
                </a:lnTo>
                <a:lnTo>
                  <a:pt x="38" y="71"/>
                </a:lnTo>
                <a:lnTo>
                  <a:pt x="43" y="66"/>
                </a:lnTo>
                <a:lnTo>
                  <a:pt x="49" y="66"/>
                </a:lnTo>
                <a:lnTo>
                  <a:pt x="49" y="60"/>
                </a:lnTo>
                <a:lnTo>
                  <a:pt x="54" y="55"/>
                </a:lnTo>
                <a:lnTo>
                  <a:pt x="60" y="50"/>
                </a:lnTo>
                <a:lnTo>
                  <a:pt x="65" y="44"/>
                </a:lnTo>
                <a:lnTo>
                  <a:pt x="65" y="39"/>
                </a:lnTo>
                <a:lnTo>
                  <a:pt x="65" y="33"/>
                </a:lnTo>
                <a:lnTo>
                  <a:pt x="65" y="39"/>
                </a:lnTo>
                <a:lnTo>
                  <a:pt x="71" y="33"/>
                </a:lnTo>
                <a:lnTo>
                  <a:pt x="65" y="33"/>
                </a:lnTo>
                <a:lnTo>
                  <a:pt x="71" y="22"/>
                </a:lnTo>
                <a:lnTo>
                  <a:pt x="71" y="17"/>
                </a:lnTo>
                <a:lnTo>
                  <a:pt x="71" y="11"/>
                </a:lnTo>
                <a:lnTo>
                  <a:pt x="71" y="6"/>
                </a:lnTo>
                <a:lnTo>
                  <a:pt x="76" y="6"/>
                </a:lnTo>
                <a:lnTo>
                  <a:pt x="82" y="0"/>
                </a:lnTo>
                <a:lnTo>
                  <a:pt x="76" y="6"/>
                </a:lnTo>
                <a:lnTo>
                  <a:pt x="76" y="11"/>
                </a:lnTo>
                <a:lnTo>
                  <a:pt x="82" y="11"/>
                </a:lnTo>
                <a:lnTo>
                  <a:pt x="76" y="11"/>
                </a:lnTo>
                <a:lnTo>
                  <a:pt x="82" y="11"/>
                </a:lnTo>
                <a:lnTo>
                  <a:pt x="82" y="17"/>
                </a:lnTo>
                <a:lnTo>
                  <a:pt x="87" y="17"/>
                </a:lnTo>
                <a:lnTo>
                  <a:pt x="82" y="22"/>
                </a:lnTo>
                <a:lnTo>
                  <a:pt x="82" y="28"/>
                </a:lnTo>
                <a:lnTo>
                  <a:pt x="76" y="28"/>
                </a:lnTo>
                <a:lnTo>
                  <a:pt x="76" y="33"/>
                </a:lnTo>
                <a:lnTo>
                  <a:pt x="76" y="39"/>
                </a:lnTo>
                <a:lnTo>
                  <a:pt x="71" y="39"/>
                </a:lnTo>
                <a:lnTo>
                  <a:pt x="71" y="44"/>
                </a:lnTo>
                <a:lnTo>
                  <a:pt x="76" y="44"/>
                </a:lnTo>
                <a:lnTo>
                  <a:pt x="71" y="50"/>
                </a:lnTo>
                <a:lnTo>
                  <a:pt x="76" y="50"/>
                </a:lnTo>
                <a:lnTo>
                  <a:pt x="76" y="44"/>
                </a:lnTo>
                <a:lnTo>
                  <a:pt x="82" y="39"/>
                </a:lnTo>
                <a:lnTo>
                  <a:pt x="82" y="33"/>
                </a:lnTo>
                <a:lnTo>
                  <a:pt x="82" y="39"/>
                </a:lnTo>
                <a:lnTo>
                  <a:pt x="87" y="39"/>
                </a:lnTo>
                <a:lnTo>
                  <a:pt x="82" y="39"/>
                </a:lnTo>
                <a:lnTo>
                  <a:pt x="82" y="44"/>
                </a:lnTo>
                <a:lnTo>
                  <a:pt x="82" y="50"/>
                </a:lnTo>
                <a:lnTo>
                  <a:pt x="76" y="50"/>
                </a:lnTo>
                <a:lnTo>
                  <a:pt x="76" y="55"/>
                </a:lnTo>
                <a:lnTo>
                  <a:pt x="82" y="55"/>
                </a:lnTo>
                <a:lnTo>
                  <a:pt x="87" y="60"/>
                </a:lnTo>
                <a:lnTo>
                  <a:pt x="98" y="60"/>
                </a:lnTo>
                <a:lnTo>
                  <a:pt x="98" y="55"/>
                </a:lnTo>
                <a:lnTo>
                  <a:pt x="103" y="55"/>
                </a:lnTo>
                <a:lnTo>
                  <a:pt x="109" y="55"/>
                </a:lnTo>
                <a:lnTo>
                  <a:pt x="103" y="60"/>
                </a:lnTo>
                <a:lnTo>
                  <a:pt x="98" y="66"/>
                </a:lnTo>
                <a:lnTo>
                  <a:pt x="92" y="66"/>
                </a:lnTo>
                <a:lnTo>
                  <a:pt x="87" y="71"/>
                </a:lnTo>
                <a:lnTo>
                  <a:pt x="82" y="77"/>
                </a:lnTo>
                <a:lnTo>
                  <a:pt x="76" y="82"/>
                </a:lnTo>
                <a:lnTo>
                  <a:pt x="82" y="77"/>
                </a:lnTo>
                <a:lnTo>
                  <a:pt x="76" y="77"/>
                </a:lnTo>
                <a:lnTo>
                  <a:pt x="65" y="77"/>
                </a:lnTo>
                <a:lnTo>
                  <a:pt x="60" y="82"/>
                </a:lnTo>
                <a:lnTo>
                  <a:pt x="60" y="88"/>
                </a:lnTo>
                <a:lnTo>
                  <a:pt x="54" y="88"/>
                </a:lnTo>
                <a:lnTo>
                  <a:pt x="49" y="93"/>
                </a:lnTo>
                <a:lnTo>
                  <a:pt x="43" y="99"/>
                </a:lnTo>
                <a:lnTo>
                  <a:pt x="38" y="99"/>
                </a:lnTo>
                <a:lnTo>
                  <a:pt x="32" y="104"/>
                </a:lnTo>
                <a:lnTo>
                  <a:pt x="16" y="110"/>
                </a:lnTo>
                <a:lnTo>
                  <a:pt x="5" y="115"/>
                </a:lnTo>
                <a:lnTo>
                  <a:pt x="0" y="115"/>
                </a:lnTo>
                <a:lnTo>
                  <a:pt x="5" y="110"/>
                </a:lnTo>
                <a:lnTo>
                  <a:pt x="0" y="115"/>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8" name="Freeform 388">
            <a:extLst>
              <a:ext uri="{FF2B5EF4-FFF2-40B4-BE49-F238E27FC236}">
                <a16:creationId xmlns:a16="http://schemas.microsoft.com/office/drawing/2014/main" id="{5162A549-9ABF-C9E5-5188-D9FDB01B4EFD}"/>
              </a:ext>
            </a:extLst>
          </p:cNvPr>
          <p:cNvSpPr>
            <a:spLocks/>
          </p:cNvSpPr>
          <p:nvPr/>
        </p:nvSpPr>
        <p:spPr bwMode="auto">
          <a:xfrm>
            <a:off x="4511675" y="3284538"/>
            <a:ext cx="722313" cy="552450"/>
          </a:xfrm>
          <a:custGeom>
            <a:avLst/>
            <a:gdLst>
              <a:gd name="T0" fmla="*/ 38 w 643"/>
              <a:gd name="T1" fmla="*/ 256 h 453"/>
              <a:gd name="T2" fmla="*/ 49 w 643"/>
              <a:gd name="T3" fmla="*/ 251 h 453"/>
              <a:gd name="T4" fmla="*/ 54 w 643"/>
              <a:gd name="T5" fmla="*/ 213 h 453"/>
              <a:gd name="T6" fmla="*/ 82 w 643"/>
              <a:gd name="T7" fmla="*/ 186 h 453"/>
              <a:gd name="T8" fmla="*/ 125 w 643"/>
              <a:gd name="T9" fmla="*/ 158 h 453"/>
              <a:gd name="T10" fmla="*/ 158 w 643"/>
              <a:gd name="T11" fmla="*/ 153 h 453"/>
              <a:gd name="T12" fmla="*/ 207 w 643"/>
              <a:gd name="T13" fmla="*/ 136 h 453"/>
              <a:gd name="T14" fmla="*/ 234 w 643"/>
              <a:gd name="T15" fmla="*/ 104 h 453"/>
              <a:gd name="T16" fmla="*/ 256 w 643"/>
              <a:gd name="T17" fmla="*/ 98 h 453"/>
              <a:gd name="T18" fmla="*/ 267 w 643"/>
              <a:gd name="T19" fmla="*/ 87 h 453"/>
              <a:gd name="T20" fmla="*/ 289 w 643"/>
              <a:gd name="T21" fmla="*/ 66 h 453"/>
              <a:gd name="T22" fmla="*/ 305 w 643"/>
              <a:gd name="T23" fmla="*/ 60 h 453"/>
              <a:gd name="T24" fmla="*/ 327 w 643"/>
              <a:gd name="T25" fmla="*/ 66 h 453"/>
              <a:gd name="T26" fmla="*/ 343 w 643"/>
              <a:gd name="T27" fmla="*/ 71 h 453"/>
              <a:gd name="T28" fmla="*/ 365 w 643"/>
              <a:gd name="T29" fmla="*/ 49 h 453"/>
              <a:gd name="T30" fmla="*/ 392 w 643"/>
              <a:gd name="T31" fmla="*/ 27 h 453"/>
              <a:gd name="T32" fmla="*/ 414 w 643"/>
              <a:gd name="T33" fmla="*/ 16 h 453"/>
              <a:gd name="T34" fmla="*/ 442 w 643"/>
              <a:gd name="T35" fmla="*/ 22 h 453"/>
              <a:gd name="T36" fmla="*/ 463 w 643"/>
              <a:gd name="T37" fmla="*/ 27 h 453"/>
              <a:gd name="T38" fmla="*/ 474 w 643"/>
              <a:gd name="T39" fmla="*/ 38 h 453"/>
              <a:gd name="T40" fmla="*/ 447 w 643"/>
              <a:gd name="T41" fmla="*/ 60 h 453"/>
              <a:gd name="T42" fmla="*/ 463 w 643"/>
              <a:gd name="T43" fmla="*/ 87 h 453"/>
              <a:gd name="T44" fmla="*/ 502 w 643"/>
              <a:gd name="T45" fmla="*/ 115 h 453"/>
              <a:gd name="T46" fmla="*/ 534 w 643"/>
              <a:gd name="T47" fmla="*/ 76 h 453"/>
              <a:gd name="T48" fmla="*/ 556 w 643"/>
              <a:gd name="T49" fmla="*/ 33 h 453"/>
              <a:gd name="T50" fmla="*/ 572 w 643"/>
              <a:gd name="T51" fmla="*/ 6 h 453"/>
              <a:gd name="T52" fmla="*/ 578 w 643"/>
              <a:gd name="T53" fmla="*/ 38 h 453"/>
              <a:gd name="T54" fmla="*/ 594 w 643"/>
              <a:gd name="T55" fmla="*/ 71 h 453"/>
              <a:gd name="T56" fmla="*/ 600 w 643"/>
              <a:gd name="T57" fmla="*/ 98 h 453"/>
              <a:gd name="T58" fmla="*/ 589 w 643"/>
              <a:gd name="T59" fmla="*/ 136 h 453"/>
              <a:gd name="T60" fmla="*/ 616 w 643"/>
              <a:gd name="T61" fmla="*/ 153 h 453"/>
              <a:gd name="T62" fmla="*/ 616 w 643"/>
              <a:gd name="T63" fmla="*/ 180 h 453"/>
              <a:gd name="T64" fmla="*/ 632 w 643"/>
              <a:gd name="T65" fmla="*/ 196 h 453"/>
              <a:gd name="T66" fmla="*/ 638 w 643"/>
              <a:gd name="T67" fmla="*/ 235 h 453"/>
              <a:gd name="T68" fmla="*/ 627 w 643"/>
              <a:gd name="T69" fmla="*/ 273 h 453"/>
              <a:gd name="T70" fmla="*/ 611 w 643"/>
              <a:gd name="T71" fmla="*/ 300 h 453"/>
              <a:gd name="T72" fmla="*/ 572 w 643"/>
              <a:gd name="T73" fmla="*/ 338 h 453"/>
              <a:gd name="T74" fmla="*/ 529 w 643"/>
              <a:gd name="T75" fmla="*/ 366 h 453"/>
              <a:gd name="T76" fmla="*/ 485 w 643"/>
              <a:gd name="T77" fmla="*/ 404 h 453"/>
              <a:gd name="T78" fmla="*/ 452 w 643"/>
              <a:gd name="T79" fmla="*/ 431 h 453"/>
              <a:gd name="T80" fmla="*/ 398 w 643"/>
              <a:gd name="T81" fmla="*/ 453 h 453"/>
              <a:gd name="T82" fmla="*/ 387 w 643"/>
              <a:gd name="T83" fmla="*/ 436 h 453"/>
              <a:gd name="T84" fmla="*/ 354 w 643"/>
              <a:gd name="T85" fmla="*/ 447 h 453"/>
              <a:gd name="T86" fmla="*/ 327 w 643"/>
              <a:gd name="T87" fmla="*/ 431 h 453"/>
              <a:gd name="T88" fmla="*/ 327 w 643"/>
              <a:gd name="T89" fmla="*/ 398 h 453"/>
              <a:gd name="T90" fmla="*/ 316 w 643"/>
              <a:gd name="T91" fmla="*/ 387 h 453"/>
              <a:gd name="T92" fmla="*/ 327 w 643"/>
              <a:gd name="T93" fmla="*/ 371 h 453"/>
              <a:gd name="T94" fmla="*/ 332 w 643"/>
              <a:gd name="T95" fmla="*/ 366 h 453"/>
              <a:gd name="T96" fmla="*/ 294 w 643"/>
              <a:gd name="T97" fmla="*/ 382 h 453"/>
              <a:gd name="T98" fmla="*/ 294 w 643"/>
              <a:gd name="T99" fmla="*/ 360 h 453"/>
              <a:gd name="T100" fmla="*/ 273 w 643"/>
              <a:gd name="T101" fmla="*/ 344 h 453"/>
              <a:gd name="T102" fmla="*/ 191 w 643"/>
              <a:gd name="T103" fmla="*/ 344 h 453"/>
              <a:gd name="T104" fmla="*/ 136 w 643"/>
              <a:gd name="T105" fmla="*/ 360 h 453"/>
              <a:gd name="T106" fmla="*/ 93 w 643"/>
              <a:gd name="T107" fmla="*/ 371 h 453"/>
              <a:gd name="T108" fmla="*/ 38 w 643"/>
              <a:gd name="T109" fmla="*/ 387 h 453"/>
              <a:gd name="T110" fmla="*/ 5 w 643"/>
              <a:gd name="T111" fmla="*/ 387 h 453"/>
              <a:gd name="T112" fmla="*/ 27 w 643"/>
              <a:gd name="T113" fmla="*/ 344 h 453"/>
              <a:gd name="T114" fmla="*/ 38 w 643"/>
              <a:gd name="T115" fmla="*/ 289 h 453"/>
              <a:gd name="T116" fmla="*/ 33 w 643"/>
              <a:gd name="T117" fmla="*/ 246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3" h="453">
                <a:moveTo>
                  <a:pt x="33" y="240"/>
                </a:moveTo>
                <a:lnTo>
                  <a:pt x="38" y="240"/>
                </a:lnTo>
                <a:lnTo>
                  <a:pt x="38" y="246"/>
                </a:lnTo>
                <a:lnTo>
                  <a:pt x="38" y="251"/>
                </a:lnTo>
                <a:lnTo>
                  <a:pt x="38" y="246"/>
                </a:lnTo>
                <a:lnTo>
                  <a:pt x="38" y="251"/>
                </a:lnTo>
                <a:lnTo>
                  <a:pt x="38" y="246"/>
                </a:lnTo>
                <a:lnTo>
                  <a:pt x="38" y="251"/>
                </a:lnTo>
                <a:lnTo>
                  <a:pt x="38" y="256"/>
                </a:lnTo>
                <a:lnTo>
                  <a:pt x="44" y="256"/>
                </a:lnTo>
                <a:lnTo>
                  <a:pt x="44" y="251"/>
                </a:lnTo>
                <a:lnTo>
                  <a:pt x="44" y="246"/>
                </a:lnTo>
                <a:lnTo>
                  <a:pt x="44" y="240"/>
                </a:lnTo>
                <a:lnTo>
                  <a:pt x="44" y="246"/>
                </a:lnTo>
                <a:lnTo>
                  <a:pt x="44" y="251"/>
                </a:lnTo>
                <a:lnTo>
                  <a:pt x="49" y="246"/>
                </a:lnTo>
                <a:lnTo>
                  <a:pt x="44" y="251"/>
                </a:lnTo>
                <a:lnTo>
                  <a:pt x="49" y="251"/>
                </a:lnTo>
                <a:lnTo>
                  <a:pt x="49" y="246"/>
                </a:lnTo>
                <a:lnTo>
                  <a:pt x="54" y="246"/>
                </a:lnTo>
                <a:lnTo>
                  <a:pt x="54" y="240"/>
                </a:lnTo>
                <a:lnTo>
                  <a:pt x="49" y="235"/>
                </a:lnTo>
                <a:lnTo>
                  <a:pt x="49" y="229"/>
                </a:lnTo>
                <a:lnTo>
                  <a:pt x="49" y="224"/>
                </a:lnTo>
                <a:lnTo>
                  <a:pt x="49" y="218"/>
                </a:lnTo>
                <a:lnTo>
                  <a:pt x="54" y="218"/>
                </a:lnTo>
                <a:lnTo>
                  <a:pt x="54" y="213"/>
                </a:lnTo>
                <a:lnTo>
                  <a:pt x="60" y="207"/>
                </a:lnTo>
                <a:lnTo>
                  <a:pt x="65" y="202"/>
                </a:lnTo>
                <a:lnTo>
                  <a:pt x="65" y="196"/>
                </a:lnTo>
                <a:lnTo>
                  <a:pt x="65" y="191"/>
                </a:lnTo>
                <a:lnTo>
                  <a:pt x="76" y="180"/>
                </a:lnTo>
                <a:lnTo>
                  <a:pt x="76" y="186"/>
                </a:lnTo>
                <a:lnTo>
                  <a:pt x="71" y="191"/>
                </a:lnTo>
                <a:lnTo>
                  <a:pt x="76" y="191"/>
                </a:lnTo>
                <a:lnTo>
                  <a:pt x="82" y="186"/>
                </a:lnTo>
                <a:lnTo>
                  <a:pt x="82" y="180"/>
                </a:lnTo>
                <a:lnTo>
                  <a:pt x="87" y="180"/>
                </a:lnTo>
                <a:lnTo>
                  <a:pt x="93" y="175"/>
                </a:lnTo>
                <a:lnTo>
                  <a:pt x="98" y="175"/>
                </a:lnTo>
                <a:lnTo>
                  <a:pt x="103" y="169"/>
                </a:lnTo>
                <a:lnTo>
                  <a:pt x="109" y="169"/>
                </a:lnTo>
                <a:lnTo>
                  <a:pt x="114" y="164"/>
                </a:lnTo>
                <a:lnTo>
                  <a:pt x="120" y="164"/>
                </a:lnTo>
                <a:lnTo>
                  <a:pt x="125" y="158"/>
                </a:lnTo>
                <a:lnTo>
                  <a:pt x="125" y="164"/>
                </a:lnTo>
                <a:lnTo>
                  <a:pt x="131" y="158"/>
                </a:lnTo>
                <a:lnTo>
                  <a:pt x="131" y="164"/>
                </a:lnTo>
                <a:lnTo>
                  <a:pt x="136" y="164"/>
                </a:lnTo>
                <a:lnTo>
                  <a:pt x="142" y="158"/>
                </a:lnTo>
                <a:lnTo>
                  <a:pt x="147" y="158"/>
                </a:lnTo>
                <a:lnTo>
                  <a:pt x="153" y="158"/>
                </a:lnTo>
                <a:lnTo>
                  <a:pt x="153" y="153"/>
                </a:lnTo>
                <a:lnTo>
                  <a:pt x="158" y="153"/>
                </a:lnTo>
                <a:lnTo>
                  <a:pt x="163" y="153"/>
                </a:lnTo>
                <a:lnTo>
                  <a:pt x="163" y="147"/>
                </a:lnTo>
                <a:lnTo>
                  <a:pt x="169" y="153"/>
                </a:lnTo>
                <a:lnTo>
                  <a:pt x="174" y="147"/>
                </a:lnTo>
                <a:lnTo>
                  <a:pt x="180" y="147"/>
                </a:lnTo>
                <a:lnTo>
                  <a:pt x="185" y="147"/>
                </a:lnTo>
                <a:lnTo>
                  <a:pt x="196" y="142"/>
                </a:lnTo>
                <a:lnTo>
                  <a:pt x="202" y="142"/>
                </a:lnTo>
                <a:lnTo>
                  <a:pt x="207" y="136"/>
                </a:lnTo>
                <a:lnTo>
                  <a:pt x="213" y="131"/>
                </a:lnTo>
                <a:lnTo>
                  <a:pt x="213" y="126"/>
                </a:lnTo>
                <a:lnTo>
                  <a:pt x="218" y="126"/>
                </a:lnTo>
                <a:lnTo>
                  <a:pt x="223" y="120"/>
                </a:lnTo>
                <a:lnTo>
                  <a:pt x="223" y="115"/>
                </a:lnTo>
                <a:lnTo>
                  <a:pt x="223" y="109"/>
                </a:lnTo>
                <a:lnTo>
                  <a:pt x="229" y="109"/>
                </a:lnTo>
                <a:lnTo>
                  <a:pt x="229" y="104"/>
                </a:lnTo>
                <a:lnTo>
                  <a:pt x="234" y="104"/>
                </a:lnTo>
                <a:lnTo>
                  <a:pt x="234" y="98"/>
                </a:lnTo>
                <a:lnTo>
                  <a:pt x="240" y="98"/>
                </a:lnTo>
                <a:lnTo>
                  <a:pt x="245" y="93"/>
                </a:lnTo>
                <a:lnTo>
                  <a:pt x="240" y="98"/>
                </a:lnTo>
                <a:lnTo>
                  <a:pt x="245" y="98"/>
                </a:lnTo>
                <a:lnTo>
                  <a:pt x="245" y="104"/>
                </a:lnTo>
                <a:lnTo>
                  <a:pt x="245" y="109"/>
                </a:lnTo>
                <a:lnTo>
                  <a:pt x="251" y="104"/>
                </a:lnTo>
                <a:lnTo>
                  <a:pt x="256" y="98"/>
                </a:lnTo>
                <a:lnTo>
                  <a:pt x="251" y="104"/>
                </a:lnTo>
                <a:lnTo>
                  <a:pt x="251" y="98"/>
                </a:lnTo>
                <a:lnTo>
                  <a:pt x="256" y="93"/>
                </a:lnTo>
                <a:lnTo>
                  <a:pt x="251" y="87"/>
                </a:lnTo>
                <a:lnTo>
                  <a:pt x="256" y="87"/>
                </a:lnTo>
                <a:lnTo>
                  <a:pt x="256" y="93"/>
                </a:lnTo>
                <a:lnTo>
                  <a:pt x="262" y="93"/>
                </a:lnTo>
                <a:lnTo>
                  <a:pt x="267" y="93"/>
                </a:lnTo>
                <a:lnTo>
                  <a:pt x="267" y="87"/>
                </a:lnTo>
                <a:lnTo>
                  <a:pt x="267" y="82"/>
                </a:lnTo>
                <a:lnTo>
                  <a:pt x="273" y="76"/>
                </a:lnTo>
                <a:lnTo>
                  <a:pt x="278" y="76"/>
                </a:lnTo>
                <a:lnTo>
                  <a:pt x="278" y="71"/>
                </a:lnTo>
                <a:lnTo>
                  <a:pt x="283" y="71"/>
                </a:lnTo>
                <a:lnTo>
                  <a:pt x="289" y="71"/>
                </a:lnTo>
                <a:lnTo>
                  <a:pt x="283" y="71"/>
                </a:lnTo>
                <a:lnTo>
                  <a:pt x="283" y="66"/>
                </a:lnTo>
                <a:lnTo>
                  <a:pt x="289" y="66"/>
                </a:lnTo>
                <a:lnTo>
                  <a:pt x="294" y="66"/>
                </a:lnTo>
                <a:lnTo>
                  <a:pt x="294" y="60"/>
                </a:lnTo>
                <a:lnTo>
                  <a:pt x="294" y="66"/>
                </a:lnTo>
                <a:lnTo>
                  <a:pt x="300" y="66"/>
                </a:lnTo>
                <a:lnTo>
                  <a:pt x="300" y="60"/>
                </a:lnTo>
                <a:lnTo>
                  <a:pt x="305" y="60"/>
                </a:lnTo>
                <a:lnTo>
                  <a:pt x="300" y="55"/>
                </a:lnTo>
                <a:lnTo>
                  <a:pt x="305" y="55"/>
                </a:lnTo>
                <a:lnTo>
                  <a:pt x="305" y="60"/>
                </a:lnTo>
                <a:lnTo>
                  <a:pt x="305" y="55"/>
                </a:lnTo>
                <a:lnTo>
                  <a:pt x="311" y="55"/>
                </a:lnTo>
                <a:lnTo>
                  <a:pt x="311" y="60"/>
                </a:lnTo>
                <a:lnTo>
                  <a:pt x="316" y="55"/>
                </a:lnTo>
                <a:lnTo>
                  <a:pt x="316" y="49"/>
                </a:lnTo>
                <a:lnTo>
                  <a:pt x="316" y="55"/>
                </a:lnTo>
                <a:lnTo>
                  <a:pt x="322" y="55"/>
                </a:lnTo>
                <a:lnTo>
                  <a:pt x="327" y="60"/>
                </a:lnTo>
                <a:lnTo>
                  <a:pt x="327" y="66"/>
                </a:lnTo>
                <a:lnTo>
                  <a:pt x="332" y="66"/>
                </a:lnTo>
                <a:lnTo>
                  <a:pt x="332" y="71"/>
                </a:lnTo>
                <a:lnTo>
                  <a:pt x="327" y="71"/>
                </a:lnTo>
                <a:lnTo>
                  <a:pt x="327" y="76"/>
                </a:lnTo>
                <a:lnTo>
                  <a:pt x="332" y="76"/>
                </a:lnTo>
                <a:lnTo>
                  <a:pt x="332" y="71"/>
                </a:lnTo>
                <a:lnTo>
                  <a:pt x="332" y="66"/>
                </a:lnTo>
                <a:lnTo>
                  <a:pt x="338" y="66"/>
                </a:lnTo>
                <a:lnTo>
                  <a:pt x="343" y="71"/>
                </a:lnTo>
                <a:lnTo>
                  <a:pt x="349" y="71"/>
                </a:lnTo>
                <a:lnTo>
                  <a:pt x="354" y="71"/>
                </a:lnTo>
                <a:lnTo>
                  <a:pt x="354" y="66"/>
                </a:lnTo>
                <a:lnTo>
                  <a:pt x="349" y="60"/>
                </a:lnTo>
                <a:lnTo>
                  <a:pt x="354" y="55"/>
                </a:lnTo>
                <a:lnTo>
                  <a:pt x="360" y="55"/>
                </a:lnTo>
                <a:lnTo>
                  <a:pt x="360" y="49"/>
                </a:lnTo>
                <a:lnTo>
                  <a:pt x="365" y="44"/>
                </a:lnTo>
                <a:lnTo>
                  <a:pt x="365" y="49"/>
                </a:lnTo>
                <a:lnTo>
                  <a:pt x="371" y="44"/>
                </a:lnTo>
                <a:lnTo>
                  <a:pt x="371" y="38"/>
                </a:lnTo>
                <a:lnTo>
                  <a:pt x="376" y="33"/>
                </a:lnTo>
                <a:lnTo>
                  <a:pt x="382" y="27"/>
                </a:lnTo>
                <a:lnTo>
                  <a:pt x="382" y="33"/>
                </a:lnTo>
                <a:lnTo>
                  <a:pt x="382" y="27"/>
                </a:lnTo>
                <a:lnTo>
                  <a:pt x="387" y="27"/>
                </a:lnTo>
                <a:lnTo>
                  <a:pt x="392" y="22"/>
                </a:lnTo>
                <a:lnTo>
                  <a:pt x="392" y="27"/>
                </a:lnTo>
                <a:lnTo>
                  <a:pt x="398" y="27"/>
                </a:lnTo>
                <a:lnTo>
                  <a:pt x="403" y="27"/>
                </a:lnTo>
                <a:lnTo>
                  <a:pt x="409" y="27"/>
                </a:lnTo>
                <a:lnTo>
                  <a:pt x="414" y="22"/>
                </a:lnTo>
                <a:lnTo>
                  <a:pt x="414" y="16"/>
                </a:lnTo>
                <a:lnTo>
                  <a:pt x="409" y="16"/>
                </a:lnTo>
                <a:lnTo>
                  <a:pt x="403" y="11"/>
                </a:lnTo>
                <a:lnTo>
                  <a:pt x="409" y="11"/>
                </a:lnTo>
                <a:lnTo>
                  <a:pt x="414" y="16"/>
                </a:lnTo>
                <a:lnTo>
                  <a:pt x="420" y="11"/>
                </a:lnTo>
                <a:lnTo>
                  <a:pt x="420" y="16"/>
                </a:lnTo>
                <a:lnTo>
                  <a:pt x="425" y="16"/>
                </a:lnTo>
                <a:lnTo>
                  <a:pt x="425" y="22"/>
                </a:lnTo>
                <a:lnTo>
                  <a:pt x="431" y="22"/>
                </a:lnTo>
                <a:lnTo>
                  <a:pt x="436" y="16"/>
                </a:lnTo>
                <a:lnTo>
                  <a:pt x="431" y="22"/>
                </a:lnTo>
                <a:lnTo>
                  <a:pt x="436" y="22"/>
                </a:lnTo>
                <a:lnTo>
                  <a:pt x="442" y="22"/>
                </a:lnTo>
                <a:lnTo>
                  <a:pt x="447" y="22"/>
                </a:lnTo>
                <a:lnTo>
                  <a:pt x="447" y="27"/>
                </a:lnTo>
                <a:lnTo>
                  <a:pt x="452" y="27"/>
                </a:lnTo>
                <a:lnTo>
                  <a:pt x="458" y="27"/>
                </a:lnTo>
                <a:lnTo>
                  <a:pt x="463" y="22"/>
                </a:lnTo>
                <a:lnTo>
                  <a:pt x="458" y="27"/>
                </a:lnTo>
                <a:lnTo>
                  <a:pt x="463" y="27"/>
                </a:lnTo>
                <a:lnTo>
                  <a:pt x="469" y="22"/>
                </a:lnTo>
                <a:lnTo>
                  <a:pt x="463" y="27"/>
                </a:lnTo>
                <a:lnTo>
                  <a:pt x="463" y="33"/>
                </a:lnTo>
                <a:lnTo>
                  <a:pt x="469" y="27"/>
                </a:lnTo>
                <a:lnTo>
                  <a:pt x="474" y="22"/>
                </a:lnTo>
                <a:lnTo>
                  <a:pt x="474" y="27"/>
                </a:lnTo>
                <a:lnTo>
                  <a:pt x="480" y="27"/>
                </a:lnTo>
                <a:lnTo>
                  <a:pt x="474" y="33"/>
                </a:lnTo>
                <a:lnTo>
                  <a:pt x="474" y="38"/>
                </a:lnTo>
                <a:lnTo>
                  <a:pt x="469" y="33"/>
                </a:lnTo>
                <a:lnTo>
                  <a:pt x="474" y="38"/>
                </a:lnTo>
                <a:lnTo>
                  <a:pt x="469" y="44"/>
                </a:lnTo>
                <a:lnTo>
                  <a:pt x="469" y="38"/>
                </a:lnTo>
                <a:lnTo>
                  <a:pt x="463" y="44"/>
                </a:lnTo>
                <a:lnTo>
                  <a:pt x="458" y="44"/>
                </a:lnTo>
                <a:lnTo>
                  <a:pt x="458" y="49"/>
                </a:lnTo>
                <a:lnTo>
                  <a:pt x="458" y="55"/>
                </a:lnTo>
                <a:lnTo>
                  <a:pt x="452" y="55"/>
                </a:lnTo>
                <a:lnTo>
                  <a:pt x="452" y="60"/>
                </a:lnTo>
                <a:lnTo>
                  <a:pt x="447" y="60"/>
                </a:lnTo>
                <a:lnTo>
                  <a:pt x="447" y="66"/>
                </a:lnTo>
                <a:lnTo>
                  <a:pt x="442" y="66"/>
                </a:lnTo>
                <a:lnTo>
                  <a:pt x="442" y="71"/>
                </a:lnTo>
                <a:lnTo>
                  <a:pt x="447" y="71"/>
                </a:lnTo>
                <a:lnTo>
                  <a:pt x="452" y="76"/>
                </a:lnTo>
                <a:lnTo>
                  <a:pt x="452" y="82"/>
                </a:lnTo>
                <a:lnTo>
                  <a:pt x="458" y="82"/>
                </a:lnTo>
                <a:lnTo>
                  <a:pt x="458" y="87"/>
                </a:lnTo>
                <a:lnTo>
                  <a:pt x="463" y="87"/>
                </a:lnTo>
                <a:lnTo>
                  <a:pt x="469" y="87"/>
                </a:lnTo>
                <a:lnTo>
                  <a:pt x="474" y="87"/>
                </a:lnTo>
                <a:lnTo>
                  <a:pt x="474" y="93"/>
                </a:lnTo>
                <a:lnTo>
                  <a:pt x="480" y="98"/>
                </a:lnTo>
                <a:lnTo>
                  <a:pt x="485" y="98"/>
                </a:lnTo>
                <a:lnTo>
                  <a:pt x="491" y="104"/>
                </a:lnTo>
                <a:lnTo>
                  <a:pt x="491" y="109"/>
                </a:lnTo>
                <a:lnTo>
                  <a:pt x="496" y="109"/>
                </a:lnTo>
                <a:lnTo>
                  <a:pt x="502" y="115"/>
                </a:lnTo>
                <a:lnTo>
                  <a:pt x="507" y="115"/>
                </a:lnTo>
                <a:lnTo>
                  <a:pt x="512" y="109"/>
                </a:lnTo>
                <a:lnTo>
                  <a:pt x="518" y="109"/>
                </a:lnTo>
                <a:lnTo>
                  <a:pt x="518" y="104"/>
                </a:lnTo>
                <a:lnTo>
                  <a:pt x="523" y="98"/>
                </a:lnTo>
                <a:lnTo>
                  <a:pt x="529" y="93"/>
                </a:lnTo>
                <a:lnTo>
                  <a:pt x="534" y="87"/>
                </a:lnTo>
                <a:lnTo>
                  <a:pt x="534" y="82"/>
                </a:lnTo>
                <a:lnTo>
                  <a:pt x="534" y="76"/>
                </a:lnTo>
                <a:lnTo>
                  <a:pt x="540" y="76"/>
                </a:lnTo>
                <a:lnTo>
                  <a:pt x="540" y="71"/>
                </a:lnTo>
                <a:lnTo>
                  <a:pt x="540" y="60"/>
                </a:lnTo>
                <a:lnTo>
                  <a:pt x="545" y="60"/>
                </a:lnTo>
                <a:lnTo>
                  <a:pt x="545" y="55"/>
                </a:lnTo>
                <a:lnTo>
                  <a:pt x="545" y="49"/>
                </a:lnTo>
                <a:lnTo>
                  <a:pt x="551" y="44"/>
                </a:lnTo>
                <a:lnTo>
                  <a:pt x="551" y="38"/>
                </a:lnTo>
                <a:lnTo>
                  <a:pt x="556" y="33"/>
                </a:lnTo>
                <a:lnTo>
                  <a:pt x="551" y="33"/>
                </a:lnTo>
                <a:lnTo>
                  <a:pt x="556" y="27"/>
                </a:lnTo>
                <a:lnTo>
                  <a:pt x="556" y="22"/>
                </a:lnTo>
                <a:lnTo>
                  <a:pt x="561" y="22"/>
                </a:lnTo>
                <a:lnTo>
                  <a:pt x="561" y="16"/>
                </a:lnTo>
                <a:lnTo>
                  <a:pt x="567" y="11"/>
                </a:lnTo>
                <a:lnTo>
                  <a:pt x="567" y="6"/>
                </a:lnTo>
                <a:lnTo>
                  <a:pt x="572" y="0"/>
                </a:lnTo>
                <a:lnTo>
                  <a:pt x="572" y="6"/>
                </a:lnTo>
                <a:lnTo>
                  <a:pt x="578" y="11"/>
                </a:lnTo>
                <a:lnTo>
                  <a:pt x="572" y="16"/>
                </a:lnTo>
                <a:lnTo>
                  <a:pt x="572" y="22"/>
                </a:lnTo>
                <a:lnTo>
                  <a:pt x="578" y="22"/>
                </a:lnTo>
                <a:lnTo>
                  <a:pt x="578" y="27"/>
                </a:lnTo>
                <a:lnTo>
                  <a:pt x="578" y="33"/>
                </a:lnTo>
                <a:lnTo>
                  <a:pt x="578" y="38"/>
                </a:lnTo>
                <a:lnTo>
                  <a:pt x="583" y="38"/>
                </a:lnTo>
                <a:lnTo>
                  <a:pt x="578" y="38"/>
                </a:lnTo>
                <a:lnTo>
                  <a:pt x="578" y="44"/>
                </a:lnTo>
                <a:lnTo>
                  <a:pt x="578" y="49"/>
                </a:lnTo>
                <a:lnTo>
                  <a:pt x="578" y="55"/>
                </a:lnTo>
                <a:lnTo>
                  <a:pt x="578" y="60"/>
                </a:lnTo>
                <a:lnTo>
                  <a:pt x="583" y="60"/>
                </a:lnTo>
                <a:lnTo>
                  <a:pt x="589" y="60"/>
                </a:lnTo>
                <a:lnTo>
                  <a:pt x="589" y="66"/>
                </a:lnTo>
                <a:lnTo>
                  <a:pt x="594" y="66"/>
                </a:lnTo>
                <a:lnTo>
                  <a:pt x="594" y="71"/>
                </a:lnTo>
                <a:lnTo>
                  <a:pt x="600" y="71"/>
                </a:lnTo>
                <a:lnTo>
                  <a:pt x="600" y="76"/>
                </a:lnTo>
                <a:lnTo>
                  <a:pt x="594" y="76"/>
                </a:lnTo>
                <a:lnTo>
                  <a:pt x="594" y="82"/>
                </a:lnTo>
                <a:lnTo>
                  <a:pt x="594" y="87"/>
                </a:lnTo>
                <a:lnTo>
                  <a:pt x="594" y="93"/>
                </a:lnTo>
                <a:lnTo>
                  <a:pt x="594" y="98"/>
                </a:lnTo>
                <a:lnTo>
                  <a:pt x="594" y="104"/>
                </a:lnTo>
                <a:lnTo>
                  <a:pt x="600" y="98"/>
                </a:lnTo>
                <a:lnTo>
                  <a:pt x="594" y="104"/>
                </a:lnTo>
                <a:lnTo>
                  <a:pt x="594" y="109"/>
                </a:lnTo>
                <a:lnTo>
                  <a:pt x="594" y="115"/>
                </a:lnTo>
                <a:lnTo>
                  <a:pt x="594" y="120"/>
                </a:lnTo>
                <a:lnTo>
                  <a:pt x="589" y="120"/>
                </a:lnTo>
                <a:lnTo>
                  <a:pt x="589" y="126"/>
                </a:lnTo>
                <a:lnTo>
                  <a:pt x="594" y="126"/>
                </a:lnTo>
                <a:lnTo>
                  <a:pt x="589" y="131"/>
                </a:lnTo>
                <a:lnTo>
                  <a:pt x="589" y="136"/>
                </a:lnTo>
                <a:lnTo>
                  <a:pt x="594" y="136"/>
                </a:lnTo>
                <a:lnTo>
                  <a:pt x="594" y="142"/>
                </a:lnTo>
                <a:lnTo>
                  <a:pt x="600" y="136"/>
                </a:lnTo>
                <a:lnTo>
                  <a:pt x="600" y="142"/>
                </a:lnTo>
                <a:lnTo>
                  <a:pt x="605" y="142"/>
                </a:lnTo>
                <a:lnTo>
                  <a:pt x="605" y="147"/>
                </a:lnTo>
                <a:lnTo>
                  <a:pt x="611" y="147"/>
                </a:lnTo>
                <a:lnTo>
                  <a:pt x="611" y="153"/>
                </a:lnTo>
                <a:lnTo>
                  <a:pt x="616" y="153"/>
                </a:lnTo>
                <a:lnTo>
                  <a:pt x="621" y="153"/>
                </a:lnTo>
                <a:lnTo>
                  <a:pt x="621" y="158"/>
                </a:lnTo>
                <a:lnTo>
                  <a:pt x="616" y="158"/>
                </a:lnTo>
                <a:lnTo>
                  <a:pt x="616" y="164"/>
                </a:lnTo>
                <a:lnTo>
                  <a:pt x="621" y="169"/>
                </a:lnTo>
                <a:lnTo>
                  <a:pt x="616" y="169"/>
                </a:lnTo>
                <a:lnTo>
                  <a:pt x="616" y="175"/>
                </a:lnTo>
                <a:lnTo>
                  <a:pt x="621" y="175"/>
                </a:lnTo>
                <a:lnTo>
                  <a:pt x="616" y="180"/>
                </a:lnTo>
                <a:lnTo>
                  <a:pt x="616" y="186"/>
                </a:lnTo>
                <a:lnTo>
                  <a:pt x="621" y="186"/>
                </a:lnTo>
                <a:lnTo>
                  <a:pt x="621" y="191"/>
                </a:lnTo>
                <a:lnTo>
                  <a:pt x="621" y="186"/>
                </a:lnTo>
                <a:lnTo>
                  <a:pt x="627" y="186"/>
                </a:lnTo>
                <a:lnTo>
                  <a:pt x="627" y="191"/>
                </a:lnTo>
                <a:lnTo>
                  <a:pt x="632" y="186"/>
                </a:lnTo>
                <a:lnTo>
                  <a:pt x="632" y="191"/>
                </a:lnTo>
                <a:lnTo>
                  <a:pt x="632" y="196"/>
                </a:lnTo>
                <a:lnTo>
                  <a:pt x="627" y="202"/>
                </a:lnTo>
                <a:lnTo>
                  <a:pt x="627" y="207"/>
                </a:lnTo>
                <a:lnTo>
                  <a:pt x="632" y="207"/>
                </a:lnTo>
                <a:lnTo>
                  <a:pt x="627" y="213"/>
                </a:lnTo>
                <a:lnTo>
                  <a:pt x="632" y="213"/>
                </a:lnTo>
                <a:lnTo>
                  <a:pt x="638" y="218"/>
                </a:lnTo>
                <a:lnTo>
                  <a:pt x="638" y="224"/>
                </a:lnTo>
                <a:lnTo>
                  <a:pt x="638" y="229"/>
                </a:lnTo>
                <a:lnTo>
                  <a:pt x="638" y="235"/>
                </a:lnTo>
                <a:lnTo>
                  <a:pt x="643" y="235"/>
                </a:lnTo>
                <a:lnTo>
                  <a:pt x="638" y="240"/>
                </a:lnTo>
                <a:lnTo>
                  <a:pt x="638" y="246"/>
                </a:lnTo>
                <a:lnTo>
                  <a:pt x="632" y="251"/>
                </a:lnTo>
                <a:lnTo>
                  <a:pt x="632" y="256"/>
                </a:lnTo>
                <a:lnTo>
                  <a:pt x="632" y="262"/>
                </a:lnTo>
                <a:lnTo>
                  <a:pt x="627" y="262"/>
                </a:lnTo>
                <a:lnTo>
                  <a:pt x="627" y="267"/>
                </a:lnTo>
                <a:lnTo>
                  <a:pt x="627" y="273"/>
                </a:lnTo>
                <a:lnTo>
                  <a:pt x="632" y="267"/>
                </a:lnTo>
                <a:lnTo>
                  <a:pt x="627" y="273"/>
                </a:lnTo>
                <a:lnTo>
                  <a:pt x="627" y="278"/>
                </a:lnTo>
                <a:lnTo>
                  <a:pt x="621" y="278"/>
                </a:lnTo>
                <a:lnTo>
                  <a:pt x="621" y="284"/>
                </a:lnTo>
                <a:lnTo>
                  <a:pt x="621" y="289"/>
                </a:lnTo>
                <a:lnTo>
                  <a:pt x="616" y="289"/>
                </a:lnTo>
                <a:lnTo>
                  <a:pt x="611" y="295"/>
                </a:lnTo>
                <a:lnTo>
                  <a:pt x="611" y="300"/>
                </a:lnTo>
                <a:lnTo>
                  <a:pt x="605" y="300"/>
                </a:lnTo>
                <a:lnTo>
                  <a:pt x="605" y="306"/>
                </a:lnTo>
                <a:lnTo>
                  <a:pt x="600" y="306"/>
                </a:lnTo>
                <a:lnTo>
                  <a:pt x="600" y="311"/>
                </a:lnTo>
                <a:lnTo>
                  <a:pt x="594" y="316"/>
                </a:lnTo>
                <a:lnTo>
                  <a:pt x="589" y="322"/>
                </a:lnTo>
                <a:lnTo>
                  <a:pt x="583" y="327"/>
                </a:lnTo>
                <a:lnTo>
                  <a:pt x="578" y="333"/>
                </a:lnTo>
                <a:lnTo>
                  <a:pt x="572" y="338"/>
                </a:lnTo>
                <a:lnTo>
                  <a:pt x="567" y="344"/>
                </a:lnTo>
                <a:lnTo>
                  <a:pt x="561" y="349"/>
                </a:lnTo>
                <a:lnTo>
                  <a:pt x="556" y="349"/>
                </a:lnTo>
                <a:lnTo>
                  <a:pt x="551" y="355"/>
                </a:lnTo>
                <a:lnTo>
                  <a:pt x="545" y="355"/>
                </a:lnTo>
                <a:lnTo>
                  <a:pt x="545" y="360"/>
                </a:lnTo>
                <a:lnTo>
                  <a:pt x="540" y="360"/>
                </a:lnTo>
                <a:lnTo>
                  <a:pt x="534" y="366"/>
                </a:lnTo>
                <a:lnTo>
                  <a:pt x="529" y="366"/>
                </a:lnTo>
                <a:lnTo>
                  <a:pt x="523" y="371"/>
                </a:lnTo>
                <a:lnTo>
                  <a:pt x="518" y="376"/>
                </a:lnTo>
                <a:lnTo>
                  <a:pt x="512" y="382"/>
                </a:lnTo>
                <a:lnTo>
                  <a:pt x="507" y="387"/>
                </a:lnTo>
                <a:lnTo>
                  <a:pt x="507" y="393"/>
                </a:lnTo>
                <a:lnTo>
                  <a:pt x="502" y="393"/>
                </a:lnTo>
                <a:lnTo>
                  <a:pt x="496" y="398"/>
                </a:lnTo>
                <a:lnTo>
                  <a:pt x="491" y="398"/>
                </a:lnTo>
                <a:lnTo>
                  <a:pt x="485" y="404"/>
                </a:lnTo>
                <a:lnTo>
                  <a:pt x="485" y="409"/>
                </a:lnTo>
                <a:lnTo>
                  <a:pt x="480" y="409"/>
                </a:lnTo>
                <a:lnTo>
                  <a:pt x="480" y="415"/>
                </a:lnTo>
                <a:lnTo>
                  <a:pt x="474" y="415"/>
                </a:lnTo>
                <a:lnTo>
                  <a:pt x="469" y="420"/>
                </a:lnTo>
                <a:lnTo>
                  <a:pt x="469" y="426"/>
                </a:lnTo>
                <a:lnTo>
                  <a:pt x="463" y="426"/>
                </a:lnTo>
                <a:lnTo>
                  <a:pt x="463" y="431"/>
                </a:lnTo>
                <a:lnTo>
                  <a:pt x="452" y="431"/>
                </a:lnTo>
                <a:lnTo>
                  <a:pt x="447" y="431"/>
                </a:lnTo>
                <a:lnTo>
                  <a:pt x="442" y="431"/>
                </a:lnTo>
                <a:lnTo>
                  <a:pt x="436" y="436"/>
                </a:lnTo>
                <a:lnTo>
                  <a:pt x="425" y="436"/>
                </a:lnTo>
                <a:lnTo>
                  <a:pt x="420" y="436"/>
                </a:lnTo>
                <a:lnTo>
                  <a:pt x="409" y="447"/>
                </a:lnTo>
                <a:lnTo>
                  <a:pt x="403" y="447"/>
                </a:lnTo>
                <a:lnTo>
                  <a:pt x="398" y="447"/>
                </a:lnTo>
                <a:lnTo>
                  <a:pt x="398" y="453"/>
                </a:lnTo>
                <a:lnTo>
                  <a:pt x="392" y="453"/>
                </a:lnTo>
                <a:lnTo>
                  <a:pt x="392" y="447"/>
                </a:lnTo>
                <a:lnTo>
                  <a:pt x="392" y="453"/>
                </a:lnTo>
                <a:lnTo>
                  <a:pt x="392" y="447"/>
                </a:lnTo>
                <a:lnTo>
                  <a:pt x="387" y="442"/>
                </a:lnTo>
                <a:lnTo>
                  <a:pt x="392" y="442"/>
                </a:lnTo>
                <a:lnTo>
                  <a:pt x="387" y="442"/>
                </a:lnTo>
                <a:lnTo>
                  <a:pt x="382" y="442"/>
                </a:lnTo>
                <a:lnTo>
                  <a:pt x="387" y="436"/>
                </a:lnTo>
                <a:lnTo>
                  <a:pt x="387" y="431"/>
                </a:lnTo>
                <a:lnTo>
                  <a:pt x="387" y="436"/>
                </a:lnTo>
                <a:lnTo>
                  <a:pt x="382" y="436"/>
                </a:lnTo>
                <a:lnTo>
                  <a:pt x="376" y="436"/>
                </a:lnTo>
                <a:lnTo>
                  <a:pt x="382" y="442"/>
                </a:lnTo>
                <a:lnTo>
                  <a:pt x="376" y="442"/>
                </a:lnTo>
                <a:lnTo>
                  <a:pt x="371" y="442"/>
                </a:lnTo>
                <a:lnTo>
                  <a:pt x="365" y="447"/>
                </a:lnTo>
                <a:lnTo>
                  <a:pt x="354" y="447"/>
                </a:lnTo>
                <a:lnTo>
                  <a:pt x="349" y="447"/>
                </a:lnTo>
                <a:lnTo>
                  <a:pt x="349" y="442"/>
                </a:lnTo>
                <a:lnTo>
                  <a:pt x="343" y="442"/>
                </a:lnTo>
                <a:lnTo>
                  <a:pt x="338" y="442"/>
                </a:lnTo>
                <a:lnTo>
                  <a:pt x="332" y="442"/>
                </a:lnTo>
                <a:lnTo>
                  <a:pt x="332" y="436"/>
                </a:lnTo>
                <a:lnTo>
                  <a:pt x="327" y="436"/>
                </a:lnTo>
                <a:lnTo>
                  <a:pt x="322" y="436"/>
                </a:lnTo>
                <a:lnTo>
                  <a:pt x="327" y="431"/>
                </a:lnTo>
                <a:lnTo>
                  <a:pt x="322" y="431"/>
                </a:lnTo>
                <a:lnTo>
                  <a:pt x="327" y="431"/>
                </a:lnTo>
                <a:lnTo>
                  <a:pt x="322" y="426"/>
                </a:lnTo>
                <a:lnTo>
                  <a:pt x="327" y="420"/>
                </a:lnTo>
                <a:lnTo>
                  <a:pt x="332" y="415"/>
                </a:lnTo>
                <a:lnTo>
                  <a:pt x="332" y="409"/>
                </a:lnTo>
                <a:lnTo>
                  <a:pt x="332" y="404"/>
                </a:lnTo>
                <a:lnTo>
                  <a:pt x="332" y="398"/>
                </a:lnTo>
                <a:lnTo>
                  <a:pt x="327" y="398"/>
                </a:lnTo>
                <a:lnTo>
                  <a:pt x="322" y="398"/>
                </a:lnTo>
                <a:lnTo>
                  <a:pt x="316" y="398"/>
                </a:lnTo>
                <a:lnTo>
                  <a:pt x="327" y="393"/>
                </a:lnTo>
                <a:lnTo>
                  <a:pt x="332" y="387"/>
                </a:lnTo>
                <a:lnTo>
                  <a:pt x="332" y="382"/>
                </a:lnTo>
                <a:lnTo>
                  <a:pt x="332" y="376"/>
                </a:lnTo>
                <a:lnTo>
                  <a:pt x="327" y="382"/>
                </a:lnTo>
                <a:lnTo>
                  <a:pt x="322" y="387"/>
                </a:lnTo>
                <a:lnTo>
                  <a:pt x="316" y="387"/>
                </a:lnTo>
                <a:lnTo>
                  <a:pt x="316" y="393"/>
                </a:lnTo>
                <a:lnTo>
                  <a:pt x="311" y="393"/>
                </a:lnTo>
                <a:lnTo>
                  <a:pt x="305" y="393"/>
                </a:lnTo>
                <a:lnTo>
                  <a:pt x="305" y="387"/>
                </a:lnTo>
                <a:lnTo>
                  <a:pt x="311" y="387"/>
                </a:lnTo>
                <a:lnTo>
                  <a:pt x="316" y="387"/>
                </a:lnTo>
                <a:lnTo>
                  <a:pt x="322" y="382"/>
                </a:lnTo>
                <a:lnTo>
                  <a:pt x="322" y="376"/>
                </a:lnTo>
                <a:lnTo>
                  <a:pt x="327" y="371"/>
                </a:lnTo>
                <a:lnTo>
                  <a:pt x="332" y="366"/>
                </a:lnTo>
                <a:lnTo>
                  <a:pt x="338" y="366"/>
                </a:lnTo>
                <a:lnTo>
                  <a:pt x="338" y="360"/>
                </a:lnTo>
                <a:lnTo>
                  <a:pt x="343" y="360"/>
                </a:lnTo>
                <a:lnTo>
                  <a:pt x="343" y="355"/>
                </a:lnTo>
                <a:lnTo>
                  <a:pt x="343" y="349"/>
                </a:lnTo>
                <a:lnTo>
                  <a:pt x="343" y="355"/>
                </a:lnTo>
                <a:lnTo>
                  <a:pt x="332" y="360"/>
                </a:lnTo>
                <a:lnTo>
                  <a:pt x="332" y="366"/>
                </a:lnTo>
                <a:lnTo>
                  <a:pt x="327" y="366"/>
                </a:lnTo>
                <a:lnTo>
                  <a:pt x="322" y="371"/>
                </a:lnTo>
                <a:lnTo>
                  <a:pt x="316" y="371"/>
                </a:lnTo>
                <a:lnTo>
                  <a:pt x="311" y="371"/>
                </a:lnTo>
                <a:lnTo>
                  <a:pt x="305" y="376"/>
                </a:lnTo>
                <a:lnTo>
                  <a:pt x="300" y="376"/>
                </a:lnTo>
                <a:lnTo>
                  <a:pt x="300" y="382"/>
                </a:lnTo>
                <a:lnTo>
                  <a:pt x="294" y="387"/>
                </a:lnTo>
                <a:lnTo>
                  <a:pt x="294" y="382"/>
                </a:lnTo>
                <a:lnTo>
                  <a:pt x="294" y="387"/>
                </a:lnTo>
                <a:lnTo>
                  <a:pt x="289" y="387"/>
                </a:lnTo>
                <a:lnTo>
                  <a:pt x="289" y="382"/>
                </a:lnTo>
                <a:lnTo>
                  <a:pt x="283" y="382"/>
                </a:lnTo>
                <a:lnTo>
                  <a:pt x="289" y="382"/>
                </a:lnTo>
                <a:lnTo>
                  <a:pt x="294" y="376"/>
                </a:lnTo>
                <a:lnTo>
                  <a:pt x="294" y="371"/>
                </a:lnTo>
                <a:lnTo>
                  <a:pt x="294" y="366"/>
                </a:lnTo>
                <a:lnTo>
                  <a:pt x="294" y="360"/>
                </a:lnTo>
                <a:lnTo>
                  <a:pt x="289" y="360"/>
                </a:lnTo>
                <a:lnTo>
                  <a:pt x="289" y="355"/>
                </a:lnTo>
                <a:lnTo>
                  <a:pt x="294" y="349"/>
                </a:lnTo>
                <a:lnTo>
                  <a:pt x="289" y="349"/>
                </a:lnTo>
                <a:lnTo>
                  <a:pt x="289" y="344"/>
                </a:lnTo>
                <a:lnTo>
                  <a:pt x="283" y="344"/>
                </a:lnTo>
                <a:lnTo>
                  <a:pt x="278" y="338"/>
                </a:lnTo>
                <a:lnTo>
                  <a:pt x="273" y="338"/>
                </a:lnTo>
                <a:lnTo>
                  <a:pt x="273" y="344"/>
                </a:lnTo>
                <a:lnTo>
                  <a:pt x="267" y="338"/>
                </a:lnTo>
                <a:lnTo>
                  <a:pt x="262" y="333"/>
                </a:lnTo>
                <a:lnTo>
                  <a:pt x="256" y="333"/>
                </a:lnTo>
                <a:lnTo>
                  <a:pt x="245" y="333"/>
                </a:lnTo>
                <a:lnTo>
                  <a:pt x="240" y="333"/>
                </a:lnTo>
                <a:lnTo>
                  <a:pt x="223" y="338"/>
                </a:lnTo>
                <a:lnTo>
                  <a:pt x="213" y="338"/>
                </a:lnTo>
                <a:lnTo>
                  <a:pt x="196" y="344"/>
                </a:lnTo>
                <a:lnTo>
                  <a:pt x="191" y="344"/>
                </a:lnTo>
                <a:lnTo>
                  <a:pt x="185" y="344"/>
                </a:lnTo>
                <a:lnTo>
                  <a:pt x="180" y="344"/>
                </a:lnTo>
                <a:lnTo>
                  <a:pt x="174" y="344"/>
                </a:lnTo>
                <a:lnTo>
                  <a:pt x="169" y="349"/>
                </a:lnTo>
                <a:lnTo>
                  <a:pt x="158" y="355"/>
                </a:lnTo>
                <a:lnTo>
                  <a:pt x="153" y="355"/>
                </a:lnTo>
                <a:lnTo>
                  <a:pt x="147" y="355"/>
                </a:lnTo>
                <a:lnTo>
                  <a:pt x="142" y="360"/>
                </a:lnTo>
                <a:lnTo>
                  <a:pt x="136" y="360"/>
                </a:lnTo>
                <a:lnTo>
                  <a:pt x="136" y="366"/>
                </a:lnTo>
                <a:lnTo>
                  <a:pt x="131" y="371"/>
                </a:lnTo>
                <a:lnTo>
                  <a:pt x="125" y="371"/>
                </a:lnTo>
                <a:lnTo>
                  <a:pt x="120" y="371"/>
                </a:lnTo>
                <a:lnTo>
                  <a:pt x="114" y="371"/>
                </a:lnTo>
                <a:lnTo>
                  <a:pt x="109" y="371"/>
                </a:lnTo>
                <a:lnTo>
                  <a:pt x="103" y="371"/>
                </a:lnTo>
                <a:lnTo>
                  <a:pt x="98" y="371"/>
                </a:lnTo>
                <a:lnTo>
                  <a:pt x="93" y="371"/>
                </a:lnTo>
                <a:lnTo>
                  <a:pt x="87" y="371"/>
                </a:lnTo>
                <a:lnTo>
                  <a:pt x="82" y="371"/>
                </a:lnTo>
                <a:lnTo>
                  <a:pt x="76" y="371"/>
                </a:lnTo>
                <a:lnTo>
                  <a:pt x="71" y="371"/>
                </a:lnTo>
                <a:lnTo>
                  <a:pt x="65" y="376"/>
                </a:lnTo>
                <a:lnTo>
                  <a:pt x="54" y="382"/>
                </a:lnTo>
                <a:lnTo>
                  <a:pt x="49" y="382"/>
                </a:lnTo>
                <a:lnTo>
                  <a:pt x="44" y="387"/>
                </a:lnTo>
                <a:lnTo>
                  <a:pt x="38" y="387"/>
                </a:lnTo>
                <a:lnTo>
                  <a:pt x="33" y="387"/>
                </a:lnTo>
                <a:lnTo>
                  <a:pt x="33" y="393"/>
                </a:lnTo>
                <a:lnTo>
                  <a:pt x="27" y="387"/>
                </a:lnTo>
                <a:lnTo>
                  <a:pt x="27" y="393"/>
                </a:lnTo>
                <a:lnTo>
                  <a:pt x="27" y="387"/>
                </a:lnTo>
                <a:lnTo>
                  <a:pt x="22" y="387"/>
                </a:lnTo>
                <a:lnTo>
                  <a:pt x="16" y="387"/>
                </a:lnTo>
                <a:lnTo>
                  <a:pt x="11" y="387"/>
                </a:lnTo>
                <a:lnTo>
                  <a:pt x="5" y="387"/>
                </a:lnTo>
                <a:lnTo>
                  <a:pt x="5" y="382"/>
                </a:lnTo>
                <a:lnTo>
                  <a:pt x="0" y="376"/>
                </a:lnTo>
                <a:lnTo>
                  <a:pt x="0" y="366"/>
                </a:lnTo>
                <a:lnTo>
                  <a:pt x="5" y="366"/>
                </a:lnTo>
                <a:lnTo>
                  <a:pt x="11" y="366"/>
                </a:lnTo>
                <a:lnTo>
                  <a:pt x="16" y="360"/>
                </a:lnTo>
                <a:lnTo>
                  <a:pt x="22" y="349"/>
                </a:lnTo>
                <a:lnTo>
                  <a:pt x="27" y="349"/>
                </a:lnTo>
                <a:lnTo>
                  <a:pt x="27" y="344"/>
                </a:lnTo>
                <a:lnTo>
                  <a:pt x="27" y="338"/>
                </a:lnTo>
                <a:lnTo>
                  <a:pt x="33" y="338"/>
                </a:lnTo>
                <a:lnTo>
                  <a:pt x="33" y="322"/>
                </a:lnTo>
                <a:lnTo>
                  <a:pt x="33" y="316"/>
                </a:lnTo>
                <a:lnTo>
                  <a:pt x="33" y="311"/>
                </a:lnTo>
                <a:lnTo>
                  <a:pt x="33" y="306"/>
                </a:lnTo>
                <a:lnTo>
                  <a:pt x="38" y="300"/>
                </a:lnTo>
                <a:lnTo>
                  <a:pt x="38" y="295"/>
                </a:lnTo>
                <a:lnTo>
                  <a:pt x="38" y="289"/>
                </a:lnTo>
                <a:lnTo>
                  <a:pt x="38" y="284"/>
                </a:lnTo>
                <a:lnTo>
                  <a:pt x="38" y="278"/>
                </a:lnTo>
                <a:lnTo>
                  <a:pt x="38" y="273"/>
                </a:lnTo>
                <a:lnTo>
                  <a:pt x="38" y="267"/>
                </a:lnTo>
                <a:lnTo>
                  <a:pt x="38" y="262"/>
                </a:lnTo>
                <a:lnTo>
                  <a:pt x="38" y="256"/>
                </a:lnTo>
                <a:lnTo>
                  <a:pt x="33" y="251"/>
                </a:lnTo>
                <a:lnTo>
                  <a:pt x="38" y="246"/>
                </a:lnTo>
                <a:lnTo>
                  <a:pt x="33" y="246"/>
                </a:lnTo>
                <a:lnTo>
                  <a:pt x="33" y="240"/>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59" name="Freeform 804">
            <a:extLst>
              <a:ext uri="{FF2B5EF4-FFF2-40B4-BE49-F238E27FC236}">
                <a16:creationId xmlns:a16="http://schemas.microsoft.com/office/drawing/2014/main" id="{07CC984D-2CCE-CBD1-29CE-37AD44D16A9F}"/>
              </a:ext>
            </a:extLst>
          </p:cNvPr>
          <p:cNvSpPr>
            <a:spLocks/>
          </p:cNvSpPr>
          <p:nvPr/>
        </p:nvSpPr>
        <p:spPr bwMode="auto">
          <a:xfrm>
            <a:off x="4878388" y="3870325"/>
            <a:ext cx="79375" cy="53975"/>
          </a:xfrm>
          <a:custGeom>
            <a:avLst/>
            <a:gdLst>
              <a:gd name="T0" fmla="*/ 5 w 71"/>
              <a:gd name="T1" fmla="*/ 27 h 44"/>
              <a:gd name="T2" fmla="*/ 11 w 71"/>
              <a:gd name="T3" fmla="*/ 22 h 44"/>
              <a:gd name="T4" fmla="*/ 11 w 71"/>
              <a:gd name="T5" fmla="*/ 16 h 44"/>
              <a:gd name="T6" fmla="*/ 16 w 71"/>
              <a:gd name="T7" fmla="*/ 11 h 44"/>
              <a:gd name="T8" fmla="*/ 16 w 71"/>
              <a:gd name="T9" fmla="*/ 6 h 44"/>
              <a:gd name="T10" fmla="*/ 22 w 71"/>
              <a:gd name="T11" fmla="*/ 0 h 44"/>
              <a:gd name="T12" fmla="*/ 27 w 71"/>
              <a:gd name="T13" fmla="*/ 0 h 44"/>
              <a:gd name="T14" fmla="*/ 33 w 71"/>
              <a:gd name="T15" fmla="*/ 0 h 44"/>
              <a:gd name="T16" fmla="*/ 27 w 71"/>
              <a:gd name="T17" fmla="*/ 0 h 44"/>
              <a:gd name="T18" fmla="*/ 33 w 71"/>
              <a:gd name="T19" fmla="*/ 0 h 44"/>
              <a:gd name="T20" fmla="*/ 33 w 71"/>
              <a:gd name="T21" fmla="*/ 6 h 44"/>
              <a:gd name="T22" fmla="*/ 38 w 71"/>
              <a:gd name="T23" fmla="*/ 6 h 44"/>
              <a:gd name="T24" fmla="*/ 44 w 71"/>
              <a:gd name="T25" fmla="*/ 6 h 44"/>
              <a:gd name="T26" fmla="*/ 49 w 71"/>
              <a:gd name="T27" fmla="*/ 6 h 44"/>
              <a:gd name="T28" fmla="*/ 55 w 71"/>
              <a:gd name="T29" fmla="*/ 6 h 44"/>
              <a:gd name="T30" fmla="*/ 60 w 71"/>
              <a:gd name="T31" fmla="*/ 0 h 44"/>
              <a:gd name="T32" fmla="*/ 65 w 71"/>
              <a:gd name="T33" fmla="*/ 0 h 44"/>
              <a:gd name="T34" fmla="*/ 71 w 71"/>
              <a:gd name="T35" fmla="*/ 0 h 44"/>
              <a:gd name="T36" fmla="*/ 71 w 71"/>
              <a:gd name="T37" fmla="*/ 6 h 44"/>
              <a:gd name="T38" fmla="*/ 65 w 71"/>
              <a:gd name="T39" fmla="*/ 6 h 44"/>
              <a:gd name="T40" fmla="*/ 60 w 71"/>
              <a:gd name="T41" fmla="*/ 11 h 44"/>
              <a:gd name="T42" fmla="*/ 60 w 71"/>
              <a:gd name="T43" fmla="*/ 16 h 44"/>
              <a:gd name="T44" fmla="*/ 55 w 71"/>
              <a:gd name="T45" fmla="*/ 22 h 44"/>
              <a:gd name="T46" fmla="*/ 49 w 71"/>
              <a:gd name="T47" fmla="*/ 22 h 44"/>
              <a:gd name="T48" fmla="*/ 44 w 71"/>
              <a:gd name="T49" fmla="*/ 27 h 44"/>
              <a:gd name="T50" fmla="*/ 38 w 71"/>
              <a:gd name="T51" fmla="*/ 33 h 44"/>
              <a:gd name="T52" fmla="*/ 33 w 71"/>
              <a:gd name="T53" fmla="*/ 38 h 44"/>
              <a:gd name="T54" fmla="*/ 38 w 71"/>
              <a:gd name="T55" fmla="*/ 33 h 44"/>
              <a:gd name="T56" fmla="*/ 27 w 71"/>
              <a:gd name="T57" fmla="*/ 33 h 44"/>
              <a:gd name="T58" fmla="*/ 27 w 71"/>
              <a:gd name="T59" fmla="*/ 38 h 44"/>
              <a:gd name="T60" fmla="*/ 22 w 71"/>
              <a:gd name="T61" fmla="*/ 38 h 44"/>
              <a:gd name="T62" fmla="*/ 16 w 71"/>
              <a:gd name="T63" fmla="*/ 44 h 44"/>
              <a:gd name="T64" fmla="*/ 11 w 71"/>
              <a:gd name="T65" fmla="*/ 44 h 44"/>
              <a:gd name="T66" fmla="*/ 5 w 71"/>
              <a:gd name="T67" fmla="*/ 44 h 44"/>
              <a:gd name="T68" fmla="*/ 0 w 71"/>
              <a:gd name="T69" fmla="*/ 44 h 44"/>
              <a:gd name="T70" fmla="*/ 5 w 71"/>
              <a:gd name="T71" fmla="*/ 38 h 44"/>
              <a:gd name="T72" fmla="*/ 5 w 71"/>
              <a:gd name="T73" fmla="*/ 33 h 44"/>
              <a:gd name="T74" fmla="*/ 5 w 71"/>
              <a:gd name="T75"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 h="44">
                <a:moveTo>
                  <a:pt x="5" y="27"/>
                </a:moveTo>
                <a:lnTo>
                  <a:pt x="11" y="22"/>
                </a:lnTo>
                <a:lnTo>
                  <a:pt x="11" y="16"/>
                </a:lnTo>
                <a:lnTo>
                  <a:pt x="16" y="11"/>
                </a:lnTo>
                <a:lnTo>
                  <a:pt x="16" y="6"/>
                </a:lnTo>
                <a:lnTo>
                  <a:pt x="22" y="0"/>
                </a:lnTo>
                <a:lnTo>
                  <a:pt x="27" y="0"/>
                </a:lnTo>
                <a:lnTo>
                  <a:pt x="33" y="0"/>
                </a:lnTo>
                <a:lnTo>
                  <a:pt x="27" y="0"/>
                </a:lnTo>
                <a:lnTo>
                  <a:pt x="33" y="0"/>
                </a:lnTo>
                <a:lnTo>
                  <a:pt x="33" y="6"/>
                </a:lnTo>
                <a:lnTo>
                  <a:pt x="38" y="6"/>
                </a:lnTo>
                <a:lnTo>
                  <a:pt x="44" y="6"/>
                </a:lnTo>
                <a:lnTo>
                  <a:pt x="49" y="6"/>
                </a:lnTo>
                <a:lnTo>
                  <a:pt x="55" y="6"/>
                </a:lnTo>
                <a:lnTo>
                  <a:pt x="60" y="0"/>
                </a:lnTo>
                <a:lnTo>
                  <a:pt x="65" y="0"/>
                </a:lnTo>
                <a:lnTo>
                  <a:pt x="71" y="0"/>
                </a:lnTo>
                <a:lnTo>
                  <a:pt x="71" y="6"/>
                </a:lnTo>
                <a:lnTo>
                  <a:pt x="65" y="6"/>
                </a:lnTo>
                <a:lnTo>
                  <a:pt x="60" y="11"/>
                </a:lnTo>
                <a:lnTo>
                  <a:pt x="60" y="16"/>
                </a:lnTo>
                <a:lnTo>
                  <a:pt x="55" y="22"/>
                </a:lnTo>
                <a:lnTo>
                  <a:pt x="49" y="22"/>
                </a:lnTo>
                <a:lnTo>
                  <a:pt x="44" y="27"/>
                </a:lnTo>
                <a:lnTo>
                  <a:pt x="38" y="33"/>
                </a:lnTo>
                <a:lnTo>
                  <a:pt x="33" y="38"/>
                </a:lnTo>
                <a:lnTo>
                  <a:pt x="38" y="33"/>
                </a:lnTo>
                <a:lnTo>
                  <a:pt x="27" y="33"/>
                </a:lnTo>
                <a:lnTo>
                  <a:pt x="27" y="38"/>
                </a:lnTo>
                <a:lnTo>
                  <a:pt x="22" y="38"/>
                </a:lnTo>
                <a:lnTo>
                  <a:pt x="16" y="44"/>
                </a:lnTo>
                <a:lnTo>
                  <a:pt x="11" y="44"/>
                </a:lnTo>
                <a:lnTo>
                  <a:pt x="5" y="44"/>
                </a:lnTo>
                <a:lnTo>
                  <a:pt x="0" y="44"/>
                </a:lnTo>
                <a:lnTo>
                  <a:pt x="5" y="38"/>
                </a:lnTo>
                <a:lnTo>
                  <a:pt x="5" y="33"/>
                </a:lnTo>
                <a:lnTo>
                  <a:pt x="5" y="27"/>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0" name="Freeform 382">
            <a:extLst>
              <a:ext uri="{FF2B5EF4-FFF2-40B4-BE49-F238E27FC236}">
                <a16:creationId xmlns:a16="http://schemas.microsoft.com/office/drawing/2014/main" id="{65A1512C-F358-995E-9AD3-C1DCBAF86F6B}"/>
              </a:ext>
            </a:extLst>
          </p:cNvPr>
          <p:cNvSpPr>
            <a:spLocks/>
          </p:cNvSpPr>
          <p:nvPr/>
        </p:nvSpPr>
        <p:spPr bwMode="auto">
          <a:xfrm>
            <a:off x="4578349" y="2990849"/>
            <a:ext cx="177800" cy="166688"/>
          </a:xfrm>
          <a:custGeom>
            <a:avLst/>
            <a:gdLst>
              <a:gd name="T0" fmla="*/ 131 w 158"/>
              <a:gd name="T1" fmla="*/ 6 h 136"/>
              <a:gd name="T2" fmla="*/ 142 w 158"/>
              <a:gd name="T3" fmla="*/ 11 h 136"/>
              <a:gd name="T4" fmla="*/ 136 w 158"/>
              <a:gd name="T5" fmla="*/ 16 h 136"/>
              <a:gd name="T6" fmla="*/ 131 w 158"/>
              <a:gd name="T7" fmla="*/ 22 h 136"/>
              <a:gd name="T8" fmla="*/ 136 w 158"/>
              <a:gd name="T9" fmla="*/ 27 h 136"/>
              <a:gd name="T10" fmla="*/ 142 w 158"/>
              <a:gd name="T11" fmla="*/ 38 h 136"/>
              <a:gd name="T12" fmla="*/ 147 w 158"/>
              <a:gd name="T13" fmla="*/ 44 h 136"/>
              <a:gd name="T14" fmla="*/ 158 w 158"/>
              <a:gd name="T15" fmla="*/ 55 h 136"/>
              <a:gd name="T16" fmla="*/ 153 w 158"/>
              <a:gd name="T17" fmla="*/ 60 h 136"/>
              <a:gd name="T18" fmla="*/ 142 w 158"/>
              <a:gd name="T19" fmla="*/ 60 h 136"/>
              <a:gd name="T20" fmla="*/ 136 w 158"/>
              <a:gd name="T21" fmla="*/ 71 h 136"/>
              <a:gd name="T22" fmla="*/ 136 w 158"/>
              <a:gd name="T23" fmla="*/ 82 h 136"/>
              <a:gd name="T24" fmla="*/ 131 w 158"/>
              <a:gd name="T25" fmla="*/ 87 h 136"/>
              <a:gd name="T26" fmla="*/ 120 w 158"/>
              <a:gd name="T27" fmla="*/ 98 h 136"/>
              <a:gd name="T28" fmla="*/ 120 w 158"/>
              <a:gd name="T29" fmla="*/ 98 h 136"/>
              <a:gd name="T30" fmla="*/ 120 w 158"/>
              <a:gd name="T31" fmla="*/ 109 h 136"/>
              <a:gd name="T32" fmla="*/ 114 w 158"/>
              <a:gd name="T33" fmla="*/ 115 h 136"/>
              <a:gd name="T34" fmla="*/ 114 w 158"/>
              <a:gd name="T35" fmla="*/ 126 h 136"/>
              <a:gd name="T36" fmla="*/ 109 w 158"/>
              <a:gd name="T37" fmla="*/ 131 h 136"/>
              <a:gd name="T38" fmla="*/ 93 w 158"/>
              <a:gd name="T39" fmla="*/ 136 h 136"/>
              <a:gd name="T40" fmla="*/ 87 w 158"/>
              <a:gd name="T41" fmla="*/ 131 h 136"/>
              <a:gd name="T42" fmla="*/ 76 w 158"/>
              <a:gd name="T43" fmla="*/ 126 h 136"/>
              <a:gd name="T44" fmla="*/ 71 w 158"/>
              <a:gd name="T45" fmla="*/ 120 h 136"/>
              <a:gd name="T46" fmla="*/ 65 w 158"/>
              <a:gd name="T47" fmla="*/ 120 h 136"/>
              <a:gd name="T48" fmla="*/ 54 w 158"/>
              <a:gd name="T49" fmla="*/ 126 h 136"/>
              <a:gd name="T50" fmla="*/ 43 w 158"/>
              <a:gd name="T51" fmla="*/ 131 h 136"/>
              <a:gd name="T52" fmla="*/ 43 w 158"/>
              <a:gd name="T53" fmla="*/ 120 h 136"/>
              <a:gd name="T54" fmla="*/ 33 w 158"/>
              <a:gd name="T55" fmla="*/ 120 h 136"/>
              <a:gd name="T56" fmla="*/ 22 w 158"/>
              <a:gd name="T57" fmla="*/ 120 h 136"/>
              <a:gd name="T58" fmla="*/ 22 w 158"/>
              <a:gd name="T59" fmla="*/ 115 h 136"/>
              <a:gd name="T60" fmla="*/ 16 w 158"/>
              <a:gd name="T61" fmla="*/ 109 h 136"/>
              <a:gd name="T62" fmla="*/ 16 w 158"/>
              <a:gd name="T63" fmla="*/ 98 h 136"/>
              <a:gd name="T64" fmla="*/ 11 w 158"/>
              <a:gd name="T65" fmla="*/ 87 h 136"/>
              <a:gd name="T66" fmla="*/ 5 w 158"/>
              <a:gd name="T67" fmla="*/ 82 h 136"/>
              <a:gd name="T68" fmla="*/ 5 w 158"/>
              <a:gd name="T69" fmla="*/ 71 h 136"/>
              <a:gd name="T70" fmla="*/ 0 w 158"/>
              <a:gd name="T71" fmla="*/ 66 h 136"/>
              <a:gd name="T72" fmla="*/ 0 w 158"/>
              <a:gd name="T73" fmla="*/ 55 h 136"/>
              <a:gd name="T74" fmla="*/ 5 w 158"/>
              <a:gd name="T75" fmla="*/ 49 h 136"/>
              <a:gd name="T76" fmla="*/ 11 w 158"/>
              <a:gd name="T77" fmla="*/ 44 h 136"/>
              <a:gd name="T78" fmla="*/ 11 w 158"/>
              <a:gd name="T79" fmla="*/ 44 h 136"/>
              <a:gd name="T80" fmla="*/ 16 w 158"/>
              <a:gd name="T81" fmla="*/ 49 h 136"/>
              <a:gd name="T82" fmla="*/ 22 w 158"/>
              <a:gd name="T83" fmla="*/ 55 h 136"/>
              <a:gd name="T84" fmla="*/ 33 w 158"/>
              <a:gd name="T85" fmla="*/ 55 h 136"/>
              <a:gd name="T86" fmla="*/ 43 w 158"/>
              <a:gd name="T87" fmla="*/ 60 h 136"/>
              <a:gd name="T88" fmla="*/ 49 w 158"/>
              <a:gd name="T89" fmla="*/ 55 h 136"/>
              <a:gd name="T90" fmla="*/ 54 w 158"/>
              <a:gd name="T91" fmla="*/ 49 h 136"/>
              <a:gd name="T92" fmla="*/ 65 w 158"/>
              <a:gd name="T93" fmla="*/ 49 h 136"/>
              <a:gd name="T94" fmla="*/ 71 w 158"/>
              <a:gd name="T95" fmla="*/ 55 h 136"/>
              <a:gd name="T96" fmla="*/ 76 w 158"/>
              <a:gd name="T97" fmla="*/ 49 h 136"/>
              <a:gd name="T98" fmla="*/ 87 w 158"/>
              <a:gd name="T99" fmla="*/ 49 h 136"/>
              <a:gd name="T100" fmla="*/ 93 w 158"/>
              <a:gd name="T101" fmla="*/ 38 h 136"/>
              <a:gd name="T102" fmla="*/ 98 w 158"/>
              <a:gd name="T103" fmla="*/ 33 h 136"/>
              <a:gd name="T104" fmla="*/ 98 w 158"/>
              <a:gd name="T105" fmla="*/ 22 h 136"/>
              <a:gd name="T106" fmla="*/ 103 w 158"/>
              <a:gd name="T107" fmla="*/ 16 h 136"/>
              <a:gd name="T108" fmla="*/ 103 w 158"/>
              <a:gd name="T109" fmla="*/ 6 h 136"/>
              <a:gd name="T110" fmla="*/ 114 w 158"/>
              <a:gd name="T111" fmla="*/ 6 h 136"/>
              <a:gd name="T112" fmla="*/ 120 w 158"/>
              <a:gd name="T113" fmla="*/ 6 h 136"/>
              <a:gd name="T114" fmla="*/ 131 w 158"/>
              <a:gd name="T115" fmla="*/ 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 h="136">
                <a:moveTo>
                  <a:pt x="136" y="6"/>
                </a:moveTo>
                <a:lnTo>
                  <a:pt x="131" y="6"/>
                </a:lnTo>
                <a:lnTo>
                  <a:pt x="136" y="11"/>
                </a:lnTo>
                <a:lnTo>
                  <a:pt x="142" y="11"/>
                </a:lnTo>
                <a:lnTo>
                  <a:pt x="142" y="16"/>
                </a:lnTo>
                <a:lnTo>
                  <a:pt x="136" y="16"/>
                </a:lnTo>
                <a:lnTo>
                  <a:pt x="131" y="16"/>
                </a:lnTo>
                <a:lnTo>
                  <a:pt x="131" y="22"/>
                </a:lnTo>
                <a:lnTo>
                  <a:pt x="136" y="22"/>
                </a:lnTo>
                <a:lnTo>
                  <a:pt x="136" y="27"/>
                </a:lnTo>
                <a:lnTo>
                  <a:pt x="142" y="33"/>
                </a:lnTo>
                <a:lnTo>
                  <a:pt x="142" y="38"/>
                </a:lnTo>
                <a:lnTo>
                  <a:pt x="142" y="44"/>
                </a:lnTo>
                <a:lnTo>
                  <a:pt x="147" y="44"/>
                </a:lnTo>
                <a:lnTo>
                  <a:pt x="153" y="49"/>
                </a:lnTo>
                <a:lnTo>
                  <a:pt x="158" y="55"/>
                </a:lnTo>
                <a:lnTo>
                  <a:pt x="158" y="60"/>
                </a:lnTo>
                <a:lnTo>
                  <a:pt x="153" y="60"/>
                </a:lnTo>
                <a:lnTo>
                  <a:pt x="147" y="60"/>
                </a:lnTo>
                <a:lnTo>
                  <a:pt x="142" y="60"/>
                </a:lnTo>
                <a:lnTo>
                  <a:pt x="136" y="66"/>
                </a:lnTo>
                <a:lnTo>
                  <a:pt x="136" y="71"/>
                </a:lnTo>
                <a:lnTo>
                  <a:pt x="136" y="76"/>
                </a:lnTo>
                <a:lnTo>
                  <a:pt x="136" y="82"/>
                </a:lnTo>
                <a:lnTo>
                  <a:pt x="136" y="87"/>
                </a:lnTo>
                <a:lnTo>
                  <a:pt x="131" y="87"/>
                </a:lnTo>
                <a:lnTo>
                  <a:pt x="125" y="93"/>
                </a:lnTo>
                <a:lnTo>
                  <a:pt x="120" y="98"/>
                </a:lnTo>
                <a:lnTo>
                  <a:pt x="114" y="98"/>
                </a:lnTo>
                <a:lnTo>
                  <a:pt x="120" y="98"/>
                </a:lnTo>
                <a:lnTo>
                  <a:pt x="114" y="104"/>
                </a:lnTo>
                <a:lnTo>
                  <a:pt x="120" y="109"/>
                </a:lnTo>
                <a:lnTo>
                  <a:pt x="120" y="115"/>
                </a:lnTo>
                <a:lnTo>
                  <a:pt x="114" y="115"/>
                </a:lnTo>
                <a:lnTo>
                  <a:pt x="114" y="120"/>
                </a:lnTo>
                <a:lnTo>
                  <a:pt x="114" y="126"/>
                </a:lnTo>
                <a:lnTo>
                  <a:pt x="109" y="126"/>
                </a:lnTo>
                <a:lnTo>
                  <a:pt x="109" y="131"/>
                </a:lnTo>
                <a:lnTo>
                  <a:pt x="103" y="131"/>
                </a:lnTo>
                <a:lnTo>
                  <a:pt x="93" y="136"/>
                </a:lnTo>
                <a:lnTo>
                  <a:pt x="87" y="136"/>
                </a:lnTo>
                <a:lnTo>
                  <a:pt x="87" y="131"/>
                </a:lnTo>
                <a:lnTo>
                  <a:pt x="82" y="126"/>
                </a:lnTo>
                <a:lnTo>
                  <a:pt x="76" y="126"/>
                </a:lnTo>
                <a:lnTo>
                  <a:pt x="71" y="126"/>
                </a:lnTo>
                <a:lnTo>
                  <a:pt x="71" y="120"/>
                </a:lnTo>
                <a:lnTo>
                  <a:pt x="71" y="126"/>
                </a:lnTo>
                <a:lnTo>
                  <a:pt x="65" y="120"/>
                </a:lnTo>
                <a:lnTo>
                  <a:pt x="65" y="126"/>
                </a:lnTo>
                <a:lnTo>
                  <a:pt x="54" y="126"/>
                </a:lnTo>
                <a:lnTo>
                  <a:pt x="49" y="126"/>
                </a:lnTo>
                <a:lnTo>
                  <a:pt x="43" y="131"/>
                </a:lnTo>
                <a:lnTo>
                  <a:pt x="43" y="126"/>
                </a:lnTo>
                <a:lnTo>
                  <a:pt x="43" y="120"/>
                </a:lnTo>
                <a:lnTo>
                  <a:pt x="38" y="120"/>
                </a:lnTo>
                <a:lnTo>
                  <a:pt x="33" y="120"/>
                </a:lnTo>
                <a:lnTo>
                  <a:pt x="27" y="120"/>
                </a:lnTo>
                <a:lnTo>
                  <a:pt x="22" y="120"/>
                </a:lnTo>
                <a:lnTo>
                  <a:pt x="16" y="120"/>
                </a:lnTo>
                <a:lnTo>
                  <a:pt x="22" y="115"/>
                </a:lnTo>
                <a:lnTo>
                  <a:pt x="16" y="115"/>
                </a:lnTo>
                <a:lnTo>
                  <a:pt x="16" y="109"/>
                </a:lnTo>
                <a:lnTo>
                  <a:pt x="16" y="104"/>
                </a:lnTo>
                <a:lnTo>
                  <a:pt x="16" y="98"/>
                </a:lnTo>
                <a:lnTo>
                  <a:pt x="16" y="93"/>
                </a:lnTo>
                <a:lnTo>
                  <a:pt x="11" y="87"/>
                </a:lnTo>
                <a:lnTo>
                  <a:pt x="5" y="87"/>
                </a:lnTo>
                <a:lnTo>
                  <a:pt x="5" y="82"/>
                </a:lnTo>
                <a:lnTo>
                  <a:pt x="0" y="76"/>
                </a:lnTo>
                <a:lnTo>
                  <a:pt x="5" y="71"/>
                </a:lnTo>
                <a:lnTo>
                  <a:pt x="0" y="71"/>
                </a:lnTo>
                <a:lnTo>
                  <a:pt x="0" y="66"/>
                </a:lnTo>
                <a:lnTo>
                  <a:pt x="0" y="60"/>
                </a:lnTo>
                <a:lnTo>
                  <a:pt x="0" y="55"/>
                </a:lnTo>
                <a:lnTo>
                  <a:pt x="0" y="49"/>
                </a:lnTo>
                <a:lnTo>
                  <a:pt x="5" y="49"/>
                </a:lnTo>
                <a:lnTo>
                  <a:pt x="5" y="44"/>
                </a:lnTo>
                <a:lnTo>
                  <a:pt x="11" y="44"/>
                </a:lnTo>
                <a:lnTo>
                  <a:pt x="11" y="38"/>
                </a:lnTo>
                <a:lnTo>
                  <a:pt x="11" y="44"/>
                </a:lnTo>
                <a:lnTo>
                  <a:pt x="11" y="49"/>
                </a:lnTo>
                <a:lnTo>
                  <a:pt x="16" y="49"/>
                </a:lnTo>
                <a:lnTo>
                  <a:pt x="16" y="55"/>
                </a:lnTo>
                <a:lnTo>
                  <a:pt x="22" y="55"/>
                </a:lnTo>
                <a:lnTo>
                  <a:pt x="27" y="60"/>
                </a:lnTo>
                <a:lnTo>
                  <a:pt x="33" y="55"/>
                </a:lnTo>
                <a:lnTo>
                  <a:pt x="38" y="55"/>
                </a:lnTo>
                <a:lnTo>
                  <a:pt x="43" y="60"/>
                </a:lnTo>
                <a:lnTo>
                  <a:pt x="43" y="55"/>
                </a:lnTo>
                <a:lnTo>
                  <a:pt x="49" y="55"/>
                </a:lnTo>
                <a:lnTo>
                  <a:pt x="49" y="49"/>
                </a:lnTo>
                <a:lnTo>
                  <a:pt x="54" y="49"/>
                </a:lnTo>
                <a:lnTo>
                  <a:pt x="60" y="49"/>
                </a:lnTo>
                <a:lnTo>
                  <a:pt x="65" y="49"/>
                </a:lnTo>
                <a:lnTo>
                  <a:pt x="71" y="49"/>
                </a:lnTo>
                <a:lnTo>
                  <a:pt x="71" y="55"/>
                </a:lnTo>
                <a:lnTo>
                  <a:pt x="76" y="55"/>
                </a:lnTo>
                <a:lnTo>
                  <a:pt x="76" y="49"/>
                </a:lnTo>
                <a:lnTo>
                  <a:pt x="82" y="49"/>
                </a:lnTo>
                <a:lnTo>
                  <a:pt x="87" y="49"/>
                </a:lnTo>
                <a:lnTo>
                  <a:pt x="93" y="44"/>
                </a:lnTo>
                <a:lnTo>
                  <a:pt x="93" y="38"/>
                </a:lnTo>
                <a:lnTo>
                  <a:pt x="93" y="33"/>
                </a:lnTo>
                <a:lnTo>
                  <a:pt x="98" y="33"/>
                </a:lnTo>
                <a:lnTo>
                  <a:pt x="98" y="27"/>
                </a:lnTo>
                <a:lnTo>
                  <a:pt x="98" y="22"/>
                </a:lnTo>
                <a:lnTo>
                  <a:pt x="103" y="22"/>
                </a:lnTo>
                <a:lnTo>
                  <a:pt x="103" y="16"/>
                </a:lnTo>
                <a:lnTo>
                  <a:pt x="103" y="11"/>
                </a:lnTo>
                <a:lnTo>
                  <a:pt x="103" y="6"/>
                </a:lnTo>
                <a:lnTo>
                  <a:pt x="109" y="6"/>
                </a:lnTo>
                <a:lnTo>
                  <a:pt x="114" y="6"/>
                </a:lnTo>
                <a:lnTo>
                  <a:pt x="120" y="0"/>
                </a:lnTo>
                <a:lnTo>
                  <a:pt x="120" y="6"/>
                </a:lnTo>
                <a:lnTo>
                  <a:pt x="125" y="6"/>
                </a:lnTo>
                <a:lnTo>
                  <a:pt x="131" y="6"/>
                </a:lnTo>
                <a:lnTo>
                  <a:pt x="136" y="6"/>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1" name="Freeform 398">
            <a:extLst>
              <a:ext uri="{FF2B5EF4-FFF2-40B4-BE49-F238E27FC236}">
                <a16:creationId xmlns:a16="http://schemas.microsoft.com/office/drawing/2014/main" id="{2C110341-465B-FA74-9C63-C4C0B67BCBF2}"/>
              </a:ext>
            </a:extLst>
          </p:cNvPr>
          <p:cNvSpPr>
            <a:spLocks/>
          </p:cNvSpPr>
          <p:nvPr/>
        </p:nvSpPr>
        <p:spPr bwMode="auto">
          <a:xfrm>
            <a:off x="4327526" y="2971800"/>
            <a:ext cx="195263" cy="225425"/>
          </a:xfrm>
          <a:custGeom>
            <a:avLst/>
            <a:gdLst>
              <a:gd name="T0" fmla="*/ 6 w 175"/>
              <a:gd name="T1" fmla="*/ 0 h 185"/>
              <a:gd name="T2" fmla="*/ 17 w 175"/>
              <a:gd name="T3" fmla="*/ 5 h 185"/>
              <a:gd name="T4" fmla="*/ 28 w 175"/>
              <a:gd name="T5" fmla="*/ 5 h 185"/>
              <a:gd name="T6" fmla="*/ 38 w 175"/>
              <a:gd name="T7" fmla="*/ 5 h 185"/>
              <a:gd name="T8" fmla="*/ 49 w 175"/>
              <a:gd name="T9" fmla="*/ 16 h 185"/>
              <a:gd name="T10" fmla="*/ 55 w 175"/>
              <a:gd name="T11" fmla="*/ 22 h 185"/>
              <a:gd name="T12" fmla="*/ 60 w 175"/>
              <a:gd name="T13" fmla="*/ 27 h 185"/>
              <a:gd name="T14" fmla="*/ 71 w 175"/>
              <a:gd name="T15" fmla="*/ 32 h 185"/>
              <a:gd name="T16" fmla="*/ 77 w 175"/>
              <a:gd name="T17" fmla="*/ 38 h 185"/>
              <a:gd name="T18" fmla="*/ 88 w 175"/>
              <a:gd name="T19" fmla="*/ 49 h 185"/>
              <a:gd name="T20" fmla="*/ 93 w 175"/>
              <a:gd name="T21" fmla="*/ 54 h 185"/>
              <a:gd name="T22" fmla="*/ 104 w 175"/>
              <a:gd name="T23" fmla="*/ 54 h 185"/>
              <a:gd name="T24" fmla="*/ 109 w 175"/>
              <a:gd name="T25" fmla="*/ 60 h 185"/>
              <a:gd name="T26" fmla="*/ 115 w 175"/>
              <a:gd name="T27" fmla="*/ 71 h 185"/>
              <a:gd name="T28" fmla="*/ 126 w 175"/>
              <a:gd name="T29" fmla="*/ 76 h 185"/>
              <a:gd name="T30" fmla="*/ 131 w 175"/>
              <a:gd name="T31" fmla="*/ 82 h 185"/>
              <a:gd name="T32" fmla="*/ 142 w 175"/>
              <a:gd name="T33" fmla="*/ 82 h 185"/>
              <a:gd name="T34" fmla="*/ 137 w 175"/>
              <a:gd name="T35" fmla="*/ 92 h 185"/>
              <a:gd name="T36" fmla="*/ 137 w 175"/>
              <a:gd name="T37" fmla="*/ 98 h 185"/>
              <a:gd name="T38" fmla="*/ 148 w 175"/>
              <a:gd name="T39" fmla="*/ 103 h 185"/>
              <a:gd name="T40" fmla="*/ 153 w 175"/>
              <a:gd name="T41" fmla="*/ 109 h 185"/>
              <a:gd name="T42" fmla="*/ 153 w 175"/>
              <a:gd name="T43" fmla="*/ 120 h 185"/>
              <a:gd name="T44" fmla="*/ 158 w 175"/>
              <a:gd name="T45" fmla="*/ 125 h 185"/>
              <a:gd name="T46" fmla="*/ 169 w 175"/>
              <a:gd name="T47" fmla="*/ 131 h 185"/>
              <a:gd name="T48" fmla="*/ 175 w 175"/>
              <a:gd name="T49" fmla="*/ 142 h 185"/>
              <a:gd name="T50" fmla="*/ 175 w 175"/>
              <a:gd name="T51" fmla="*/ 152 h 185"/>
              <a:gd name="T52" fmla="*/ 175 w 175"/>
              <a:gd name="T53" fmla="*/ 158 h 185"/>
              <a:gd name="T54" fmla="*/ 169 w 175"/>
              <a:gd name="T55" fmla="*/ 163 h 185"/>
              <a:gd name="T56" fmla="*/ 169 w 175"/>
              <a:gd name="T57" fmla="*/ 169 h 185"/>
              <a:gd name="T58" fmla="*/ 169 w 175"/>
              <a:gd name="T59" fmla="*/ 180 h 185"/>
              <a:gd name="T60" fmla="*/ 169 w 175"/>
              <a:gd name="T61" fmla="*/ 180 h 185"/>
              <a:gd name="T62" fmla="*/ 164 w 175"/>
              <a:gd name="T63" fmla="*/ 174 h 185"/>
              <a:gd name="T64" fmla="*/ 153 w 175"/>
              <a:gd name="T65" fmla="*/ 174 h 185"/>
              <a:gd name="T66" fmla="*/ 153 w 175"/>
              <a:gd name="T67" fmla="*/ 180 h 185"/>
              <a:gd name="T68" fmla="*/ 148 w 175"/>
              <a:gd name="T69" fmla="*/ 185 h 185"/>
              <a:gd name="T70" fmla="*/ 142 w 175"/>
              <a:gd name="T71" fmla="*/ 174 h 185"/>
              <a:gd name="T72" fmla="*/ 131 w 175"/>
              <a:gd name="T73" fmla="*/ 163 h 185"/>
              <a:gd name="T74" fmla="*/ 115 w 175"/>
              <a:gd name="T75" fmla="*/ 152 h 185"/>
              <a:gd name="T76" fmla="*/ 109 w 175"/>
              <a:gd name="T77" fmla="*/ 142 h 185"/>
              <a:gd name="T78" fmla="*/ 104 w 175"/>
              <a:gd name="T79" fmla="*/ 131 h 185"/>
              <a:gd name="T80" fmla="*/ 93 w 175"/>
              <a:gd name="T81" fmla="*/ 125 h 185"/>
              <a:gd name="T82" fmla="*/ 93 w 175"/>
              <a:gd name="T83" fmla="*/ 114 h 185"/>
              <a:gd name="T84" fmla="*/ 88 w 175"/>
              <a:gd name="T85" fmla="*/ 109 h 185"/>
              <a:gd name="T86" fmla="*/ 82 w 175"/>
              <a:gd name="T87" fmla="*/ 98 h 185"/>
              <a:gd name="T88" fmla="*/ 77 w 175"/>
              <a:gd name="T89" fmla="*/ 87 h 185"/>
              <a:gd name="T90" fmla="*/ 66 w 175"/>
              <a:gd name="T91" fmla="*/ 87 h 185"/>
              <a:gd name="T92" fmla="*/ 66 w 175"/>
              <a:gd name="T93" fmla="*/ 76 h 185"/>
              <a:gd name="T94" fmla="*/ 66 w 175"/>
              <a:gd name="T95" fmla="*/ 65 h 185"/>
              <a:gd name="T96" fmla="*/ 60 w 175"/>
              <a:gd name="T97" fmla="*/ 60 h 185"/>
              <a:gd name="T98" fmla="*/ 55 w 175"/>
              <a:gd name="T99" fmla="*/ 54 h 185"/>
              <a:gd name="T100" fmla="*/ 44 w 175"/>
              <a:gd name="T101" fmla="*/ 54 h 185"/>
              <a:gd name="T102" fmla="*/ 44 w 175"/>
              <a:gd name="T103" fmla="*/ 43 h 185"/>
              <a:gd name="T104" fmla="*/ 38 w 175"/>
              <a:gd name="T105" fmla="*/ 38 h 185"/>
              <a:gd name="T106" fmla="*/ 28 w 175"/>
              <a:gd name="T107" fmla="*/ 27 h 185"/>
              <a:gd name="T108" fmla="*/ 22 w 175"/>
              <a:gd name="T109" fmla="*/ 22 h 185"/>
              <a:gd name="T110" fmla="*/ 11 w 175"/>
              <a:gd name="T111" fmla="*/ 16 h 185"/>
              <a:gd name="T112" fmla="*/ 6 w 175"/>
              <a:gd name="T113" fmla="*/ 5 h 185"/>
              <a:gd name="T114" fmla="*/ 0 w 175"/>
              <a:gd name="T115"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5" h="185">
                <a:moveTo>
                  <a:pt x="0" y="0"/>
                </a:moveTo>
                <a:lnTo>
                  <a:pt x="6" y="0"/>
                </a:lnTo>
                <a:lnTo>
                  <a:pt x="11" y="0"/>
                </a:lnTo>
                <a:lnTo>
                  <a:pt x="17" y="5"/>
                </a:lnTo>
                <a:lnTo>
                  <a:pt x="22" y="5"/>
                </a:lnTo>
                <a:lnTo>
                  <a:pt x="28" y="5"/>
                </a:lnTo>
                <a:lnTo>
                  <a:pt x="33" y="5"/>
                </a:lnTo>
                <a:lnTo>
                  <a:pt x="38" y="5"/>
                </a:lnTo>
                <a:lnTo>
                  <a:pt x="44" y="11"/>
                </a:lnTo>
                <a:lnTo>
                  <a:pt x="49" y="16"/>
                </a:lnTo>
                <a:lnTo>
                  <a:pt x="55" y="16"/>
                </a:lnTo>
                <a:lnTo>
                  <a:pt x="55" y="22"/>
                </a:lnTo>
                <a:lnTo>
                  <a:pt x="55" y="27"/>
                </a:lnTo>
                <a:lnTo>
                  <a:pt x="60" y="27"/>
                </a:lnTo>
                <a:lnTo>
                  <a:pt x="66" y="32"/>
                </a:lnTo>
                <a:lnTo>
                  <a:pt x="71" y="32"/>
                </a:lnTo>
                <a:lnTo>
                  <a:pt x="71" y="38"/>
                </a:lnTo>
                <a:lnTo>
                  <a:pt x="77" y="38"/>
                </a:lnTo>
                <a:lnTo>
                  <a:pt x="82" y="43"/>
                </a:lnTo>
                <a:lnTo>
                  <a:pt x="88" y="49"/>
                </a:lnTo>
                <a:lnTo>
                  <a:pt x="88" y="54"/>
                </a:lnTo>
                <a:lnTo>
                  <a:pt x="93" y="54"/>
                </a:lnTo>
                <a:lnTo>
                  <a:pt x="98" y="54"/>
                </a:lnTo>
                <a:lnTo>
                  <a:pt x="104" y="54"/>
                </a:lnTo>
                <a:lnTo>
                  <a:pt x="104" y="60"/>
                </a:lnTo>
                <a:lnTo>
                  <a:pt x="109" y="60"/>
                </a:lnTo>
                <a:lnTo>
                  <a:pt x="115" y="65"/>
                </a:lnTo>
                <a:lnTo>
                  <a:pt x="115" y="71"/>
                </a:lnTo>
                <a:lnTo>
                  <a:pt x="120" y="76"/>
                </a:lnTo>
                <a:lnTo>
                  <a:pt x="126" y="76"/>
                </a:lnTo>
                <a:lnTo>
                  <a:pt x="131" y="76"/>
                </a:lnTo>
                <a:lnTo>
                  <a:pt x="131" y="82"/>
                </a:lnTo>
                <a:lnTo>
                  <a:pt x="137" y="82"/>
                </a:lnTo>
                <a:lnTo>
                  <a:pt x="142" y="82"/>
                </a:lnTo>
                <a:lnTo>
                  <a:pt x="142" y="87"/>
                </a:lnTo>
                <a:lnTo>
                  <a:pt x="137" y="92"/>
                </a:lnTo>
                <a:lnTo>
                  <a:pt x="142" y="92"/>
                </a:lnTo>
                <a:lnTo>
                  <a:pt x="137" y="98"/>
                </a:lnTo>
                <a:lnTo>
                  <a:pt x="142" y="103"/>
                </a:lnTo>
                <a:lnTo>
                  <a:pt x="148" y="103"/>
                </a:lnTo>
                <a:lnTo>
                  <a:pt x="153" y="103"/>
                </a:lnTo>
                <a:lnTo>
                  <a:pt x="153" y="109"/>
                </a:lnTo>
                <a:lnTo>
                  <a:pt x="153" y="114"/>
                </a:lnTo>
                <a:lnTo>
                  <a:pt x="153" y="120"/>
                </a:lnTo>
                <a:lnTo>
                  <a:pt x="158" y="120"/>
                </a:lnTo>
                <a:lnTo>
                  <a:pt x="158" y="125"/>
                </a:lnTo>
                <a:lnTo>
                  <a:pt x="169" y="125"/>
                </a:lnTo>
                <a:lnTo>
                  <a:pt x="169" y="131"/>
                </a:lnTo>
                <a:lnTo>
                  <a:pt x="175" y="136"/>
                </a:lnTo>
                <a:lnTo>
                  <a:pt x="175" y="142"/>
                </a:lnTo>
                <a:lnTo>
                  <a:pt x="175" y="147"/>
                </a:lnTo>
                <a:lnTo>
                  <a:pt x="175" y="152"/>
                </a:lnTo>
                <a:lnTo>
                  <a:pt x="169" y="158"/>
                </a:lnTo>
                <a:lnTo>
                  <a:pt x="175" y="158"/>
                </a:lnTo>
                <a:lnTo>
                  <a:pt x="175" y="163"/>
                </a:lnTo>
                <a:lnTo>
                  <a:pt x="169" y="163"/>
                </a:lnTo>
                <a:lnTo>
                  <a:pt x="175" y="169"/>
                </a:lnTo>
                <a:lnTo>
                  <a:pt x="169" y="169"/>
                </a:lnTo>
                <a:lnTo>
                  <a:pt x="169" y="174"/>
                </a:lnTo>
                <a:lnTo>
                  <a:pt x="169" y="180"/>
                </a:lnTo>
                <a:lnTo>
                  <a:pt x="169" y="185"/>
                </a:lnTo>
                <a:lnTo>
                  <a:pt x="169" y="180"/>
                </a:lnTo>
                <a:lnTo>
                  <a:pt x="164" y="180"/>
                </a:lnTo>
                <a:lnTo>
                  <a:pt x="164" y="174"/>
                </a:lnTo>
                <a:lnTo>
                  <a:pt x="158" y="180"/>
                </a:lnTo>
                <a:lnTo>
                  <a:pt x="153" y="174"/>
                </a:lnTo>
                <a:lnTo>
                  <a:pt x="148" y="174"/>
                </a:lnTo>
                <a:lnTo>
                  <a:pt x="153" y="180"/>
                </a:lnTo>
                <a:lnTo>
                  <a:pt x="153" y="185"/>
                </a:lnTo>
                <a:lnTo>
                  <a:pt x="148" y="185"/>
                </a:lnTo>
                <a:lnTo>
                  <a:pt x="148" y="180"/>
                </a:lnTo>
                <a:lnTo>
                  <a:pt x="142" y="174"/>
                </a:lnTo>
                <a:lnTo>
                  <a:pt x="137" y="169"/>
                </a:lnTo>
                <a:lnTo>
                  <a:pt x="131" y="163"/>
                </a:lnTo>
                <a:lnTo>
                  <a:pt x="126" y="158"/>
                </a:lnTo>
                <a:lnTo>
                  <a:pt x="115" y="152"/>
                </a:lnTo>
                <a:lnTo>
                  <a:pt x="115" y="147"/>
                </a:lnTo>
                <a:lnTo>
                  <a:pt x="109" y="142"/>
                </a:lnTo>
                <a:lnTo>
                  <a:pt x="104" y="142"/>
                </a:lnTo>
                <a:lnTo>
                  <a:pt x="104" y="131"/>
                </a:lnTo>
                <a:lnTo>
                  <a:pt x="98" y="131"/>
                </a:lnTo>
                <a:lnTo>
                  <a:pt x="93" y="125"/>
                </a:lnTo>
                <a:lnTo>
                  <a:pt x="93" y="120"/>
                </a:lnTo>
                <a:lnTo>
                  <a:pt x="93" y="114"/>
                </a:lnTo>
                <a:lnTo>
                  <a:pt x="93" y="109"/>
                </a:lnTo>
                <a:lnTo>
                  <a:pt x="88" y="109"/>
                </a:lnTo>
                <a:lnTo>
                  <a:pt x="88" y="103"/>
                </a:lnTo>
                <a:lnTo>
                  <a:pt x="82" y="98"/>
                </a:lnTo>
                <a:lnTo>
                  <a:pt x="77" y="92"/>
                </a:lnTo>
                <a:lnTo>
                  <a:pt x="77" y="87"/>
                </a:lnTo>
                <a:lnTo>
                  <a:pt x="71" y="87"/>
                </a:lnTo>
                <a:lnTo>
                  <a:pt x="66" y="87"/>
                </a:lnTo>
                <a:lnTo>
                  <a:pt x="66" y="82"/>
                </a:lnTo>
                <a:lnTo>
                  <a:pt x="66" y="76"/>
                </a:lnTo>
                <a:lnTo>
                  <a:pt x="66" y="71"/>
                </a:lnTo>
                <a:lnTo>
                  <a:pt x="66" y="65"/>
                </a:lnTo>
                <a:lnTo>
                  <a:pt x="60" y="65"/>
                </a:lnTo>
                <a:lnTo>
                  <a:pt x="60" y="60"/>
                </a:lnTo>
                <a:lnTo>
                  <a:pt x="55" y="60"/>
                </a:lnTo>
                <a:lnTo>
                  <a:pt x="55" y="54"/>
                </a:lnTo>
                <a:lnTo>
                  <a:pt x="49" y="54"/>
                </a:lnTo>
                <a:lnTo>
                  <a:pt x="44" y="54"/>
                </a:lnTo>
                <a:lnTo>
                  <a:pt x="44" y="49"/>
                </a:lnTo>
                <a:lnTo>
                  <a:pt x="44" y="43"/>
                </a:lnTo>
                <a:lnTo>
                  <a:pt x="38" y="43"/>
                </a:lnTo>
                <a:lnTo>
                  <a:pt x="38" y="38"/>
                </a:lnTo>
                <a:lnTo>
                  <a:pt x="33" y="32"/>
                </a:lnTo>
                <a:lnTo>
                  <a:pt x="28" y="27"/>
                </a:lnTo>
                <a:lnTo>
                  <a:pt x="22" y="27"/>
                </a:lnTo>
                <a:lnTo>
                  <a:pt x="22" y="22"/>
                </a:lnTo>
                <a:lnTo>
                  <a:pt x="17" y="22"/>
                </a:lnTo>
                <a:lnTo>
                  <a:pt x="11" y="16"/>
                </a:lnTo>
                <a:lnTo>
                  <a:pt x="6" y="11"/>
                </a:lnTo>
                <a:lnTo>
                  <a:pt x="6" y="5"/>
                </a:lnTo>
                <a:lnTo>
                  <a:pt x="0" y="5"/>
                </a:lnTo>
                <a:lnTo>
                  <a:pt x="0" y="0"/>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2" name="Freeform 410">
            <a:extLst>
              <a:ext uri="{FF2B5EF4-FFF2-40B4-BE49-F238E27FC236}">
                <a16:creationId xmlns:a16="http://schemas.microsoft.com/office/drawing/2014/main" id="{66AF8BFA-9428-1D9B-C279-F19DD1B0DAE7}"/>
              </a:ext>
            </a:extLst>
          </p:cNvPr>
          <p:cNvSpPr>
            <a:spLocks/>
          </p:cNvSpPr>
          <p:nvPr/>
        </p:nvSpPr>
        <p:spPr bwMode="auto">
          <a:xfrm>
            <a:off x="4503738" y="3190875"/>
            <a:ext cx="166688" cy="60325"/>
          </a:xfrm>
          <a:custGeom>
            <a:avLst/>
            <a:gdLst>
              <a:gd name="T0" fmla="*/ 6 w 148"/>
              <a:gd name="T1" fmla="*/ 16 h 49"/>
              <a:gd name="T2" fmla="*/ 11 w 148"/>
              <a:gd name="T3" fmla="*/ 11 h 49"/>
              <a:gd name="T4" fmla="*/ 17 w 148"/>
              <a:gd name="T5" fmla="*/ 0 h 49"/>
              <a:gd name="T6" fmla="*/ 22 w 148"/>
              <a:gd name="T7" fmla="*/ 5 h 49"/>
              <a:gd name="T8" fmla="*/ 33 w 148"/>
              <a:gd name="T9" fmla="*/ 5 h 49"/>
              <a:gd name="T10" fmla="*/ 39 w 148"/>
              <a:gd name="T11" fmla="*/ 11 h 49"/>
              <a:gd name="T12" fmla="*/ 50 w 148"/>
              <a:gd name="T13" fmla="*/ 11 h 49"/>
              <a:gd name="T14" fmla="*/ 55 w 148"/>
              <a:gd name="T15" fmla="*/ 11 h 49"/>
              <a:gd name="T16" fmla="*/ 60 w 148"/>
              <a:gd name="T17" fmla="*/ 16 h 49"/>
              <a:gd name="T18" fmla="*/ 71 w 148"/>
              <a:gd name="T19" fmla="*/ 16 h 49"/>
              <a:gd name="T20" fmla="*/ 82 w 148"/>
              <a:gd name="T21" fmla="*/ 22 h 49"/>
              <a:gd name="T22" fmla="*/ 88 w 148"/>
              <a:gd name="T23" fmla="*/ 11 h 49"/>
              <a:gd name="T24" fmla="*/ 93 w 148"/>
              <a:gd name="T25" fmla="*/ 16 h 49"/>
              <a:gd name="T26" fmla="*/ 104 w 148"/>
              <a:gd name="T27" fmla="*/ 16 h 49"/>
              <a:gd name="T28" fmla="*/ 115 w 148"/>
              <a:gd name="T29" fmla="*/ 16 h 49"/>
              <a:gd name="T30" fmla="*/ 120 w 148"/>
              <a:gd name="T31" fmla="*/ 22 h 49"/>
              <a:gd name="T32" fmla="*/ 126 w 148"/>
              <a:gd name="T33" fmla="*/ 32 h 49"/>
              <a:gd name="T34" fmla="*/ 137 w 148"/>
              <a:gd name="T35" fmla="*/ 32 h 49"/>
              <a:gd name="T36" fmla="*/ 142 w 148"/>
              <a:gd name="T37" fmla="*/ 32 h 49"/>
              <a:gd name="T38" fmla="*/ 142 w 148"/>
              <a:gd name="T39" fmla="*/ 43 h 49"/>
              <a:gd name="T40" fmla="*/ 142 w 148"/>
              <a:gd name="T41" fmla="*/ 49 h 49"/>
              <a:gd name="T42" fmla="*/ 137 w 148"/>
              <a:gd name="T43" fmla="*/ 43 h 49"/>
              <a:gd name="T44" fmla="*/ 126 w 148"/>
              <a:gd name="T45" fmla="*/ 43 h 49"/>
              <a:gd name="T46" fmla="*/ 120 w 148"/>
              <a:gd name="T47" fmla="*/ 43 h 49"/>
              <a:gd name="T48" fmla="*/ 109 w 148"/>
              <a:gd name="T49" fmla="*/ 43 h 49"/>
              <a:gd name="T50" fmla="*/ 104 w 148"/>
              <a:gd name="T51" fmla="*/ 38 h 49"/>
              <a:gd name="T52" fmla="*/ 104 w 148"/>
              <a:gd name="T53" fmla="*/ 38 h 49"/>
              <a:gd name="T54" fmla="*/ 99 w 148"/>
              <a:gd name="T55" fmla="*/ 38 h 49"/>
              <a:gd name="T56" fmla="*/ 88 w 148"/>
              <a:gd name="T57" fmla="*/ 38 h 49"/>
              <a:gd name="T58" fmla="*/ 77 w 148"/>
              <a:gd name="T59" fmla="*/ 38 h 49"/>
              <a:gd name="T60" fmla="*/ 66 w 148"/>
              <a:gd name="T61" fmla="*/ 32 h 49"/>
              <a:gd name="T62" fmla="*/ 55 w 148"/>
              <a:gd name="T63" fmla="*/ 27 h 49"/>
              <a:gd name="T64" fmla="*/ 50 w 148"/>
              <a:gd name="T65" fmla="*/ 32 h 49"/>
              <a:gd name="T66" fmla="*/ 39 w 148"/>
              <a:gd name="T67" fmla="*/ 32 h 49"/>
              <a:gd name="T68" fmla="*/ 28 w 148"/>
              <a:gd name="T69" fmla="*/ 27 h 49"/>
              <a:gd name="T70" fmla="*/ 17 w 148"/>
              <a:gd name="T71" fmla="*/ 27 h 49"/>
              <a:gd name="T72" fmla="*/ 17 w 148"/>
              <a:gd name="T73" fmla="*/ 22 h 49"/>
              <a:gd name="T74" fmla="*/ 6 w 148"/>
              <a:gd name="T75" fmla="*/ 1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49">
                <a:moveTo>
                  <a:pt x="0" y="16"/>
                </a:moveTo>
                <a:lnTo>
                  <a:pt x="6" y="16"/>
                </a:lnTo>
                <a:lnTo>
                  <a:pt x="6" y="11"/>
                </a:lnTo>
                <a:lnTo>
                  <a:pt x="11" y="11"/>
                </a:lnTo>
                <a:lnTo>
                  <a:pt x="11" y="5"/>
                </a:lnTo>
                <a:lnTo>
                  <a:pt x="17" y="0"/>
                </a:lnTo>
                <a:lnTo>
                  <a:pt x="17" y="5"/>
                </a:lnTo>
                <a:lnTo>
                  <a:pt x="22" y="5"/>
                </a:lnTo>
                <a:lnTo>
                  <a:pt x="28" y="5"/>
                </a:lnTo>
                <a:lnTo>
                  <a:pt x="33" y="5"/>
                </a:lnTo>
                <a:lnTo>
                  <a:pt x="39" y="5"/>
                </a:lnTo>
                <a:lnTo>
                  <a:pt x="39" y="11"/>
                </a:lnTo>
                <a:lnTo>
                  <a:pt x="44" y="5"/>
                </a:lnTo>
                <a:lnTo>
                  <a:pt x="50" y="11"/>
                </a:lnTo>
                <a:lnTo>
                  <a:pt x="50" y="5"/>
                </a:lnTo>
                <a:lnTo>
                  <a:pt x="55" y="11"/>
                </a:lnTo>
                <a:lnTo>
                  <a:pt x="55" y="16"/>
                </a:lnTo>
                <a:lnTo>
                  <a:pt x="60" y="16"/>
                </a:lnTo>
                <a:lnTo>
                  <a:pt x="66" y="16"/>
                </a:lnTo>
                <a:lnTo>
                  <a:pt x="71" y="16"/>
                </a:lnTo>
                <a:lnTo>
                  <a:pt x="77" y="16"/>
                </a:lnTo>
                <a:lnTo>
                  <a:pt x="82" y="22"/>
                </a:lnTo>
                <a:lnTo>
                  <a:pt x="88" y="16"/>
                </a:lnTo>
                <a:lnTo>
                  <a:pt x="88" y="11"/>
                </a:lnTo>
                <a:lnTo>
                  <a:pt x="93" y="11"/>
                </a:lnTo>
                <a:lnTo>
                  <a:pt x="93" y="16"/>
                </a:lnTo>
                <a:lnTo>
                  <a:pt x="99" y="16"/>
                </a:lnTo>
                <a:lnTo>
                  <a:pt x="104" y="16"/>
                </a:lnTo>
                <a:lnTo>
                  <a:pt x="109" y="16"/>
                </a:lnTo>
                <a:lnTo>
                  <a:pt x="115" y="16"/>
                </a:lnTo>
                <a:lnTo>
                  <a:pt x="115" y="22"/>
                </a:lnTo>
                <a:lnTo>
                  <a:pt x="120" y="22"/>
                </a:lnTo>
                <a:lnTo>
                  <a:pt x="120" y="27"/>
                </a:lnTo>
                <a:lnTo>
                  <a:pt x="126" y="32"/>
                </a:lnTo>
                <a:lnTo>
                  <a:pt x="131" y="32"/>
                </a:lnTo>
                <a:lnTo>
                  <a:pt x="137" y="32"/>
                </a:lnTo>
                <a:lnTo>
                  <a:pt x="137" y="27"/>
                </a:lnTo>
                <a:lnTo>
                  <a:pt x="142" y="32"/>
                </a:lnTo>
                <a:lnTo>
                  <a:pt x="142" y="38"/>
                </a:lnTo>
                <a:lnTo>
                  <a:pt x="142" y="43"/>
                </a:lnTo>
                <a:lnTo>
                  <a:pt x="148" y="49"/>
                </a:lnTo>
                <a:lnTo>
                  <a:pt x="142" y="49"/>
                </a:lnTo>
                <a:lnTo>
                  <a:pt x="142" y="43"/>
                </a:lnTo>
                <a:lnTo>
                  <a:pt x="137" y="43"/>
                </a:lnTo>
                <a:lnTo>
                  <a:pt x="131" y="43"/>
                </a:lnTo>
                <a:lnTo>
                  <a:pt x="126" y="43"/>
                </a:lnTo>
                <a:lnTo>
                  <a:pt x="126" y="38"/>
                </a:lnTo>
                <a:lnTo>
                  <a:pt x="120" y="43"/>
                </a:lnTo>
                <a:lnTo>
                  <a:pt x="115" y="43"/>
                </a:lnTo>
                <a:lnTo>
                  <a:pt x="109" y="43"/>
                </a:lnTo>
                <a:lnTo>
                  <a:pt x="104" y="43"/>
                </a:lnTo>
                <a:lnTo>
                  <a:pt x="104" y="38"/>
                </a:lnTo>
                <a:lnTo>
                  <a:pt x="104" y="43"/>
                </a:lnTo>
                <a:lnTo>
                  <a:pt x="104" y="38"/>
                </a:lnTo>
                <a:lnTo>
                  <a:pt x="99" y="43"/>
                </a:lnTo>
                <a:lnTo>
                  <a:pt x="99" y="38"/>
                </a:lnTo>
                <a:lnTo>
                  <a:pt x="93" y="38"/>
                </a:lnTo>
                <a:lnTo>
                  <a:pt x="88" y="38"/>
                </a:lnTo>
                <a:lnTo>
                  <a:pt x="82" y="38"/>
                </a:lnTo>
                <a:lnTo>
                  <a:pt x="77" y="38"/>
                </a:lnTo>
                <a:lnTo>
                  <a:pt x="71" y="32"/>
                </a:lnTo>
                <a:lnTo>
                  <a:pt x="66" y="32"/>
                </a:lnTo>
                <a:lnTo>
                  <a:pt x="60" y="32"/>
                </a:lnTo>
                <a:lnTo>
                  <a:pt x="55" y="27"/>
                </a:lnTo>
                <a:lnTo>
                  <a:pt x="55" y="32"/>
                </a:lnTo>
                <a:lnTo>
                  <a:pt x="50" y="32"/>
                </a:lnTo>
                <a:lnTo>
                  <a:pt x="44" y="32"/>
                </a:lnTo>
                <a:lnTo>
                  <a:pt x="39" y="32"/>
                </a:lnTo>
                <a:lnTo>
                  <a:pt x="33" y="27"/>
                </a:lnTo>
                <a:lnTo>
                  <a:pt x="28" y="27"/>
                </a:lnTo>
                <a:lnTo>
                  <a:pt x="22" y="27"/>
                </a:lnTo>
                <a:lnTo>
                  <a:pt x="17" y="27"/>
                </a:lnTo>
                <a:lnTo>
                  <a:pt x="22" y="22"/>
                </a:lnTo>
                <a:lnTo>
                  <a:pt x="17" y="22"/>
                </a:lnTo>
                <a:lnTo>
                  <a:pt x="11" y="16"/>
                </a:lnTo>
                <a:lnTo>
                  <a:pt x="6" y="16"/>
                </a:lnTo>
                <a:lnTo>
                  <a:pt x="0" y="16"/>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3" name="Freeform 415">
            <a:extLst>
              <a:ext uri="{FF2B5EF4-FFF2-40B4-BE49-F238E27FC236}">
                <a16:creationId xmlns:a16="http://schemas.microsoft.com/office/drawing/2014/main" id="{47677860-7BFA-7DBA-27A2-922F2AD4256A}"/>
              </a:ext>
            </a:extLst>
          </p:cNvPr>
          <p:cNvSpPr>
            <a:spLocks/>
          </p:cNvSpPr>
          <p:nvPr/>
        </p:nvSpPr>
        <p:spPr bwMode="auto">
          <a:xfrm>
            <a:off x="4700588" y="3144837"/>
            <a:ext cx="6350" cy="12700"/>
          </a:xfrm>
          <a:custGeom>
            <a:avLst/>
            <a:gdLst>
              <a:gd name="T0" fmla="*/ 0 w 5"/>
              <a:gd name="T1" fmla="*/ 5 h 10"/>
              <a:gd name="T2" fmla="*/ 0 w 5"/>
              <a:gd name="T3" fmla="*/ 0 h 10"/>
              <a:gd name="T4" fmla="*/ 5 w 5"/>
              <a:gd name="T5" fmla="*/ 0 h 10"/>
              <a:gd name="T6" fmla="*/ 5 w 5"/>
              <a:gd name="T7" fmla="*/ 5 h 10"/>
              <a:gd name="T8" fmla="*/ 5 w 5"/>
              <a:gd name="T9" fmla="*/ 10 h 10"/>
              <a:gd name="T10" fmla="*/ 0 w 5"/>
              <a:gd name="T11" fmla="*/ 10 h 10"/>
              <a:gd name="T12" fmla="*/ 0 w 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5" h="10">
                <a:moveTo>
                  <a:pt x="0" y="5"/>
                </a:moveTo>
                <a:lnTo>
                  <a:pt x="0" y="0"/>
                </a:lnTo>
                <a:lnTo>
                  <a:pt x="5" y="0"/>
                </a:lnTo>
                <a:lnTo>
                  <a:pt x="5" y="5"/>
                </a:lnTo>
                <a:lnTo>
                  <a:pt x="5" y="10"/>
                </a:lnTo>
                <a:lnTo>
                  <a:pt x="0" y="10"/>
                </a:lnTo>
                <a:lnTo>
                  <a:pt x="0" y="5"/>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4" name="Freeform 420">
            <a:extLst>
              <a:ext uri="{FF2B5EF4-FFF2-40B4-BE49-F238E27FC236}">
                <a16:creationId xmlns:a16="http://schemas.microsoft.com/office/drawing/2014/main" id="{F9ACA0E5-0903-9B03-F706-9FAC50D6A494}"/>
              </a:ext>
            </a:extLst>
          </p:cNvPr>
          <p:cNvSpPr>
            <a:spLocks/>
          </p:cNvSpPr>
          <p:nvPr/>
        </p:nvSpPr>
        <p:spPr bwMode="auto">
          <a:xfrm>
            <a:off x="4749799" y="3044825"/>
            <a:ext cx="115888" cy="146050"/>
          </a:xfrm>
          <a:custGeom>
            <a:avLst/>
            <a:gdLst>
              <a:gd name="T0" fmla="*/ 5 w 103"/>
              <a:gd name="T1" fmla="*/ 71 h 120"/>
              <a:gd name="T2" fmla="*/ 10 w 103"/>
              <a:gd name="T3" fmla="*/ 60 h 120"/>
              <a:gd name="T4" fmla="*/ 16 w 103"/>
              <a:gd name="T5" fmla="*/ 49 h 120"/>
              <a:gd name="T6" fmla="*/ 16 w 103"/>
              <a:gd name="T7" fmla="*/ 38 h 120"/>
              <a:gd name="T8" fmla="*/ 16 w 103"/>
              <a:gd name="T9" fmla="*/ 38 h 120"/>
              <a:gd name="T10" fmla="*/ 16 w 103"/>
              <a:gd name="T11" fmla="*/ 27 h 120"/>
              <a:gd name="T12" fmla="*/ 21 w 103"/>
              <a:gd name="T13" fmla="*/ 27 h 120"/>
              <a:gd name="T14" fmla="*/ 21 w 103"/>
              <a:gd name="T15" fmla="*/ 16 h 120"/>
              <a:gd name="T16" fmla="*/ 27 w 103"/>
              <a:gd name="T17" fmla="*/ 11 h 120"/>
              <a:gd name="T18" fmla="*/ 38 w 103"/>
              <a:gd name="T19" fmla="*/ 11 h 120"/>
              <a:gd name="T20" fmla="*/ 43 w 103"/>
              <a:gd name="T21" fmla="*/ 11 h 120"/>
              <a:gd name="T22" fmla="*/ 54 w 103"/>
              <a:gd name="T23" fmla="*/ 11 h 120"/>
              <a:gd name="T24" fmla="*/ 65 w 103"/>
              <a:gd name="T25" fmla="*/ 16 h 120"/>
              <a:gd name="T26" fmla="*/ 81 w 103"/>
              <a:gd name="T27" fmla="*/ 16 h 120"/>
              <a:gd name="T28" fmla="*/ 87 w 103"/>
              <a:gd name="T29" fmla="*/ 11 h 120"/>
              <a:gd name="T30" fmla="*/ 92 w 103"/>
              <a:gd name="T31" fmla="*/ 5 h 120"/>
              <a:gd name="T32" fmla="*/ 103 w 103"/>
              <a:gd name="T33" fmla="*/ 0 h 120"/>
              <a:gd name="T34" fmla="*/ 103 w 103"/>
              <a:gd name="T35" fmla="*/ 11 h 120"/>
              <a:gd name="T36" fmla="*/ 98 w 103"/>
              <a:gd name="T37" fmla="*/ 16 h 120"/>
              <a:gd name="T38" fmla="*/ 87 w 103"/>
              <a:gd name="T39" fmla="*/ 22 h 120"/>
              <a:gd name="T40" fmla="*/ 76 w 103"/>
              <a:gd name="T41" fmla="*/ 22 h 120"/>
              <a:gd name="T42" fmla="*/ 54 w 103"/>
              <a:gd name="T43" fmla="*/ 22 h 120"/>
              <a:gd name="T44" fmla="*/ 43 w 103"/>
              <a:gd name="T45" fmla="*/ 22 h 120"/>
              <a:gd name="T46" fmla="*/ 32 w 103"/>
              <a:gd name="T47" fmla="*/ 22 h 120"/>
              <a:gd name="T48" fmla="*/ 27 w 103"/>
              <a:gd name="T49" fmla="*/ 27 h 120"/>
              <a:gd name="T50" fmla="*/ 21 w 103"/>
              <a:gd name="T51" fmla="*/ 38 h 120"/>
              <a:gd name="T52" fmla="*/ 32 w 103"/>
              <a:gd name="T53" fmla="*/ 49 h 120"/>
              <a:gd name="T54" fmla="*/ 43 w 103"/>
              <a:gd name="T55" fmla="*/ 43 h 120"/>
              <a:gd name="T56" fmla="*/ 54 w 103"/>
              <a:gd name="T57" fmla="*/ 43 h 120"/>
              <a:gd name="T58" fmla="*/ 65 w 103"/>
              <a:gd name="T59" fmla="*/ 43 h 120"/>
              <a:gd name="T60" fmla="*/ 65 w 103"/>
              <a:gd name="T61" fmla="*/ 38 h 120"/>
              <a:gd name="T62" fmla="*/ 76 w 103"/>
              <a:gd name="T63" fmla="*/ 38 h 120"/>
              <a:gd name="T64" fmla="*/ 70 w 103"/>
              <a:gd name="T65" fmla="*/ 43 h 120"/>
              <a:gd name="T66" fmla="*/ 65 w 103"/>
              <a:gd name="T67" fmla="*/ 49 h 120"/>
              <a:gd name="T68" fmla="*/ 54 w 103"/>
              <a:gd name="T69" fmla="*/ 54 h 120"/>
              <a:gd name="T70" fmla="*/ 49 w 103"/>
              <a:gd name="T71" fmla="*/ 60 h 120"/>
              <a:gd name="T72" fmla="*/ 49 w 103"/>
              <a:gd name="T73" fmla="*/ 60 h 120"/>
              <a:gd name="T74" fmla="*/ 54 w 103"/>
              <a:gd name="T75" fmla="*/ 71 h 120"/>
              <a:gd name="T76" fmla="*/ 54 w 103"/>
              <a:gd name="T77" fmla="*/ 76 h 120"/>
              <a:gd name="T78" fmla="*/ 54 w 103"/>
              <a:gd name="T79" fmla="*/ 87 h 120"/>
              <a:gd name="T80" fmla="*/ 60 w 103"/>
              <a:gd name="T81" fmla="*/ 92 h 120"/>
              <a:gd name="T82" fmla="*/ 60 w 103"/>
              <a:gd name="T83" fmla="*/ 92 h 120"/>
              <a:gd name="T84" fmla="*/ 65 w 103"/>
              <a:gd name="T85" fmla="*/ 98 h 120"/>
              <a:gd name="T86" fmla="*/ 54 w 103"/>
              <a:gd name="T87" fmla="*/ 103 h 120"/>
              <a:gd name="T88" fmla="*/ 43 w 103"/>
              <a:gd name="T89" fmla="*/ 103 h 120"/>
              <a:gd name="T90" fmla="*/ 43 w 103"/>
              <a:gd name="T91" fmla="*/ 92 h 120"/>
              <a:gd name="T92" fmla="*/ 32 w 103"/>
              <a:gd name="T93" fmla="*/ 87 h 120"/>
              <a:gd name="T94" fmla="*/ 38 w 103"/>
              <a:gd name="T95" fmla="*/ 82 h 120"/>
              <a:gd name="T96" fmla="*/ 38 w 103"/>
              <a:gd name="T97" fmla="*/ 71 h 120"/>
              <a:gd name="T98" fmla="*/ 27 w 103"/>
              <a:gd name="T99" fmla="*/ 71 h 120"/>
              <a:gd name="T100" fmla="*/ 27 w 103"/>
              <a:gd name="T101" fmla="*/ 82 h 120"/>
              <a:gd name="T102" fmla="*/ 27 w 103"/>
              <a:gd name="T103" fmla="*/ 92 h 120"/>
              <a:gd name="T104" fmla="*/ 27 w 103"/>
              <a:gd name="T105" fmla="*/ 103 h 120"/>
              <a:gd name="T106" fmla="*/ 27 w 103"/>
              <a:gd name="T107" fmla="*/ 114 h 120"/>
              <a:gd name="T108" fmla="*/ 21 w 103"/>
              <a:gd name="T109" fmla="*/ 114 h 120"/>
              <a:gd name="T110" fmla="*/ 16 w 103"/>
              <a:gd name="T111" fmla="*/ 114 h 120"/>
              <a:gd name="T112" fmla="*/ 10 w 103"/>
              <a:gd name="T113" fmla="*/ 120 h 120"/>
              <a:gd name="T114" fmla="*/ 10 w 103"/>
              <a:gd name="T115" fmla="*/ 109 h 120"/>
              <a:gd name="T116" fmla="*/ 16 w 103"/>
              <a:gd name="T117" fmla="*/ 92 h 120"/>
              <a:gd name="T118" fmla="*/ 10 w 103"/>
              <a:gd name="T119" fmla="*/ 82 h 120"/>
              <a:gd name="T120" fmla="*/ 5 w 103"/>
              <a:gd name="T121" fmla="*/ 82 h 120"/>
              <a:gd name="T122" fmla="*/ 5 w 103"/>
              <a:gd name="T123" fmla="*/ 7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120">
                <a:moveTo>
                  <a:pt x="0" y="76"/>
                </a:moveTo>
                <a:lnTo>
                  <a:pt x="5" y="71"/>
                </a:lnTo>
                <a:lnTo>
                  <a:pt x="5" y="65"/>
                </a:lnTo>
                <a:lnTo>
                  <a:pt x="10" y="60"/>
                </a:lnTo>
                <a:lnTo>
                  <a:pt x="10" y="49"/>
                </a:lnTo>
                <a:lnTo>
                  <a:pt x="16" y="49"/>
                </a:lnTo>
                <a:lnTo>
                  <a:pt x="16" y="43"/>
                </a:lnTo>
                <a:lnTo>
                  <a:pt x="16" y="38"/>
                </a:lnTo>
                <a:lnTo>
                  <a:pt x="21" y="43"/>
                </a:lnTo>
                <a:lnTo>
                  <a:pt x="16" y="38"/>
                </a:lnTo>
                <a:lnTo>
                  <a:pt x="21" y="32"/>
                </a:lnTo>
                <a:lnTo>
                  <a:pt x="16" y="27"/>
                </a:lnTo>
                <a:lnTo>
                  <a:pt x="21" y="32"/>
                </a:lnTo>
                <a:lnTo>
                  <a:pt x="21" y="27"/>
                </a:lnTo>
                <a:lnTo>
                  <a:pt x="21" y="22"/>
                </a:lnTo>
                <a:lnTo>
                  <a:pt x="21" y="16"/>
                </a:lnTo>
                <a:lnTo>
                  <a:pt x="27" y="16"/>
                </a:lnTo>
                <a:lnTo>
                  <a:pt x="27" y="11"/>
                </a:lnTo>
                <a:lnTo>
                  <a:pt x="32" y="16"/>
                </a:lnTo>
                <a:lnTo>
                  <a:pt x="38" y="11"/>
                </a:lnTo>
                <a:lnTo>
                  <a:pt x="38" y="5"/>
                </a:lnTo>
                <a:lnTo>
                  <a:pt x="43" y="11"/>
                </a:lnTo>
                <a:lnTo>
                  <a:pt x="49" y="11"/>
                </a:lnTo>
                <a:lnTo>
                  <a:pt x="54" y="11"/>
                </a:lnTo>
                <a:lnTo>
                  <a:pt x="60" y="11"/>
                </a:lnTo>
                <a:lnTo>
                  <a:pt x="65" y="16"/>
                </a:lnTo>
                <a:lnTo>
                  <a:pt x="70" y="16"/>
                </a:lnTo>
                <a:lnTo>
                  <a:pt x="81" y="16"/>
                </a:lnTo>
                <a:lnTo>
                  <a:pt x="87" y="16"/>
                </a:lnTo>
                <a:lnTo>
                  <a:pt x="87" y="11"/>
                </a:lnTo>
                <a:lnTo>
                  <a:pt x="92" y="11"/>
                </a:lnTo>
                <a:lnTo>
                  <a:pt x="92" y="5"/>
                </a:lnTo>
                <a:lnTo>
                  <a:pt x="98" y="5"/>
                </a:lnTo>
                <a:lnTo>
                  <a:pt x="103" y="0"/>
                </a:lnTo>
                <a:lnTo>
                  <a:pt x="103" y="5"/>
                </a:lnTo>
                <a:lnTo>
                  <a:pt x="103" y="11"/>
                </a:lnTo>
                <a:lnTo>
                  <a:pt x="98" y="11"/>
                </a:lnTo>
                <a:lnTo>
                  <a:pt x="98" y="16"/>
                </a:lnTo>
                <a:lnTo>
                  <a:pt x="92" y="22"/>
                </a:lnTo>
                <a:lnTo>
                  <a:pt x="87" y="22"/>
                </a:lnTo>
                <a:lnTo>
                  <a:pt x="81" y="27"/>
                </a:lnTo>
                <a:lnTo>
                  <a:pt x="76" y="22"/>
                </a:lnTo>
                <a:lnTo>
                  <a:pt x="70" y="22"/>
                </a:lnTo>
                <a:lnTo>
                  <a:pt x="54" y="22"/>
                </a:lnTo>
                <a:lnTo>
                  <a:pt x="49" y="22"/>
                </a:lnTo>
                <a:lnTo>
                  <a:pt x="43" y="22"/>
                </a:lnTo>
                <a:lnTo>
                  <a:pt x="38" y="22"/>
                </a:lnTo>
                <a:lnTo>
                  <a:pt x="32" y="22"/>
                </a:lnTo>
                <a:lnTo>
                  <a:pt x="27" y="22"/>
                </a:lnTo>
                <a:lnTo>
                  <a:pt x="27" y="27"/>
                </a:lnTo>
                <a:lnTo>
                  <a:pt x="21" y="32"/>
                </a:lnTo>
                <a:lnTo>
                  <a:pt x="21" y="38"/>
                </a:lnTo>
                <a:lnTo>
                  <a:pt x="27" y="43"/>
                </a:lnTo>
                <a:lnTo>
                  <a:pt x="32" y="49"/>
                </a:lnTo>
                <a:lnTo>
                  <a:pt x="38" y="49"/>
                </a:lnTo>
                <a:lnTo>
                  <a:pt x="43" y="43"/>
                </a:lnTo>
                <a:lnTo>
                  <a:pt x="49" y="43"/>
                </a:lnTo>
                <a:lnTo>
                  <a:pt x="54" y="43"/>
                </a:lnTo>
                <a:lnTo>
                  <a:pt x="60" y="43"/>
                </a:lnTo>
                <a:lnTo>
                  <a:pt x="65" y="43"/>
                </a:lnTo>
                <a:lnTo>
                  <a:pt x="70" y="38"/>
                </a:lnTo>
                <a:lnTo>
                  <a:pt x="65" y="38"/>
                </a:lnTo>
                <a:lnTo>
                  <a:pt x="70" y="38"/>
                </a:lnTo>
                <a:lnTo>
                  <a:pt x="76" y="38"/>
                </a:lnTo>
                <a:lnTo>
                  <a:pt x="76" y="43"/>
                </a:lnTo>
                <a:lnTo>
                  <a:pt x="70" y="43"/>
                </a:lnTo>
                <a:lnTo>
                  <a:pt x="65" y="43"/>
                </a:lnTo>
                <a:lnTo>
                  <a:pt x="65" y="49"/>
                </a:lnTo>
                <a:lnTo>
                  <a:pt x="60" y="54"/>
                </a:lnTo>
                <a:lnTo>
                  <a:pt x="54" y="54"/>
                </a:lnTo>
                <a:lnTo>
                  <a:pt x="49" y="54"/>
                </a:lnTo>
                <a:lnTo>
                  <a:pt x="49" y="60"/>
                </a:lnTo>
                <a:lnTo>
                  <a:pt x="43" y="60"/>
                </a:lnTo>
                <a:lnTo>
                  <a:pt x="49" y="60"/>
                </a:lnTo>
                <a:lnTo>
                  <a:pt x="49" y="65"/>
                </a:lnTo>
                <a:lnTo>
                  <a:pt x="54" y="71"/>
                </a:lnTo>
                <a:lnTo>
                  <a:pt x="60" y="76"/>
                </a:lnTo>
                <a:lnTo>
                  <a:pt x="54" y="76"/>
                </a:lnTo>
                <a:lnTo>
                  <a:pt x="60" y="82"/>
                </a:lnTo>
                <a:lnTo>
                  <a:pt x="54" y="87"/>
                </a:lnTo>
                <a:lnTo>
                  <a:pt x="60" y="87"/>
                </a:lnTo>
                <a:lnTo>
                  <a:pt x="60" y="92"/>
                </a:lnTo>
                <a:lnTo>
                  <a:pt x="65" y="92"/>
                </a:lnTo>
                <a:lnTo>
                  <a:pt x="60" y="92"/>
                </a:lnTo>
                <a:lnTo>
                  <a:pt x="65" y="92"/>
                </a:lnTo>
                <a:lnTo>
                  <a:pt x="65" y="98"/>
                </a:lnTo>
                <a:lnTo>
                  <a:pt x="60" y="98"/>
                </a:lnTo>
                <a:lnTo>
                  <a:pt x="54" y="103"/>
                </a:lnTo>
                <a:lnTo>
                  <a:pt x="49" y="109"/>
                </a:lnTo>
                <a:lnTo>
                  <a:pt x="43" y="103"/>
                </a:lnTo>
                <a:lnTo>
                  <a:pt x="43" y="98"/>
                </a:lnTo>
                <a:lnTo>
                  <a:pt x="43" y="92"/>
                </a:lnTo>
                <a:lnTo>
                  <a:pt x="38" y="87"/>
                </a:lnTo>
                <a:lnTo>
                  <a:pt x="32" y="87"/>
                </a:lnTo>
                <a:lnTo>
                  <a:pt x="32" y="82"/>
                </a:lnTo>
                <a:lnTo>
                  <a:pt x="38" y="82"/>
                </a:lnTo>
                <a:lnTo>
                  <a:pt x="38" y="76"/>
                </a:lnTo>
                <a:lnTo>
                  <a:pt x="38" y="71"/>
                </a:lnTo>
                <a:lnTo>
                  <a:pt x="32" y="71"/>
                </a:lnTo>
                <a:lnTo>
                  <a:pt x="27" y="71"/>
                </a:lnTo>
                <a:lnTo>
                  <a:pt x="27" y="76"/>
                </a:lnTo>
                <a:lnTo>
                  <a:pt x="27" y="82"/>
                </a:lnTo>
                <a:lnTo>
                  <a:pt x="27" y="87"/>
                </a:lnTo>
                <a:lnTo>
                  <a:pt x="27" y="92"/>
                </a:lnTo>
                <a:lnTo>
                  <a:pt x="27" y="98"/>
                </a:lnTo>
                <a:lnTo>
                  <a:pt x="27" y="103"/>
                </a:lnTo>
                <a:lnTo>
                  <a:pt x="21" y="109"/>
                </a:lnTo>
                <a:lnTo>
                  <a:pt x="27" y="114"/>
                </a:lnTo>
                <a:lnTo>
                  <a:pt x="27" y="120"/>
                </a:lnTo>
                <a:lnTo>
                  <a:pt x="21" y="114"/>
                </a:lnTo>
                <a:lnTo>
                  <a:pt x="21" y="120"/>
                </a:lnTo>
                <a:lnTo>
                  <a:pt x="16" y="114"/>
                </a:lnTo>
                <a:lnTo>
                  <a:pt x="16" y="120"/>
                </a:lnTo>
                <a:lnTo>
                  <a:pt x="10" y="120"/>
                </a:lnTo>
                <a:lnTo>
                  <a:pt x="10" y="114"/>
                </a:lnTo>
                <a:lnTo>
                  <a:pt x="10" y="109"/>
                </a:lnTo>
                <a:lnTo>
                  <a:pt x="10" y="103"/>
                </a:lnTo>
                <a:lnTo>
                  <a:pt x="16" y="92"/>
                </a:lnTo>
                <a:lnTo>
                  <a:pt x="10" y="87"/>
                </a:lnTo>
                <a:lnTo>
                  <a:pt x="10" y="82"/>
                </a:lnTo>
                <a:lnTo>
                  <a:pt x="5" y="87"/>
                </a:lnTo>
                <a:lnTo>
                  <a:pt x="5" y="82"/>
                </a:lnTo>
                <a:lnTo>
                  <a:pt x="0" y="76"/>
                </a:lnTo>
                <a:lnTo>
                  <a:pt x="5" y="76"/>
                </a:lnTo>
                <a:lnTo>
                  <a:pt x="0" y="76"/>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5" name="Freeform 842">
            <a:extLst>
              <a:ext uri="{FF2B5EF4-FFF2-40B4-BE49-F238E27FC236}">
                <a16:creationId xmlns:a16="http://schemas.microsoft.com/office/drawing/2014/main" id="{334EA082-00B3-DED3-06FD-17B0CAFD0EDA}"/>
              </a:ext>
            </a:extLst>
          </p:cNvPr>
          <p:cNvSpPr>
            <a:spLocks/>
          </p:cNvSpPr>
          <p:nvPr/>
        </p:nvSpPr>
        <p:spPr bwMode="auto">
          <a:xfrm>
            <a:off x="4970462" y="3084513"/>
            <a:ext cx="177800" cy="173038"/>
          </a:xfrm>
          <a:custGeom>
            <a:avLst/>
            <a:gdLst>
              <a:gd name="T0" fmla="*/ 142 w 158"/>
              <a:gd name="T1" fmla="*/ 137 h 142"/>
              <a:gd name="T2" fmla="*/ 136 w 158"/>
              <a:gd name="T3" fmla="*/ 131 h 142"/>
              <a:gd name="T4" fmla="*/ 125 w 158"/>
              <a:gd name="T5" fmla="*/ 126 h 142"/>
              <a:gd name="T6" fmla="*/ 114 w 158"/>
              <a:gd name="T7" fmla="*/ 126 h 142"/>
              <a:gd name="T8" fmla="*/ 120 w 158"/>
              <a:gd name="T9" fmla="*/ 120 h 142"/>
              <a:gd name="T10" fmla="*/ 114 w 158"/>
              <a:gd name="T11" fmla="*/ 115 h 142"/>
              <a:gd name="T12" fmla="*/ 114 w 158"/>
              <a:gd name="T13" fmla="*/ 104 h 142"/>
              <a:gd name="T14" fmla="*/ 114 w 158"/>
              <a:gd name="T15" fmla="*/ 93 h 142"/>
              <a:gd name="T16" fmla="*/ 109 w 158"/>
              <a:gd name="T17" fmla="*/ 82 h 142"/>
              <a:gd name="T18" fmla="*/ 103 w 158"/>
              <a:gd name="T19" fmla="*/ 77 h 142"/>
              <a:gd name="T20" fmla="*/ 87 w 158"/>
              <a:gd name="T21" fmla="*/ 71 h 142"/>
              <a:gd name="T22" fmla="*/ 76 w 158"/>
              <a:gd name="T23" fmla="*/ 71 h 142"/>
              <a:gd name="T24" fmla="*/ 71 w 158"/>
              <a:gd name="T25" fmla="*/ 66 h 142"/>
              <a:gd name="T26" fmla="*/ 60 w 158"/>
              <a:gd name="T27" fmla="*/ 66 h 142"/>
              <a:gd name="T28" fmla="*/ 49 w 158"/>
              <a:gd name="T29" fmla="*/ 60 h 142"/>
              <a:gd name="T30" fmla="*/ 43 w 158"/>
              <a:gd name="T31" fmla="*/ 50 h 142"/>
              <a:gd name="T32" fmla="*/ 38 w 158"/>
              <a:gd name="T33" fmla="*/ 60 h 142"/>
              <a:gd name="T34" fmla="*/ 27 w 158"/>
              <a:gd name="T35" fmla="*/ 60 h 142"/>
              <a:gd name="T36" fmla="*/ 27 w 158"/>
              <a:gd name="T37" fmla="*/ 50 h 142"/>
              <a:gd name="T38" fmla="*/ 16 w 158"/>
              <a:gd name="T39" fmla="*/ 44 h 142"/>
              <a:gd name="T40" fmla="*/ 22 w 158"/>
              <a:gd name="T41" fmla="*/ 39 h 142"/>
              <a:gd name="T42" fmla="*/ 33 w 158"/>
              <a:gd name="T43" fmla="*/ 39 h 142"/>
              <a:gd name="T44" fmla="*/ 38 w 158"/>
              <a:gd name="T45" fmla="*/ 39 h 142"/>
              <a:gd name="T46" fmla="*/ 43 w 158"/>
              <a:gd name="T47" fmla="*/ 33 h 142"/>
              <a:gd name="T48" fmla="*/ 33 w 158"/>
              <a:gd name="T49" fmla="*/ 33 h 142"/>
              <a:gd name="T50" fmla="*/ 22 w 158"/>
              <a:gd name="T51" fmla="*/ 33 h 142"/>
              <a:gd name="T52" fmla="*/ 16 w 158"/>
              <a:gd name="T53" fmla="*/ 22 h 142"/>
              <a:gd name="T54" fmla="*/ 5 w 158"/>
              <a:gd name="T55" fmla="*/ 22 h 142"/>
              <a:gd name="T56" fmla="*/ 5 w 158"/>
              <a:gd name="T57" fmla="*/ 17 h 142"/>
              <a:gd name="T58" fmla="*/ 11 w 158"/>
              <a:gd name="T59" fmla="*/ 6 h 142"/>
              <a:gd name="T60" fmla="*/ 22 w 158"/>
              <a:gd name="T61" fmla="*/ 0 h 142"/>
              <a:gd name="T62" fmla="*/ 33 w 158"/>
              <a:gd name="T63" fmla="*/ 6 h 142"/>
              <a:gd name="T64" fmla="*/ 49 w 158"/>
              <a:gd name="T65" fmla="*/ 6 h 142"/>
              <a:gd name="T66" fmla="*/ 49 w 158"/>
              <a:gd name="T67" fmla="*/ 17 h 142"/>
              <a:gd name="T68" fmla="*/ 54 w 158"/>
              <a:gd name="T69" fmla="*/ 22 h 142"/>
              <a:gd name="T70" fmla="*/ 49 w 158"/>
              <a:gd name="T71" fmla="*/ 28 h 142"/>
              <a:gd name="T72" fmla="*/ 54 w 158"/>
              <a:gd name="T73" fmla="*/ 39 h 142"/>
              <a:gd name="T74" fmla="*/ 54 w 158"/>
              <a:gd name="T75" fmla="*/ 39 h 142"/>
              <a:gd name="T76" fmla="*/ 60 w 158"/>
              <a:gd name="T77" fmla="*/ 44 h 142"/>
              <a:gd name="T78" fmla="*/ 65 w 158"/>
              <a:gd name="T79" fmla="*/ 50 h 142"/>
              <a:gd name="T80" fmla="*/ 76 w 158"/>
              <a:gd name="T81" fmla="*/ 44 h 142"/>
              <a:gd name="T82" fmla="*/ 82 w 158"/>
              <a:gd name="T83" fmla="*/ 39 h 142"/>
              <a:gd name="T84" fmla="*/ 93 w 158"/>
              <a:gd name="T85" fmla="*/ 33 h 142"/>
              <a:gd name="T86" fmla="*/ 98 w 158"/>
              <a:gd name="T87" fmla="*/ 28 h 142"/>
              <a:gd name="T88" fmla="*/ 103 w 158"/>
              <a:gd name="T89" fmla="*/ 22 h 142"/>
              <a:gd name="T90" fmla="*/ 114 w 158"/>
              <a:gd name="T91" fmla="*/ 22 h 142"/>
              <a:gd name="T92" fmla="*/ 120 w 158"/>
              <a:gd name="T93" fmla="*/ 28 h 142"/>
              <a:gd name="T94" fmla="*/ 136 w 158"/>
              <a:gd name="T95" fmla="*/ 33 h 142"/>
              <a:gd name="T96" fmla="*/ 147 w 158"/>
              <a:gd name="T97" fmla="*/ 33 h 142"/>
              <a:gd name="T98" fmla="*/ 152 w 158"/>
              <a:gd name="T99" fmla="*/ 39 h 142"/>
              <a:gd name="T100" fmla="*/ 158 w 158"/>
              <a:gd name="T101" fmla="*/ 71 h 142"/>
              <a:gd name="T102" fmla="*/ 152 w 158"/>
              <a:gd name="T103" fmla="*/ 99 h 142"/>
              <a:gd name="T104" fmla="*/ 152 w 158"/>
              <a:gd name="T105" fmla="*/ 10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8" h="142">
                <a:moveTo>
                  <a:pt x="147" y="142"/>
                </a:moveTo>
                <a:lnTo>
                  <a:pt x="142" y="137"/>
                </a:lnTo>
                <a:lnTo>
                  <a:pt x="142" y="131"/>
                </a:lnTo>
                <a:lnTo>
                  <a:pt x="136" y="131"/>
                </a:lnTo>
                <a:lnTo>
                  <a:pt x="131" y="126"/>
                </a:lnTo>
                <a:lnTo>
                  <a:pt x="125" y="126"/>
                </a:lnTo>
                <a:lnTo>
                  <a:pt x="120" y="126"/>
                </a:lnTo>
                <a:lnTo>
                  <a:pt x="114" y="126"/>
                </a:lnTo>
                <a:lnTo>
                  <a:pt x="114" y="120"/>
                </a:lnTo>
                <a:lnTo>
                  <a:pt x="120" y="120"/>
                </a:lnTo>
                <a:lnTo>
                  <a:pt x="120" y="115"/>
                </a:lnTo>
                <a:lnTo>
                  <a:pt x="114" y="115"/>
                </a:lnTo>
                <a:lnTo>
                  <a:pt x="114" y="110"/>
                </a:lnTo>
                <a:lnTo>
                  <a:pt x="114" y="104"/>
                </a:lnTo>
                <a:lnTo>
                  <a:pt x="114" y="99"/>
                </a:lnTo>
                <a:lnTo>
                  <a:pt x="114" y="93"/>
                </a:lnTo>
                <a:lnTo>
                  <a:pt x="109" y="88"/>
                </a:lnTo>
                <a:lnTo>
                  <a:pt x="109" y="82"/>
                </a:lnTo>
                <a:lnTo>
                  <a:pt x="103" y="82"/>
                </a:lnTo>
                <a:lnTo>
                  <a:pt x="103" y="77"/>
                </a:lnTo>
                <a:lnTo>
                  <a:pt x="98" y="77"/>
                </a:lnTo>
                <a:lnTo>
                  <a:pt x="87" y="71"/>
                </a:lnTo>
                <a:lnTo>
                  <a:pt x="82" y="71"/>
                </a:lnTo>
                <a:lnTo>
                  <a:pt x="76" y="71"/>
                </a:lnTo>
                <a:lnTo>
                  <a:pt x="76" y="66"/>
                </a:lnTo>
                <a:lnTo>
                  <a:pt x="71" y="66"/>
                </a:lnTo>
                <a:lnTo>
                  <a:pt x="65" y="66"/>
                </a:lnTo>
                <a:lnTo>
                  <a:pt x="60" y="66"/>
                </a:lnTo>
                <a:lnTo>
                  <a:pt x="54" y="60"/>
                </a:lnTo>
                <a:lnTo>
                  <a:pt x="49" y="60"/>
                </a:lnTo>
                <a:lnTo>
                  <a:pt x="43" y="55"/>
                </a:lnTo>
                <a:lnTo>
                  <a:pt x="43" y="50"/>
                </a:lnTo>
                <a:lnTo>
                  <a:pt x="38" y="55"/>
                </a:lnTo>
                <a:lnTo>
                  <a:pt x="38" y="60"/>
                </a:lnTo>
                <a:lnTo>
                  <a:pt x="33" y="60"/>
                </a:lnTo>
                <a:lnTo>
                  <a:pt x="27" y="60"/>
                </a:lnTo>
                <a:lnTo>
                  <a:pt x="27" y="55"/>
                </a:lnTo>
                <a:lnTo>
                  <a:pt x="27" y="50"/>
                </a:lnTo>
                <a:lnTo>
                  <a:pt x="22" y="44"/>
                </a:lnTo>
                <a:lnTo>
                  <a:pt x="16" y="44"/>
                </a:lnTo>
                <a:lnTo>
                  <a:pt x="16" y="39"/>
                </a:lnTo>
                <a:lnTo>
                  <a:pt x="22" y="39"/>
                </a:lnTo>
                <a:lnTo>
                  <a:pt x="27" y="39"/>
                </a:lnTo>
                <a:lnTo>
                  <a:pt x="33" y="39"/>
                </a:lnTo>
                <a:lnTo>
                  <a:pt x="38" y="33"/>
                </a:lnTo>
                <a:lnTo>
                  <a:pt x="38" y="39"/>
                </a:lnTo>
                <a:lnTo>
                  <a:pt x="43" y="39"/>
                </a:lnTo>
                <a:lnTo>
                  <a:pt x="43" y="33"/>
                </a:lnTo>
                <a:lnTo>
                  <a:pt x="38" y="33"/>
                </a:lnTo>
                <a:lnTo>
                  <a:pt x="33" y="33"/>
                </a:lnTo>
                <a:lnTo>
                  <a:pt x="27" y="33"/>
                </a:lnTo>
                <a:lnTo>
                  <a:pt x="22" y="33"/>
                </a:lnTo>
                <a:lnTo>
                  <a:pt x="16" y="28"/>
                </a:lnTo>
                <a:lnTo>
                  <a:pt x="16" y="22"/>
                </a:lnTo>
                <a:lnTo>
                  <a:pt x="11" y="22"/>
                </a:lnTo>
                <a:lnTo>
                  <a:pt x="5" y="22"/>
                </a:lnTo>
                <a:lnTo>
                  <a:pt x="0" y="17"/>
                </a:lnTo>
                <a:lnTo>
                  <a:pt x="5" y="17"/>
                </a:lnTo>
                <a:lnTo>
                  <a:pt x="5" y="11"/>
                </a:lnTo>
                <a:lnTo>
                  <a:pt x="11" y="6"/>
                </a:lnTo>
                <a:lnTo>
                  <a:pt x="16" y="6"/>
                </a:lnTo>
                <a:lnTo>
                  <a:pt x="22" y="0"/>
                </a:lnTo>
                <a:lnTo>
                  <a:pt x="27" y="0"/>
                </a:lnTo>
                <a:lnTo>
                  <a:pt x="33" y="6"/>
                </a:lnTo>
                <a:lnTo>
                  <a:pt x="38" y="6"/>
                </a:lnTo>
                <a:lnTo>
                  <a:pt x="49" y="6"/>
                </a:lnTo>
                <a:lnTo>
                  <a:pt x="49" y="11"/>
                </a:lnTo>
                <a:lnTo>
                  <a:pt x="49" y="17"/>
                </a:lnTo>
                <a:lnTo>
                  <a:pt x="54" y="17"/>
                </a:lnTo>
                <a:lnTo>
                  <a:pt x="54" y="22"/>
                </a:lnTo>
                <a:lnTo>
                  <a:pt x="49" y="22"/>
                </a:lnTo>
                <a:lnTo>
                  <a:pt x="49" y="28"/>
                </a:lnTo>
                <a:lnTo>
                  <a:pt x="49" y="33"/>
                </a:lnTo>
                <a:lnTo>
                  <a:pt x="54" y="39"/>
                </a:lnTo>
                <a:lnTo>
                  <a:pt x="54" y="44"/>
                </a:lnTo>
                <a:lnTo>
                  <a:pt x="54" y="39"/>
                </a:lnTo>
                <a:lnTo>
                  <a:pt x="60" y="39"/>
                </a:lnTo>
                <a:lnTo>
                  <a:pt x="60" y="44"/>
                </a:lnTo>
                <a:lnTo>
                  <a:pt x="60" y="50"/>
                </a:lnTo>
                <a:lnTo>
                  <a:pt x="65" y="50"/>
                </a:lnTo>
                <a:lnTo>
                  <a:pt x="71" y="50"/>
                </a:lnTo>
                <a:lnTo>
                  <a:pt x="76" y="44"/>
                </a:lnTo>
                <a:lnTo>
                  <a:pt x="76" y="39"/>
                </a:lnTo>
                <a:lnTo>
                  <a:pt x="82" y="39"/>
                </a:lnTo>
                <a:lnTo>
                  <a:pt x="87" y="33"/>
                </a:lnTo>
                <a:lnTo>
                  <a:pt x="93" y="33"/>
                </a:lnTo>
                <a:lnTo>
                  <a:pt x="93" y="28"/>
                </a:lnTo>
                <a:lnTo>
                  <a:pt x="98" y="28"/>
                </a:lnTo>
                <a:lnTo>
                  <a:pt x="98" y="22"/>
                </a:lnTo>
                <a:lnTo>
                  <a:pt x="103" y="22"/>
                </a:lnTo>
                <a:lnTo>
                  <a:pt x="109" y="22"/>
                </a:lnTo>
                <a:lnTo>
                  <a:pt x="114" y="22"/>
                </a:lnTo>
                <a:lnTo>
                  <a:pt x="120" y="22"/>
                </a:lnTo>
                <a:lnTo>
                  <a:pt x="120" y="28"/>
                </a:lnTo>
                <a:lnTo>
                  <a:pt x="125" y="28"/>
                </a:lnTo>
                <a:lnTo>
                  <a:pt x="136" y="33"/>
                </a:lnTo>
                <a:lnTo>
                  <a:pt x="142" y="33"/>
                </a:lnTo>
                <a:lnTo>
                  <a:pt x="147" y="33"/>
                </a:lnTo>
                <a:lnTo>
                  <a:pt x="152" y="33"/>
                </a:lnTo>
                <a:lnTo>
                  <a:pt x="152" y="39"/>
                </a:lnTo>
                <a:lnTo>
                  <a:pt x="158" y="39"/>
                </a:lnTo>
                <a:lnTo>
                  <a:pt x="158" y="71"/>
                </a:lnTo>
                <a:lnTo>
                  <a:pt x="152" y="93"/>
                </a:lnTo>
                <a:lnTo>
                  <a:pt x="152" y="99"/>
                </a:lnTo>
                <a:lnTo>
                  <a:pt x="147" y="104"/>
                </a:lnTo>
                <a:lnTo>
                  <a:pt x="152" y="104"/>
                </a:lnTo>
                <a:lnTo>
                  <a:pt x="147" y="142"/>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6" name="Freeform 138">
            <a:extLst>
              <a:ext uri="{FF2B5EF4-FFF2-40B4-BE49-F238E27FC236}">
                <a16:creationId xmlns:a16="http://schemas.microsoft.com/office/drawing/2014/main" id="{FF67FB5E-3E8F-EDEA-7951-F450432C78A7}"/>
              </a:ext>
            </a:extLst>
          </p:cNvPr>
          <p:cNvSpPr>
            <a:spLocks/>
          </p:cNvSpPr>
          <p:nvPr/>
        </p:nvSpPr>
        <p:spPr bwMode="auto">
          <a:xfrm>
            <a:off x="2416175" y="2386012"/>
            <a:ext cx="203200" cy="160338"/>
          </a:xfrm>
          <a:custGeom>
            <a:avLst/>
            <a:gdLst>
              <a:gd name="T0" fmla="*/ 0 w 180"/>
              <a:gd name="T1" fmla="*/ 125 h 131"/>
              <a:gd name="T2" fmla="*/ 11 w 180"/>
              <a:gd name="T3" fmla="*/ 125 h 131"/>
              <a:gd name="T4" fmla="*/ 17 w 180"/>
              <a:gd name="T5" fmla="*/ 120 h 131"/>
              <a:gd name="T6" fmla="*/ 27 w 180"/>
              <a:gd name="T7" fmla="*/ 120 h 131"/>
              <a:gd name="T8" fmla="*/ 33 w 180"/>
              <a:gd name="T9" fmla="*/ 114 h 131"/>
              <a:gd name="T10" fmla="*/ 44 w 180"/>
              <a:gd name="T11" fmla="*/ 103 h 131"/>
              <a:gd name="T12" fmla="*/ 49 w 180"/>
              <a:gd name="T13" fmla="*/ 92 h 131"/>
              <a:gd name="T14" fmla="*/ 49 w 180"/>
              <a:gd name="T15" fmla="*/ 82 h 131"/>
              <a:gd name="T16" fmla="*/ 49 w 180"/>
              <a:gd name="T17" fmla="*/ 71 h 131"/>
              <a:gd name="T18" fmla="*/ 60 w 180"/>
              <a:gd name="T19" fmla="*/ 60 h 131"/>
              <a:gd name="T20" fmla="*/ 66 w 180"/>
              <a:gd name="T21" fmla="*/ 49 h 131"/>
              <a:gd name="T22" fmla="*/ 71 w 180"/>
              <a:gd name="T23" fmla="*/ 38 h 131"/>
              <a:gd name="T24" fmla="*/ 77 w 180"/>
              <a:gd name="T25" fmla="*/ 38 h 131"/>
              <a:gd name="T26" fmla="*/ 82 w 180"/>
              <a:gd name="T27" fmla="*/ 32 h 131"/>
              <a:gd name="T28" fmla="*/ 93 w 180"/>
              <a:gd name="T29" fmla="*/ 32 h 131"/>
              <a:gd name="T30" fmla="*/ 98 w 180"/>
              <a:gd name="T31" fmla="*/ 22 h 131"/>
              <a:gd name="T32" fmla="*/ 104 w 180"/>
              <a:gd name="T33" fmla="*/ 16 h 131"/>
              <a:gd name="T34" fmla="*/ 109 w 180"/>
              <a:gd name="T35" fmla="*/ 0 h 131"/>
              <a:gd name="T36" fmla="*/ 120 w 180"/>
              <a:gd name="T37" fmla="*/ 0 h 131"/>
              <a:gd name="T38" fmla="*/ 126 w 180"/>
              <a:gd name="T39" fmla="*/ 5 h 131"/>
              <a:gd name="T40" fmla="*/ 131 w 180"/>
              <a:gd name="T41" fmla="*/ 11 h 131"/>
              <a:gd name="T42" fmla="*/ 142 w 180"/>
              <a:gd name="T43" fmla="*/ 11 h 131"/>
              <a:gd name="T44" fmla="*/ 153 w 180"/>
              <a:gd name="T45" fmla="*/ 5 h 131"/>
              <a:gd name="T46" fmla="*/ 158 w 180"/>
              <a:gd name="T47" fmla="*/ 11 h 131"/>
              <a:gd name="T48" fmla="*/ 169 w 180"/>
              <a:gd name="T49" fmla="*/ 16 h 131"/>
              <a:gd name="T50" fmla="*/ 169 w 180"/>
              <a:gd name="T51" fmla="*/ 27 h 131"/>
              <a:gd name="T52" fmla="*/ 175 w 180"/>
              <a:gd name="T53" fmla="*/ 32 h 131"/>
              <a:gd name="T54" fmla="*/ 175 w 180"/>
              <a:gd name="T55" fmla="*/ 43 h 131"/>
              <a:gd name="T56" fmla="*/ 180 w 180"/>
              <a:gd name="T57" fmla="*/ 54 h 131"/>
              <a:gd name="T58" fmla="*/ 180 w 180"/>
              <a:gd name="T59" fmla="*/ 60 h 131"/>
              <a:gd name="T60" fmla="*/ 169 w 180"/>
              <a:gd name="T61" fmla="*/ 60 h 131"/>
              <a:gd name="T62" fmla="*/ 158 w 180"/>
              <a:gd name="T63" fmla="*/ 60 h 131"/>
              <a:gd name="T64" fmla="*/ 153 w 180"/>
              <a:gd name="T65" fmla="*/ 65 h 131"/>
              <a:gd name="T66" fmla="*/ 142 w 180"/>
              <a:gd name="T67" fmla="*/ 71 h 131"/>
              <a:gd name="T68" fmla="*/ 137 w 180"/>
              <a:gd name="T69" fmla="*/ 76 h 131"/>
              <a:gd name="T70" fmla="*/ 131 w 180"/>
              <a:gd name="T71" fmla="*/ 82 h 131"/>
              <a:gd name="T72" fmla="*/ 120 w 180"/>
              <a:gd name="T73" fmla="*/ 87 h 131"/>
              <a:gd name="T74" fmla="*/ 115 w 180"/>
              <a:gd name="T75" fmla="*/ 92 h 131"/>
              <a:gd name="T76" fmla="*/ 104 w 180"/>
              <a:gd name="T77" fmla="*/ 98 h 131"/>
              <a:gd name="T78" fmla="*/ 93 w 180"/>
              <a:gd name="T79" fmla="*/ 98 h 131"/>
              <a:gd name="T80" fmla="*/ 87 w 180"/>
              <a:gd name="T81" fmla="*/ 103 h 131"/>
              <a:gd name="T82" fmla="*/ 77 w 180"/>
              <a:gd name="T83" fmla="*/ 103 h 131"/>
              <a:gd name="T84" fmla="*/ 71 w 180"/>
              <a:gd name="T85" fmla="*/ 109 h 131"/>
              <a:gd name="T86" fmla="*/ 66 w 180"/>
              <a:gd name="T87"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0" h="131">
                <a:moveTo>
                  <a:pt x="0" y="131"/>
                </a:moveTo>
                <a:lnTo>
                  <a:pt x="0" y="125"/>
                </a:lnTo>
                <a:lnTo>
                  <a:pt x="6" y="125"/>
                </a:lnTo>
                <a:lnTo>
                  <a:pt x="11" y="125"/>
                </a:lnTo>
                <a:lnTo>
                  <a:pt x="17" y="125"/>
                </a:lnTo>
                <a:lnTo>
                  <a:pt x="17" y="120"/>
                </a:lnTo>
                <a:lnTo>
                  <a:pt x="22" y="120"/>
                </a:lnTo>
                <a:lnTo>
                  <a:pt x="27" y="120"/>
                </a:lnTo>
                <a:lnTo>
                  <a:pt x="27" y="114"/>
                </a:lnTo>
                <a:lnTo>
                  <a:pt x="33" y="114"/>
                </a:lnTo>
                <a:lnTo>
                  <a:pt x="38" y="109"/>
                </a:lnTo>
                <a:lnTo>
                  <a:pt x="44" y="103"/>
                </a:lnTo>
                <a:lnTo>
                  <a:pt x="49" y="98"/>
                </a:lnTo>
                <a:lnTo>
                  <a:pt x="49" y="92"/>
                </a:lnTo>
                <a:lnTo>
                  <a:pt x="55" y="87"/>
                </a:lnTo>
                <a:lnTo>
                  <a:pt x="49" y="82"/>
                </a:lnTo>
                <a:lnTo>
                  <a:pt x="49" y="76"/>
                </a:lnTo>
                <a:lnTo>
                  <a:pt x="49" y="71"/>
                </a:lnTo>
                <a:lnTo>
                  <a:pt x="55" y="65"/>
                </a:lnTo>
                <a:lnTo>
                  <a:pt x="60" y="60"/>
                </a:lnTo>
                <a:lnTo>
                  <a:pt x="60" y="54"/>
                </a:lnTo>
                <a:lnTo>
                  <a:pt x="66" y="49"/>
                </a:lnTo>
                <a:lnTo>
                  <a:pt x="71" y="43"/>
                </a:lnTo>
                <a:lnTo>
                  <a:pt x="71" y="38"/>
                </a:lnTo>
                <a:lnTo>
                  <a:pt x="71" y="43"/>
                </a:lnTo>
                <a:lnTo>
                  <a:pt x="77" y="38"/>
                </a:lnTo>
                <a:lnTo>
                  <a:pt x="82" y="38"/>
                </a:lnTo>
                <a:lnTo>
                  <a:pt x="82" y="32"/>
                </a:lnTo>
                <a:lnTo>
                  <a:pt x="87" y="32"/>
                </a:lnTo>
                <a:lnTo>
                  <a:pt x="93" y="32"/>
                </a:lnTo>
                <a:lnTo>
                  <a:pt x="98" y="27"/>
                </a:lnTo>
                <a:lnTo>
                  <a:pt x="98" y="22"/>
                </a:lnTo>
                <a:lnTo>
                  <a:pt x="104" y="22"/>
                </a:lnTo>
                <a:lnTo>
                  <a:pt x="104" y="16"/>
                </a:lnTo>
                <a:lnTo>
                  <a:pt x="109" y="11"/>
                </a:lnTo>
                <a:lnTo>
                  <a:pt x="109" y="0"/>
                </a:lnTo>
                <a:lnTo>
                  <a:pt x="115" y="0"/>
                </a:lnTo>
                <a:lnTo>
                  <a:pt x="120" y="0"/>
                </a:lnTo>
                <a:lnTo>
                  <a:pt x="120" y="5"/>
                </a:lnTo>
                <a:lnTo>
                  <a:pt x="126" y="5"/>
                </a:lnTo>
                <a:lnTo>
                  <a:pt x="126" y="11"/>
                </a:lnTo>
                <a:lnTo>
                  <a:pt x="131" y="11"/>
                </a:lnTo>
                <a:lnTo>
                  <a:pt x="137" y="11"/>
                </a:lnTo>
                <a:lnTo>
                  <a:pt x="142" y="11"/>
                </a:lnTo>
                <a:lnTo>
                  <a:pt x="147" y="11"/>
                </a:lnTo>
                <a:lnTo>
                  <a:pt x="153" y="5"/>
                </a:lnTo>
                <a:lnTo>
                  <a:pt x="153" y="11"/>
                </a:lnTo>
                <a:lnTo>
                  <a:pt x="158" y="11"/>
                </a:lnTo>
                <a:lnTo>
                  <a:pt x="164" y="11"/>
                </a:lnTo>
                <a:lnTo>
                  <a:pt x="169" y="16"/>
                </a:lnTo>
                <a:lnTo>
                  <a:pt x="169" y="22"/>
                </a:lnTo>
                <a:lnTo>
                  <a:pt x="169" y="27"/>
                </a:lnTo>
                <a:lnTo>
                  <a:pt x="169" y="32"/>
                </a:lnTo>
                <a:lnTo>
                  <a:pt x="175" y="32"/>
                </a:lnTo>
                <a:lnTo>
                  <a:pt x="169" y="38"/>
                </a:lnTo>
                <a:lnTo>
                  <a:pt x="175" y="43"/>
                </a:lnTo>
                <a:lnTo>
                  <a:pt x="175" y="49"/>
                </a:lnTo>
                <a:lnTo>
                  <a:pt x="180" y="54"/>
                </a:lnTo>
                <a:lnTo>
                  <a:pt x="175" y="54"/>
                </a:lnTo>
                <a:lnTo>
                  <a:pt x="180" y="60"/>
                </a:lnTo>
                <a:lnTo>
                  <a:pt x="175" y="60"/>
                </a:lnTo>
                <a:lnTo>
                  <a:pt x="169" y="60"/>
                </a:lnTo>
                <a:lnTo>
                  <a:pt x="164" y="60"/>
                </a:lnTo>
                <a:lnTo>
                  <a:pt x="158" y="60"/>
                </a:lnTo>
                <a:lnTo>
                  <a:pt x="153" y="60"/>
                </a:lnTo>
                <a:lnTo>
                  <a:pt x="153" y="65"/>
                </a:lnTo>
                <a:lnTo>
                  <a:pt x="142" y="65"/>
                </a:lnTo>
                <a:lnTo>
                  <a:pt x="142" y="71"/>
                </a:lnTo>
                <a:lnTo>
                  <a:pt x="142" y="76"/>
                </a:lnTo>
                <a:lnTo>
                  <a:pt x="137" y="76"/>
                </a:lnTo>
                <a:lnTo>
                  <a:pt x="137" y="82"/>
                </a:lnTo>
                <a:lnTo>
                  <a:pt x="131" y="82"/>
                </a:lnTo>
                <a:lnTo>
                  <a:pt x="126" y="82"/>
                </a:lnTo>
                <a:lnTo>
                  <a:pt x="120" y="87"/>
                </a:lnTo>
                <a:lnTo>
                  <a:pt x="120" y="92"/>
                </a:lnTo>
                <a:lnTo>
                  <a:pt x="115" y="92"/>
                </a:lnTo>
                <a:lnTo>
                  <a:pt x="109" y="98"/>
                </a:lnTo>
                <a:lnTo>
                  <a:pt x="104" y="98"/>
                </a:lnTo>
                <a:lnTo>
                  <a:pt x="98" y="98"/>
                </a:lnTo>
                <a:lnTo>
                  <a:pt x="93" y="98"/>
                </a:lnTo>
                <a:lnTo>
                  <a:pt x="87" y="98"/>
                </a:lnTo>
                <a:lnTo>
                  <a:pt x="87" y="103"/>
                </a:lnTo>
                <a:lnTo>
                  <a:pt x="82" y="103"/>
                </a:lnTo>
                <a:lnTo>
                  <a:pt x="77" y="103"/>
                </a:lnTo>
                <a:lnTo>
                  <a:pt x="77" y="109"/>
                </a:lnTo>
                <a:lnTo>
                  <a:pt x="71" y="109"/>
                </a:lnTo>
                <a:lnTo>
                  <a:pt x="66" y="114"/>
                </a:lnTo>
                <a:lnTo>
                  <a:pt x="66" y="131"/>
                </a:lnTo>
                <a:lnTo>
                  <a:pt x="0" y="131"/>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7" name="Freeform 139">
            <a:extLst>
              <a:ext uri="{FF2B5EF4-FFF2-40B4-BE49-F238E27FC236}">
                <a16:creationId xmlns:a16="http://schemas.microsoft.com/office/drawing/2014/main" id="{4BFB1260-514F-88A7-869E-B57836992FA5}"/>
              </a:ext>
            </a:extLst>
          </p:cNvPr>
          <p:cNvSpPr>
            <a:spLocks/>
          </p:cNvSpPr>
          <p:nvPr/>
        </p:nvSpPr>
        <p:spPr bwMode="auto">
          <a:xfrm>
            <a:off x="2343150" y="2546351"/>
            <a:ext cx="147638" cy="131763"/>
          </a:xfrm>
          <a:custGeom>
            <a:avLst/>
            <a:gdLst>
              <a:gd name="T0" fmla="*/ 0 w 131"/>
              <a:gd name="T1" fmla="*/ 109 h 109"/>
              <a:gd name="T2" fmla="*/ 0 w 131"/>
              <a:gd name="T3" fmla="*/ 103 h 109"/>
              <a:gd name="T4" fmla="*/ 0 w 131"/>
              <a:gd name="T5" fmla="*/ 98 h 109"/>
              <a:gd name="T6" fmla="*/ 0 w 131"/>
              <a:gd name="T7" fmla="*/ 92 h 109"/>
              <a:gd name="T8" fmla="*/ 5 w 131"/>
              <a:gd name="T9" fmla="*/ 87 h 109"/>
              <a:gd name="T10" fmla="*/ 11 w 131"/>
              <a:gd name="T11" fmla="*/ 81 h 109"/>
              <a:gd name="T12" fmla="*/ 11 w 131"/>
              <a:gd name="T13" fmla="*/ 76 h 109"/>
              <a:gd name="T14" fmla="*/ 16 w 131"/>
              <a:gd name="T15" fmla="*/ 71 h 109"/>
              <a:gd name="T16" fmla="*/ 16 w 131"/>
              <a:gd name="T17" fmla="*/ 65 h 109"/>
              <a:gd name="T18" fmla="*/ 22 w 131"/>
              <a:gd name="T19" fmla="*/ 60 h 109"/>
              <a:gd name="T20" fmla="*/ 16 w 131"/>
              <a:gd name="T21" fmla="*/ 60 h 109"/>
              <a:gd name="T22" fmla="*/ 22 w 131"/>
              <a:gd name="T23" fmla="*/ 60 h 109"/>
              <a:gd name="T24" fmla="*/ 22 w 131"/>
              <a:gd name="T25" fmla="*/ 54 h 109"/>
              <a:gd name="T26" fmla="*/ 33 w 131"/>
              <a:gd name="T27" fmla="*/ 49 h 109"/>
              <a:gd name="T28" fmla="*/ 38 w 131"/>
              <a:gd name="T29" fmla="*/ 43 h 109"/>
              <a:gd name="T30" fmla="*/ 38 w 131"/>
              <a:gd name="T31" fmla="*/ 38 h 109"/>
              <a:gd name="T32" fmla="*/ 38 w 131"/>
              <a:gd name="T33" fmla="*/ 32 h 109"/>
              <a:gd name="T34" fmla="*/ 38 w 131"/>
              <a:gd name="T35" fmla="*/ 27 h 109"/>
              <a:gd name="T36" fmla="*/ 43 w 131"/>
              <a:gd name="T37" fmla="*/ 27 h 109"/>
              <a:gd name="T38" fmla="*/ 43 w 131"/>
              <a:gd name="T39" fmla="*/ 21 h 109"/>
              <a:gd name="T40" fmla="*/ 49 w 131"/>
              <a:gd name="T41" fmla="*/ 16 h 109"/>
              <a:gd name="T42" fmla="*/ 54 w 131"/>
              <a:gd name="T43" fmla="*/ 16 h 109"/>
              <a:gd name="T44" fmla="*/ 60 w 131"/>
              <a:gd name="T45" fmla="*/ 11 h 109"/>
              <a:gd name="T46" fmla="*/ 60 w 131"/>
              <a:gd name="T47" fmla="*/ 5 h 109"/>
              <a:gd name="T48" fmla="*/ 65 w 131"/>
              <a:gd name="T49" fmla="*/ 0 h 109"/>
              <a:gd name="T50" fmla="*/ 131 w 131"/>
              <a:gd name="T51" fmla="*/ 0 h 109"/>
              <a:gd name="T52" fmla="*/ 131 w 131"/>
              <a:gd name="T53" fmla="*/ 5 h 109"/>
              <a:gd name="T54" fmla="*/ 131 w 131"/>
              <a:gd name="T55" fmla="*/ 27 h 109"/>
              <a:gd name="T56" fmla="*/ 82 w 131"/>
              <a:gd name="T57" fmla="*/ 27 h 109"/>
              <a:gd name="T58" fmla="*/ 76 w 131"/>
              <a:gd name="T59" fmla="*/ 65 h 109"/>
              <a:gd name="T60" fmla="*/ 65 w 131"/>
              <a:gd name="T61" fmla="*/ 65 h 109"/>
              <a:gd name="T62" fmla="*/ 65 w 131"/>
              <a:gd name="T63" fmla="*/ 71 h 109"/>
              <a:gd name="T64" fmla="*/ 60 w 131"/>
              <a:gd name="T65" fmla="*/ 71 h 109"/>
              <a:gd name="T66" fmla="*/ 60 w 131"/>
              <a:gd name="T67" fmla="*/ 76 h 109"/>
              <a:gd name="T68" fmla="*/ 60 w 131"/>
              <a:gd name="T69" fmla="*/ 98 h 109"/>
              <a:gd name="T70" fmla="*/ 0 w 131"/>
              <a:gd name="T71" fmla="*/ 98 h 109"/>
              <a:gd name="T72" fmla="*/ 0 w 131"/>
              <a:gd name="T73" fmla="*/ 103 h 109"/>
              <a:gd name="T74" fmla="*/ 0 w 131"/>
              <a:gd name="T7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109">
                <a:moveTo>
                  <a:pt x="0" y="109"/>
                </a:moveTo>
                <a:lnTo>
                  <a:pt x="0" y="103"/>
                </a:lnTo>
                <a:lnTo>
                  <a:pt x="0" y="98"/>
                </a:lnTo>
                <a:lnTo>
                  <a:pt x="0" y="92"/>
                </a:lnTo>
                <a:lnTo>
                  <a:pt x="5" y="87"/>
                </a:lnTo>
                <a:lnTo>
                  <a:pt x="11" y="81"/>
                </a:lnTo>
                <a:lnTo>
                  <a:pt x="11" y="76"/>
                </a:lnTo>
                <a:lnTo>
                  <a:pt x="16" y="71"/>
                </a:lnTo>
                <a:lnTo>
                  <a:pt x="16" y="65"/>
                </a:lnTo>
                <a:lnTo>
                  <a:pt x="22" y="60"/>
                </a:lnTo>
                <a:lnTo>
                  <a:pt x="16" y="60"/>
                </a:lnTo>
                <a:lnTo>
                  <a:pt x="22" y="60"/>
                </a:lnTo>
                <a:lnTo>
                  <a:pt x="22" y="54"/>
                </a:lnTo>
                <a:lnTo>
                  <a:pt x="33" y="49"/>
                </a:lnTo>
                <a:lnTo>
                  <a:pt x="38" y="43"/>
                </a:lnTo>
                <a:lnTo>
                  <a:pt x="38" y="38"/>
                </a:lnTo>
                <a:lnTo>
                  <a:pt x="38" y="32"/>
                </a:lnTo>
                <a:lnTo>
                  <a:pt x="38" y="27"/>
                </a:lnTo>
                <a:lnTo>
                  <a:pt x="43" y="27"/>
                </a:lnTo>
                <a:lnTo>
                  <a:pt x="43" y="21"/>
                </a:lnTo>
                <a:lnTo>
                  <a:pt x="49" y="16"/>
                </a:lnTo>
                <a:lnTo>
                  <a:pt x="54" y="16"/>
                </a:lnTo>
                <a:lnTo>
                  <a:pt x="60" y="11"/>
                </a:lnTo>
                <a:lnTo>
                  <a:pt x="60" y="5"/>
                </a:lnTo>
                <a:lnTo>
                  <a:pt x="65" y="0"/>
                </a:lnTo>
                <a:lnTo>
                  <a:pt x="131" y="0"/>
                </a:lnTo>
                <a:lnTo>
                  <a:pt x="131" y="5"/>
                </a:lnTo>
                <a:lnTo>
                  <a:pt x="131" y="27"/>
                </a:lnTo>
                <a:lnTo>
                  <a:pt x="82" y="27"/>
                </a:lnTo>
                <a:lnTo>
                  <a:pt x="76" y="65"/>
                </a:lnTo>
                <a:lnTo>
                  <a:pt x="65" y="65"/>
                </a:lnTo>
                <a:lnTo>
                  <a:pt x="65" y="71"/>
                </a:lnTo>
                <a:lnTo>
                  <a:pt x="60" y="71"/>
                </a:lnTo>
                <a:lnTo>
                  <a:pt x="60" y="76"/>
                </a:lnTo>
                <a:lnTo>
                  <a:pt x="60" y="98"/>
                </a:lnTo>
                <a:lnTo>
                  <a:pt x="0" y="98"/>
                </a:lnTo>
                <a:lnTo>
                  <a:pt x="0" y="103"/>
                </a:lnTo>
                <a:lnTo>
                  <a:pt x="0" y="109"/>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8" name="Freeform 167">
            <a:extLst>
              <a:ext uri="{FF2B5EF4-FFF2-40B4-BE49-F238E27FC236}">
                <a16:creationId xmlns:a16="http://schemas.microsoft.com/office/drawing/2014/main" id="{54B171C1-0639-B41C-DBF6-5705082E0F01}"/>
              </a:ext>
            </a:extLst>
          </p:cNvPr>
          <p:cNvSpPr>
            <a:spLocks/>
          </p:cNvSpPr>
          <p:nvPr/>
        </p:nvSpPr>
        <p:spPr bwMode="auto">
          <a:xfrm>
            <a:off x="2343150" y="2811463"/>
            <a:ext cx="49213" cy="14288"/>
          </a:xfrm>
          <a:custGeom>
            <a:avLst/>
            <a:gdLst>
              <a:gd name="T0" fmla="*/ 0 w 43"/>
              <a:gd name="T1" fmla="*/ 11 h 11"/>
              <a:gd name="T2" fmla="*/ 0 w 43"/>
              <a:gd name="T3" fmla="*/ 5 h 11"/>
              <a:gd name="T4" fmla="*/ 0 w 43"/>
              <a:gd name="T5" fmla="*/ 11 h 11"/>
              <a:gd name="T6" fmla="*/ 5 w 43"/>
              <a:gd name="T7" fmla="*/ 11 h 11"/>
              <a:gd name="T8" fmla="*/ 0 w 43"/>
              <a:gd name="T9" fmla="*/ 5 h 11"/>
              <a:gd name="T10" fmla="*/ 11 w 43"/>
              <a:gd name="T11" fmla="*/ 5 h 11"/>
              <a:gd name="T12" fmla="*/ 16 w 43"/>
              <a:gd name="T13" fmla="*/ 5 h 11"/>
              <a:gd name="T14" fmla="*/ 22 w 43"/>
              <a:gd name="T15" fmla="*/ 0 h 11"/>
              <a:gd name="T16" fmla="*/ 27 w 43"/>
              <a:gd name="T17" fmla="*/ 0 h 11"/>
              <a:gd name="T18" fmla="*/ 33 w 43"/>
              <a:gd name="T19" fmla="*/ 5 h 11"/>
              <a:gd name="T20" fmla="*/ 38 w 43"/>
              <a:gd name="T21" fmla="*/ 5 h 11"/>
              <a:gd name="T22" fmla="*/ 43 w 43"/>
              <a:gd name="T23" fmla="*/ 5 h 11"/>
              <a:gd name="T24" fmla="*/ 38 w 43"/>
              <a:gd name="T25" fmla="*/ 11 h 11"/>
              <a:gd name="T26" fmla="*/ 33 w 43"/>
              <a:gd name="T27" fmla="*/ 11 h 11"/>
              <a:gd name="T28" fmla="*/ 33 w 43"/>
              <a:gd name="T29" fmla="*/ 5 h 11"/>
              <a:gd name="T30" fmla="*/ 27 w 43"/>
              <a:gd name="T31" fmla="*/ 5 h 11"/>
              <a:gd name="T32" fmla="*/ 22 w 43"/>
              <a:gd name="T33" fmla="*/ 5 h 11"/>
              <a:gd name="T34" fmla="*/ 16 w 43"/>
              <a:gd name="T35" fmla="*/ 5 h 11"/>
              <a:gd name="T36" fmla="*/ 11 w 43"/>
              <a:gd name="T37" fmla="*/ 5 h 11"/>
              <a:gd name="T38" fmla="*/ 11 w 43"/>
              <a:gd name="T39" fmla="*/ 11 h 11"/>
              <a:gd name="T40" fmla="*/ 0 w 43"/>
              <a:gd name="T4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11">
                <a:moveTo>
                  <a:pt x="0" y="11"/>
                </a:moveTo>
                <a:lnTo>
                  <a:pt x="0" y="5"/>
                </a:lnTo>
                <a:lnTo>
                  <a:pt x="0" y="11"/>
                </a:lnTo>
                <a:lnTo>
                  <a:pt x="5" y="11"/>
                </a:lnTo>
                <a:lnTo>
                  <a:pt x="0" y="5"/>
                </a:lnTo>
                <a:lnTo>
                  <a:pt x="11" y="5"/>
                </a:lnTo>
                <a:lnTo>
                  <a:pt x="16" y="5"/>
                </a:lnTo>
                <a:lnTo>
                  <a:pt x="22" y="0"/>
                </a:lnTo>
                <a:lnTo>
                  <a:pt x="27" y="0"/>
                </a:lnTo>
                <a:lnTo>
                  <a:pt x="33" y="5"/>
                </a:lnTo>
                <a:lnTo>
                  <a:pt x="38" y="5"/>
                </a:lnTo>
                <a:lnTo>
                  <a:pt x="43" y="5"/>
                </a:lnTo>
                <a:lnTo>
                  <a:pt x="38" y="11"/>
                </a:lnTo>
                <a:lnTo>
                  <a:pt x="33" y="11"/>
                </a:lnTo>
                <a:lnTo>
                  <a:pt x="33" y="5"/>
                </a:lnTo>
                <a:lnTo>
                  <a:pt x="27" y="5"/>
                </a:lnTo>
                <a:lnTo>
                  <a:pt x="22" y="5"/>
                </a:lnTo>
                <a:lnTo>
                  <a:pt x="16" y="5"/>
                </a:lnTo>
                <a:lnTo>
                  <a:pt x="11" y="5"/>
                </a:lnTo>
                <a:lnTo>
                  <a:pt x="11" y="11"/>
                </a:lnTo>
                <a:lnTo>
                  <a:pt x="0" y="11"/>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69" name="Freeform 168">
            <a:extLst>
              <a:ext uri="{FF2B5EF4-FFF2-40B4-BE49-F238E27FC236}">
                <a16:creationId xmlns:a16="http://schemas.microsoft.com/office/drawing/2014/main" id="{5640132B-D959-394C-DF72-D325A5D3D882}"/>
              </a:ext>
            </a:extLst>
          </p:cNvPr>
          <p:cNvSpPr>
            <a:spLocks/>
          </p:cNvSpPr>
          <p:nvPr/>
        </p:nvSpPr>
        <p:spPr bwMode="auto">
          <a:xfrm>
            <a:off x="2330450" y="2757488"/>
            <a:ext cx="104775" cy="80963"/>
          </a:xfrm>
          <a:custGeom>
            <a:avLst/>
            <a:gdLst>
              <a:gd name="T0" fmla="*/ 11 w 93"/>
              <a:gd name="T1" fmla="*/ 44 h 66"/>
              <a:gd name="T2" fmla="*/ 5 w 93"/>
              <a:gd name="T3" fmla="*/ 38 h 66"/>
              <a:gd name="T4" fmla="*/ 0 w 93"/>
              <a:gd name="T5" fmla="*/ 33 h 66"/>
              <a:gd name="T6" fmla="*/ 5 w 93"/>
              <a:gd name="T7" fmla="*/ 27 h 66"/>
              <a:gd name="T8" fmla="*/ 11 w 93"/>
              <a:gd name="T9" fmla="*/ 17 h 66"/>
              <a:gd name="T10" fmla="*/ 16 w 93"/>
              <a:gd name="T11" fmla="*/ 6 h 66"/>
              <a:gd name="T12" fmla="*/ 22 w 93"/>
              <a:gd name="T13" fmla="*/ 0 h 66"/>
              <a:gd name="T14" fmla="*/ 33 w 93"/>
              <a:gd name="T15" fmla="*/ 0 h 66"/>
              <a:gd name="T16" fmla="*/ 44 w 93"/>
              <a:gd name="T17" fmla="*/ 0 h 66"/>
              <a:gd name="T18" fmla="*/ 54 w 93"/>
              <a:gd name="T19" fmla="*/ 6 h 66"/>
              <a:gd name="T20" fmla="*/ 65 w 93"/>
              <a:gd name="T21" fmla="*/ 11 h 66"/>
              <a:gd name="T22" fmla="*/ 71 w 93"/>
              <a:gd name="T23" fmla="*/ 17 h 66"/>
              <a:gd name="T24" fmla="*/ 76 w 93"/>
              <a:gd name="T25" fmla="*/ 22 h 66"/>
              <a:gd name="T26" fmla="*/ 82 w 93"/>
              <a:gd name="T27" fmla="*/ 27 h 66"/>
              <a:gd name="T28" fmla="*/ 82 w 93"/>
              <a:gd name="T29" fmla="*/ 38 h 66"/>
              <a:gd name="T30" fmla="*/ 87 w 93"/>
              <a:gd name="T31" fmla="*/ 44 h 66"/>
              <a:gd name="T32" fmla="*/ 87 w 93"/>
              <a:gd name="T33" fmla="*/ 49 h 66"/>
              <a:gd name="T34" fmla="*/ 93 w 93"/>
              <a:gd name="T35" fmla="*/ 60 h 66"/>
              <a:gd name="T36" fmla="*/ 93 w 93"/>
              <a:gd name="T37" fmla="*/ 60 h 66"/>
              <a:gd name="T38" fmla="*/ 87 w 93"/>
              <a:gd name="T39" fmla="*/ 66 h 66"/>
              <a:gd name="T40" fmla="*/ 76 w 93"/>
              <a:gd name="T41" fmla="*/ 66 h 66"/>
              <a:gd name="T42" fmla="*/ 65 w 93"/>
              <a:gd name="T43" fmla="*/ 66 h 66"/>
              <a:gd name="T44" fmla="*/ 54 w 93"/>
              <a:gd name="T45" fmla="*/ 60 h 66"/>
              <a:gd name="T46" fmla="*/ 33 w 93"/>
              <a:gd name="T47" fmla="*/ 60 h 66"/>
              <a:gd name="T48" fmla="*/ 27 w 93"/>
              <a:gd name="T49" fmla="*/ 66 h 66"/>
              <a:gd name="T50" fmla="*/ 16 w 93"/>
              <a:gd name="T51" fmla="*/ 66 h 66"/>
              <a:gd name="T52" fmla="*/ 11 w 93"/>
              <a:gd name="T53" fmla="*/ 60 h 66"/>
              <a:gd name="T54" fmla="*/ 22 w 93"/>
              <a:gd name="T55" fmla="*/ 55 h 66"/>
              <a:gd name="T56" fmla="*/ 27 w 93"/>
              <a:gd name="T57" fmla="*/ 49 h 66"/>
              <a:gd name="T58" fmla="*/ 38 w 93"/>
              <a:gd name="T59" fmla="*/ 49 h 66"/>
              <a:gd name="T60" fmla="*/ 44 w 93"/>
              <a:gd name="T61" fmla="*/ 55 h 66"/>
              <a:gd name="T62" fmla="*/ 54 w 93"/>
              <a:gd name="T63" fmla="*/ 49 h 66"/>
              <a:gd name="T64" fmla="*/ 44 w 93"/>
              <a:gd name="T65" fmla="*/ 49 h 66"/>
              <a:gd name="T66" fmla="*/ 33 w 93"/>
              <a:gd name="T67" fmla="*/ 44 h 66"/>
              <a:gd name="T68" fmla="*/ 22 w 93"/>
              <a:gd name="T69" fmla="*/ 4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3" h="66">
                <a:moveTo>
                  <a:pt x="11" y="49"/>
                </a:moveTo>
                <a:lnTo>
                  <a:pt x="11" y="44"/>
                </a:lnTo>
                <a:lnTo>
                  <a:pt x="11" y="38"/>
                </a:lnTo>
                <a:lnTo>
                  <a:pt x="5" y="38"/>
                </a:lnTo>
                <a:lnTo>
                  <a:pt x="5" y="33"/>
                </a:lnTo>
                <a:lnTo>
                  <a:pt x="0" y="33"/>
                </a:lnTo>
                <a:lnTo>
                  <a:pt x="0" y="27"/>
                </a:lnTo>
                <a:lnTo>
                  <a:pt x="5" y="27"/>
                </a:lnTo>
                <a:lnTo>
                  <a:pt x="5" y="22"/>
                </a:lnTo>
                <a:lnTo>
                  <a:pt x="11" y="17"/>
                </a:lnTo>
                <a:lnTo>
                  <a:pt x="16" y="11"/>
                </a:lnTo>
                <a:lnTo>
                  <a:pt x="16" y="6"/>
                </a:lnTo>
                <a:lnTo>
                  <a:pt x="16" y="0"/>
                </a:lnTo>
                <a:lnTo>
                  <a:pt x="22" y="0"/>
                </a:lnTo>
                <a:lnTo>
                  <a:pt x="27" y="0"/>
                </a:lnTo>
                <a:lnTo>
                  <a:pt x="33" y="0"/>
                </a:lnTo>
                <a:lnTo>
                  <a:pt x="38" y="0"/>
                </a:lnTo>
                <a:lnTo>
                  <a:pt x="44" y="0"/>
                </a:lnTo>
                <a:lnTo>
                  <a:pt x="49" y="0"/>
                </a:lnTo>
                <a:lnTo>
                  <a:pt x="54" y="6"/>
                </a:lnTo>
                <a:lnTo>
                  <a:pt x="60" y="6"/>
                </a:lnTo>
                <a:lnTo>
                  <a:pt x="65" y="11"/>
                </a:lnTo>
                <a:lnTo>
                  <a:pt x="65" y="17"/>
                </a:lnTo>
                <a:lnTo>
                  <a:pt x="71" y="17"/>
                </a:lnTo>
                <a:lnTo>
                  <a:pt x="71" y="22"/>
                </a:lnTo>
                <a:lnTo>
                  <a:pt x="76" y="22"/>
                </a:lnTo>
                <a:lnTo>
                  <a:pt x="76" y="27"/>
                </a:lnTo>
                <a:lnTo>
                  <a:pt x="82" y="27"/>
                </a:lnTo>
                <a:lnTo>
                  <a:pt x="82" y="33"/>
                </a:lnTo>
                <a:lnTo>
                  <a:pt x="82" y="38"/>
                </a:lnTo>
                <a:lnTo>
                  <a:pt x="82" y="44"/>
                </a:lnTo>
                <a:lnTo>
                  <a:pt x="87" y="44"/>
                </a:lnTo>
                <a:lnTo>
                  <a:pt x="82" y="44"/>
                </a:lnTo>
                <a:lnTo>
                  <a:pt x="87" y="49"/>
                </a:lnTo>
                <a:lnTo>
                  <a:pt x="93" y="55"/>
                </a:lnTo>
                <a:lnTo>
                  <a:pt x="93" y="60"/>
                </a:lnTo>
                <a:lnTo>
                  <a:pt x="93" y="55"/>
                </a:lnTo>
                <a:lnTo>
                  <a:pt x="93" y="60"/>
                </a:lnTo>
                <a:lnTo>
                  <a:pt x="93" y="66"/>
                </a:lnTo>
                <a:lnTo>
                  <a:pt x="87" y="66"/>
                </a:lnTo>
                <a:lnTo>
                  <a:pt x="82" y="66"/>
                </a:lnTo>
                <a:lnTo>
                  <a:pt x="76" y="66"/>
                </a:lnTo>
                <a:lnTo>
                  <a:pt x="71" y="66"/>
                </a:lnTo>
                <a:lnTo>
                  <a:pt x="65" y="66"/>
                </a:lnTo>
                <a:lnTo>
                  <a:pt x="60" y="60"/>
                </a:lnTo>
                <a:lnTo>
                  <a:pt x="54" y="60"/>
                </a:lnTo>
                <a:lnTo>
                  <a:pt x="49" y="60"/>
                </a:lnTo>
                <a:lnTo>
                  <a:pt x="33" y="60"/>
                </a:lnTo>
                <a:lnTo>
                  <a:pt x="33" y="66"/>
                </a:lnTo>
                <a:lnTo>
                  <a:pt x="27" y="66"/>
                </a:lnTo>
                <a:lnTo>
                  <a:pt x="22" y="66"/>
                </a:lnTo>
                <a:lnTo>
                  <a:pt x="16" y="66"/>
                </a:lnTo>
                <a:lnTo>
                  <a:pt x="11" y="66"/>
                </a:lnTo>
                <a:lnTo>
                  <a:pt x="11" y="60"/>
                </a:lnTo>
                <a:lnTo>
                  <a:pt x="11" y="55"/>
                </a:lnTo>
                <a:lnTo>
                  <a:pt x="22" y="55"/>
                </a:lnTo>
                <a:lnTo>
                  <a:pt x="22" y="49"/>
                </a:lnTo>
                <a:lnTo>
                  <a:pt x="27" y="49"/>
                </a:lnTo>
                <a:lnTo>
                  <a:pt x="33" y="49"/>
                </a:lnTo>
                <a:lnTo>
                  <a:pt x="38" y="49"/>
                </a:lnTo>
                <a:lnTo>
                  <a:pt x="44" y="49"/>
                </a:lnTo>
                <a:lnTo>
                  <a:pt x="44" y="55"/>
                </a:lnTo>
                <a:lnTo>
                  <a:pt x="49" y="55"/>
                </a:lnTo>
                <a:lnTo>
                  <a:pt x="54" y="49"/>
                </a:lnTo>
                <a:lnTo>
                  <a:pt x="49" y="49"/>
                </a:lnTo>
                <a:lnTo>
                  <a:pt x="44" y="49"/>
                </a:lnTo>
                <a:lnTo>
                  <a:pt x="38" y="44"/>
                </a:lnTo>
                <a:lnTo>
                  <a:pt x="33" y="44"/>
                </a:lnTo>
                <a:lnTo>
                  <a:pt x="27" y="49"/>
                </a:lnTo>
                <a:lnTo>
                  <a:pt x="22" y="49"/>
                </a:lnTo>
                <a:lnTo>
                  <a:pt x="11" y="49"/>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0" name="Freeform 169">
            <a:extLst>
              <a:ext uri="{FF2B5EF4-FFF2-40B4-BE49-F238E27FC236}">
                <a16:creationId xmlns:a16="http://schemas.microsoft.com/office/drawing/2014/main" id="{D4E0D83D-E208-F55E-AE54-A6B7559F5128}"/>
              </a:ext>
            </a:extLst>
          </p:cNvPr>
          <p:cNvSpPr>
            <a:spLocks/>
          </p:cNvSpPr>
          <p:nvPr/>
        </p:nvSpPr>
        <p:spPr bwMode="auto">
          <a:xfrm>
            <a:off x="2424113" y="2598738"/>
            <a:ext cx="287338" cy="285750"/>
          </a:xfrm>
          <a:custGeom>
            <a:avLst/>
            <a:gdLst>
              <a:gd name="T0" fmla="*/ 5 w 256"/>
              <a:gd name="T1" fmla="*/ 153 h 235"/>
              <a:gd name="T2" fmla="*/ 16 w 256"/>
              <a:gd name="T3" fmla="*/ 148 h 235"/>
              <a:gd name="T4" fmla="*/ 21 w 256"/>
              <a:gd name="T5" fmla="*/ 148 h 235"/>
              <a:gd name="T6" fmla="*/ 38 w 256"/>
              <a:gd name="T7" fmla="*/ 153 h 235"/>
              <a:gd name="T8" fmla="*/ 60 w 256"/>
              <a:gd name="T9" fmla="*/ 148 h 235"/>
              <a:gd name="T10" fmla="*/ 109 w 256"/>
              <a:gd name="T11" fmla="*/ 137 h 235"/>
              <a:gd name="T12" fmla="*/ 92 w 256"/>
              <a:gd name="T13" fmla="*/ 44 h 235"/>
              <a:gd name="T14" fmla="*/ 92 w 256"/>
              <a:gd name="T15" fmla="*/ 0 h 235"/>
              <a:gd name="T16" fmla="*/ 163 w 256"/>
              <a:gd name="T17" fmla="*/ 28 h 235"/>
              <a:gd name="T18" fmla="*/ 207 w 256"/>
              <a:gd name="T19" fmla="*/ 66 h 235"/>
              <a:gd name="T20" fmla="*/ 223 w 256"/>
              <a:gd name="T21" fmla="*/ 71 h 235"/>
              <a:gd name="T22" fmla="*/ 240 w 256"/>
              <a:gd name="T23" fmla="*/ 82 h 235"/>
              <a:gd name="T24" fmla="*/ 256 w 256"/>
              <a:gd name="T25" fmla="*/ 93 h 235"/>
              <a:gd name="T26" fmla="*/ 250 w 256"/>
              <a:gd name="T27" fmla="*/ 137 h 235"/>
              <a:gd name="T28" fmla="*/ 245 w 256"/>
              <a:gd name="T29" fmla="*/ 148 h 235"/>
              <a:gd name="T30" fmla="*/ 229 w 256"/>
              <a:gd name="T31" fmla="*/ 153 h 235"/>
              <a:gd name="T32" fmla="*/ 201 w 256"/>
              <a:gd name="T33" fmla="*/ 158 h 235"/>
              <a:gd name="T34" fmla="*/ 185 w 256"/>
              <a:gd name="T35" fmla="*/ 153 h 235"/>
              <a:gd name="T36" fmla="*/ 180 w 256"/>
              <a:gd name="T37" fmla="*/ 158 h 235"/>
              <a:gd name="T38" fmla="*/ 163 w 256"/>
              <a:gd name="T39" fmla="*/ 164 h 235"/>
              <a:gd name="T40" fmla="*/ 152 w 256"/>
              <a:gd name="T41" fmla="*/ 169 h 235"/>
              <a:gd name="T42" fmla="*/ 147 w 256"/>
              <a:gd name="T43" fmla="*/ 180 h 235"/>
              <a:gd name="T44" fmla="*/ 141 w 256"/>
              <a:gd name="T45" fmla="*/ 180 h 235"/>
              <a:gd name="T46" fmla="*/ 131 w 256"/>
              <a:gd name="T47" fmla="*/ 180 h 235"/>
              <a:gd name="T48" fmla="*/ 120 w 256"/>
              <a:gd name="T49" fmla="*/ 186 h 235"/>
              <a:gd name="T50" fmla="*/ 120 w 256"/>
              <a:gd name="T51" fmla="*/ 197 h 235"/>
              <a:gd name="T52" fmla="*/ 109 w 256"/>
              <a:gd name="T53" fmla="*/ 202 h 235"/>
              <a:gd name="T54" fmla="*/ 109 w 256"/>
              <a:gd name="T55" fmla="*/ 213 h 235"/>
              <a:gd name="T56" fmla="*/ 103 w 256"/>
              <a:gd name="T57" fmla="*/ 229 h 235"/>
              <a:gd name="T58" fmla="*/ 92 w 256"/>
              <a:gd name="T59" fmla="*/ 229 h 235"/>
              <a:gd name="T60" fmla="*/ 87 w 256"/>
              <a:gd name="T61" fmla="*/ 224 h 235"/>
              <a:gd name="T62" fmla="*/ 81 w 256"/>
              <a:gd name="T63" fmla="*/ 235 h 235"/>
              <a:gd name="T64" fmla="*/ 65 w 256"/>
              <a:gd name="T65" fmla="*/ 229 h 235"/>
              <a:gd name="T66" fmla="*/ 60 w 256"/>
              <a:gd name="T67" fmla="*/ 229 h 235"/>
              <a:gd name="T68" fmla="*/ 54 w 256"/>
              <a:gd name="T69" fmla="*/ 218 h 235"/>
              <a:gd name="T70" fmla="*/ 54 w 256"/>
              <a:gd name="T71" fmla="*/ 208 h 235"/>
              <a:gd name="T72" fmla="*/ 54 w 256"/>
              <a:gd name="T73" fmla="*/ 202 h 235"/>
              <a:gd name="T74" fmla="*/ 43 w 256"/>
              <a:gd name="T75" fmla="*/ 197 h 235"/>
              <a:gd name="T76" fmla="*/ 32 w 256"/>
              <a:gd name="T77" fmla="*/ 202 h 235"/>
              <a:gd name="T78" fmla="*/ 16 w 256"/>
              <a:gd name="T79" fmla="*/ 202 h 235"/>
              <a:gd name="T80" fmla="*/ 11 w 256"/>
              <a:gd name="T81" fmla="*/ 191 h 235"/>
              <a:gd name="T82" fmla="*/ 11 w 256"/>
              <a:gd name="T83" fmla="*/ 186 h 235"/>
              <a:gd name="T84" fmla="*/ 5 w 256"/>
              <a:gd name="T85" fmla="*/ 175 h 235"/>
              <a:gd name="T86" fmla="*/ 0 w 256"/>
              <a:gd name="T87" fmla="*/ 16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6" h="235">
                <a:moveTo>
                  <a:pt x="0" y="158"/>
                </a:moveTo>
                <a:lnTo>
                  <a:pt x="5" y="158"/>
                </a:lnTo>
                <a:lnTo>
                  <a:pt x="5" y="153"/>
                </a:lnTo>
                <a:lnTo>
                  <a:pt x="5" y="148"/>
                </a:lnTo>
                <a:lnTo>
                  <a:pt x="11" y="148"/>
                </a:lnTo>
                <a:lnTo>
                  <a:pt x="16" y="148"/>
                </a:lnTo>
                <a:lnTo>
                  <a:pt x="16" y="153"/>
                </a:lnTo>
                <a:lnTo>
                  <a:pt x="21" y="153"/>
                </a:lnTo>
                <a:lnTo>
                  <a:pt x="21" y="148"/>
                </a:lnTo>
                <a:lnTo>
                  <a:pt x="27" y="148"/>
                </a:lnTo>
                <a:lnTo>
                  <a:pt x="32" y="153"/>
                </a:lnTo>
                <a:lnTo>
                  <a:pt x="38" y="153"/>
                </a:lnTo>
                <a:lnTo>
                  <a:pt x="38" y="148"/>
                </a:lnTo>
                <a:lnTo>
                  <a:pt x="43" y="148"/>
                </a:lnTo>
                <a:lnTo>
                  <a:pt x="60" y="148"/>
                </a:lnTo>
                <a:lnTo>
                  <a:pt x="98" y="148"/>
                </a:lnTo>
                <a:lnTo>
                  <a:pt x="103" y="148"/>
                </a:lnTo>
                <a:lnTo>
                  <a:pt x="109" y="137"/>
                </a:lnTo>
                <a:lnTo>
                  <a:pt x="103" y="131"/>
                </a:lnTo>
                <a:lnTo>
                  <a:pt x="98" y="60"/>
                </a:lnTo>
                <a:lnTo>
                  <a:pt x="92" y="44"/>
                </a:lnTo>
                <a:lnTo>
                  <a:pt x="92" y="28"/>
                </a:lnTo>
                <a:lnTo>
                  <a:pt x="92" y="22"/>
                </a:lnTo>
                <a:lnTo>
                  <a:pt x="92" y="0"/>
                </a:lnTo>
                <a:lnTo>
                  <a:pt x="114" y="0"/>
                </a:lnTo>
                <a:lnTo>
                  <a:pt x="147" y="17"/>
                </a:lnTo>
                <a:lnTo>
                  <a:pt x="163" y="28"/>
                </a:lnTo>
                <a:lnTo>
                  <a:pt x="190" y="49"/>
                </a:lnTo>
                <a:lnTo>
                  <a:pt x="207" y="60"/>
                </a:lnTo>
                <a:lnTo>
                  <a:pt x="207" y="66"/>
                </a:lnTo>
                <a:lnTo>
                  <a:pt x="212" y="66"/>
                </a:lnTo>
                <a:lnTo>
                  <a:pt x="218" y="71"/>
                </a:lnTo>
                <a:lnTo>
                  <a:pt x="223" y="71"/>
                </a:lnTo>
                <a:lnTo>
                  <a:pt x="229" y="77"/>
                </a:lnTo>
                <a:lnTo>
                  <a:pt x="234" y="77"/>
                </a:lnTo>
                <a:lnTo>
                  <a:pt x="240" y="82"/>
                </a:lnTo>
                <a:lnTo>
                  <a:pt x="240" y="88"/>
                </a:lnTo>
                <a:lnTo>
                  <a:pt x="240" y="93"/>
                </a:lnTo>
                <a:lnTo>
                  <a:pt x="256" y="93"/>
                </a:lnTo>
                <a:lnTo>
                  <a:pt x="256" y="126"/>
                </a:lnTo>
                <a:lnTo>
                  <a:pt x="250" y="126"/>
                </a:lnTo>
                <a:lnTo>
                  <a:pt x="250" y="137"/>
                </a:lnTo>
                <a:lnTo>
                  <a:pt x="250" y="142"/>
                </a:lnTo>
                <a:lnTo>
                  <a:pt x="250" y="148"/>
                </a:lnTo>
                <a:lnTo>
                  <a:pt x="245" y="148"/>
                </a:lnTo>
                <a:lnTo>
                  <a:pt x="245" y="153"/>
                </a:lnTo>
                <a:lnTo>
                  <a:pt x="240" y="153"/>
                </a:lnTo>
                <a:lnTo>
                  <a:pt x="229" y="153"/>
                </a:lnTo>
                <a:lnTo>
                  <a:pt x="212" y="153"/>
                </a:lnTo>
                <a:lnTo>
                  <a:pt x="207" y="158"/>
                </a:lnTo>
                <a:lnTo>
                  <a:pt x="201" y="158"/>
                </a:lnTo>
                <a:lnTo>
                  <a:pt x="196" y="158"/>
                </a:lnTo>
                <a:lnTo>
                  <a:pt x="190" y="158"/>
                </a:lnTo>
                <a:lnTo>
                  <a:pt x="185" y="153"/>
                </a:lnTo>
                <a:lnTo>
                  <a:pt x="185" y="158"/>
                </a:lnTo>
                <a:lnTo>
                  <a:pt x="180" y="153"/>
                </a:lnTo>
                <a:lnTo>
                  <a:pt x="180" y="158"/>
                </a:lnTo>
                <a:lnTo>
                  <a:pt x="174" y="158"/>
                </a:lnTo>
                <a:lnTo>
                  <a:pt x="169" y="158"/>
                </a:lnTo>
                <a:lnTo>
                  <a:pt x="163" y="164"/>
                </a:lnTo>
                <a:lnTo>
                  <a:pt x="158" y="164"/>
                </a:lnTo>
                <a:lnTo>
                  <a:pt x="158" y="169"/>
                </a:lnTo>
                <a:lnTo>
                  <a:pt x="152" y="169"/>
                </a:lnTo>
                <a:lnTo>
                  <a:pt x="147" y="169"/>
                </a:lnTo>
                <a:lnTo>
                  <a:pt x="147" y="175"/>
                </a:lnTo>
                <a:lnTo>
                  <a:pt x="147" y="180"/>
                </a:lnTo>
                <a:lnTo>
                  <a:pt x="141" y="180"/>
                </a:lnTo>
                <a:lnTo>
                  <a:pt x="136" y="175"/>
                </a:lnTo>
                <a:lnTo>
                  <a:pt x="141" y="180"/>
                </a:lnTo>
                <a:lnTo>
                  <a:pt x="141" y="186"/>
                </a:lnTo>
                <a:lnTo>
                  <a:pt x="136" y="186"/>
                </a:lnTo>
                <a:lnTo>
                  <a:pt x="131" y="180"/>
                </a:lnTo>
                <a:lnTo>
                  <a:pt x="125" y="180"/>
                </a:lnTo>
                <a:lnTo>
                  <a:pt x="125" y="186"/>
                </a:lnTo>
                <a:lnTo>
                  <a:pt x="120" y="186"/>
                </a:lnTo>
                <a:lnTo>
                  <a:pt x="125" y="191"/>
                </a:lnTo>
                <a:lnTo>
                  <a:pt x="120" y="191"/>
                </a:lnTo>
                <a:lnTo>
                  <a:pt x="120" y="197"/>
                </a:lnTo>
                <a:lnTo>
                  <a:pt x="120" y="202"/>
                </a:lnTo>
                <a:lnTo>
                  <a:pt x="114" y="202"/>
                </a:lnTo>
                <a:lnTo>
                  <a:pt x="109" y="202"/>
                </a:lnTo>
                <a:lnTo>
                  <a:pt x="103" y="208"/>
                </a:lnTo>
                <a:lnTo>
                  <a:pt x="109" y="208"/>
                </a:lnTo>
                <a:lnTo>
                  <a:pt x="109" y="213"/>
                </a:lnTo>
                <a:lnTo>
                  <a:pt x="103" y="218"/>
                </a:lnTo>
                <a:lnTo>
                  <a:pt x="103" y="224"/>
                </a:lnTo>
                <a:lnTo>
                  <a:pt x="103" y="229"/>
                </a:lnTo>
                <a:lnTo>
                  <a:pt x="98" y="229"/>
                </a:lnTo>
                <a:lnTo>
                  <a:pt x="92" y="235"/>
                </a:lnTo>
                <a:lnTo>
                  <a:pt x="92" y="229"/>
                </a:lnTo>
                <a:lnTo>
                  <a:pt x="92" y="224"/>
                </a:lnTo>
                <a:lnTo>
                  <a:pt x="87" y="229"/>
                </a:lnTo>
                <a:lnTo>
                  <a:pt x="87" y="224"/>
                </a:lnTo>
                <a:lnTo>
                  <a:pt x="87" y="229"/>
                </a:lnTo>
                <a:lnTo>
                  <a:pt x="81" y="229"/>
                </a:lnTo>
                <a:lnTo>
                  <a:pt x="81" y="235"/>
                </a:lnTo>
                <a:lnTo>
                  <a:pt x="76" y="229"/>
                </a:lnTo>
                <a:lnTo>
                  <a:pt x="71" y="229"/>
                </a:lnTo>
                <a:lnTo>
                  <a:pt x="65" y="229"/>
                </a:lnTo>
                <a:lnTo>
                  <a:pt x="65" y="235"/>
                </a:lnTo>
                <a:lnTo>
                  <a:pt x="65" y="229"/>
                </a:lnTo>
                <a:lnTo>
                  <a:pt x="60" y="229"/>
                </a:lnTo>
                <a:lnTo>
                  <a:pt x="60" y="224"/>
                </a:lnTo>
                <a:lnTo>
                  <a:pt x="60" y="218"/>
                </a:lnTo>
                <a:lnTo>
                  <a:pt x="54" y="218"/>
                </a:lnTo>
                <a:lnTo>
                  <a:pt x="60" y="213"/>
                </a:lnTo>
                <a:lnTo>
                  <a:pt x="54" y="213"/>
                </a:lnTo>
                <a:lnTo>
                  <a:pt x="54" y="208"/>
                </a:lnTo>
                <a:lnTo>
                  <a:pt x="49" y="208"/>
                </a:lnTo>
                <a:lnTo>
                  <a:pt x="54" y="208"/>
                </a:lnTo>
                <a:lnTo>
                  <a:pt x="54" y="202"/>
                </a:lnTo>
                <a:lnTo>
                  <a:pt x="49" y="202"/>
                </a:lnTo>
                <a:lnTo>
                  <a:pt x="49" y="197"/>
                </a:lnTo>
                <a:lnTo>
                  <a:pt x="43" y="197"/>
                </a:lnTo>
                <a:lnTo>
                  <a:pt x="43" y="202"/>
                </a:lnTo>
                <a:lnTo>
                  <a:pt x="38" y="202"/>
                </a:lnTo>
                <a:lnTo>
                  <a:pt x="32" y="202"/>
                </a:lnTo>
                <a:lnTo>
                  <a:pt x="27" y="202"/>
                </a:lnTo>
                <a:lnTo>
                  <a:pt x="21" y="208"/>
                </a:lnTo>
                <a:lnTo>
                  <a:pt x="16" y="202"/>
                </a:lnTo>
                <a:lnTo>
                  <a:pt x="11" y="202"/>
                </a:lnTo>
                <a:lnTo>
                  <a:pt x="11" y="197"/>
                </a:lnTo>
                <a:lnTo>
                  <a:pt x="11" y="191"/>
                </a:lnTo>
                <a:lnTo>
                  <a:pt x="11" y="186"/>
                </a:lnTo>
                <a:lnTo>
                  <a:pt x="11" y="191"/>
                </a:lnTo>
                <a:lnTo>
                  <a:pt x="11" y="186"/>
                </a:lnTo>
                <a:lnTo>
                  <a:pt x="5" y="180"/>
                </a:lnTo>
                <a:lnTo>
                  <a:pt x="0" y="175"/>
                </a:lnTo>
                <a:lnTo>
                  <a:pt x="5" y="175"/>
                </a:lnTo>
                <a:lnTo>
                  <a:pt x="0" y="175"/>
                </a:lnTo>
                <a:lnTo>
                  <a:pt x="0" y="169"/>
                </a:lnTo>
                <a:lnTo>
                  <a:pt x="0" y="164"/>
                </a:lnTo>
                <a:lnTo>
                  <a:pt x="0" y="158"/>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1" name="Freeform 170">
            <a:extLst>
              <a:ext uri="{FF2B5EF4-FFF2-40B4-BE49-F238E27FC236}">
                <a16:creationId xmlns:a16="http://schemas.microsoft.com/office/drawing/2014/main" id="{4612BAAF-2FC8-8817-5A50-658A65C868AE}"/>
              </a:ext>
            </a:extLst>
          </p:cNvPr>
          <p:cNvSpPr>
            <a:spLocks/>
          </p:cNvSpPr>
          <p:nvPr/>
        </p:nvSpPr>
        <p:spPr bwMode="auto">
          <a:xfrm>
            <a:off x="2538413" y="2784474"/>
            <a:ext cx="142875" cy="114300"/>
          </a:xfrm>
          <a:custGeom>
            <a:avLst/>
            <a:gdLst>
              <a:gd name="T0" fmla="*/ 0 w 126"/>
              <a:gd name="T1" fmla="*/ 71 h 93"/>
              <a:gd name="T2" fmla="*/ 6 w 126"/>
              <a:gd name="T3" fmla="*/ 60 h 93"/>
              <a:gd name="T4" fmla="*/ 0 w 126"/>
              <a:gd name="T5" fmla="*/ 55 h 93"/>
              <a:gd name="T6" fmla="*/ 11 w 126"/>
              <a:gd name="T7" fmla="*/ 49 h 93"/>
              <a:gd name="T8" fmla="*/ 17 w 126"/>
              <a:gd name="T9" fmla="*/ 44 h 93"/>
              <a:gd name="T10" fmla="*/ 22 w 126"/>
              <a:gd name="T11" fmla="*/ 38 h 93"/>
              <a:gd name="T12" fmla="*/ 22 w 126"/>
              <a:gd name="T13" fmla="*/ 33 h 93"/>
              <a:gd name="T14" fmla="*/ 28 w 126"/>
              <a:gd name="T15" fmla="*/ 27 h 93"/>
              <a:gd name="T16" fmla="*/ 38 w 126"/>
              <a:gd name="T17" fmla="*/ 33 h 93"/>
              <a:gd name="T18" fmla="*/ 33 w 126"/>
              <a:gd name="T19" fmla="*/ 22 h 93"/>
              <a:gd name="T20" fmla="*/ 44 w 126"/>
              <a:gd name="T21" fmla="*/ 27 h 93"/>
              <a:gd name="T22" fmla="*/ 44 w 126"/>
              <a:gd name="T23" fmla="*/ 16 h 93"/>
              <a:gd name="T24" fmla="*/ 55 w 126"/>
              <a:gd name="T25" fmla="*/ 16 h 93"/>
              <a:gd name="T26" fmla="*/ 60 w 126"/>
              <a:gd name="T27" fmla="*/ 11 h 93"/>
              <a:gd name="T28" fmla="*/ 71 w 126"/>
              <a:gd name="T29" fmla="*/ 5 h 93"/>
              <a:gd name="T30" fmla="*/ 77 w 126"/>
              <a:gd name="T31" fmla="*/ 0 h 93"/>
              <a:gd name="T32" fmla="*/ 82 w 126"/>
              <a:gd name="T33" fmla="*/ 0 h 93"/>
              <a:gd name="T34" fmla="*/ 93 w 126"/>
              <a:gd name="T35" fmla="*/ 5 h 93"/>
              <a:gd name="T36" fmla="*/ 93 w 126"/>
              <a:gd name="T37" fmla="*/ 16 h 93"/>
              <a:gd name="T38" fmla="*/ 98 w 126"/>
              <a:gd name="T39" fmla="*/ 22 h 93"/>
              <a:gd name="T40" fmla="*/ 109 w 126"/>
              <a:gd name="T41" fmla="*/ 27 h 93"/>
              <a:gd name="T42" fmla="*/ 104 w 126"/>
              <a:gd name="T43" fmla="*/ 33 h 93"/>
              <a:gd name="T44" fmla="*/ 109 w 126"/>
              <a:gd name="T45" fmla="*/ 44 h 93"/>
              <a:gd name="T46" fmla="*/ 120 w 126"/>
              <a:gd name="T47" fmla="*/ 38 h 93"/>
              <a:gd name="T48" fmla="*/ 126 w 126"/>
              <a:gd name="T49" fmla="*/ 55 h 93"/>
              <a:gd name="T50" fmla="*/ 120 w 126"/>
              <a:gd name="T51" fmla="*/ 60 h 93"/>
              <a:gd name="T52" fmla="*/ 109 w 126"/>
              <a:gd name="T53" fmla="*/ 60 h 93"/>
              <a:gd name="T54" fmla="*/ 98 w 126"/>
              <a:gd name="T55" fmla="*/ 65 h 93"/>
              <a:gd name="T56" fmla="*/ 87 w 126"/>
              <a:gd name="T57" fmla="*/ 65 h 93"/>
              <a:gd name="T58" fmla="*/ 77 w 126"/>
              <a:gd name="T59" fmla="*/ 71 h 93"/>
              <a:gd name="T60" fmla="*/ 66 w 126"/>
              <a:gd name="T61" fmla="*/ 65 h 93"/>
              <a:gd name="T62" fmla="*/ 44 w 126"/>
              <a:gd name="T63" fmla="*/ 65 h 93"/>
              <a:gd name="T64" fmla="*/ 38 w 126"/>
              <a:gd name="T65" fmla="*/ 71 h 93"/>
              <a:gd name="T66" fmla="*/ 44 w 126"/>
              <a:gd name="T67" fmla="*/ 82 h 93"/>
              <a:gd name="T68" fmla="*/ 44 w 126"/>
              <a:gd name="T69" fmla="*/ 93 h 93"/>
              <a:gd name="T70" fmla="*/ 38 w 126"/>
              <a:gd name="T71" fmla="*/ 87 h 93"/>
              <a:gd name="T72" fmla="*/ 33 w 126"/>
              <a:gd name="T73" fmla="*/ 87 h 93"/>
              <a:gd name="T74" fmla="*/ 28 w 126"/>
              <a:gd name="T75" fmla="*/ 82 h 93"/>
              <a:gd name="T76" fmla="*/ 17 w 126"/>
              <a:gd name="T77" fmla="*/ 87 h 93"/>
              <a:gd name="T78" fmla="*/ 6 w 126"/>
              <a:gd name="T79" fmla="*/ 82 h 93"/>
              <a:gd name="T80" fmla="*/ 0 w 126"/>
              <a:gd name="T81" fmla="*/ 7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93">
                <a:moveTo>
                  <a:pt x="0" y="76"/>
                </a:moveTo>
                <a:lnTo>
                  <a:pt x="0" y="71"/>
                </a:lnTo>
                <a:lnTo>
                  <a:pt x="0" y="65"/>
                </a:lnTo>
                <a:lnTo>
                  <a:pt x="6" y="60"/>
                </a:lnTo>
                <a:lnTo>
                  <a:pt x="6" y="55"/>
                </a:lnTo>
                <a:lnTo>
                  <a:pt x="0" y="55"/>
                </a:lnTo>
                <a:lnTo>
                  <a:pt x="6" y="49"/>
                </a:lnTo>
                <a:lnTo>
                  <a:pt x="11" y="49"/>
                </a:lnTo>
                <a:lnTo>
                  <a:pt x="17" y="49"/>
                </a:lnTo>
                <a:lnTo>
                  <a:pt x="17" y="44"/>
                </a:lnTo>
                <a:lnTo>
                  <a:pt x="17" y="38"/>
                </a:lnTo>
                <a:lnTo>
                  <a:pt x="22" y="38"/>
                </a:lnTo>
                <a:lnTo>
                  <a:pt x="17" y="33"/>
                </a:lnTo>
                <a:lnTo>
                  <a:pt x="22" y="33"/>
                </a:lnTo>
                <a:lnTo>
                  <a:pt x="22" y="27"/>
                </a:lnTo>
                <a:lnTo>
                  <a:pt x="28" y="27"/>
                </a:lnTo>
                <a:lnTo>
                  <a:pt x="33" y="33"/>
                </a:lnTo>
                <a:lnTo>
                  <a:pt x="38" y="33"/>
                </a:lnTo>
                <a:lnTo>
                  <a:pt x="38" y="27"/>
                </a:lnTo>
                <a:lnTo>
                  <a:pt x="33" y="22"/>
                </a:lnTo>
                <a:lnTo>
                  <a:pt x="38" y="27"/>
                </a:lnTo>
                <a:lnTo>
                  <a:pt x="44" y="27"/>
                </a:lnTo>
                <a:lnTo>
                  <a:pt x="44" y="22"/>
                </a:lnTo>
                <a:lnTo>
                  <a:pt x="44" y="16"/>
                </a:lnTo>
                <a:lnTo>
                  <a:pt x="49" y="16"/>
                </a:lnTo>
                <a:lnTo>
                  <a:pt x="55" y="16"/>
                </a:lnTo>
                <a:lnTo>
                  <a:pt x="55" y="11"/>
                </a:lnTo>
                <a:lnTo>
                  <a:pt x="60" y="11"/>
                </a:lnTo>
                <a:lnTo>
                  <a:pt x="66" y="5"/>
                </a:lnTo>
                <a:lnTo>
                  <a:pt x="71" y="5"/>
                </a:lnTo>
                <a:lnTo>
                  <a:pt x="77" y="5"/>
                </a:lnTo>
                <a:lnTo>
                  <a:pt x="77" y="0"/>
                </a:lnTo>
                <a:lnTo>
                  <a:pt x="82" y="5"/>
                </a:lnTo>
                <a:lnTo>
                  <a:pt x="82" y="0"/>
                </a:lnTo>
                <a:lnTo>
                  <a:pt x="87" y="5"/>
                </a:lnTo>
                <a:lnTo>
                  <a:pt x="93" y="5"/>
                </a:lnTo>
                <a:lnTo>
                  <a:pt x="87" y="11"/>
                </a:lnTo>
                <a:lnTo>
                  <a:pt x="93" y="16"/>
                </a:lnTo>
                <a:lnTo>
                  <a:pt x="93" y="22"/>
                </a:lnTo>
                <a:lnTo>
                  <a:pt x="98" y="22"/>
                </a:lnTo>
                <a:lnTo>
                  <a:pt x="104" y="27"/>
                </a:lnTo>
                <a:lnTo>
                  <a:pt x="109" y="27"/>
                </a:lnTo>
                <a:lnTo>
                  <a:pt x="104" y="27"/>
                </a:lnTo>
                <a:lnTo>
                  <a:pt x="104" y="33"/>
                </a:lnTo>
                <a:lnTo>
                  <a:pt x="104" y="38"/>
                </a:lnTo>
                <a:lnTo>
                  <a:pt x="109" y="44"/>
                </a:lnTo>
                <a:lnTo>
                  <a:pt x="115" y="44"/>
                </a:lnTo>
                <a:lnTo>
                  <a:pt x="120" y="38"/>
                </a:lnTo>
                <a:lnTo>
                  <a:pt x="120" y="44"/>
                </a:lnTo>
                <a:lnTo>
                  <a:pt x="126" y="55"/>
                </a:lnTo>
                <a:lnTo>
                  <a:pt x="120" y="55"/>
                </a:lnTo>
                <a:lnTo>
                  <a:pt x="120" y="60"/>
                </a:lnTo>
                <a:lnTo>
                  <a:pt x="115" y="60"/>
                </a:lnTo>
                <a:lnTo>
                  <a:pt x="109" y="60"/>
                </a:lnTo>
                <a:lnTo>
                  <a:pt x="104" y="65"/>
                </a:lnTo>
                <a:lnTo>
                  <a:pt x="98" y="65"/>
                </a:lnTo>
                <a:lnTo>
                  <a:pt x="93" y="65"/>
                </a:lnTo>
                <a:lnTo>
                  <a:pt x="87" y="65"/>
                </a:lnTo>
                <a:lnTo>
                  <a:pt x="82" y="65"/>
                </a:lnTo>
                <a:lnTo>
                  <a:pt x="77" y="71"/>
                </a:lnTo>
                <a:lnTo>
                  <a:pt x="71" y="65"/>
                </a:lnTo>
                <a:lnTo>
                  <a:pt x="66" y="65"/>
                </a:lnTo>
                <a:lnTo>
                  <a:pt x="60" y="65"/>
                </a:lnTo>
                <a:lnTo>
                  <a:pt x="44" y="65"/>
                </a:lnTo>
                <a:lnTo>
                  <a:pt x="44" y="71"/>
                </a:lnTo>
                <a:lnTo>
                  <a:pt x="38" y="71"/>
                </a:lnTo>
                <a:lnTo>
                  <a:pt x="44" y="76"/>
                </a:lnTo>
                <a:lnTo>
                  <a:pt x="44" y="82"/>
                </a:lnTo>
                <a:lnTo>
                  <a:pt x="44" y="87"/>
                </a:lnTo>
                <a:lnTo>
                  <a:pt x="44" y="93"/>
                </a:lnTo>
                <a:lnTo>
                  <a:pt x="38" y="93"/>
                </a:lnTo>
                <a:lnTo>
                  <a:pt x="38" y="87"/>
                </a:lnTo>
                <a:lnTo>
                  <a:pt x="38" y="82"/>
                </a:lnTo>
                <a:lnTo>
                  <a:pt x="33" y="87"/>
                </a:lnTo>
                <a:lnTo>
                  <a:pt x="33" y="82"/>
                </a:lnTo>
                <a:lnTo>
                  <a:pt x="28" y="82"/>
                </a:lnTo>
                <a:lnTo>
                  <a:pt x="22" y="87"/>
                </a:lnTo>
                <a:lnTo>
                  <a:pt x="17" y="87"/>
                </a:lnTo>
                <a:lnTo>
                  <a:pt x="11" y="87"/>
                </a:lnTo>
                <a:lnTo>
                  <a:pt x="6" y="82"/>
                </a:lnTo>
                <a:lnTo>
                  <a:pt x="6" y="76"/>
                </a:lnTo>
                <a:lnTo>
                  <a:pt x="0" y="76"/>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2" name="Freeform 175">
            <a:extLst>
              <a:ext uri="{FF2B5EF4-FFF2-40B4-BE49-F238E27FC236}">
                <a16:creationId xmlns:a16="http://schemas.microsoft.com/office/drawing/2014/main" id="{6F6EAA1B-6D23-A4B8-3375-09575FF291A6}"/>
              </a:ext>
            </a:extLst>
          </p:cNvPr>
          <p:cNvSpPr>
            <a:spLocks/>
          </p:cNvSpPr>
          <p:nvPr/>
        </p:nvSpPr>
        <p:spPr bwMode="auto">
          <a:xfrm>
            <a:off x="2576513" y="2863850"/>
            <a:ext cx="79375" cy="120650"/>
          </a:xfrm>
          <a:custGeom>
            <a:avLst/>
            <a:gdLst>
              <a:gd name="T0" fmla="*/ 5 w 71"/>
              <a:gd name="T1" fmla="*/ 93 h 99"/>
              <a:gd name="T2" fmla="*/ 11 w 71"/>
              <a:gd name="T3" fmla="*/ 93 h 99"/>
              <a:gd name="T4" fmla="*/ 11 w 71"/>
              <a:gd name="T5" fmla="*/ 88 h 99"/>
              <a:gd name="T6" fmla="*/ 5 w 71"/>
              <a:gd name="T7" fmla="*/ 88 h 99"/>
              <a:gd name="T8" fmla="*/ 5 w 71"/>
              <a:gd name="T9" fmla="*/ 82 h 99"/>
              <a:gd name="T10" fmla="*/ 5 w 71"/>
              <a:gd name="T11" fmla="*/ 77 h 99"/>
              <a:gd name="T12" fmla="*/ 0 w 71"/>
              <a:gd name="T13" fmla="*/ 71 h 99"/>
              <a:gd name="T14" fmla="*/ 0 w 71"/>
              <a:gd name="T15" fmla="*/ 66 h 99"/>
              <a:gd name="T16" fmla="*/ 5 w 71"/>
              <a:gd name="T17" fmla="*/ 66 h 99"/>
              <a:gd name="T18" fmla="*/ 5 w 71"/>
              <a:gd name="T19" fmla="*/ 60 h 99"/>
              <a:gd name="T20" fmla="*/ 5 w 71"/>
              <a:gd name="T21" fmla="*/ 55 h 99"/>
              <a:gd name="T22" fmla="*/ 11 w 71"/>
              <a:gd name="T23" fmla="*/ 50 h 99"/>
              <a:gd name="T24" fmla="*/ 16 w 71"/>
              <a:gd name="T25" fmla="*/ 44 h 99"/>
              <a:gd name="T26" fmla="*/ 11 w 71"/>
              <a:gd name="T27" fmla="*/ 39 h 99"/>
              <a:gd name="T28" fmla="*/ 11 w 71"/>
              <a:gd name="T29" fmla="*/ 33 h 99"/>
              <a:gd name="T30" fmla="*/ 11 w 71"/>
              <a:gd name="T31" fmla="*/ 28 h 99"/>
              <a:gd name="T32" fmla="*/ 11 w 71"/>
              <a:gd name="T33" fmla="*/ 22 h 99"/>
              <a:gd name="T34" fmla="*/ 11 w 71"/>
              <a:gd name="T35" fmla="*/ 17 h 99"/>
              <a:gd name="T36" fmla="*/ 11 w 71"/>
              <a:gd name="T37" fmla="*/ 11 h 99"/>
              <a:gd name="T38" fmla="*/ 5 w 71"/>
              <a:gd name="T39" fmla="*/ 6 h 99"/>
              <a:gd name="T40" fmla="*/ 11 w 71"/>
              <a:gd name="T41" fmla="*/ 6 h 99"/>
              <a:gd name="T42" fmla="*/ 11 w 71"/>
              <a:gd name="T43" fmla="*/ 0 h 99"/>
              <a:gd name="T44" fmla="*/ 27 w 71"/>
              <a:gd name="T45" fmla="*/ 0 h 99"/>
              <a:gd name="T46" fmla="*/ 33 w 71"/>
              <a:gd name="T47" fmla="*/ 0 h 99"/>
              <a:gd name="T48" fmla="*/ 38 w 71"/>
              <a:gd name="T49" fmla="*/ 0 h 99"/>
              <a:gd name="T50" fmla="*/ 44 w 71"/>
              <a:gd name="T51" fmla="*/ 6 h 99"/>
              <a:gd name="T52" fmla="*/ 49 w 71"/>
              <a:gd name="T53" fmla="*/ 0 h 99"/>
              <a:gd name="T54" fmla="*/ 54 w 71"/>
              <a:gd name="T55" fmla="*/ 0 h 99"/>
              <a:gd name="T56" fmla="*/ 54 w 71"/>
              <a:gd name="T57" fmla="*/ 6 h 99"/>
              <a:gd name="T58" fmla="*/ 54 w 71"/>
              <a:gd name="T59" fmla="*/ 11 h 99"/>
              <a:gd name="T60" fmla="*/ 60 w 71"/>
              <a:gd name="T61" fmla="*/ 11 h 99"/>
              <a:gd name="T62" fmla="*/ 60 w 71"/>
              <a:gd name="T63" fmla="*/ 17 h 99"/>
              <a:gd name="T64" fmla="*/ 60 w 71"/>
              <a:gd name="T65" fmla="*/ 22 h 99"/>
              <a:gd name="T66" fmla="*/ 60 w 71"/>
              <a:gd name="T67" fmla="*/ 28 h 99"/>
              <a:gd name="T68" fmla="*/ 60 w 71"/>
              <a:gd name="T69" fmla="*/ 33 h 99"/>
              <a:gd name="T70" fmla="*/ 60 w 71"/>
              <a:gd name="T71" fmla="*/ 39 h 99"/>
              <a:gd name="T72" fmla="*/ 65 w 71"/>
              <a:gd name="T73" fmla="*/ 44 h 99"/>
              <a:gd name="T74" fmla="*/ 65 w 71"/>
              <a:gd name="T75" fmla="*/ 50 h 99"/>
              <a:gd name="T76" fmla="*/ 65 w 71"/>
              <a:gd name="T77" fmla="*/ 55 h 99"/>
              <a:gd name="T78" fmla="*/ 60 w 71"/>
              <a:gd name="T79" fmla="*/ 60 h 99"/>
              <a:gd name="T80" fmla="*/ 65 w 71"/>
              <a:gd name="T81" fmla="*/ 60 h 99"/>
              <a:gd name="T82" fmla="*/ 65 w 71"/>
              <a:gd name="T83" fmla="*/ 66 h 99"/>
              <a:gd name="T84" fmla="*/ 60 w 71"/>
              <a:gd name="T85" fmla="*/ 66 h 99"/>
              <a:gd name="T86" fmla="*/ 65 w 71"/>
              <a:gd name="T87" fmla="*/ 71 h 99"/>
              <a:gd name="T88" fmla="*/ 65 w 71"/>
              <a:gd name="T89" fmla="*/ 77 h 99"/>
              <a:gd name="T90" fmla="*/ 71 w 71"/>
              <a:gd name="T91" fmla="*/ 77 h 99"/>
              <a:gd name="T92" fmla="*/ 71 w 71"/>
              <a:gd name="T93" fmla="*/ 82 h 99"/>
              <a:gd name="T94" fmla="*/ 65 w 71"/>
              <a:gd name="T95" fmla="*/ 88 h 99"/>
              <a:gd name="T96" fmla="*/ 60 w 71"/>
              <a:gd name="T97" fmla="*/ 82 h 99"/>
              <a:gd name="T98" fmla="*/ 54 w 71"/>
              <a:gd name="T99" fmla="*/ 88 h 99"/>
              <a:gd name="T100" fmla="*/ 49 w 71"/>
              <a:gd name="T101" fmla="*/ 88 h 99"/>
              <a:gd name="T102" fmla="*/ 44 w 71"/>
              <a:gd name="T103" fmla="*/ 93 h 99"/>
              <a:gd name="T104" fmla="*/ 38 w 71"/>
              <a:gd name="T105" fmla="*/ 93 h 99"/>
              <a:gd name="T106" fmla="*/ 33 w 71"/>
              <a:gd name="T107" fmla="*/ 93 h 99"/>
              <a:gd name="T108" fmla="*/ 27 w 71"/>
              <a:gd name="T109" fmla="*/ 99 h 99"/>
              <a:gd name="T110" fmla="*/ 22 w 71"/>
              <a:gd name="T111" fmla="*/ 99 h 99"/>
              <a:gd name="T112" fmla="*/ 16 w 71"/>
              <a:gd name="T113" fmla="*/ 99 h 99"/>
              <a:gd name="T114" fmla="*/ 5 w 71"/>
              <a:gd name="T115"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1" h="99">
                <a:moveTo>
                  <a:pt x="5" y="93"/>
                </a:moveTo>
                <a:lnTo>
                  <a:pt x="11" y="93"/>
                </a:lnTo>
                <a:lnTo>
                  <a:pt x="11" y="88"/>
                </a:lnTo>
                <a:lnTo>
                  <a:pt x="5" y="88"/>
                </a:lnTo>
                <a:lnTo>
                  <a:pt x="5" y="82"/>
                </a:lnTo>
                <a:lnTo>
                  <a:pt x="5" y="77"/>
                </a:lnTo>
                <a:lnTo>
                  <a:pt x="0" y="71"/>
                </a:lnTo>
                <a:lnTo>
                  <a:pt x="0" y="66"/>
                </a:lnTo>
                <a:lnTo>
                  <a:pt x="5" y="66"/>
                </a:lnTo>
                <a:lnTo>
                  <a:pt x="5" y="60"/>
                </a:lnTo>
                <a:lnTo>
                  <a:pt x="5" y="55"/>
                </a:lnTo>
                <a:lnTo>
                  <a:pt x="11" y="50"/>
                </a:lnTo>
                <a:lnTo>
                  <a:pt x="16" y="44"/>
                </a:lnTo>
                <a:lnTo>
                  <a:pt x="11" y="39"/>
                </a:lnTo>
                <a:lnTo>
                  <a:pt x="11" y="33"/>
                </a:lnTo>
                <a:lnTo>
                  <a:pt x="11" y="28"/>
                </a:lnTo>
                <a:lnTo>
                  <a:pt x="11" y="22"/>
                </a:lnTo>
                <a:lnTo>
                  <a:pt x="11" y="17"/>
                </a:lnTo>
                <a:lnTo>
                  <a:pt x="11" y="11"/>
                </a:lnTo>
                <a:lnTo>
                  <a:pt x="5" y="6"/>
                </a:lnTo>
                <a:lnTo>
                  <a:pt x="11" y="6"/>
                </a:lnTo>
                <a:lnTo>
                  <a:pt x="11" y="0"/>
                </a:lnTo>
                <a:lnTo>
                  <a:pt x="27" y="0"/>
                </a:lnTo>
                <a:lnTo>
                  <a:pt x="33" y="0"/>
                </a:lnTo>
                <a:lnTo>
                  <a:pt x="38" y="0"/>
                </a:lnTo>
                <a:lnTo>
                  <a:pt x="44" y="6"/>
                </a:lnTo>
                <a:lnTo>
                  <a:pt x="49" y="0"/>
                </a:lnTo>
                <a:lnTo>
                  <a:pt x="54" y="0"/>
                </a:lnTo>
                <a:lnTo>
                  <a:pt x="54" y="6"/>
                </a:lnTo>
                <a:lnTo>
                  <a:pt x="54" y="11"/>
                </a:lnTo>
                <a:lnTo>
                  <a:pt x="60" y="11"/>
                </a:lnTo>
                <a:lnTo>
                  <a:pt x="60" y="17"/>
                </a:lnTo>
                <a:lnTo>
                  <a:pt x="60" y="22"/>
                </a:lnTo>
                <a:lnTo>
                  <a:pt x="60" y="28"/>
                </a:lnTo>
                <a:lnTo>
                  <a:pt x="60" y="33"/>
                </a:lnTo>
                <a:lnTo>
                  <a:pt x="60" y="39"/>
                </a:lnTo>
                <a:lnTo>
                  <a:pt x="65" y="44"/>
                </a:lnTo>
                <a:lnTo>
                  <a:pt x="65" y="50"/>
                </a:lnTo>
                <a:lnTo>
                  <a:pt x="65" y="55"/>
                </a:lnTo>
                <a:lnTo>
                  <a:pt x="60" y="60"/>
                </a:lnTo>
                <a:lnTo>
                  <a:pt x="65" y="60"/>
                </a:lnTo>
                <a:lnTo>
                  <a:pt x="65" y="66"/>
                </a:lnTo>
                <a:lnTo>
                  <a:pt x="60" y="66"/>
                </a:lnTo>
                <a:lnTo>
                  <a:pt x="65" y="71"/>
                </a:lnTo>
                <a:lnTo>
                  <a:pt x="65" y="77"/>
                </a:lnTo>
                <a:lnTo>
                  <a:pt x="71" y="77"/>
                </a:lnTo>
                <a:lnTo>
                  <a:pt x="71" y="82"/>
                </a:lnTo>
                <a:lnTo>
                  <a:pt x="65" y="88"/>
                </a:lnTo>
                <a:lnTo>
                  <a:pt x="60" y="82"/>
                </a:lnTo>
                <a:lnTo>
                  <a:pt x="54" y="88"/>
                </a:lnTo>
                <a:lnTo>
                  <a:pt x="49" y="88"/>
                </a:lnTo>
                <a:lnTo>
                  <a:pt x="44" y="93"/>
                </a:lnTo>
                <a:lnTo>
                  <a:pt x="38" y="93"/>
                </a:lnTo>
                <a:lnTo>
                  <a:pt x="33" y="93"/>
                </a:lnTo>
                <a:lnTo>
                  <a:pt x="27" y="99"/>
                </a:lnTo>
                <a:lnTo>
                  <a:pt x="22" y="99"/>
                </a:lnTo>
                <a:lnTo>
                  <a:pt x="16" y="99"/>
                </a:lnTo>
                <a:lnTo>
                  <a:pt x="5" y="93"/>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3" name="Freeform 176">
            <a:extLst>
              <a:ext uri="{FF2B5EF4-FFF2-40B4-BE49-F238E27FC236}">
                <a16:creationId xmlns:a16="http://schemas.microsoft.com/office/drawing/2014/main" id="{4C8DEA3C-96A5-C65D-81E4-3DBCB95A09B9}"/>
              </a:ext>
            </a:extLst>
          </p:cNvPr>
          <p:cNvSpPr>
            <a:spLocks/>
          </p:cNvSpPr>
          <p:nvPr/>
        </p:nvSpPr>
        <p:spPr bwMode="auto">
          <a:xfrm>
            <a:off x="2484438" y="2871788"/>
            <a:ext cx="109538" cy="127000"/>
          </a:xfrm>
          <a:custGeom>
            <a:avLst/>
            <a:gdLst>
              <a:gd name="T0" fmla="*/ 17 w 98"/>
              <a:gd name="T1" fmla="*/ 98 h 104"/>
              <a:gd name="T2" fmla="*/ 17 w 98"/>
              <a:gd name="T3" fmla="*/ 87 h 104"/>
              <a:gd name="T4" fmla="*/ 17 w 98"/>
              <a:gd name="T5" fmla="*/ 76 h 104"/>
              <a:gd name="T6" fmla="*/ 11 w 98"/>
              <a:gd name="T7" fmla="*/ 71 h 104"/>
              <a:gd name="T8" fmla="*/ 0 w 98"/>
              <a:gd name="T9" fmla="*/ 65 h 104"/>
              <a:gd name="T10" fmla="*/ 6 w 98"/>
              <a:gd name="T11" fmla="*/ 60 h 104"/>
              <a:gd name="T12" fmla="*/ 0 w 98"/>
              <a:gd name="T13" fmla="*/ 49 h 104"/>
              <a:gd name="T14" fmla="*/ 11 w 98"/>
              <a:gd name="T15" fmla="*/ 44 h 104"/>
              <a:gd name="T16" fmla="*/ 6 w 98"/>
              <a:gd name="T17" fmla="*/ 38 h 104"/>
              <a:gd name="T18" fmla="*/ 17 w 98"/>
              <a:gd name="T19" fmla="*/ 38 h 104"/>
              <a:gd name="T20" fmla="*/ 11 w 98"/>
              <a:gd name="T21" fmla="*/ 27 h 104"/>
              <a:gd name="T22" fmla="*/ 6 w 98"/>
              <a:gd name="T23" fmla="*/ 22 h 104"/>
              <a:gd name="T24" fmla="*/ 6 w 98"/>
              <a:gd name="T25" fmla="*/ 11 h 104"/>
              <a:gd name="T26" fmla="*/ 11 w 98"/>
              <a:gd name="T27" fmla="*/ 5 h 104"/>
              <a:gd name="T28" fmla="*/ 22 w 98"/>
              <a:gd name="T29" fmla="*/ 5 h 104"/>
              <a:gd name="T30" fmla="*/ 27 w 98"/>
              <a:gd name="T31" fmla="*/ 5 h 104"/>
              <a:gd name="T32" fmla="*/ 33 w 98"/>
              <a:gd name="T33" fmla="*/ 0 h 104"/>
              <a:gd name="T34" fmla="*/ 38 w 98"/>
              <a:gd name="T35" fmla="*/ 0 h 104"/>
              <a:gd name="T36" fmla="*/ 38 w 98"/>
              <a:gd name="T37" fmla="*/ 11 h 104"/>
              <a:gd name="T38" fmla="*/ 49 w 98"/>
              <a:gd name="T39" fmla="*/ 5 h 104"/>
              <a:gd name="T40" fmla="*/ 55 w 98"/>
              <a:gd name="T41" fmla="*/ 11 h 104"/>
              <a:gd name="T42" fmla="*/ 66 w 98"/>
              <a:gd name="T43" fmla="*/ 16 h 104"/>
              <a:gd name="T44" fmla="*/ 77 w 98"/>
              <a:gd name="T45" fmla="*/ 11 h 104"/>
              <a:gd name="T46" fmla="*/ 82 w 98"/>
              <a:gd name="T47" fmla="*/ 16 h 104"/>
              <a:gd name="T48" fmla="*/ 87 w 98"/>
              <a:gd name="T49" fmla="*/ 16 h 104"/>
              <a:gd name="T50" fmla="*/ 93 w 98"/>
              <a:gd name="T51" fmla="*/ 22 h 104"/>
              <a:gd name="T52" fmla="*/ 93 w 98"/>
              <a:gd name="T53" fmla="*/ 33 h 104"/>
              <a:gd name="T54" fmla="*/ 93 w 98"/>
              <a:gd name="T55" fmla="*/ 44 h 104"/>
              <a:gd name="T56" fmla="*/ 87 w 98"/>
              <a:gd name="T57" fmla="*/ 54 h 104"/>
              <a:gd name="T58" fmla="*/ 82 w 98"/>
              <a:gd name="T59" fmla="*/ 60 h 104"/>
              <a:gd name="T60" fmla="*/ 87 w 98"/>
              <a:gd name="T61" fmla="*/ 71 h 104"/>
              <a:gd name="T62" fmla="*/ 87 w 98"/>
              <a:gd name="T63" fmla="*/ 82 h 104"/>
              <a:gd name="T64" fmla="*/ 93 w 98"/>
              <a:gd name="T65" fmla="*/ 87 h 104"/>
              <a:gd name="T66" fmla="*/ 77 w 98"/>
              <a:gd name="T67" fmla="*/ 87 h 104"/>
              <a:gd name="T68" fmla="*/ 60 w 98"/>
              <a:gd name="T69" fmla="*/ 87 h 104"/>
              <a:gd name="T70" fmla="*/ 44 w 98"/>
              <a:gd name="T71" fmla="*/ 93 h 104"/>
              <a:gd name="T72" fmla="*/ 33 w 98"/>
              <a:gd name="T73" fmla="*/ 93 h 104"/>
              <a:gd name="T74" fmla="*/ 22 w 98"/>
              <a:gd name="T75" fmla="*/ 9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8" h="104">
                <a:moveTo>
                  <a:pt x="17" y="104"/>
                </a:moveTo>
                <a:lnTo>
                  <a:pt x="17" y="98"/>
                </a:lnTo>
                <a:lnTo>
                  <a:pt x="17" y="93"/>
                </a:lnTo>
                <a:lnTo>
                  <a:pt x="17" y="87"/>
                </a:lnTo>
                <a:lnTo>
                  <a:pt x="17" y="82"/>
                </a:lnTo>
                <a:lnTo>
                  <a:pt x="17" y="76"/>
                </a:lnTo>
                <a:lnTo>
                  <a:pt x="11" y="76"/>
                </a:lnTo>
                <a:lnTo>
                  <a:pt x="11" y="71"/>
                </a:lnTo>
                <a:lnTo>
                  <a:pt x="6" y="71"/>
                </a:lnTo>
                <a:lnTo>
                  <a:pt x="0" y="65"/>
                </a:lnTo>
                <a:lnTo>
                  <a:pt x="6" y="65"/>
                </a:lnTo>
                <a:lnTo>
                  <a:pt x="6" y="60"/>
                </a:lnTo>
                <a:lnTo>
                  <a:pt x="6" y="54"/>
                </a:lnTo>
                <a:lnTo>
                  <a:pt x="0" y="49"/>
                </a:lnTo>
                <a:lnTo>
                  <a:pt x="6" y="49"/>
                </a:lnTo>
                <a:lnTo>
                  <a:pt x="11" y="44"/>
                </a:lnTo>
                <a:lnTo>
                  <a:pt x="11" y="38"/>
                </a:lnTo>
                <a:lnTo>
                  <a:pt x="6" y="38"/>
                </a:lnTo>
                <a:lnTo>
                  <a:pt x="11" y="38"/>
                </a:lnTo>
                <a:lnTo>
                  <a:pt x="17" y="38"/>
                </a:lnTo>
                <a:lnTo>
                  <a:pt x="11" y="33"/>
                </a:lnTo>
                <a:lnTo>
                  <a:pt x="11" y="27"/>
                </a:lnTo>
                <a:lnTo>
                  <a:pt x="11" y="22"/>
                </a:lnTo>
                <a:lnTo>
                  <a:pt x="6" y="22"/>
                </a:lnTo>
                <a:lnTo>
                  <a:pt x="6" y="16"/>
                </a:lnTo>
                <a:lnTo>
                  <a:pt x="6" y="11"/>
                </a:lnTo>
                <a:lnTo>
                  <a:pt x="11" y="11"/>
                </a:lnTo>
                <a:lnTo>
                  <a:pt x="11" y="5"/>
                </a:lnTo>
                <a:lnTo>
                  <a:pt x="17" y="5"/>
                </a:lnTo>
                <a:lnTo>
                  <a:pt x="22" y="5"/>
                </a:lnTo>
                <a:lnTo>
                  <a:pt x="27" y="11"/>
                </a:lnTo>
                <a:lnTo>
                  <a:pt x="27" y="5"/>
                </a:lnTo>
                <a:lnTo>
                  <a:pt x="33" y="5"/>
                </a:lnTo>
                <a:lnTo>
                  <a:pt x="33" y="0"/>
                </a:lnTo>
                <a:lnTo>
                  <a:pt x="33" y="5"/>
                </a:lnTo>
                <a:lnTo>
                  <a:pt x="38" y="0"/>
                </a:lnTo>
                <a:lnTo>
                  <a:pt x="38" y="5"/>
                </a:lnTo>
                <a:lnTo>
                  <a:pt x="38" y="11"/>
                </a:lnTo>
                <a:lnTo>
                  <a:pt x="44" y="5"/>
                </a:lnTo>
                <a:lnTo>
                  <a:pt x="49" y="5"/>
                </a:lnTo>
                <a:lnTo>
                  <a:pt x="55" y="5"/>
                </a:lnTo>
                <a:lnTo>
                  <a:pt x="55" y="11"/>
                </a:lnTo>
                <a:lnTo>
                  <a:pt x="60" y="16"/>
                </a:lnTo>
                <a:lnTo>
                  <a:pt x="66" y="16"/>
                </a:lnTo>
                <a:lnTo>
                  <a:pt x="71" y="16"/>
                </a:lnTo>
                <a:lnTo>
                  <a:pt x="77" y="11"/>
                </a:lnTo>
                <a:lnTo>
                  <a:pt x="82" y="11"/>
                </a:lnTo>
                <a:lnTo>
                  <a:pt x="82" y="16"/>
                </a:lnTo>
                <a:lnTo>
                  <a:pt x="87" y="11"/>
                </a:lnTo>
                <a:lnTo>
                  <a:pt x="87" y="16"/>
                </a:lnTo>
                <a:lnTo>
                  <a:pt x="87" y="22"/>
                </a:lnTo>
                <a:lnTo>
                  <a:pt x="93" y="22"/>
                </a:lnTo>
                <a:lnTo>
                  <a:pt x="93" y="27"/>
                </a:lnTo>
                <a:lnTo>
                  <a:pt x="93" y="33"/>
                </a:lnTo>
                <a:lnTo>
                  <a:pt x="98" y="38"/>
                </a:lnTo>
                <a:lnTo>
                  <a:pt x="93" y="44"/>
                </a:lnTo>
                <a:lnTo>
                  <a:pt x="87" y="49"/>
                </a:lnTo>
                <a:lnTo>
                  <a:pt x="87" y="54"/>
                </a:lnTo>
                <a:lnTo>
                  <a:pt x="87" y="60"/>
                </a:lnTo>
                <a:lnTo>
                  <a:pt x="82" y="60"/>
                </a:lnTo>
                <a:lnTo>
                  <a:pt x="82" y="65"/>
                </a:lnTo>
                <a:lnTo>
                  <a:pt x="87" y="71"/>
                </a:lnTo>
                <a:lnTo>
                  <a:pt x="87" y="76"/>
                </a:lnTo>
                <a:lnTo>
                  <a:pt x="87" y="82"/>
                </a:lnTo>
                <a:lnTo>
                  <a:pt x="93" y="82"/>
                </a:lnTo>
                <a:lnTo>
                  <a:pt x="93" y="87"/>
                </a:lnTo>
                <a:lnTo>
                  <a:pt x="87" y="87"/>
                </a:lnTo>
                <a:lnTo>
                  <a:pt x="77" y="87"/>
                </a:lnTo>
                <a:lnTo>
                  <a:pt x="71" y="87"/>
                </a:lnTo>
                <a:lnTo>
                  <a:pt x="60" y="87"/>
                </a:lnTo>
                <a:lnTo>
                  <a:pt x="49" y="93"/>
                </a:lnTo>
                <a:lnTo>
                  <a:pt x="44" y="93"/>
                </a:lnTo>
                <a:lnTo>
                  <a:pt x="38" y="93"/>
                </a:lnTo>
                <a:lnTo>
                  <a:pt x="33" y="93"/>
                </a:lnTo>
                <a:lnTo>
                  <a:pt x="27" y="98"/>
                </a:lnTo>
                <a:lnTo>
                  <a:pt x="22" y="98"/>
                </a:lnTo>
                <a:lnTo>
                  <a:pt x="17" y="104"/>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4" name="Freeform 177">
            <a:extLst>
              <a:ext uri="{FF2B5EF4-FFF2-40B4-BE49-F238E27FC236}">
                <a16:creationId xmlns:a16="http://schemas.microsoft.com/office/drawing/2014/main" id="{27C19B65-9619-45C0-B33F-F0691E96A8E0}"/>
              </a:ext>
            </a:extLst>
          </p:cNvPr>
          <p:cNvSpPr>
            <a:spLocks/>
          </p:cNvSpPr>
          <p:nvPr/>
        </p:nvSpPr>
        <p:spPr bwMode="auto">
          <a:xfrm>
            <a:off x="2435225" y="2911475"/>
            <a:ext cx="68263" cy="87313"/>
          </a:xfrm>
          <a:custGeom>
            <a:avLst/>
            <a:gdLst>
              <a:gd name="T0" fmla="*/ 0 w 60"/>
              <a:gd name="T1" fmla="*/ 27 h 71"/>
              <a:gd name="T2" fmla="*/ 0 w 60"/>
              <a:gd name="T3" fmla="*/ 21 h 71"/>
              <a:gd name="T4" fmla="*/ 5 w 60"/>
              <a:gd name="T5" fmla="*/ 21 h 71"/>
              <a:gd name="T6" fmla="*/ 5 w 60"/>
              <a:gd name="T7" fmla="*/ 16 h 71"/>
              <a:gd name="T8" fmla="*/ 10 w 60"/>
              <a:gd name="T9" fmla="*/ 16 h 71"/>
              <a:gd name="T10" fmla="*/ 10 w 60"/>
              <a:gd name="T11" fmla="*/ 11 h 71"/>
              <a:gd name="T12" fmla="*/ 16 w 60"/>
              <a:gd name="T13" fmla="*/ 5 h 71"/>
              <a:gd name="T14" fmla="*/ 21 w 60"/>
              <a:gd name="T15" fmla="*/ 5 h 71"/>
              <a:gd name="T16" fmla="*/ 27 w 60"/>
              <a:gd name="T17" fmla="*/ 0 h 71"/>
              <a:gd name="T18" fmla="*/ 27 w 60"/>
              <a:gd name="T19" fmla="*/ 5 h 71"/>
              <a:gd name="T20" fmla="*/ 27 w 60"/>
              <a:gd name="T21" fmla="*/ 11 h 71"/>
              <a:gd name="T22" fmla="*/ 32 w 60"/>
              <a:gd name="T23" fmla="*/ 16 h 71"/>
              <a:gd name="T24" fmla="*/ 27 w 60"/>
              <a:gd name="T25" fmla="*/ 21 h 71"/>
              <a:gd name="T26" fmla="*/ 32 w 60"/>
              <a:gd name="T27" fmla="*/ 21 h 71"/>
              <a:gd name="T28" fmla="*/ 38 w 60"/>
              <a:gd name="T29" fmla="*/ 21 h 71"/>
              <a:gd name="T30" fmla="*/ 43 w 60"/>
              <a:gd name="T31" fmla="*/ 16 h 71"/>
              <a:gd name="T32" fmla="*/ 49 w 60"/>
              <a:gd name="T33" fmla="*/ 21 h 71"/>
              <a:gd name="T34" fmla="*/ 49 w 60"/>
              <a:gd name="T35" fmla="*/ 27 h 71"/>
              <a:gd name="T36" fmla="*/ 49 w 60"/>
              <a:gd name="T37" fmla="*/ 32 h 71"/>
              <a:gd name="T38" fmla="*/ 43 w 60"/>
              <a:gd name="T39" fmla="*/ 32 h 71"/>
              <a:gd name="T40" fmla="*/ 49 w 60"/>
              <a:gd name="T41" fmla="*/ 38 h 71"/>
              <a:gd name="T42" fmla="*/ 54 w 60"/>
              <a:gd name="T43" fmla="*/ 38 h 71"/>
              <a:gd name="T44" fmla="*/ 54 w 60"/>
              <a:gd name="T45" fmla="*/ 43 h 71"/>
              <a:gd name="T46" fmla="*/ 60 w 60"/>
              <a:gd name="T47" fmla="*/ 43 h 71"/>
              <a:gd name="T48" fmla="*/ 60 w 60"/>
              <a:gd name="T49" fmla="*/ 49 h 71"/>
              <a:gd name="T50" fmla="*/ 60 w 60"/>
              <a:gd name="T51" fmla="*/ 54 h 71"/>
              <a:gd name="T52" fmla="*/ 60 w 60"/>
              <a:gd name="T53" fmla="*/ 60 h 71"/>
              <a:gd name="T54" fmla="*/ 60 w 60"/>
              <a:gd name="T55" fmla="*/ 65 h 71"/>
              <a:gd name="T56" fmla="*/ 60 w 60"/>
              <a:gd name="T57" fmla="*/ 71 h 71"/>
              <a:gd name="T58" fmla="*/ 54 w 60"/>
              <a:gd name="T59" fmla="*/ 71 h 71"/>
              <a:gd name="T60" fmla="*/ 54 w 60"/>
              <a:gd name="T61" fmla="*/ 65 h 71"/>
              <a:gd name="T62" fmla="*/ 49 w 60"/>
              <a:gd name="T63" fmla="*/ 65 h 71"/>
              <a:gd name="T64" fmla="*/ 43 w 60"/>
              <a:gd name="T65" fmla="*/ 60 h 71"/>
              <a:gd name="T66" fmla="*/ 38 w 60"/>
              <a:gd name="T67" fmla="*/ 60 h 71"/>
              <a:gd name="T68" fmla="*/ 32 w 60"/>
              <a:gd name="T69" fmla="*/ 54 h 71"/>
              <a:gd name="T70" fmla="*/ 27 w 60"/>
              <a:gd name="T71" fmla="*/ 54 h 71"/>
              <a:gd name="T72" fmla="*/ 27 w 60"/>
              <a:gd name="T73" fmla="*/ 49 h 71"/>
              <a:gd name="T74" fmla="*/ 21 w 60"/>
              <a:gd name="T75" fmla="*/ 49 h 71"/>
              <a:gd name="T76" fmla="*/ 21 w 60"/>
              <a:gd name="T77" fmla="*/ 43 h 71"/>
              <a:gd name="T78" fmla="*/ 16 w 60"/>
              <a:gd name="T79" fmla="*/ 43 h 71"/>
              <a:gd name="T80" fmla="*/ 16 w 60"/>
              <a:gd name="T81" fmla="*/ 38 h 71"/>
              <a:gd name="T82" fmla="*/ 10 w 60"/>
              <a:gd name="T83" fmla="*/ 38 h 71"/>
              <a:gd name="T84" fmla="*/ 5 w 60"/>
              <a:gd name="T85" fmla="*/ 38 h 71"/>
              <a:gd name="T86" fmla="*/ 5 w 60"/>
              <a:gd name="T87" fmla="*/ 32 h 71"/>
              <a:gd name="T88" fmla="*/ 0 w 60"/>
              <a:gd name="T89" fmla="*/ 32 h 71"/>
              <a:gd name="T90" fmla="*/ 0 w 60"/>
              <a:gd name="T91" fmla="*/ 2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 h="71">
                <a:moveTo>
                  <a:pt x="0" y="27"/>
                </a:moveTo>
                <a:lnTo>
                  <a:pt x="0" y="21"/>
                </a:lnTo>
                <a:lnTo>
                  <a:pt x="5" y="21"/>
                </a:lnTo>
                <a:lnTo>
                  <a:pt x="5" y="16"/>
                </a:lnTo>
                <a:lnTo>
                  <a:pt x="10" y="16"/>
                </a:lnTo>
                <a:lnTo>
                  <a:pt x="10" y="11"/>
                </a:lnTo>
                <a:lnTo>
                  <a:pt x="16" y="5"/>
                </a:lnTo>
                <a:lnTo>
                  <a:pt x="21" y="5"/>
                </a:lnTo>
                <a:lnTo>
                  <a:pt x="27" y="0"/>
                </a:lnTo>
                <a:lnTo>
                  <a:pt x="27" y="5"/>
                </a:lnTo>
                <a:lnTo>
                  <a:pt x="27" y="11"/>
                </a:lnTo>
                <a:lnTo>
                  <a:pt x="32" y="16"/>
                </a:lnTo>
                <a:lnTo>
                  <a:pt x="27" y="21"/>
                </a:lnTo>
                <a:lnTo>
                  <a:pt x="32" y="21"/>
                </a:lnTo>
                <a:lnTo>
                  <a:pt x="38" y="21"/>
                </a:lnTo>
                <a:lnTo>
                  <a:pt x="43" y="16"/>
                </a:lnTo>
                <a:lnTo>
                  <a:pt x="49" y="21"/>
                </a:lnTo>
                <a:lnTo>
                  <a:pt x="49" y="27"/>
                </a:lnTo>
                <a:lnTo>
                  <a:pt x="49" y="32"/>
                </a:lnTo>
                <a:lnTo>
                  <a:pt x="43" y="32"/>
                </a:lnTo>
                <a:lnTo>
                  <a:pt x="49" y="38"/>
                </a:lnTo>
                <a:lnTo>
                  <a:pt x="54" y="38"/>
                </a:lnTo>
                <a:lnTo>
                  <a:pt x="54" y="43"/>
                </a:lnTo>
                <a:lnTo>
                  <a:pt x="60" y="43"/>
                </a:lnTo>
                <a:lnTo>
                  <a:pt x="60" y="49"/>
                </a:lnTo>
                <a:lnTo>
                  <a:pt x="60" y="54"/>
                </a:lnTo>
                <a:lnTo>
                  <a:pt x="60" y="60"/>
                </a:lnTo>
                <a:lnTo>
                  <a:pt x="60" y="65"/>
                </a:lnTo>
                <a:lnTo>
                  <a:pt x="60" y="71"/>
                </a:lnTo>
                <a:lnTo>
                  <a:pt x="54" y="71"/>
                </a:lnTo>
                <a:lnTo>
                  <a:pt x="54" y="65"/>
                </a:lnTo>
                <a:lnTo>
                  <a:pt x="49" y="65"/>
                </a:lnTo>
                <a:lnTo>
                  <a:pt x="43" y="60"/>
                </a:lnTo>
                <a:lnTo>
                  <a:pt x="38" y="60"/>
                </a:lnTo>
                <a:lnTo>
                  <a:pt x="32" y="54"/>
                </a:lnTo>
                <a:lnTo>
                  <a:pt x="27" y="54"/>
                </a:lnTo>
                <a:lnTo>
                  <a:pt x="27" y="49"/>
                </a:lnTo>
                <a:lnTo>
                  <a:pt x="21" y="49"/>
                </a:lnTo>
                <a:lnTo>
                  <a:pt x="21" y="43"/>
                </a:lnTo>
                <a:lnTo>
                  <a:pt x="16" y="43"/>
                </a:lnTo>
                <a:lnTo>
                  <a:pt x="16" y="38"/>
                </a:lnTo>
                <a:lnTo>
                  <a:pt x="10" y="38"/>
                </a:lnTo>
                <a:lnTo>
                  <a:pt x="5" y="38"/>
                </a:lnTo>
                <a:lnTo>
                  <a:pt x="5" y="32"/>
                </a:lnTo>
                <a:lnTo>
                  <a:pt x="0" y="32"/>
                </a:lnTo>
                <a:lnTo>
                  <a:pt x="0" y="27"/>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5" name="Freeform 180">
            <a:extLst>
              <a:ext uri="{FF2B5EF4-FFF2-40B4-BE49-F238E27FC236}">
                <a16:creationId xmlns:a16="http://schemas.microsoft.com/office/drawing/2014/main" id="{A9527E8A-F155-977E-60CF-ACA1B6D742C5}"/>
              </a:ext>
            </a:extLst>
          </p:cNvPr>
          <p:cNvSpPr>
            <a:spLocks/>
          </p:cNvSpPr>
          <p:nvPr/>
        </p:nvSpPr>
        <p:spPr bwMode="auto">
          <a:xfrm>
            <a:off x="2803525" y="3030538"/>
            <a:ext cx="34925" cy="33338"/>
          </a:xfrm>
          <a:custGeom>
            <a:avLst/>
            <a:gdLst>
              <a:gd name="T0" fmla="*/ 5 w 32"/>
              <a:gd name="T1" fmla="*/ 22 h 27"/>
              <a:gd name="T2" fmla="*/ 0 w 32"/>
              <a:gd name="T3" fmla="*/ 22 h 27"/>
              <a:gd name="T4" fmla="*/ 0 w 32"/>
              <a:gd name="T5" fmla="*/ 16 h 27"/>
              <a:gd name="T6" fmla="*/ 5 w 32"/>
              <a:gd name="T7" fmla="*/ 16 h 27"/>
              <a:gd name="T8" fmla="*/ 5 w 32"/>
              <a:gd name="T9" fmla="*/ 11 h 27"/>
              <a:gd name="T10" fmla="*/ 5 w 32"/>
              <a:gd name="T11" fmla="*/ 5 h 27"/>
              <a:gd name="T12" fmla="*/ 5 w 32"/>
              <a:gd name="T13" fmla="*/ 0 h 27"/>
              <a:gd name="T14" fmla="*/ 11 w 32"/>
              <a:gd name="T15" fmla="*/ 5 h 27"/>
              <a:gd name="T16" fmla="*/ 16 w 32"/>
              <a:gd name="T17" fmla="*/ 5 h 27"/>
              <a:gd name="T18" fmla="*/ 27 w 32"/>
              <a:gd name="T19" fmla="*/ 5 h 27"/>
              <a:gd name="T20" fmla="*/ 32 w 32"/>
              <a:gd name="T21" fmla="*/ 5 h 27"/>
              <a:gd name="T22" fmla="*/ 32 w 32"/>
              <a:gd name="T23" fmla="*/ 22 h 27"/>
              <a:gd name="T24" fmla="*/ 27 w 32"/>
              <a:gd name="T25" fmla="*/ 22 h 27"/>
              <a:gd name="T26" fmla="*/ 11 w 32"/>
              <a:gd name="T27" fmla="*/ 22 h 27"/>
              <a:gd name="T28" fmla="*/ 11 w 32"/>
              <a:gd name="T29" fmla="*/ 27 h 27"/>
              <a:gd name="T30" fmla="*/ 5 w 32"/>
              <a:gd name="T31"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7">
                <a:moveTo>
                  <a:pt x="5" y="22"/>
                </a:moveTo>
                <a:lnTo>
                  <a:pt x="0" y="22"/>
                </a:lnTo>
                <a:lnTo>
                  <a:pt x="0" y="16"/>
                </a:lnTo>
                <a:lnTo>
                  <a:pt x="5" y="16"/>
                </a:lnTo>
                <a:lnTo>
                  <a:pt x="5" y="11"/>
                </a:lnTo>
                <a:lnTo>
                  <a:pt x="5" y="5"/>
                </a:lnTo>
                <a:lnTo>
                  <a:pt x="5" y="0"/>
                </a:lnTo>
                <a:lnTo>
                  <a:pt x="11" y="5"/>
                </a:lnTo>
                <a:lnTo>
                  <a:pt x="16" y="5"/>
                </a:lnTo>
                <a:lnTo>
                  <a:pt x="27" y="5"/>
                </a:lnTo>
                <a:lnTo>
                  <a:pt x="32" y="5"/>
                </a:lnTo>
                <a:lnTo>
                  <a:pt x="32" y="22"/>
                </a:lnTo>
                <a:lnTo>
                  <a:pt x="27" y="22"/>
                </a:lnTo>
                <a:lnTo>
                  <a:pt x="11" y="22"/>
                </a:lnTo>
                <a:lnTo>
                  <a:pt x="11" y="27"/>
                </a:lnTo>
                <a:lnTo>
                  <a:pt x="5" y="22"/>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6" name="Freeform 182">
            <a:extLst>
              <a:ext uri="{FF2B5EF4-FFF2-40B4-BE49-F238E27FC236}">
                <a16:creationId xmlns:a16="http://schemas.microsoft.com/office/drawing/2014/main" id="{EF85F21C-E579-0EC5-1157-2CDBE0DA6443}"/>
              </a:ext>
            </a:extLst>
          </p:cNvPr>
          <p:cNvSpPr>
            <a:spLocks/>
          </p:cNvSpPr>
          <p:nvPr/>
        </p:nvSpPr>
        <p:spPr bwMode="auto">
          <a:xfrm>
            <a:off x="2790824" y="2825751"/>
            <a:ext cx="134938" cy="225425"/>
          </a:xfrm>
          <a:custGeom>
            <a:avLst/>
            <a:gdLst>
              <a:gd name="T0" fmla="*/ 22 w 120"/>
              <a:gd name="T1" fmla="*/ 163 h 185"/>
              <a:gd name="T2" fmla="*/ 16 w 120"/>
              <a:gd name="T3" fmla="*/ 152 h 185"/>
              <a:gd name="T4" fmla="*/ 16 w 120"/>
              <a:gd name="T5" fmla="*/ 142 h 185"/>
              <a:gd name="T6" fmla="*/ 5 w 120"/>
              <a:gd name="T7" fmla="*/ 142 h 185"/>
              <a:gd name="T8" fmla="*/ 0 w 120"/>
              <a:gd name="T9" fmla="*/ 136 h 185"/>
              <a:gd name="T10" fmla="*/ 0 w 120"/>
              <a:gd name="T11" fmla="*/ 125 h 185"/>
              <a:gd name="T12" fmla="*/ 5 w 120"/>
              <a:gd name="T13" fmla="*/ 114 h 185"/>
              <a:gd name="T14" fmla="*/ 16 w 120"/>
              <a:gd name="T15" fmla="*/ 103 h 185"/>
              <a:gd name="T16" fmla="*/ 22 w 120"/>
              <a:gd name="T17" fmla="*/ 98 h 185"/>
              <a:gd name="T18" fmla="*/ 33 w 120"/>
              <a:gd name="T19" fmla="*/ 92 h 185"/>
              <a:gd name="T20" fmla="*/ 38 w 120"/>
              <a:gd name="T21" fmla="*/ 103 h 185"/>
              <a:gd name="T22" fmla="*/ 49 w 120"/>
              <a:gd name="T23" fmla="*/ 98 h 185"/>
              <a:gd name="T24" fmla="*/ 54 w 120"/>
              <a:gd name="T25" fmla="*/ 87 h 185"/>
              <a:gd name="T26" fmla="*/ 54 w 120"/>
              <a:gd name="T27" fmla="*/ 76 h 185"/>
              <a:gd name="T28" fmla="*/ 65 w 120"/>
              <a:gd name="T29" fmla="*/ 71 h 185"/>
              <a:gd name="T30" fmla="*/ 65 w 120"/>
              <a:gd name="T31" fmla="*/ 60 h 185"/>
              <a:gd name="T32" fmla="*/ 71 w 120"/>
              <a:gd name="T33" fmla="*/ 54 h 185"/>
              <a:gd name="T34" fmla="*/ 76 w 120"/>
              <a:gd name="T35" fmla="*/ 49 h 185"/>
              <a:gd name="T36" fmla="*/ 76 w 120"/>
              <a:gd name="T37" fmla="*/ 38 h 185"/>
              <a:gd name="T38" fmla="*/ 82 w 120"/>
              <a:gd name="T39" fmla="*/ 32 h 185"/>
              <a:gd name="T40" fmla="*/ 87 w 120"/>
              <a:gd name="T41" fmla="*/ 32 h 185"/>
              <a:gd name="T42" fmla="*/ 92 w 120"/>
              <a:gd name="T43" fmla="*/ 27 h 185"/>
              <a:gd name="T44" fmla="*/ 92 w 120"/>
              <a:gd name="T45" fmla="*/ 16 h 185"/>
              <a:gd name="T46" fmla="*/ 87 w 120"/>
              <a:gd name="T47" fmla="*/ 5 h 185"/>
              <a:gd name="T48" fmla="*/ 87 w 120"/>
              <a:gd name="T49" fmla="*/ 0 h 185"/>
              <a:gd name="T50" fmla="*/ 92 w 120"/>
              <a:gd name="T51" fmla="*/ 11 h 185"/>
              <a:gd name="T52" fmla="*/ 98 w 120"/>
              <a:gd name="T53" fmla="*/ 16 h 185"/>
              <a:gd name="T54" fmla="*/ 98 w 120"/>
              <a:gd name="T55" fmla="*/ 27 h 185"/>
              <a:gd name="T56" fmla="*/ 98 w 120"/>
              <a:gd name="T57" fmla="*/ 38 h 185"/>
              <a:gd name="T58" fmla="*/ 103 w 120"/>
              <a:gd name="T59" fmla="*/ 43 h 185"/>
              <a:gd name="T60" fmla="*/ 103 w 120"/>
              <a:gd name="T61" fmla="*/ 49 h 185"/>
              <a:gd name="T62" fmla="*/ 92 w 120"/>
              <a:gd name="T63" fmla="*/ 49 h 185"/>
              <a:gd name="T64" fmla="*/ 82 w 120"/>
              <a:gd name="T65" fmla="*/ 54 h 185"/>
              <a:gd name="T66" fmla="*/ 92 w 120"/>
              <a:gd name="T67" fmla="*/ 65 h 185"/>
              <a:gd name="T68" fmla="*/ 103 w 120"/>
              <a:gd name="T69" fmla="*/ 71 h 185"/>
              <a:gd name="T70" fmla="*/ 103 w 120"/>
              <a:gd name="T71" fmla="*/ 82 h 185"/>
              <a:gd name="T72" fmla="*/ 109 w 120"/>
              <a:gd name="T73" fmla="*/ 92 h 185"/>
              <a:gd name="T74" fmla="*/ 103 w 120"/>
              <a:gd name="T75" fmla="*/ 98 h 185"/>
              <a:gd name="T76" fmla="*/ 98 w 120"/>
              <a:gd name="T77" fmla="*/ 103 h 185"/>
              <a:gd name="T78" fmla="*/ 92 w 120"/>
              <a:gd name="T79" fmla="*/ 109 h 185"/>
              <a:gd name="T80" fmla="*/ 92 w 120"/>
              <a:gd name="T81" fmla="*/ 120 h 185"/>
              <a:gd name="T82" fmla="*/ 98 w 120"/>
              <a:gd name="T83" fmla="*/ 125 h 185"/>
              <a:gd name="T84" fmla="*/ 98 w 120"/>
              <a:gd name="T85" fmla="*/ 136 h 185"/>
              <a:gd name="T86" fmla="*/ 103 w 120"/>
              <a:gd name="T87" fmla="*/ 147 h 185"/>
              <a:gd name="T88" fmla="*/ 120 w 120"/>
              <a:gd name="T89" fmla="*/ 163 h 185"/>
              <a:gd name="T90" fmla="*/ 120 w 120"/>
              <a:gd name="T91" fmla="*/ 174 h 185"/>
              <a:gd name="T92" fmla="*/ 120 w 120"/>
              <a:gd name="T93" fmla="*/ 185 h 185"/>
              <a:gd name="T94" fmla="*/ 114 w 120"/>
              <a:gd name="T95" fmla="*/ 180 h 185"/>
              <a:gd name="T96" fmla="*/ 103 w 120"/>
              <a:gd name="T97" fmla="*/ 174 h 185"/>
              <a:gd name="T98" fmla="*/ 92 w 120"/>
              <a:gd name="T99" fmla="*/ 174 h 185"/>
              <a:gd name="T100" fmla="*/ 71 w 120"/>
              <a:gd name="T101" fmla="*/ 174 h 185"/>
              <a:gd name="T102" fmla="*/ 60 w 120"/>
              <a:gd name="T103" fmla="*/ 174 h 185"/>
              <a:gd name="T104" fmla="*/ 49 w 120"/>
              <a:gd name="T105" fmla="*/ 174 h 185"/>
              <a:gd name="T106" fmla="*/ 38 w 120"/>
              <a:gd name="T107" fmla="*/ 174 h 185"/>
              <a:gd name="T108" fmla="*/ 22 w 120"/>
              <a:gd name="T109" fmla="*/ 17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185">
                <a:moveTo>
                  <a:pt x="16" y="169"/>
                </a:moveTo>
                <a:lnTo>
                  <a:pt x="22" y="163"/>
                </a:lnTo>
                <a:lnTo>
                  <a:pt x="22" y="158"/>
                </a:lnTo>
                <a:lnTo>
                  <a:pt x="16" y="152"/>
                </a:lnTo>
                <a:lnTo>
                  <a:pt x="16" y="147"/>
                </a:lnTo>
                <a:lnTo>
                  <a:pt x="16" y="142"/>
                </a:lnTo>
                <a:lnTo>
                  <a:pt x="11" y="147"/>
                </a:lnTo>
                <a:lnTo>
                  <a:pt x="5" y="142"/>
                </a:lnTo>
                <a:lnTo>
                  <a:pt x="5" y="136"/>
                </a:lnTo>
                <a:lnTo>
                  <a:pt x="0" y="136"/>
                </a:lnTo>
                <a:lnTo>
                  <a:pt x="0" y="131"/>
                </a:lnTo>
                <a:lnTo>
                  <a:pt x="0" y="125"/>
                </a:lnTo>
                <a:lnTo>
                  <a:pt x="5" y="120"/>
                </a:lnTo>
                <a:lnTo>
                  <a:pt x="5" y="114"/>
                </a:lnTo>
                <a:lnTo>
                  <a:pt x="11" y="109"/>
                </a:lnTo>
                <a:lnTo>
                  <a:pt x="16" y="103"/>
                </a:lnTo>
                <a:lnTo>
                  <a:pt x="22" y="103"/>
                </a:lnTo>
                <a:lnTo>
                  <a:pt x="22" y="98"/>
                </a:lnTo>
                <a:lnTo>
                  <a:pt x="27" y="98"/>
                </a:lnTo>
                <a:lnTo>
                  <a:pt x="33" y="92"/>
                </a:lnTo>
                <a:lnTo>
                  <a:pt x="33" y="98"/>
                </a:lnTo>
                <a:lnTo>
                  <a:pt x="38" y="103"/>
                </a:lnTo>
                <a:lnTo>
                  <a:pt x="43" y="103"/>
                </a:lnTo>
                <a:lnTo>
                  <a:pt x="49" y="98"/>
                </a:lnTo>
                <a:lnTo>
                  <a:pt x="49" y="92"/>
                </a:lnTo>
                <a:lnTo>
                  <a:pt x="54" y="87"/>
                </a:lnTo>
                <a:lnTo>
                  <a:pt x="54" y="82"/>
                </a:lnTo>
                <a:lnTo>
                  <a:pt x="54" y="76"/>
                </a:lnTo>
                <a:lnTo>
                  <a:pt x="60" y="71"/>
                </a:lnTo>
                <a:lnTo>
                  <a:pt x="65" y="71"/>
                </a:lnTo>
                <a:lnTo>
                  <a:pt x="65" y="65"/>
                </a:lnTo>
                <a:lnTo>
                  <a:pt x="65" y="60"/>
                </a:lnTo>
                <a:lnTo>
                  <a:pt x="71" y="60"/>
                </a:lnTo>
                <a:lnTo>
                  <a:pt x="71" y="54"/>
                </a:lnTo>
                <a:lnTo>
                  <a:pt x="71" y="49"/>
                </a:lnTo>
                <a:lnTo>
                  <a:pt x="76" y="49"/>
                </a:lnTo>
                <a:lnTo>
                  <a:pt x="76" y="43"/>
                </a:lnTo>
                <a:lnTo>
                  <a:pt x="76" y="38"/>
                </a:lnTo>
                <a:lnTo>
                  <a:pt x="76" y="32"/>
                </a:lnTo>
                <a:lnTo>
                  <a:pt x="82" y="32"/>
                </a:lnTo>
                <a:lnTo>
                  <a:pt x="82" y="27"/>
                </a:lnTo>
                <a:lnTo>
                  <a:pt x="87" y="32"/>
                </a:lnTo>
                <a:lnTo>
                  <a:pt x="87" y="27"/>
                </a:lnTo>
                <a:lnTo>
                  <a:pt x="92" y="27"/>
                </a:lnTo>
                <a:lnTo>
                  <a:pt x="92" y="22"/>
                </a:lnTo>
                <a:lnTo>
                  <a:pt x="92" y="16"/>
                </a:lnTo>
                <a:lnTo>
                  <a:pt x="87" y="11"/>
                </a:lnTo>
                <a:lnTo>
                  <a:pt x="87" y="5"/>
                </a:lnTo>
                <a:lnTo>
                  <a:pt x="82" y="0"/>
                </a:lnTo>
                <a:lnTo>
                  <a:pt x="87" y="0"/>
                </a:lnTo>
                <a:lnTo>
                  <a:pt x="92" y="5"/>
                </a:lnTo>
                <a:lnTo>
                  <a:pt x="92" y="11"/>
                </a:lnTo>
                <a:lnTo>
                  <a:pt x="98" y="11"/>
                </a:lnTo>
                <a:lnTo>
                  <a:pt x="98" y="16"/>
                </a:lnTo>
                <a:lnTo>
                  <a:pt x="98" y="22"/>
                </a:lnTo>
                <a:lnTo>
                  <a:pt x="98" y="27"/>
                </a:lnTo>
                <a:lnTo>
                  <a:pt x="98" y="32"/>
                </a:lnTo>
                <a:lnTo>
                  <a:pt x="98" y="38"/>
                </a:lnTo>
                <a:lnTo>
                  <a:pt x="103" y="38"/>
                </a:lnTo>
                <a:lnTo>
                  <a:pt x="103" y="43"/>
                </a:lnTo>
                <a:lnTo>
                  <a:pt x="109" y="49"/>
                </a:lnTo>
                <a:lnTo>
                  <a:pt x="103" y="49"/>
                </a:lnTo>
                <a:lnTo>
                  <a:pt x="98" y="49"/>
                </a:lnTo>
                <a:lnTo>
                  <a:pt x="92" y="49"/>
                </a:lnTo>
                <a:lnTo>
                  <a:pt x="87" y="49"/>
                </a:lnTo>
                <a:lnTo>
                  <a:pt x="82" y="54"/>
                </a:lnTo>
                <a:lnTo>
                  <a:pt x="87" y="60"/>
                </a:lnTo>
                <a:lnTo>
                  <a:pt x="92" y="65"/>
                </a:lnTo>
                <a:lnTo>
                  <a:pt x="98" y="71"/>
                </a:lnTo>
                <a:lnTo>
                  <a:pt x="103" y="71"/>
                </a:lnTo>
                <a:lnTo>
                  <a:pt x="103" y="76"/>
                </a:lnTo>
                <a:lnTo>
                  <a:pt x="103" y="82"/>
                </a:lnTo>
                <a:lnTo>
                  <a:pt x="109" y="87"/>
                </a:lnTo>
                <a:lnTo>
                  <a:pt x="109" y="92"/>
                </a:lnTo>
                <a:lnTo>
                  <a:pt x="103" y="92"/>
                </a:lnTo>
                <a:lnTo>
                  <a:pt x="103" y="98"/>
                </a:lnTo>
                <a:lnTo>
                  <a:pt x="103" y="103"/>
                </a:lnTo>
                <a:lnTo>
                  <a:pt x="98" y="103"/>
                </a:lnTo>
                <a:lnTo>
                  <a:pt x="98" y="109"/>
                </a:lnTo>
                <a:lnTo>
                  <a:pt x="92" y="109"/>
                </a:lnTo>
                <a:lnTo>
                  <a:pt x="92" y="114"/>
                </a:lnTo>
                <a:lnTo>
                  <a:pt x="92" y="120"/>
                </a:lnTo>
                <a:lnTo>
                  <a:pt x="92" y="125"/>
                </a:lnTo>
                <a:lnTo>
                  <a:pt x="98" y="125"/>
                </a:lnTo>
                <a:lnTo>
                  <a:pt x="98" y="131"/>
                </a:lnTo>
                <a:lnTo>
                  <a:pt x="98" y="136"/>
                </a:lnTo>
                <a:lnTo>
                  <a:pt x="103" y="142"/>
                </a:lnTo>
                <a:lnTo>
                  <a:pt x="103" y="147"/>
                </a:lnTo>
                <a:lnTo>
                  <a:pt x="114" y="158"/>
                </a:lnTo>
                <a:lnTo>
                  <a:pt x="120" y="163"/>
                </a:lnTo>
                <a:lnTo>
                  <a:pt x="120" y="169"/>
                </a:lnTo>
                <a:lnTo>
                  <a:pt x="120" y="174"/>
                </a:lnTo>
                <a:lnTo>
                  <a:pt x="120" y="180"/>
                </a:lnTo>
                <a:lnTo>
                  <a:pt x="120" y="185"/>
                </a:lnTo>
                <a:lnTo>
                  <a:pt x="120" y="180"/>
                </a:lnTo>
                <a:lnTo>
                  <a:pt x="114" y="180"/>
                </a:lnTo>
                <a:lnTo>
                  <a:pt x="109" y="180"/>
                </a:lnTo>
                <a:lnTo>
                  <a:pt x="103" y="174"/>
                </a:lnTo>
                <a:lnTo>
                  <a:pt x="98" y="174"/>
                </a:lnTo>
                <a:lnTo>
                  <a:pt x="92" y="174"/>
                </a:lnTo>
                <a:lnTo>
                  <a:pt x="76" y="174"/>
                </a:lnTo>
                <a:lnTo>
                  <a:pt x="71" y="174"/>
                </a:lnTo>
                <a:lnTo>
                  <a:pt x="65" y="174"/>
                </a:lnTo>
                <a:lnTo>
                  <a:pt x="60" y="174"/>
                </a:lnTo>
                <a:lnTo>
                  <a:pt x="54" y="174"/>
                </a:lnTo>
                <a:lnTo>
                  <a:pt x="49" y="174"/>
                </a:lnTo>
                <a:lnTo>
                  <a:pt x="43" y="174"/>
                </a:lnTo>
                <a:lnTo>
                  <a:pt x="38" y="174"/>
                </a:lnTo>
                <a:lnTo>
                  <a:pt x="27" y="174"/>
                </a:lnTo>
                <a:lnTo>
                  <a:pt x="22" y="174"/>
                </a:lnTo>
                <a:lnTo>
                  <a:pt x="16" y="169"/>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7" name="Freeform 183">
            <a:extLst>
              <a:ext uri="{FF2B5EF4-FFF2-40B4-BE49-F238E27FC236}">
                <a16:creationId xmlns:a16="http://schemas.microsoft.com/office/drawing/2014/main" id="{838F2F49-46C9-9E0E-93E7-40E2201113D7}"/>
              </a:ext>
            </a:extLst>
          </p:cNvPr>
          <p:cNvSpPr>
            <a:spLocks/>
          </p:cNvSpPr>
          <p:nvPr/>
        </p:nvSpPr>
        <p:spPr bwMode="auto">
          <a:xfrm>
            <a:off x="2894014" y="2863850"/>
            <a:ext cx="233363" cy="173038"/>
          </a:xfrm>
          <a:custGeom>
            <a:avLst/>
            <a:gdLst>
              <a:gd name="T0" fmla="*/ 28 w 208"/>
              <a:gd name="T1" fmla="*/ 137 h 142"/>
              <a:gd name="T2" fmla="*/ 22 w 208"/>
              <a:gd name="T3" fmla="*/ 126 h 142"/>
              <a:gd name="T4" fmla="*/ 11 w 208"/>
              <a:gd name="T5" fmla="*/ 110 h 142"/>
              <a:gd name="T6" fmla="*/ 6 w 208"/>
              <a:gd name="T7" fmla="*/ 99 h 142"/>
              <a:gd name="T8" fmla="*/ 0 w 208"/>
              <a:gd name="T9" fmla="*/ 93 h 142"/>
              <a:gd name="T10" fmla="*/ 0 w 208"/>
              <a:gd name="T11" fmla="*/ 82 h 142"/>
              <a:gd name="T12" fmla="*/ 6 w 208"/>
              <a:gd name="T13" fmla="*/ 77 h 142"/>
              <a:gd name="T14" fmla="*/ 11 w 208"/>
              <a:gd name="T15" fmla="*/ 71 h 142"/>
              <a:gd name="T16" fmla="*/ 11 w 208"/>
              <a:gd name="T17" fmla="*/ 60 h 142"/>
              <a:gd name="T18" fmla="*/ 17 w 208"/>
              <a:gd name="T19" fmla="*/ 55 h 142"/>
              <a:gd name="T20" fmla="*/ 22 w 208"/>
              <a:gd name="T21" fmla="*/ 55 h 142"/>
              <a:gd name="T22" fmla="*/ 33 w 208"/>
              <a:gd name="T23" fmla="*/ 50 h 142"/>
              <a:gd name="T24" fmla="*/ 39 w 208"/>
              <a:gd name="T25" fmla="*/ 55 h 142"/>
              <a:gd name="T26" fmla="*/ 50 w 208"/>
              <a:gd name="T27" fmla="*/ 50 h 142"/>
              <a:gd name="T28" fmla="*/ 66 w 208"/>
              <a:gd name="T29" fmla="*/ 50 h 142"/>
              <a:gd name="T30" fmla="*/ 71 w 208"/>
              <a:gd name="T31" fmla="*/ 39 h 142"/>
              <a:gd name="T32" fmla="*/ 77 w 208"/>
              <a:gd name="T33" fmla="*/ 33 h 142"/>
              <a:gd name="T34" fmla="*/ 88 w 208"/>
              <a:gd name="T35" fmla="*/ 33 h 142"/>
              <a:gd name="T36" fmla="*/ 93 w 208"/>
              <a:gd name="T37" fmla="*/ 28 h 142"/>
              <a:gd name="T38" fmla="*/ 104 w 208"/>
              <a:gd name="T39" fmla="*/ 22 h 142"/>
              <a:gd name="T40" fmla="*/ 110 w 208"/>
              <a:gd name="T41" fmla="*/ 17 h 142"/>
              <a:gd name="T42" fmla="*/ 115 w 208"/>
              <a:gd name="T43" fmla="*/ 6 h 142"/>
              <a:gd name="T44" fmla="*/ 120 w 208"/>
              <a:gd name="T45" fmla="*/ 0 h 142"/>
              <a:gd name="T46" fmla="*/ 131 w 208"/>
              <a:gd name="T47" fmla="*/ 0 h 142"/>
              <a:gd name="T48" fmla="*/ 137 w 208"/>
              <a:gd name="T49" fmla="*/ 6 h 142"/>
              <a:gd name="T50" fmla="*/ 142 w 208"/>
              <a:gd name="T51" fmla="*/ 22 h 142"/>
              <a:gd name="T52" fmla="*/ 142 w 208"/>
              <a:gd name="T53" fmla="*/ 33 h 142"/>
              <a:gd name="T54" fmla="*/ 148 w 208"/>
              <a:gd name="T55" fmla="*/ 39 h 142"/>
              <a:gd name="T56" fmla="*/ 153 w 208"/>
              <a:gd name="T57" fmla="*/ 44 h 142"/>
              <a:gd name="T58" fmla="*/ 164 w 208"/>
              <a:gd name="T59" fmla="*/ 50 h 142"/>
              <a:gd name="T60" fmla="*/ 170 w 208"/>
              <a:gd name="T61" fmla="*/ 55 h 142"/>
              <a:gd name="T62" fmla="*/ 175 w 208"/>
              <a:gd name="T63" fmla="*/ 60 h 142"/>
              <a:gd name="T64" fmla="*/ 186 w 208"/>
              <a:gd name="T65" fmla="*/ 66 h 142"/>
              <a:gd name="T66" fmla="*/ 191 w 208"/>
              <a:gd name="T67" fmla="*/ 77 h 142"/>
              <a:gd name="T68" fmla="*/ 197 w 208"/>
              <a:gd name="T69" fmla="*/ 82 h 142"/>
              <a:gd name="T70" fmla="*/ 202 w 208"/>
              <a:gd name="T71" fmla="*/ 93 h 142"/>
              <a:gd name="T72" fmla="*/ 202 w 208"/>
              <a:gd name="T73" fmla="*/ 93 h 142"/>
              <a:gd name="T74" fmla="*/ 191 w 208"/>
              <a:gd name="T75" fmla="*/ 93 h 142"/>
              <a:gd name="T76" fmla="*/ 191 w 208"/>
              <a:gd name="T77" fmla="*/ 93 h 142"/>
              <a:gd name="T78" fmla="*/ 180 w 208"/>
              <a:gd name="T79" fmla="*/ 93 h 142"/>
              <a:gd name="T80" fmla="*/ 170 w 208"/>
              <a:gd name="T81" fmla="*/ 99 h 142"/>
              <a:gd name="T82" fmla="*/ 159 w 208"/>
              <a:gd name="T83" fmla="*/ 93 h 142"/>
              <a:gd name="T84" fmla="*/ 148 w 208"/>
              <a:gd name="T85" fmla="*/ 99 h 142"/>
              <a:gd name="T86" fmla="*/ 137 w 208"/>
              <a:gd name="T87" fmla="*/ 104 h 142"/>
              <a:gd name="T88" fmla="*/ 131 w 208"/>
              <a:gd name="T89" fmla="*/ 99 h 142"/>
              <a:gd name="T90" fmla="*/ 126 w 208"/>
              <a:gd name="T91" fmla="*/ 110 h 142"/>
              <a:gd name="T92" fmla="*/ 115 w 208"/>
              <a:gd name="T93" fmla="*/ 110 h 142"/>
              <a:gd name="T94" fmla="*/ 104 w 208"/>
              <a:gd name="T95" fmla="*/ 110 h 142"/>
              <a:gd name="T96" fmla="*/ 99 w 208"/>
              <a:gd name="T97" fmla="*/ 104 h 142"/>
              <a:gd name="T98" fmla="*/ 88 w 208"/>
              <a:gd name="T99" fmla="*/ 99 h 142"/>
              <a:gd name="T100" fmla="*/ 77 w 208"/>
              <a:gd name="T101" fmla="*/ 93 h 142"/>
              <a:gd name="T102" fmla="*/ 71 w 208"/>
              <a:gd name="T103" fmla="*/ 99 h 142"/>
              <a:gd name="T104" fmla="*/ 66 w 208"/>
              <a:gd name="T105" fmla="*/ 110 h 142"/>
              <a:gd name="T106" fmla="*/ 66 w 208"/>
              <a:gd name="T107" fmla="*/ 120 h 142"/>
              <a:gd name="T108" fmla="*/ 55 w 208"/>
              <a:gd name="T109" fmla="*/ 120 h 142"/>
              <a:gd name="T110" fmla="*/ 44 w 208"/>
              <a:gd name="T111" fmla="*/ 120 h 142"/>
              <a:gd name="T112" fmla="*/ 33 w 208"/>
              <a:gd name="T113" fmla="*/ 120 h 142"/>
              <a:gd name="T114" fmla="*/ 33 w 208"/>
              <a:gd name="T115" fmla="*/ 13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 h="142">
                <a:moveTo>
                  <a:pt x="28" y="142"/>
                </a:moveTo>
                <a:lnTo>
                  <a:pt x="28" y="137"/>
                </a:lnTo>
                <a:lnTo>
                  <a:pt x="28" y="131"/>
                </a:lnTo>
                <a:lnTo>
                  <a:pt x="22" y="126"/>
                </a:lnTo>
                <a:lnTo>
                  <a:pt x="11" y="115"/>
                </a:lnTo>
                <a:lnTo>
                  <a:pt x="11" y="110"/>
                </a:lnTo>
                <a:lnTo>
                  <a:pt x="6" y="104"/>
                </a:lnTo>
                <a:lnTo>
                  <a:pt x="6" y="99"/>
                </a:lnTo>
                <a:lnTo>
                  <a:pt x="6" y="93"/>
                </a:lnTo>
                <a:lnTo>
                  <a:pt x="0" y="93"/>
                </a:lnTo>
                <a:lnTo>
                  <a:pt x="0" y="88"/>
                </a:lnTo>
                <a:lnTo>
                  <a:pt x="0" y="82"/>
                </a:lnTo>
                <a:lnTo>
                  <a:pt x="0" y="77"/>
                </a:lnTo>
                <a:lnTo>
                  <a:pt x="6" y="77"/>
                </a:lnTo>
                <a:lnTo>
                  <a:pt x="6" y="71"/>
                </a:lnTo>
                <a:lnTo>
                  <a:pt x="11" y="71"/>
                </a:lnTo>
                <a:lnTo>
                  <a:pt x="11" y="66"/>
                </a:lnTo>
                <a:lnTo>
                  <a:pt x="11" y="60"/>
                </a:lnTo>
                <a:lnTo>
                  <a:pt x="17" y="60"/>
                </a:lnTo>
                <a:lnTo>
                  <a:pt x="17" y="55"/>
                </a:lnTo>
                <a:lnTo>
                  <a:pt x="22" y="60"/>
                </a:lnTo>
                <a:lnTo>
                  <a:pt x="22" y="55"/>
                </a:lnTo>
                <a:lnTo>
                  <a:pt x="28" y="55"/>
                </a:lnTo>
                <a:lnTo>
                  <a:pt x="33" y="50"/>
                </a:lnTo>
                <a:lnTo>
                  <a:pt x="33" y="55"/>
                </a:lnTo>
                <a:lnTo>
                  <a:pt x="39" y="55"/>
                </a:lnTo>
                <a:lnTo>
                  <a:pt x="44" y="55"/>
                </a:lnTo>
                <a:lnTo>
                  <a:pt x="50" y="50"/>
                </a:lnTo>
                <a:lnTo>
                  <a:pt x="55" y="50"/>
                </a:lnTo>
                <a:lnTo>
                  <a:pt x="66" y="50"/>
                </a:lnTo>
                <a:lnTo>
                  <a:pt x="66" y="44"/>
                </a:lnTo>
                <a:lnTo>
                  <a:pt x="71" y="39"/>
                </a:lnTo>
                <a:lnTo>
                  <a:pt x="71" y="33"/>
                </a:lnTo>
                <a:lnTo>
                  <a:pt x="77" y="33"/>
                </a:lnTo>
                <a:lnTo>
                  <a:pt x="82" y="33"/>
                </a:lnTo>
                <a:lnTo>
                  <a:pt x="88" y="33"/>
                </a:lnTo>
                <a:lnTo>
                  <a:pt x="93" y="33"/>
                </a:lnTo>
                <a:lnTo>
                  <a:pt x="93" y="28"/>
                </a:lnTo>
                <a:lnTo>
                  <a:pt x="99" y="28"/>
                </a:lnTo>
                <a:lnTo>
                  <a:pt x="104" y="22"/>
                </a:lnTo>
                <a:lnTo>
                  <a:pt x="104" y="17"/>
                </a:lnTo>
                <a:lnTo>
                  <a:pt x="110" y="17"/>
                </a:lnTo>
                <a:lnTo>
                  <a:pt x="115" y="11"/>
                </a:lnTo>
                <a:lnTo>
                  <a:pt x="115" y="6"/>
                </a:lnTo>
                <a:lnTo>
                  <a:pt x="120" y="6"/>
                </a:lnTo>
                <a:lnTo>
                  <a:pt x="120" y="0"/>
                </a:lnTo>
                <a:lnTo>
                  <a:pt x="126" y="0"/>
                </a:lnTo>
                <a:lnTo>
                  <a:pt x="131" y="0"/>
                </a:lnTo>
                <a:lnTo>
                  <a:pt x="131" y="6"/>
                </a:lnTo>
                <a:lnTo>
                  <a:pt x="137" y="6"/>
                </a:lnTo>
                <a:lnTo>
                  <a:pt x="137" y="11"/>
                </a:lnTo>
                <a:lnTo>
                  <a:pt x="142" y="22"/>
                </a:lnTo>
                <a:lnTo>
                  <a:pt x="142" y="28"/>
                </a:lnTo>
                <a:lnTo>
                  <a:pt x="142" y="33"/>
                </a:lnTo>
                <a:lnTo>
                  <a:pt x="142" y="39"/>
                </a:lnTo>
                <a:lnTo>
                  <a:pt x="148" y="39"/>
                </a:lnTo>
                <a:lnTo>
                  <a:pt x="153" y="39"/>
                </a:lnTo>
                <a:lnTo>
                  <a:pt x="153" y="44"/>
                </a:lnTo>
                <a:lnTo>
                  <a:pt x="159" y="44"/>
                </a:lnTo>
                <a:lnTo>
                  <a:pt x="164" y="50"/>
                </a:lnTo>
                <a:lnTo>
                  <a:pt x="170" y="50"/>
                </a:lnTo>
                <a:lnTo>
                  <a:pt x="170" y="55"/>
                </a:lnTo>
                <a:lnTo>
                  <a:pt x="170" y="60"/>
                </a:lnTo>
                <a:lnTo>
                  <a:pt x="175" y="60"/>
                </a:lnTo>
                <a:lnTo>
                  <a:pt x="180" y="66"/>
                </a:lnTo>
                <a:lnTo>
                  <a:pt x="186" y="66"/>
                </a:lnTo>
                <a:lnTo>
                  <a:pt x="186" y="71"/>
                </a:lnTo>
                <a:lnTo>
                  <a:pt x="191" y="77"/>
                </a:lnTo>
                <a:lnTo>
                  <a:pt x="191" y="82"/>
                </a:lnTo>
                <a:lnTo>
                  <a:pt x="197" y="82"/>
                </a:lnTo>
                <a:lnTo>
                  <a:pt x="202" y="88"/>
                </a:lnTo>
                <a:lnTo>
                  <a:pt x="202" y="93"/>
                </a:lnTo>
                <a:lnTo>
                  <a:pt x="208" y="99"/>
                </a:lnTo>
                <a:lnTo>
                  <a:pt x="202" y="93"/>
                </a:lnTo>
                <a:lnTo>
                  <a:pt x="197" y="99"/>
                </a:lnTo>
                <a:lnTo>
                  <a:pt x="191" y="93"/>
                </a:lnTo>
                <a:lnTo>
                  <a:pt x="191" y="99"/>
                </a:lnTo>
                <a:lnTo>
                  <a:pt x="191" y="93"/>
                </a:lnTo>
                <a:lnTo>
                  <a:pt x="186" y="93"/>
                </a:lnTo>
                <a:lnTo>
                  <a:pt x="180" y="93"/>
                </a:lnTo>
                <a:lnTo>
                  <a:pt x="175" y="93"/>
                </a:lnTo>
                <a:lnTo>
                  <a:pt x="170" y="99"/>
                </a:lnTo>
                <a:lnTo>
                  <a:pt x="164" y="99"/>
                </a:lnTo>
                <a:lnTo>
                  <a:pt x="159" y="93"/>
                </a:lnTo>
                <a:lnTo>
                  <a:pt x="153" y="99"/>
                </a:lnTo>
                <a:lnTo>
                  <a:pt x="148" y="99"/>
                </a:lnTo>
                <a:lnTo>
                  <a:pt x="142" y="104"/>
                </a:lnTo>
                <a:lnTo>
                  <a:pt x="137" y="104"/>
                </a:lnTo>
                <a:lnTo>
                  <a:pt x="137" y="99"/>
                </a:lnTo>
                <a:lnTo>
                  <a:pt x="131" y="99"/>
                </a:lnTo>
                <a:lnTo>
                  <a:pt x="131" y="104"/>
                </a:lnTo>
                <a:lnTo>
                  <a:pt x="126" y="110"/>
                </a:lnTo>
                <a:lnTo>
                  <a:pt x="120" y="110"/>
                </a:lnTo>
                <a:lnTo>
                  <a:pt x="115" y="110"/>
                </a:lnTo>
                <a:lnTo>
                  <a:pt x="110" y="110"/>
                </a:lnTo>
                <a:lnTo>
                  <a:pt x="104" y="110"/>
                </a:lnTo>
                <a:lnTo>
                  <a:pt x="104" y="104"/>
                </a:lnTo>
                <a:lnTo>
                  <a:pt x="99" y="104"/>
                </a:lnTo>
                <a:lnTo>
                  <a:pt x="93" y="104"/>
                </a:lnTo>
                <a:lnTo>
                  <a:pt x="88" y="99"/>
                </a:lnTo>
                <a:lnTo>
                  <a:pt x="82" y="93"/>
                </a:lnTo>
                <a:lnTo>
                  <a:pt x="77" y="93"/>
                </a:lnTo>
                <a:lnTo>
                  <a:pt x="77" y="99"/>
                </a:lnTo>
                <a:lnTo>
                  <a:pt x="71" y="99"/>
                </a:lnTo>
                <a:lnTo>
                  <a:pt x="71" y="104"/>
                </a:lnTo>
                <a:lnTo>
                  <a:pt x="66" y="110"/>
                </a:lnTo>
                <a:lnTo>
                  <a:pt x="66" y="115"/>
                </a:lnTo>
                <a:lnTo>
                  <a:pt x="66" y="120"/>
                </a:lnTo>
                <a:lnTo>
                  <a:pt x="60" y="120"/>
                </a:lnTo>
                <a:lnTo>
                  <a:pt x="55" y="120"/>
                </a:lnTo>
                <a:lnTo>
                  <a:pt x="50" y="120"/>
                </a:lnTo>
                <a:lnTo>
                  <a:pt x="44" y="120"/>
                </a:lnTo>
                <a:lnTo>
                  <a:pt x="39" y="120"/>
                </a:lnTo>
                <a:lnTo>
                  <a:pt x="33" y="120"/>
                </a:lnTo>
                <a:lnTo>
                  <a:pt x="33" y="126"/>
                </a:lnTo>
                <a:lnTo>
                  <a:pt x="33" y="131"/>
                </a:lnTo>
                <a:lnTo>
                  <a:pt x="28" y="142"/>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8" name="Freeform 184">
            <a:extLst>
              <a:ext uri="{FF2B5EF4-FFF2-40B4-BE49-F238E27FC236}">
                <a16:creationId xmlns:a16="http://schemas.microsoft.com/office/drawing/2014/main" id="{3152F673-776D-71F7-79F2-A6C07645F6B7}"/>
              </a:ext>
            </a:extLst>
          </p:cNvPr>
          <p:cNvSpPr>
            <a:spLocks/>
          </p:cNvSpPr>
          <p:nvPr/>
        </p:nvSpPr>
        <p:spPr bwMode="auto">
          <a:xfrm>
            <a:off x="2686050" y="2811463"/>
            <a:ext cx="207963" cy="187325"/>
          </a:xfrm>
          <a:custGeom>
            <a:avLst/>
            <a:gdLst>
              <a:gd name="T0" fmla="*/ 0 w 185"/>
              <a:gd name="T1" fmla="*/ 114 h 153"/>
              <a:gd name="T2" fmla="*/ 0 w 185"/>
              <a:gd name="T3" fmla="*/ 103 h 153"/>
              <a:gd name="T4" fmla="*/ 0 w 185"/>
              <a:gd name="T5" fmla="*/ 93 h 153"/>
              <a:gd name="T6" fmla="*/ 0 w 185"/>
              <a:gd name="T7" fmla="*/ 82 h 153"/>
              <a:gd name="T8" fmla="*/ 6 w 185"/>
              <a:gd name="T9" fmla="*/ 76 h 153"/>
              <a:gd name="T10" fmla="*/ 11 w 185"/>
              <a:gd name="T11" fmla="*/ 65 h 153"/>
              <a:gd name="T12" fmla="*/ 11 w 185"/>
              <a:gd name="T13" fmla="*/ 54 h 153"/>
              <a:gd name="T14" fmla="*/ 16 w 185"/>
              <a:gd name="T15" fmla="*/ 43 h 153"/>
              <a:gd name="T16" fmla="*/ 11 w 185"/>
              <a:gd name="T17" fmla="*/ 33 h 153"/>
              <a:gd name="T18" fmla="*/ 11 w 185"/>
              <a:gd name="T19" fmla="*/ 22 h 153"/>
              <a:gd name="T20" fmla="*/ 22 w 185"/>
              <a:gd name="T21" fmla="*/ 11 h 153"/>
              <a:gd name="T22" fmla="*/ 27 w 185"/>
              <a:gd name="T23" fmla="*/ 0 h 153"/>
              <a:gd name="T24" fmla="*/ 38 w 185"/>
              <a:gd name="T25" fmla="*/ 0 h 153"/>
              <a:gd name="T26" fmla="*/ 55 w 185"/>
              <a:gd name="T27" fmla="*/ 5 h 153"/>
              <a:gd name="T28" fmla="*/ 66 w 185"/>
              <a:gd name="T29" fmla="*/ 16 h 153"/>
              <a:gd name="T30" fmla="*/ 76 w 185"/>
              <a:gd name="T31" fmla="*/ 5 h 153"/>
              <a:gd name="T32" fmla="*/ 87 w 185"/>
              <a:gd name="T33" fmla="*/ 11 h 153"/>
              <a:gd name="T34" fmla="*/ 98 w 185"/>
              <a:gd name="T35" fmla="*/ 16 h 153"/>
              <a:gd name="T36" fmla="*/ 115 w 185"/>
              <a:gd name="T37" fmla="*/ 11 h 153"/>
              <a:gd name="T38" fmla="*/ 120 w 185"/>
              <a:gd name="T39" fmla="*/ 5 h 153"/>
              <a:gd name="T40" fmla="*/ 136 w 185"/>
              <a:gd name="T41" fmla="*/ 5 h 153"/>
              <a:gd name="T42" fmla="*/ 147 w 185"/>
              <a:gd name="T43" fmla="*/ 11 h 153"/>
              <a:gd name="T44" fmla="*/ 158 w 185"/>
              <a:gd name="T45" fmla="*/ 5 h 153"/>
              <a:gd name="T46" fmla="*/ 164 w 185"/>
              <a:gd name="T47" fmla="*/ 0 h 153"/>
              <a:gd name="T48" fmla="*/ 175 w 185"/>
              <a:gd name="T49" fmla="*/ 11 h 153"/>
              <a:gd name="T50" fmla="*/ 180 w 185"/>
              <a:gd name="T51" fmla="*/ 22 h 153"/>
              <a:gd name="T52" fmla="*/ 185 w 185"/>
              <a:gd name="T53" fmla="*/ 33 h 153"/>
              <a:gd name="T54" fmla="*/ 180 w 185"/>
              <a:gd name="T55" fmla="*/ 38 h 153"/>
              <a:gd name="T56" fmla="*/ 175 w 185"/>
              <a:gd name="T57" fmla="*/ 38 h 153"/>
              <a:gd name="T58" fmla="*/ 169 w 185"/>
              <a:gd name="T59" fmla="*/ 43 h 153"/>
              <a:gd name="T60" fmla="*/ 169 w 185"/>
              <a:gd name="T61" fmla="*/ 54 h 153"/>
              <a:gd name="T62" fmla="*/ 164 w 185"/>
              <a:gd name="T63" fmla="*/ 60 h 153"/>
              <a:gd name="T64" fmla="*/ 164 w 185"/>
              <a:gd name="T65" fmla="*/ 71 h 153"/>
              <a:gd name="T66" fmla="*/ 158 w 185"/>
              <a:gd name="T67" fmla="*/ 76 h 153"/>
              <a:gd name="T68" fmla="*/ 153 w 185"/>
              <a:gd name="T69" fmla="*/ 82 h 153"/>
              <a:gd name="T70" fmla="*/ 147 w 185"/>
              <a:gd name="T71" fmla="*/ 93 h 153"/>
              <a:gd name="T72" fmla="*/ 142 w 185"/>
              <a:gd name="T73" fmla="*/ 103 h 153"/>
              <a:gd name="T74" fmla="*/ 136 w 185"/>
              <a:gd name="T75" fmla="*/ 114 h 153"/>
              <a:gd name="T76" fmla="*/ 126 w 185"/>
              <a:gd name="T77" fmla="*/ 109 h 153"/>
              <a:gd name="T78" fmla="*/ 120 w 185"/>
              <a:gd name="T79" fmla="*/ 109 h 153"/>
              <a:gd name="T80" fmla="*/ 115 w 185"/>
              <a:gd name="T81" fmla="*/ 114 h 153"/>
              <a:gd name="T82" fmla="*/ 104 w 185"/>
              <a:gd name="T83" fmla="*/ 120 h 153"/>
              <a:gd name="T84" fmla="*/ 98 w 185"/>
              <a:gd name="T85" fmla="*/ 131 h 153"/>
              <a:gd name="T86" fmla="*/ 93 w 185"/>
              <a:gd name="T87" fmla="*/ 142 h 153"/>
              <a:gd name="T88" fmla="*/ 87 w 185"/>
              <a:gd name="T89" fmla="*/ 142 h 153"/>
              <a:gd name="T90" fmla="*/ 82 w 185"/>
              <a:gd name="T91" fmla="*/ 147 h 153"/>
              <a:gd name="T92" fmla="*/ 71 w 185"/>
              <a:gd name="T93" fmla="*/ 147 h 153"/>
              <a:gd name="T94" fmla="*/ 66 w 185"/>
              <a:gd name="T95" fmla="*/ 147 h 153"/>
              <a:gd name="T96" fmla="*/ 60 w 185"/>
              <a:gd name="T97" fmla="*/ 153 h 153"/>
              <a:gd name="T98" fmla="*/ 49 w 185"/>
              <a:gd name="T99" fmla="*/ 153 h 153"/>
              <a:gd name="T100" fmla="*/ 44 w 185"/>
              <a:gd name="T101" fmla="*/ 142 h 153"/>
              <a:gd name="T102" fmla="*/ 44 w 185"/>
              <a:gd name="T103" fmla="*/ 136 h 153"/>
              <a:gd name="T104" fmla="*/ 33 w 185"/>
              <a:gd name="T105" fmla="*/ 125 h 153"/>
              <a:gd name="T106" fmla="*/ 16 w 185"/>
              <a:gd name="T107" fmla="*/ 120 h 153"/>
              <a:gd name="T108" fmla="*/ 0 w 185"/>
              <a:gd name="T109" fmla="*/ 12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5" h="153">
                <a:moveTo>
                  <a:pt x="0" y="120"/>
                </a:moveTo>
                <a:lnTo>
                  <a:pt x="0" y="114"/>
                </a:lnTo>
                <a:lnTo>
                  <a:pt x="0" y="109"/>
                </a:lnTo>
                <a:lnTo>
                  <a:pt x="0" y="103"/>
                </a:lnTo>
                <a:lnTo>
                  <a:pt x="0" y="98"/>
                </a:lnTo>
                <a:lnTo>
                  <a:pt x="0" y="93"/>
                </a:lnTo>
                <a:lnTo>
                  <a:pt x="0" y="87"/>
                </a:lnTo>
                <a:lnTo>
                  <a:pt x="0" y="82"/>
                </a:lnTo>
                <a:lnTo>
                  <a:pt x="0" y="76"/>
                </a:lnTo>
                <a:lnTo>
                  <a:pt x="6" y="76"/>
                </a:lnTo>
                <a:lnTo>
                  <a:pt x="6" y="71"/>
                </a:lnTo>
                <a:lnTo>
                  <a:pt x="11" y="65"/>
                </a:lnTo>
                <a:lnTo>
                  <a:pt x="11" y="60"/>
                </a:lnTo>
                <a:lnTo>
                  <a:pt x="11" y="54"/>
                </a:lnTo>
                <a:lnTo>
                  <a:pt x="16" y="49"/>
                </a:lnTo>
                <a:lnTo>
                  <a:pt x="16" y="43"/>
                </a:lnTo>
                <a:lnTo>
                  <a:pt x="11" y="38"/>
                </a:lnTo>
                <a:lnTo>
                  <a:pt x="11" y="33"/>
                </a:lnTo>
                <a:lnTo>
                  <a:pt x="11" y="27"/>
                </a:lnTo>
                <a:lnTo>
                  <a:pt x="11" y="22"/>
                </a:lnTo>
                <a:lnTo>
                  <a:pt x="16" y="16"/>
                </a:lnTo>
                <a:lnTo>
                  <a:pt x="22" y="11"/>
                </a:lnTo>
                <a:lnTo>
                  <a:pt x="22" y="5"/>
                </a:lnTo>
                <a:lnTo>
                  <a:pt x="27" y="0"/>
                </a:lnTo>
                <a:lnTo>
                  <a:pt x="33" y="0"/>
                </a:lnTo>
                <a:lnTo>
                  <a:pt x="38" y="0"/>
                </a:lnTo>
                <a:lnTo>
                  <a:pt x="44" y="0"/>
                </a:lnTo>
                <a:lnTo>
                  <a:pt x="55" y="5"/>
                </a:lnTo>
                <a:lnTo>
                  <a:pt x="60" y="11"/>
                </a:lnTo>
                <a:lnTo>
                  <a:pt x="66" y="16"/>
                </a:lnTo>
                <a:lnTo>
                  <a:pt x="71" y="11"/>
                </a:lnTo>
                <a:lnTo>
                  <a:pt x="76" y="5"/>
                </a:lnTo>
                <a:lnTo>
                  <a:pt x="82" y="11"/>
                </a:lnTo>
                <a:lnTo>
                  <a:pt x="87" y="11"/>
                </a:lnTo>
                <a:lnTo>
                  <a:pt x="93" y="16"/>
                </a:lnTo>
                <a:lnTo>
                  <a:pt x="98" y="16"/>
                </a:lnTo>
                <a:lnTo>
                  <a:pt x="109" y="16"/>
                </a:lnTo>
                <a:lnTo>
                  <a:pt x="115" y="11"/>
                </a:lnTo>
                <a:lnTo>
                  <a:pt x="120" y="11"/>
                </a:lnTo>
                <a:lnTo>
                  <a:pt x="120" y="5"/>
                </a:lnTo>
                <a:lnTo>
                  <a:pt x="131" y="5"/>
                </a:lnTo>
                <a:lnTo>
                  <a:pt x="136" y="5"/>
                </a:lnTo>
                <a:lnTo>
                  <a:pt x="142" y="11"/>
                </a:lnTo>
                <a:lnTo>
                  <a:pt x="147" y="11"/>
                </a:lnTo>
                <a:lnTo>
                  <a:pt x="153" y="11"/>
                </a:lnTo>
                <a:lnTo>
                  <a:pt x="158" y="5"/>
                </a:lnTo>
                <a:lnTo>
                  <a:pt x="164" y="5"/>
                </a:lnTo>
                <a:lnTo>
                  <a:pt x="164" y="0"/>
                </a:lnTo>
                <a:lnTo>
                  <a:pt x="169" y="0"/>
                </a:lnTo>
                <a:lnTo>
                  <a:pt x="175" y="11"/>
                </a:lnTo>
                <a:lnTo>
                  <a:pt x="180" y="16"/>
                </a:lnTo>
                <a:lnTo>
                  <a:pt x="180" y="22"/>
                </a:lnTo>
                <a:lnTo>
                  <a:pt x="185" y="27"/>
                </a:lnTo>
                <a:lnTo>
                  <a:pt x="185" y="33"/>
                </a:lnTo>
                <a:lnTo>
                  <a:pt x="185" y="38"/>
                </a:lnTo>
                <a:lnTo>
                  <a:pt x="180" y="38"/>
                </a:lnTo>
                <a:lnTo>
                  <a:pt x="180" y="43"/>
                </a:lnTo>
                <a:lnTo>
                  <a:pt x="175" y="38"/>
                </a:lnTo>
                <a:lnTo>
                  <a:pt x="175" y="43"/>
                </a:lnTo>
                <a:lnTo>
                  <a:pt x="169" y="43"/>
                </a:lnTo>
                <a:lnTo>
                  <a:pt x="169" y="49"/>
                </a:lnTo>
                <a:lnTo>
                  <a:pt x="169" y="54"/>
                </a:lnTo>
                <a:lnTo>
                  <a:pt x="169" y="60"/>
                </a:lnTo>
                <a:lnTo>
                  <a:pt x="164" y="60"/>
                </a:lnTo>
                <a:lnTo>
                  <a:pt x="164" y="65"/>
                </a:lnTo>
                <a:lnTo>
                  <a:pt x="164" y="71"/>
                </a:lnTo>
                <a:lnTo>
                  <a:pt x="158" y="71"/>
                </a:lnTo>
                <a:lnTo>
                  <a:pt x="158" y="76"/>
                </a:lnTo>
                <a:lnTo>
                  <a:pt x="158" y="82"/>
                </a:lnTo>
                <a:lnTo>
                  <a:pt x="153" y="82"/>
                </a:lnTo>
                <a:lnTo>
                  <a:pt x="147" y="87"/>
                </a:lnTo>
                <a:lnTo>
                  <a:pt x="147" y="93"/>
                </a:lnTo>
                <a:lnTo>
                  <a:pt x="147" y="98"/>
                </a:lnTo>
                <a:lnTo>
                  <a:pt x="142" y="103"/>
                </a:lnTo>
                <a:lnTo>
                  <a:pt x="142" y="109"/>
                </a:lnTo>
                <a:lnTo>
                  <a:pt x="136" y="114"/>
                </a:lnTo>
                <a:lnTo>
                  <a:pt x="131" y="114"/>
                </a:lnTo>
                <a:lnTo>
                  <a:pt x="126" y="109"/>
                </a:lnTo>
                <a:lnTo>
                  <a:pt x="126" y="103"/>
                </a:lnTo>
                <a:lnTo>
                  <a:pt x="120" y="109"/>
                </a:lnTo>
                <a:lnTo>
                  <a:pt x="115" y="109"/>
                </a:lnTo>
                <a:lnTo>
                  <a:pt x="115" y="114"/>
                </a:lnTo>
                <a:lnTo>
                  <a:pt x="109" y="114"/>
                </a:lnTo>
                <a:lnTo>
                  <a:pt x="104" y="120"/>
                </a:lnTo>
                <a:lnTo>
                  <a:pt x="98" y="125"/>
                </a:lnTo>
                <a:lnTo>
                  <a:pt x="98" y="131"/>
                </a:lnTo>
                <a:lnTo>
                  <a:pt x="93" y="136"/>
                </a:lnTo>
                <a:lnTo>
                  <a:pt x="93" y="142"/>
                </a:lnTo>
                <a:lnTo>
                  <a:pt x="93" y="147"/>
                </a:lnTo>
                <a:lnTo>
                  <a:pt x="87" y="142"/>
                </a:lnTo>
                <a:lnTo>
                  <a:pt x="87" y="147"/>
                </a:lnTo>
                <a:lnTo>
                  <a:pt x="82" y="147"/>
                </a:lnTo>
                <a:lnTo>
                  <a:pt x="76" y="147"/>
                </a:lnTo>
                <a:lnTo>
                  <a:pt x="71" y="147"/>
                </a:lnTo>
                <a:lnTo>
                  <a:pt x="71" y="153"/>
                </a:lnTo>
                <a:lnTo>
                  <a:pt x="66" y="147"/>
                </a:lnTo>
                <a:lnTo>
                  <a:pt x="66" y="153"/>
                </a:lnTo>
                <a:lnTo>
                  <a:pt x="60" y="153"/>
                </a:lnTo>
                <a:lnTo>
                  <a:pt x="55" y="153"/>
                </a:lnTo>
                <a:lnTo>
                  <a:pt x="49" y="153"/>
                </a:lnTo>
                <a:lnTo>
                  <a:pt x="44" y="147"/>
                </a:lnTo>
                <a:lnTo>
                  <a:pt x="44" y="142"/>
                </a:lnTo>
                <a:lnTo>
                  <a:pt x="38" y="136"/>
                </a:lnTo>
                <a:lnTo>
                  <a:pt x="44" y="136"/>
                </a:lnTo>
                <a:lnTo>
                  <a:pt x="38" y="131"/>
                </a:lnTo>
                <a:lnTo>
                  <a:pt x="33" y="125"/>
                </a:lnTo>
                <a:lnTo>
                  <a:pt x="27" y="120"/>
                </a:lnTo>
                <a:lnTo>
                  <a:pt x="16" y="120"/>
                </a:lnTo>
                <a:lnTo>
                  <a:pt x="11" y="120"/>
                </a:lnTo>
                <a:lnTo>
                  <a:pt x="0" y="12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9" name="Freeform 185">
            <a:extLst>
              <a:ext uri="{FF2B5EF4-FFF2-40B4-BE49-F238E27FC236}">
                <a16:creationId xmlns:a16="http://schemas.microsoft.com/office/drawing/2014/main" id="{80D0BD8D-4F2D-C4C3-F88D-5A9DACEC388E}"/>
              </a:ext>
            </a:extLst>
          </p:cNvPr>
          <p:cNvSpPr>
            <a:spLocks/>
          </p:cNvSpPr>
          <p:nvPr/>
        </p:nvSpPr>
        <p:spPr bwMode="auto">
          <a:xfrm>
            <a:off x="2630487" y="2863850"/>
            <a:ext cx="38100" cy="100013"/>
          </a:xfrm>
          <a:custGeom>
            <a:avLst/>
            <a:gdLst>
              <a:gd name="T0" fmla="*/ 22 w 33"/>
              <a:gd name="T1" fmla="*/ 82 h 82"/>
              <a:gd name="T2" fmla="*/ 22 w 33"/>
              <a:gd name="T3" fmla="*/ 77 h 82"/>
              <a:gd name="T4" fmla="*/ 16 w 33"/>
              <a:gd name="T5" fmla="*/ 77 h 82"/>
              <a:gd name="T6" fmla="*/ 16 w 33"/>
              <a:gd name="T7" fmla="*/ 71 h 82"/>
              <a:gd name="T8" fmla="*/ 11 w 33"/>
              <a:gd name="T9" fmla="*/ 66 h 82"/>
              <a:gd name="T10" fmla="*/ 16 w 33"/>
              <a:gd name="T11" fmla="*/ 66 h 82"/>
              <a:gd name="T12" fmla="*/ 16 w 33"/>
              <a:gd name="T13" fmla="*/ 60 h 82"/>
              <a:gd name="T14" fmla="*/ 11 w 33"/>
              <a:gd name="T15" fmla="*/ 60 h 82"/>
              <a:gd name="T16" fmla="*/ 16 w 33"/>
              <a:gd name="T17" fmla="*/ 55 h 82"/>
              <a:gd name="T18" fmla="*/ 16 w 33"/>
              <a:gd name="T19" fmla="*/ 50 h 82"/>
              <a:gd name="T20" fmla="*/ 16 w 33"/>
              <a:gd name="T21" fmla="*/ 44 h 82"/>
              <a:gd name="T22" fmla="*/ 11 w 33"/>
              <a:gd name="T23" fmla="*/ 39 h 82"/>
              <a:gd name="T24" fmla="*/ 11 w 33"/>
              <a:gd name="T25" fmla="*/ 33 h 82"/>
              <a:gd name="T26" fmla="*/ 11 w 33"/>
              <a:gd name="T27" fmla="*/ 28 h 82"/>
              <a:gd name="T28" fmla="*/ 11 w 33"/>
              <a:gd name="T29" fmla="*/ 22 h 82"/>
              <a:gd name="T30" fmla="*/ 11 w 33"/>
              <a:gd name="T31" fmla="*/ 17 h 82"/>
              <a:gd name="T32" fmla="*/ 11 w 33"/>
              <a:gd name="T33" fmla="*/ 11 h 82"/>
              <a:gd name="T34" fmla="*/ 5 w 33"/>
              <a:gd name="T35" fmla="*/ 11 h 82"/>
              <a:gd name="T36" fmla="*/ 5 w 33"/>
              <a:gd name="T37" fmla="*/ 6 h 82"/>
              <a:gd name="T38" fmla="*/ 5 w 33"/>
              <a:gd name="T39" fmla="*/ 0 h 82"/>
              <a:gd name="T40" fmla="*/ 0 w 33"/>
              <a:gd name="T41" fmla="*/ 0 h 82"/>
              <a:gd name="T42" fmla="*/ 5 w 33"/>
              <a:gd name="T43" fmla="*/ 0 h 82"/>
              <a:gd name="T44" fmla="*/ 11 w 33"/>
              <a:gd name="T45" fmla="*/ 0 h 82"/>
              <a:gd name="T46" fmla="*/ 16 w 33"/>
              <a:gd name="T47" fmla="*/ 0 h 82"/>
              <a:gd name="T48" fmla="*/ 16 w 33"/>
              <a:gd name="T49" fmla="*/ 6 h 82"/>
              <a:gd name="T50" fmla="*/ 16 w 33"/>
              <a:gd name="T51" fmla="*/ 11 h 82"/>
              <a:gd name="T52" fmla="*/ 27 w 33"/>
              <a:gd name="T53" fmla="*/ 17 h 82"/>
              <a:gd name="T54" fmla="*/ 27 w 33"/>
              <a:gd name="T55" fmla="*/ 22 h 82"/>
              <a:gd name="T56" fmla="*/ 27 w 33"/>
              <a:gd name="T57" fmla="*/ 28 h 82"/>
              <a:gd name="T58" fmla="*/ 33 w 33"/>
              <a:gd name="T59" fmla="*/ 33 h 82"/>
              <a:gd name="T60" fmla="*/ 33 w 33"/>
              <a:gd name="T61" fmla="*/ 39 h 82"/>
              <a:gd name="T62" fmla="*/ 33 w 33"/>
              <a:gd name="T63" fmla="*/ 44 h 82"/>
              <a:gd name="T64" fmla="*/ 33 w 33"/>
              <a:gd name="T65" fmla="*/ 55 h 82"/>
              <a:gd name="T66" fmla="*/ 33 w 33"/>
              <a:gd name="T67" fmla="*/ 60 h 82"/>
              <a:gd name="T68" fmla="*/ 33 w 33"/>
              <a:gd name="T69" fmla="*/ 66 h 82"/>
              <a:gd name="T70" fmla="*/ 27 w 33"/>
              <a:gd name="T71" fmla="*/ 66 h 82"/>
              <a:gd name="T72" fmla="*/ 27 w 33"/>
              <a:gd name="T73" fmla="*/ 71 h 82"/>
              <a:gd name="T74" fmla="*/ 33 w 33"/>
              <a:gd name="T75" fmla="*/ 71 h 82"/>
              <a:gd name="T76" fmla="*/ 33 w 33"/>
              <a:gd name="T77" fmla="*/ 77 h 82"/>
              <a:gd name="T78" fmla="*/ 22 w 33"/>
              <a:gd name="T7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 h="82">
                <a:moveTo>
                  <a:pt x="22" y="82"/>
                </a:moveTo>
                <a:lnTo>
                  <a:pt x="22" y="77"/>
                </a:lnTo>
                <a:lnTo>
                  <a:pt x="16" y="77"/>
                </a:lnTo>
                <a:lnTo>
                  <a:pt x="16" y="71"/>
                </a:lnTo>
                <a:lnTo>
                  <a:pt x="11" y="66"/>
                </a:lnTo>
                <a:lnTo>
                  <a:pt x="16" y="66"/>
                </a:lnTo>
                <a:lnTo>
                  <a:pt x="16" y="60"/>
                </a:lnTo>
                <a:lnTo>
                  <a:pt x="11" y="60"/>
                </a:lnTo>
                <a:lnTo>
                  <a:pt x="16" y="55"/>
                </a:lnTo>
                <a:lnTo>
                  <a:pt x="16" y="50"/>
                </a:lnTo>
                <a:lnTo>
                  <a:pt x="16" y="44"/>
                </a:lnTo>
                <a:lnTo>
                  <a:pt x="11" y="39"/>
                </a:lnTo>
                <a:lnTo>
                  <a:pt x="11" y="33"/>
                </a:lnTo>
                <a:lnTo>
                  <a:pt x="11" y="28"/>
                </a:lnTo>
                <a:lnTo>
                  <a:pt x="11" y="22"/>
                </a:lnTo>
                <a:lnTo>
                  <a:pt x="11" y="17"/>
                </a:lnTo>
                <a:lnTo>
                  <a:pt x="11" y="11"/>
                </a:lnTo>
                <a:lnTo>
                  <a:pt x="5" y="11"/>
                </a:lnTo>
                <a:lnTo>
                  <a:pt x="5" y="6"/>
                </a:lnTo>
                <a:lnTo>
                  <a:pt x="5" y="0"/>
                </a:lnTo>
                <a:lnTo>
                  <a:pt x="0" y="0"/>
                </a:lnTo>
                <a:lnTo>
                  <a:pt x="5" y="0"/>
                </a:lnTo>
                <a:lnTo>
                  <a:pt x="11" y="0"/>
                </a:lnTo>
                <a:lnTo>
                  <a:pt x="16" y="0"/>
                </a:lnTo>
                <a:lnTo>
                  <a:pt x="16" y="6"/>
                </a:lnTo>
                <a:lnTo>
                  <a:pt x="16" y="11"/>
                </a:lnTo>
                <a:lnTo>
                  <a:pt x="27" y="17"/>
                </a:lnTo>
                <a:lnTo>
                  <a:pt x="27" y="22"/>
                </a:lnTo>
                <a:lnTo>
                  <a:pt x="27" y="28"/>
                </a:lnTo>
                <a:lnTo>
                  <a:pt x="33" y="33"/>
                </a:lnTo>
                <a:lnTo>
                  <a:pt x="33" y="39"/>
                </a:lnTo>
                <a:lnTo>
                  <a:pt x="33" y="44"/>
                </a:lnTo>
                <a:lnTo>
                  <a:pt x="33" y="55"/>
                </a:lnTo>
                <a:lnTo>
                  <a:pt x="33" y="60"/>
                </a:lnTo>
                <a:lnTo>
                  <a:pt x="33" y="66"/>
                </a:lnTo>
                <a:lnTo>
                  <a:pt x="27" y="66"/>
                </a:lnTo>
                <a:lnTo>
                  <a:pt x="27" y="71"/>
                </a:lnTo>
                <a:lnTo>
                  <a:pt x="33" y="71"/>
                </a:lnTo>
                <a:lnTo>
                  <a:pt x="33" y="77"/>
                </a:lnTo>
                <a:lnTo>
                  <a:pt x="22" y="82"/>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0" name="Freeform 186">
            <a:extLst>
              <a:ext uri="{FF2B5EF4-FFF2-40B4-BE49-F238E27FC236}">
                <a16:creationId xmlns:a16="http://schemas.microsoft.com/office/drawing/2014/main" id="{35821AF8-C79C-5FA9-E6DF-47E3FBBC2C78}"/>
              </a:ext>
            </a:extLst>
          </p:cNvPr>
          <p:cNvSpPr>
            <a:spLocks/>
          </p:cNvSpPr>
          <p:nvPr/>
        </p:nvSpPr>
        <p:spPr bwMode="auto">
          <a:xfrm>
            <a:off x="2649538" y="2838450"/>
            <a:ext cx="53975" cy="119063"/>
          </a:xfrm>
          <a:custGeom>
            <a:avLst/>
            <a:gdLst>
              <a:gd name="T0" fmla="*/ 17 w 49"/>
              <a:gd name="T1" fmla="*/ 98 h 98"/>
              <a:gd name="T2" fmla="*/ 17 w 49"/>
              <a:gd name="T3" fmla="*/ 92 h 98"/>
              <a:gd name="T4" fmla="*/ 11 w 49"/>
              <a:gd name="T5" fmla="*/ 92 h 98"/>
              <a:gd name="T6" fmla="*/ 11 w 49"/>
              <a:gd name="T7" fmla="*/ 87 h 98"/>
              <a:gd name="T8" fmla="*/ 17 w 49"/>
              <a:gd name="T9" fmla="*/ 87 h 98"/>
              <a:gd name="T10" fmla="*/ 17 w 49"/>
              <a:gd name="T11" fmla="*/ 81 h 98"/>
              <a:gd name="T12" fmla="*/ 17 w 49"/>
              <a:gd name="T13" fmla="*/ 76 h 98"/>
              <a:gd name="T14" fmla="*/ 17 w 49"/>
              <a:gd name="T15" fmla="*/ 65 h 98"/>
              <a:gd name="T16" fmla="*/ 17 w 49"/>
              <a:gd name="T17" fmla="*/ 60 h 98"/>
              <a:gd name="T18" fmla="*/ 17 w 49"/>
              <a:gd name="T19" fmla="*/ 54 h 98"/>
              <a:gd name="T20" fmla="*/ 11 w 49"/>
              <a:gd name="T21" fmla="*/ 49 h 98"/>
              <a:gd name="T22" fmla="*/ 11 w 49"/>
              <a:gd name="T23" fmla="*/ 43 h 98"/>
              <a:gd name="T24" fmla="*/ 11 w 49"/>
              <a:gd name="T25" fmla="*/ 38 h 98"/>
              <a:gd name="T26" fmla="*/ 0 w 49"/>
              <a:gd name="T27" fmla="*/ 32 h 98"/>
              <a:gd name="T28" fmla="*/ 0 w 49"/>
              <a:gd name="T29" fmla="*/ 27 h 98"/>
              <a:gd name="T30" fmla="*/ 0 w 49"/>
              <a:gd name="T31" fmla="*/ 21 h 98"/>
              <a:gd name="T32" fmla="*/ 6 w 49"/>
              <a:gd name="T33" fmla="*/ 21 h 98"/>
              <a:gd name="T34" fmla="*/ 11 w 49"/>
              <a:gd name="T35" fmla="*/ 16 h 98"/>
              <a:gd name="T36" fmla="*/ 17 w 49"/>
              <a:gd name="T37" fmla="*/ 16 h 98"/>
              <a:gd name="T38" fmla="*/ 22 w 49"/>
              <a:gd name="T39" fmla="*/ 16 h 98"/>
              <a:gd name="T40" fmla="*/ 22 w 49"/>
              <a:gd name="T41" fmla="*/ 11 h 98"/>
              <a:gd name="T42" fmla="*/ 28 w 49"/>
              <a:gd name="T43" fmla="*/ 11 h 98"/>
              <a:gd name="T44" fmla="*/ 28 w 49"/>
              <a:gd name="T45" fmla="*/ 5 h 98"/>
              <a:gd name="T46" fmla="*/ 33 w 49"/>
              <a:gd name="T47" fmla="*/ 5 h 98"/>
              <a:gd name="T48" fmla="*/ 33 w 49"/>
              <a:gd name="T49" fmla="*/ 0 h 98"/>
              <a:gd name="T50" fmla="*/ 39 w 49"/>
              <a:gd name="T51" fmla="*/ 5 h 98"/>
              <a:gd name="T52" fmla="*/ 39 w 49"/>
              <a:gd name="T53" fmla="*/ 11 h 98"/>
              <a:gd name="T54" fmla="*/ 44 w 49"/>
              <a:gd name="T55" fmla="*/ 11 h 98"/>
              <a:gd name="T56" fmla="*/ 44 w 49"/>
              <a:gd name="T57" fmla="*/ 16 h 98"/>
              <a:gd name="T58" fmla="*/ 49 w 49"/>
              <a:gd name="T59" fmla="*/ 21 h 98"/>
              <a:gd name="T60" fmla="*/ 49 w 49"/>
              <a:gd name="T61" fmla="*/ 27 h 98"/>
              <a:gd name="T62" fmla="*/ 44 w 49"/>
              <a:gd name="T63" fmla="*/ 32 h 98"/>
              <a:gd name="T64" fmla="*/ 44 w 49"/>
              <a:gd name="T65" fmla="*/ 38 h 98"/>
              <a:gd name="T66" fmla="*/ 44 w 49"/>
              <a:gd name="T67" fmla="*/ 43 h 98"/>
              <a:gd name="T68" fmla="*/ 39 w 49"/>
              <a:gd name="T69" fmla="*/ 49 h 98"/>
              <a:gd name="T70" fmla="*/ 39 w 49"/>
              <a:gd name="T71" fmla="*/ 54 h 98"/>
              <a:gd name="T72" fmla="*/ 33 w 49"/>
              <a:gd name="T73" fmla="*/ 54 h 98"/>
              <a:gd name="T74" fmla="*/ 33 w 49"/>
              <a:gd name="T75" fmla="*/ 60 h 98"/>
              <a:gd name="T76" fmla="*/ 33 w 49"/>
              <a:gd name="T77" fmla="*/ 65 h 98"/>
              <a:gd name="T78" fmla="*/ 33 w 49"/>
              <a:gd name="T79" fmla="*/ 71 h 98"/>
              <a:gd name="T80" fmla="*/ 33 w 49"/>
              <a:gd name="T81" fmla="*/ 76 h 98"/>
              <a:gd name="T82" fmla="*/ 33 w 49"/>
              <a:gd name="T83" fmla="*/ 81 h 98"/>
              <a:gd name="T84" fmla="*/ 33 w 49"/>
              <a:gd name="T85" fmla="*/ 87 h 98"/>
              <a:gd name="T86" fmla="*/ 33 w 49"/>
              <a:gd name="T87" fmla="*/ 92 h 98"/>
              <a:gd name="T88" fmla="*/ 33 w 49"/>
              <a:gd name="T89" fmla="*/ 98 h 98"/>
              <a:gd name="T90" fmla="*/ 22 w 49"/>
              <a:gd name="T91" fmla="*/ 98 h 98"/>
              <a:gd name="T92" fmla="*/ 17 w 49"/>
              <a:gd name="T93"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9" h="98">
                <a:moveTo>
                  <a:pt x="17" y="98"/>
                </a:moveTo>
                <a:lnTo>
                  <a:pt x="17" y="92"/>
                </a:lnTo>
                <a:lnTo>
                  <a:pt x="11" y="92"/>
                </a:lnTo>
                <a:lnTo>
                  <a:pt x="11" y="87"/>
                </a:lnTo>
                <a:lnTo>
                  <a:pt x="17" y="87"/>
                </a:lnTo>
                <a:lnTo>
                  <a:pt x="17" y="81"/>
                </a:lnTo>
                <a:lnTo>
                  <a:pt x="17" y="76"/>
                </a:lnTo>
                <a:lnTo>
                  <a:pt x="17" y="65"/>
                </a:lnTo>
                <a:lnTo>
                  <a:pt x="17" y="60"/>
                </a:lnTo>
                <a:lnTo>
                  <a:pt x="17" y="54"/>
                </a:lnTo>
                <a:lnTo>
                  <a:pt x="11" y="49"/>
                </a:lnTo>
                <a:lnTo>
                  <a:pt x="11" y="43"/>
                </a:lnTo>
                <a:lnTo>
                  <a:pt x="11" y="38"/>
                </a:lnTo>
                <a:lnTo>
                  <a:pt x="0" y="32"/>
                </a:lnTo>
                <a:lnTo>
                  <a:pt x="0" y="27"/>
                </a:lnTo>
                <a:lnTo>
                  <a:pt x="0" y="21"/>
                </a:lnTo>
                <a:lnTo>
                  <a:pt x="6" y="21"/>
                </a:lnTo>
                <a:lnTo>
                  <a:pt x="11" y="16"/>
                </a:lnTo>
                <a:lnTo>
                  <a:pt x="17" y="16"/>
                </a:lnTo>
                <a:lnTo>
                  <a:pt x="22" y="16"/>
                </a:lnTo>
                <a:lnTo>
                  <a:pt x="22" y="11"/>
                </a:lnTo>
                <a:lnTo>
                  <a:pt x="28" y="11"/>
                </a:lnTo>
                <a:lnTo>
                  <a:pt x="28" y="5"/>
                </a:lnTo>
                <a:lnTo>
                  <a:pt x="33" y="5"/>
                </a:lnTo>
                <a:lnTo>
                  <a:pt x="33" y="0"/>
                </a:lnTo>
                <a:lnTo>
                  <a:pt x="39" y="5"/>
                </a:lnTo>
                <a:lnTo>
                  <a:pt x="39" y="11"/>
                </a:lnTo>
                <a:lnTo>
                  <a:pt x="44" y="11"/>
                </a:lnTo>
                <a:lnTo>
                  <a:pt x="44" y="16"/>
                </a:lnTo>
                <a:lnTo>
                  <a:pt x="49" y="21"/>
                </a:lnTo>
                <a:lnTo>
                  <a:pt x="49" y="27"/>
                </a:lnTo>
                <a:lnTo>
                  <a:pt x="44" y="32"/>
                </a:lnTo>
                <a:lnTo>
                  <a:pt x="44" y="38"/>
                </a:lnTo>
                <a:lnTo>
                  <a:pt x="44" y="43"/>
                </a:lnTo>
                <a:lnTo>
                  <a:pt x="39" y="49"/>
                </a:lnTo>
                <a:lnTo>
                  <a:pt x="39" y="54"/>
                </a:lnTo>
                <a:lnTo>
                  <a:pt x="33" y="54"/>
                </a:lnTo>
                <a:lnTo>
                  <a:pt x="33" y="60"/>
                </a:lnTo>
                <a:lnTo>
                  <a:pt x="33" y="65"/>
                </a:lnTo>
                <a:lnTo>
                  <a:pt x="33" y="71"/>
                </a:lnTo>
                <a:lnTo>
                  <a:pt x="33" y="76"/>
                </a:lnTo>
                <a:lnTo>
                  <a:pt x="33" y="81"/>
                </a:lnTo>
                <a:lnTo>
                  <a:pt x="33" y="87"/>
                </a:lnTo>
                <a:lnTo>
                  <a:pt x="33" y="92"/>
                </a:lnTo>
                <a:lnTo>
                  <a:pt x="33" y="98"/>
                </a:lnTo>
                <a:lnTo>
                  <a:pt x="22" y="98"/>
                </a:lnTo>
                <a:lnTo>
                  <a:pt x="17" y="98"/>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1" name="Freeform 187">
            <a:extLst>
              <a:ext uri="{FF2B5EF4-FFF2-40B4-BE49-F238E27FC236}">
                <a16:creationId xmlns:a16="http://schemas.microsoft.com/office/drawing/2014/main" id="{F40F3298-28AF-45AE-3474-4016EAF389C4}"/>
              </a:ext>
            </a:extLst>
          </p:cNvPr>
          <p:cNvSpPr>
            <a:spLocks/>
          </p:cNvSpPr>
          <p:nvPr/>
        </p:nvSpPr>
        <p:spPr bwMode="auto">
          <a:xfrm>
            <a:off x="2636839" y="2624138"/>
            <a:ext cx="276225" cy="227013"/>
          </a:xfrm>
          <a:custGeom>
            <a:avLst/>
            <a:gdLst>
              <a:gd name="T0" fmla="*/ 33 w 246"/>
              <a:gd name="T1" fmla="*/ 175 h 186"/>
              <a:gd name="T2" fmla="*/ 28 w 246"/>
              <a:gd name="T3" fmla="*/ 175 h 186"/>
              <a:gd name="T4" fmla="*/ 17 w 246"/>
              <a:gd name="T5" fmla="*/ 169 h 186"/>
              <a:gd name="T6" fmla="*/ 17 w 246"/>
              <a:gd name="T7" fmla="*/ 158 h 186"/>
              <a:gd name="T8" fmla="*/ 17 w 246"/>
              <a:gd name="T9" fmla="*/ 158 h 186"/>
              <a:gd name="T10" fmla="*/ 6 w 246"/>
              <a:gd name="T11" fmla="*/ 153 h 186"/>
              <a:gd name="T12" fmla="*/ 0 w 246"/>
              <a:gd name="T13" fmla="*/ 142 h 186"/>
              <a:gd name="T14" fmla="*/ 11 w 246"/>
              <a:gd name="T15" fmla="*/ 136 h 186"/>
              <a:gd name="T16" fmla="*/ 22 w 246"/>
              <a:gd name="T17" fmla="*/ 131 h 186"/>
              <a:gd name="T18" fmla="*/ 50 w 246"/>
              <a:gd name="T19" fmla="*/ 131 h 186"/>
              <a:gd name="T20" fmla="*/ 55 w 246"/>
              <a:gd name="T21" fmla="*/ 126 h 186"/>
              <a:gd name="T22" fmla="*/ 60 w 246"/>
              <a:gd name="T23" fmla="*/ 120 h 186"/>
              <a:gd name="T24" fmla="*/ 60 w 246"/>
              <a:gd name="T25" fmla="*/ 104 h 186"/>
              <a:gd name="T26" fmla="*/ 66 w 246"/>
              <a:gd name="T27" fmla="*/ 71 h 186"/>
              <a:gd name="T28" fmla="*/ 115 w 246"/>
              <a:gd name="T29" fmla="*/ 44 h 186"/>
              <a:gd name="T30" fmla="*/ 170 w 246"/>
              <a:gd name="T31" fmla="*/ 6 h 186"/>
              <a:gd name="T32" fmla="*/ 202 w 246"/>
              <a:gd name="T33" fmla="*/ 6 h 186"/>
              <a:gd name="T34" fmla="*/ 219 w 246"/>
              <a:gd name="T35" fmla="*/ 11 h 186"/>
              <a:gd name="T36" fmla="*/ 229 w 246"/>
              <a:gd name="T37" fmla="*/ 22 h 186"/>
              <a:gd name="T38" fmla="*/ 240 w 246"/>
              <a:gd name="T39" fmla="*/ 38 h 186"/>
              <a:gd name="T40" fmla="*/ 246 w 246"/>
              <a:gd name="T41" fmla="*/ 49 h 186"/>
              <a:gd name="T42" fmla="*/ 240 w 246"/>
              <a:gd name="T43" fmla="*/ 76 h 186"/>
              <a:gd name="T44" fmla="*/ 224 w 246"/>
              <a:gd name="T45" fmla="*/ 126 h 186"/>
              <a:gd name="T46" fmla="*/ 213 w 246"/>
              <a:gd name="T47" fmla="*/ 136 h 186"/>
              <a:gd name="T48" fmla="*/ 208 w 246"/>
              <a:gd name="T49" fmla="*/ 142 h 186"/>
              <a:gd name="T50" fmla="*/ 213 w 246"/>
              <a:gd name="T51" fmla="*/ 153 h 186"/>
              <a:gd name="T52" fmla="*/ 208 w 246"/>
              <a:gd name="T53" fmla="*/ 158 h 186"/>
              <a:gd name="T54" fmla="*/ 197 w 246"/>
              <a:gd name="T55" fmla="*/ 164 h 186"/>
              <a:gd name="T56" fmla="*/ 186 w 246"/>
              <a:gd name="T57" fmla="*/ 164 h 186"/>
              <a:gd name="T58" fmla="*/ 175 w 246"/>
              <a:gd name="T59" fmla="*/ 158 h 186"/>
              <a:gd name="T60" fmla="*/ 164 w 246"/>
              <a:gd name="T61" fmla="*/ 164 h 186"/>
              <a:gd name="T62" fmla="*/ 153 w 246"/>
              <a:gd name="T63" fmla="*/ 169 h 186"/>
              <a:gd name="T64" fmla="*/ 137 w 246"/>
              <a:gd name="T65" fmla="*/ 169 h 186"/>
              <a:gd name="T66" fmla="*/ 126 w 246"/>
              <a:gd name="T67" fmla="*/ 164 h 186"/>
              <a:gd name="T68" fmla="*/ 115 w 246"/>
              <a:gd name="T69" fmla="*/ 164 h 186"/>
              <a:gd name="T70" fmla="*/ 104 w 246"/>
              <a:gd name="T71" fmla="*/ 164 h 186"/>
              <a:gd name="T72" fmla="*/ 88 w 246"/>
              <a:gd name="T73" fmla="*/ 153 h 186"/>
              <a:gd name="T74" fmla="*/ 77 w 246"/>
              <a:gd name="T75" fmla="*/ 153 h 186"/>
              <a:gd name="T76" fmla="*/ 66 w 246"/>
              <a:gd name="T77" fmla="*/ 158 h 186"/>
              <a:gd name="T78" fmla="*/ 60 w 246"/>
              <a:gd name="T79" fmla="*/ 169 h 186"/>
              <a:gd name="T80" fmla="*/ 55 w 246"/>
              <a:gd name="T81" fmla="*/ 180 h 186"/>
              <a:gd name="T82" fmla="*/ 50 w 246"/>
              <a:gd name="T83" fmla="*/ 186 h 186"/>
              <a:gd name="T84" fmla="*/ 44 w 246"/>
              <a:gd name="T85" fmla="*/ 175 h 186"/>
              <a:gd name="T86" fmla="*/ 39 w 246"/>
              <a:gd name="T87" fmla="*/ 18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6" h="186">
                <a:moveTo>
                  <a:pt x="39" y="186"/>
                </a:moveTo>
                <a:lnTo>
                  <a:pt x="33" y="175"/>
                </a:lnTo>
                <a:lnTo>
                  <a:pt x="33" y="169"/>
                </a:lnTo>
                <a:lnTo>
                  <a:pt x="28" y="175"/>
                </a:lnTo>
                <a:lnTo>
                  <a:pt x="22" y="175"/>
                </a:lnTo>
                <a:lnTo>
                  <a:pt x="17" y="169"/>
                </a:lnTo>
                <a:lnTo>
                  <a:pt x="17" y="164"/>
                </a:lnTo>
                <a:lnTo>
                  <a:pt x="17" y="158"/>
                </a:lnTo>
                <a:lnTo>
                  <a:pt x="22" y="158"/>
                </a:lnTo>
                <a:lnTo>
                  <a:pt x="17" y="158"/>
                </a:lnTo>
                <a:lnTo>
                  <a:pt x="11" y="153"/>
                </a:lnTo>
                <a:lnTo>
                  <a:pt x="6" y="153"/>
                </a:lnTo>
                <a:lnTo>
                  <a:pt x="6" y="147"/>
                </a:lnTo>
                <a:lnTo>
                  <a:pt x="0" y="142"/>
                </a:lnTo>
                <a:lnTo>
                  <a:pt x="6" y="136"/>
                </a:lnTo>
                <a:lnTo>
                  <a:pt x="11" y="136"/>
                </a:lnTo>
                <a:lnTo>
                  <a:pt x="17" y="136"/>
                </a:lnTo>
                <a:lnTo>
                  <a:pt x="22" y="131"/>
                </a:lnTo>
                <a:lnTo>
                  <a:pt x="39" y="131"/>
                </a:lnTo>
                <a:lnTo>
                  <a:pt x="50" y="131"/>
                </a:lnTo>
                <a:lnTo>
                  <a:pt x="55" y="131"/>
                </a:lnTo>
                <a:lnTo>
                  <a:pt x="55" y="126"/>
                </a:lnTo>
                <a:lnTo>
                  <a:pt x="60" y="126"/>
                </a:lnTo>
                <a:lnTo>
                  <a:pt x="60" y="120"/>
                </a:lnTo>
                <a:lnTo>
                  <a:pt x="60" y="115"/>
                </a:lnTo>
                <a:lnTo>
                  <a:pt x="60" y="104"/>
                </a:lnTo>
                <a:lnTo>
                  <a:pt x="66" y="104"/>
                </a:lnTo>
                <a:lnTo>
                  <a:pt x="66" y="71"/>
                </a:lnTo>
                <a:lnTo>
                  <a:pt x="88" y="66"/>
                </a:lnTo>
                <a:lnTo>
                  <a:pt x="115" y="44"/>
                </a:lnTo>
                <a:lnTo>
                  <a:pt x="120" y="38"/>
                </a:lnTo>
                <a:lnTo>
                  <a:pt x="170" y="6"/>
                </a:lnTo>
                <a:lnTo>
                  <a:pt x="180" y="0"/>
                </a:lnTo>
                <a:lnTo>
                  <a:pt x="202" y="6"/>
                </a:lnTo>
                <a:lnTo>
                  <a:pt x="208" y="6"/>
                </a:lnTo>
                <a:lnTo>
                  <a:pt x="219" y="11"/>
                </a:lnTo>
                <a:lnTo>
                  <a:pt x="229" y="6"/>
                </a:lnTo>
                <a:lnTo>
                  <a:pt x="229" y="22"/>
                </a:lnTo>
                <a:lnTo>
                  <a:pt x="235" y="33"/>
                </a:lnTo>
                <a:lnTo>
                  <a:pt x="240" y="38"/>
                </a:lnTo>
                <a:lnTo>
                  <a:pt x="240" y="44"/>
                </a:lnTo>
                <a:lnTo>
                  <a:pt x="246" y="49"/>
                </a:lnTo>
                <a:lnTo>
                  <a:pt x="240" y="55"/>
                </a:lnTo>
                <a:lnTo>
                  <a:pt x="240" y="76"/>
                </a:lnTo>
                <a:lnTo>
                  <a:pt x="240" y="104"/>
                </a:lnTo>
                <a:lnTo>
                  <a:pt x="224" y="126"/>
                </a:lnTo>
                <a:lnTo>
                  <a:pt x="219" y="131"/>
                </a:lnTo>
                <a:lnTo>
                  <a:pt x="213" y="136"/>
                </a:lnTo>
                <a:lnTo>
                  <a:pt x="213" y="142"/>
                </a:lnTo>
                <a:lnTo>
                  <a:pt x="208" y="142"/>
                </a:lnTo>
                <a:lnTo>
                  <a:pt x="213" y="147"/>
                </a:lnTo>
                <a:lnTo>
                  <a:pt x="213" y="153"/>
                </a:lnTo>
                <a:lnTo>
                  <a:pt x="208" y="153"/>
                </a:lnTo>
                <a:lnTo>
                  <a:pt x="208" y="158"/>
                </a:lnTo>
                <a:lnTo>
                  <a:pt x="202" y="158"/>
                </a:lnTo>
                <a:lnTo>
                  <a:pt x="197" y="164"/>
                </a:lnTo>
                <a:lnTo>
                  <a:pt x="191" y="164"/>
                </a:lnTo>
                <a:lnTo>
                  <a:pt x="186" y="164"/>
                </a:lnTo>
                <a:lnTo>
                  <a:pt x="180" y="158"/>
                </a:lnTo>
                <a:lnTo>
                  <a:pt x="175" y="158"/>
                </a:lnTo>
                <a:lnTo>
                  <a:pt x="164" y="158"/>
                </a:lnTo>
                <a:lnTo>
                  <a:pt x="164" y="164"/>
                </a:lnTo>
                <a:lnTo>
                  <a:pt x="159" y="164"/>
                </a:lnTo>
                <a:lnTo>
                  <a:pt x="153" y="169"/>
                </a:lnTo>
                <a:lnTo>
                  <a:pt x="142" y="169"/>
                </a:lnTo>
                <a:lnTo>
                  <a:pt x="137" y="169"/>
                </a:lnTo>
                <a:lnTo>
                  <a:pt x="131" y="164"/>
                </a:lnTo>
                <a:lnTo>
                  <a:pt x="126" y="164"/>
                </a:lnTo>
                <a:lnTo>
                  <a:pt x="120" y="158"/>
                </a:lnTo>
                <a:lnTo>
                  <a:pt x="115" y="164"/>
                </a:lnTo>
                <a:lnTo>
                  <a:pt x="110" y="169"/>
                </a:lnTo>
                <a:lnTo>
                  <a:pt x="104" y="164"/>
                </a:lnTo>
                <a:lnTo>
                  <a:pt x="99" y="158"/>
                </a:lnTo>
                <a:lnTo>
                  <a:pt x="88" y="153"/>
                </a:lnTo>
                <a:lnTo>
                  <a:pt x="82" y="153"/>
                </a:lnTo>
                <a:lnTo>
                  <a:pt x="77" y="153"/>
                </a:lnTo>
                <a:lnTo>
                  <a:pt x="71" y="153"/>
                </a:lnTo>
                <a:lnTo>
                  <a:pt x="66" y="158"/>
                </a:lnTo>
                <a:lnTo>
                  <a:pt x="66" y="164"/>
                </a:lnTo>
                <a:lnTo>
                  <a:pt x="60" y="169"/>
                </a:lnTo>
                <a:lnTo>
                  <a:pt x="55" y="175"/>
                </a:lnTo>
                <a:lnTo>
                  <a:pt x="55" y="180"/>
                </a:lnTo>
                <a:lnTo>
                  <a:pt x="55" y="186"/>
                </a:lnTo>
                <a:lnTo>
                  <a:pt x="50" y="186"/>
                </a:lnTo>
                <a:lnTo>
                  <a:pt x="50" y="180"/>
                </a:lnTo>
                <a:lnTo>
                  <a:pt x="44" y="175"/>
                </a:lnTo>
                <a:lnTo>
                  <a:pt x="44" y="180"/>
                </a:lnTo>
                <a:lnTo>
                  <a:pt x="39" y="180"/>
                </a:lnTo>
                <a:lnTo>
                  <a:pt x="39" y="186"/>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2" name="Freeform 188">
            <a:extLst>
              <a:ext uri="{FF2B5EF4-FFF2-40B4-BE49-F238E27FC236}">
                <a16:creationId xmlns:a16="http://schemas.microsoft.com/office/drawing/2014/main" id="{C949A1DD-D4EC-7B7C-6AC7-7694DB438EAD}"/>
              </a:ext>
            </a:extLst>
          </p:cNvPr>
          <p:cNvSpPr>
            <a:spLocks/>
          </p:cNvSpPr>
          <p:nvPr/>
        </p:nvSpPr>
        <p:spPr bwMode="auto">
          <a:xfrm>
            <a:off x="2870200" y="2624138"/>
            <a:ext cx="182563" cy="312738"/>
          </a:xfrm>
          <a:custGeom>
            <a:avLst/>
            <a:gdLst>
              <a:gd name="T0" fmla="*/ 5 w 163"/>
              <a:gd name="T1" fmla="*/ 147 h 256"/>
              <a:gd name="T2" fmla="*/ 5 w 163"/>
              <a:gd name="T3" fmla="*/ 142 h 256"/>
              <a:gd name="T4" fmla="*/ 11 w 163"/>
              <a:gd name="T5" fmla="*/ 131 h 256"/>
              <a:gd name="T6" fmla="*/ 32 w 163"/>
              <a:gd name="T7" fmla="*/ 104 h 256"/>
              <a:gd name="T8" fmla="*/ 32 w 163"/>
              <a:gd name="T9" fmla="*/ 55 h 256"/>
              <a:gd name="T10" fmla="*/ 32 w 163"/>
              <a:gd name="T11" fmla="*/ 44 h 256"/>
              <a:gd name="T12" fmla="*/ 27 w 163"/>
              <a:gd name="T13" fmla="*/ 33 h 256"/>
              <a:gd name="T14" fmla="*/ 21 w 163"/>
              <a:gd name="T15" fmla="*/ 6 h 256"/>
              <a:gd name="T16" fmla="*/ 81 w 163"/>
              <a:gd name="T17" fmla="*/ 22 h 256"/>
              <a:gd name="T18" fmla="*/ 163 w 163"/>
              <a:gd name="T19" fmla="*/ 66 h 256"/>
              <a:gd name="T20" fmla="*/ 158 w 163"/>
              <a:gd name="T21" fmla="*/ 120 h 256"/>
              <a:gd name="T22" fmla="*/ 152 w 163"/>
              <a:gd name="T23" fmla="*/ 126 h 256"/>
              <a:gd name="T24" fmla="*/ 152 w 163"/>
              <a:gd name="T25" fmla="*/ 131 h 256"/>
              <a:gd name="T26" fmla="*/ 147 w 163"/>
              <a:gd name="T27" fmla="*/ 136 h 256"/>
              <a:gd name="T28" fmla="*/ 141 w 163"/>
              <a:gd name="T29" fmla="*/ 142 h 256"/>
              <a:gd name="T30" fmla="*/ 147 w 163"/>
              <a:gd name="T31" fmla="*/ 147 h 256"/>
              <a:gd name="T32" fmla="*/ 141 w 163"/>
              <a:gd name="T33" fmla="*/ 153 h 256"/>
              <a:gd name="T34" fmla="*/ 141 w 163"/>
              <a:gd name="T35" fmla="*/ 158 h 256"/>
              <a:gd name="T36" fmla="*/ 136 w 163"/>
              <a:gd name="T37" fmla="*/ 169 h 256"/>
              <a:gd name="T38" fmla="*/ 141 w 163"/>
              <a:gd name="T39" fmla="*/ 169 h 256"/>
              <a:gd name="T40" fmla="*/ 147 w 163"/>
              <a:gd name="T41" fmla="*/ 180 h 256"/>
              <a:gd name="T42" fmla="*/ 147 w 163"/>
              <a:gd name="T43" fmla="*/ 191 h 256"/>
              <a:gd name="T44" fmla="*/ 152 w 163"/>
              <a:gd name="T45" fmla="*/ 196 h 256"/>
              <a:gd name="T46" fmla="*/ 141 w 163"/>
              <a:gd name="T47" fmla="*/ 196 h 256"/>
              <a:gd name="T48" fmla="*/ 136 w 163"/>
              <a:gd name="T49" fmla="*/ 202 h 256"/>
              <a:gd name="T50" fmla="*/ 131 w 163"/>
              <a:gd name="T51" fmla="*/ 213 h 256"/>
              <a:gd name="T52" fmla="*/ 125 w 163"/>
              <a:gd name="T53" fmla="*/ 218 h 256"/>
              <a:gd name="T54" fmla="*/ 114 w 163"/>
              <a:gd name="T55" fmla="*/ 224 h 256"/>
              <a:gd name="T56" fmla="*/ 109 w 163"/>
              <a:gd name="T57" fmla="*/ 229 h 256"/>
              <a:gd name="T58" fmla="*/ 98 w 163"/>
              <a:gd name="T59" fmla="*/ 229 h 256"/>
              <a:gd name="T60" fmla="*/ 92 w 163"/>
              <a:gd name="T61" fmla="*/ 235 h 256"/>
              <a:gd name="T62" fmla="*/ 87 w 163"/>
              <a:gd name="T63" fmla="*/ 246 h 256"/>
              <a:gd name="T64" fmla="*/ 71 w 163"/>
              <a:gd name="T65" fmla="*/ 246 h 256"/>
              <a:gd name="T66" fmla="*/ 60 w 163"/>
              <a:gd name="T67" fmla="*/ 251 h 256"/>
              <a:gd name="T68" fmla="*/ 54 w 163"/>
              <a:gd name="T69" fmla="*/ 246 h 256"/>
              <a:gd name="T70" fmla="*/ 43 w 163"/>
              <a:gd name="T71" fmla="*/ 251 h 256"/>
              <a:gd name="T72" fmla="*/ 38 w 163"/>
              <a:gd name="T73" fmla="*/ 251 h 256"/>
              <a:gd name="T74" fmla="*/ 32 w 163"/>
              <a:gd name="T75" fmla="*/ 240 h 256"/>
              <a:gd name="T76" fmla="*/ 27 w 163"/>
              <a:gd name="T77" fmla="*/ 235 h 256"/>
              <a:gd name="T78" fmla="*/ 16 w 163"/>
              <a:gd name="T79" fmla="*/ 224 h 256"/>
              <a:gd name="T80" fmla="*/ 16 w 163"/>
              <a:gd name="T81" fmla="*/ 213 h 256"/>
              <a:gd name="T82" fmla="*/ 27 w 163"/>
              <a:gd name="T83" fmla="*/ 213 h 256"/>
              <a:gd name="T84" fmla="*/ 38 w 163"/>
              <a:gd name="T85" fmla="*/ 213 h 256"/>
              <a:gd name="T86" fmla="*/ 32 w 163"/>
              <a:gd name="T87" fmla="*/ 202 h 256"/>
              <a:gd name="T88" fmla="*/ 27 w 163"/>
              <a:gd name="T89" fmla="*/ 196 h 256"/>
              <a:gd name="T90" fmla="*/ 27 w 163"/>
              <a:gd name="T91" fmla="*/ 186 h 256"/>
              <a:gd name="T92" fmla="*/ 27 w 163"/>
              <a:gd name="T93" fmla="*/ 175 h 256"/>
              <a:gd name="T94" fmla="*/ 21 w 163"/>
              <a:gd name="T95" fmla="*/ 169 h 256"/>
              <a:gd name="T96" fmla="*/ 11 w 163"/>
              <a:gd name="T97" fmla="*/ 16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3" h="256">
                <a:moveTo>
                  <a:pt x="5" y="153"/>
                </a:moveTo>
                <a:lnTo>
                  <a:pt x="5" y="147"/>
                </a:lnTo>
                <a:lnTo>
                  <a:pt x="0" y="142"/>
                </a:lnTo>
                <a:lnTo>
                  <a:pt x="5" y="142"/>
                </a:lnTo>
                <a:lnTo>
                  <a:pt x="5" y="136"/>
                </a:lnTo>
                <a:lnTo>
                  <a:pt x="11" y="131"/>
                </a:lnTo>
                <a:lnTo>
                  <a:pt x="16" y="126"/>
                </a:lnTo>
                <a:lnTo>
                  <a:pt x="32" y="104"/>
                </a:lnTo>
                <a:lnTo>
                  <a:pt x="32" y="76"/>
                </a:lnTo>
                <a:lnTo>
                  <a:pt x="32" y="55"/>
                </a:lnTo>
                <a:lnTo>
                  <a:pt x="38" y="49"/>
                </a:lnTo>
                <a:lnTo>
                  <a:pt x="32" y="44"/>
                </a:lnTo>
                <a:lnTo>
                  <a:pt x="32" y="38"/>
                </a:lnTo>
                <a:lnTo>
                  <a:pt x="27" y="33"/>
                </a:lnTo>
                <a:lnTo>
                  <a:pt x="21" y="22"/>
                </a:lnTo>
                <a:lnTo>
                  <a:pt x="21" y="6"/>
                </a:lnTo>
                <a:lnTo>
                  <a:pt x="38" y="0"/>
                </a:lnTo>
                <a:lnTo>
                  <a:pt x="81" y="22"/>
                </a:lnTo>
                <a:lnTo>
                  <a:pt x="131" y="44"/>
                </a:lnTo>
                <a:lnTo>
                  <a:pt x="163" y="66"/>
                </a:lnTo>
                <a:lnTo>
                  <a:pt x="163" y="126"/>
                </a:lnTo>
                <a:lnTo>
                  <a:pt x="158" y="120"/>
                </a:lnTo>
                <a:lnTo>
                  <a:pt x="158" y="126"/>
                </a:lnTo>
                <a:lnTo>
                  <a:pt x="152" y="126"/>
                </a:lnTo>
                <a:lnTo>
                  <a:pt x="147" y="126"/>
                </a:lnTo>
                <a:lnTo>
                  <a:pt x="152" y="131"/>
                </a:lnTo>
                <a:lnTo>
                  <a:pt x="147" y="131"/>
                </a:lnTo>
                <a:lnTo>
                  <a:pt x="147" y="136"/>
                </a:lnTo>
                <a:lnTo>
                  <a:pt x="147" y="142"/>
                </a:lnTo>
                <a:lnTo>
                  <a:pt x="141" y="142"/>
                </a:lnTo>
                <a:lnTo>
                  <a:pt x="141" y="147"/>
                </a:lnTo>
                <a:lnTo>
                  <a:pt x="147" y="147"/>
                </a:lnTo>
                <a:lnTo>
                  <a:pt x="141" y="147"/>
                </a:lnTo>
                <a:lnTo>
                  <a:pt x="141" y="153"/>
                </a:lnTo>
                <a:lnTo>
                  <a:pt x="136" y="153"/>
                </a:lnTo>
                <a:lnTo>
                  <a:pt x="141" y="158"/>
                </a:lnTo>
                <a:lnTo>
                  <a:pt x="136" y="164"/>
                </a:lnTo>
                <a:lnTo>
                  <a:pt x="136" y="169"/>
                </a:lnTo>
                <a:lnTo>
                  <a:pt x="136" y="175"/>
                </a:lnTo>
                <a:lnTo>
                  <a:pt x="141" y="169"/>
                </a:lnTo>
                <a:lnTo>
                  <a:pt x="141" y="175"/>
                </a:lnTo>
                <a:lnTo>
                  <a:pt x="147" y="180"/>
                </a:lnTo>
                <a:lnTo>
                  <a:pt x="147" y="186"/>
                </a:lnTo>
                <a:lnTo>
                  <a:pt x="147" y="191"/>
                </a:lnTo>
                <a:lnTo>
                  <a:pt x="152" y="191"/>
                </a:lnTo>
                <a:lnTo>
                  <a:pt x="152" y="196"/>
                </a:lnTo>
                <a:lnTo>
                  <a:pt x="147" y="196"/>
                </a:lnTo>
                <a:lnTo>
                  <a:pt x="141" y="196"/>
                </a:lnTo>
                <a:lnTo>
                  <a:pt x="141" y="202"/>
                </a:lnTo>
                <a:lnTo>
                  <a:pt x="136" y="202"/>
                </a:lnTo>
                <a:lnTo>
                  <a:pt x="136" y="207"/>
                </a:lnTo>
                <a:lnTo>
                  <a:pt x="131" y="213"/>
                </a:lnTo>
                <a:lnTo>
                  <a:pt x="125" y="213"/>
                </a:lnTo>
                <a:lnTo>
                  <a:pt x="125" y="218"/>
                </a:lnTo>
                <a:lnTo>
                  <a:pt x="120" y="224"/>
                </a:lnTo>
                <a:lnTo>
                  <a:pt x="114" y="224"/>
                </a:lnTo>
                <a:lnTo>
                  <a:pt x="114" y="229"/>
                </a:lnTo>
                <a:lnTo>
                  <a:pt x="109" y="229"/>
                </a:lnTo>
                <a:lnTo>
                  <a:pt x="103" y="229"/>
                </a:lnTo>
                <a:lnTo>
                  <a:pt x="98" y="229"/>
                </a:lnTo>
                <a:lnTo>
                  <a:pt x="92" y="229"/>
                </a:lnTo>
                <a:lnTo>
                  <a:pt x="92" y="235"/>
                </a:lnTo>
                <a:lnTo>
                  <a:pt x="87" y="240"/>
                </a:lnTo>
                <a:lnTo>
                  <a:pt x="87" y="246"/>
                </a:lnTo>
                <a:lnTo>
                  <a:pt x="76" y="246"/>
                </a:lnTo>
                <a:lnTo>
                  <a:pt x="71" y="246"/>
                </a:lnTo>
                <a:lnTo>
                  <a:pt x="65" y="251"/>
                </a:lnTo>
                <a:lnTo>
                  <a:pt x="60" y="251"/>
                </a:lnTo>
                <a:lnTo>
                  <a:pt x="54" y="251"/>
                </a:lnTo>
                <a:lnTo>
                  <a:pt x="54" y="246"/>
                </a:lnTo>
                <a:lnTo>
                  <a:pt x="49" y="251"/>
                </a:lnTo>
                <a:lnTo>
                  <a:pt x="43" y="251"/>
                </a:lnTo>
                <a:lnTo>
                  <a:pt x="43" y="256"/>
                </a:lnTo>
                <a:lnTo>
                  <a:pt x="38" y="251"/>
                </a:lnTo>
                <a:lnTo>
                  <a:pt x="32" y="246"/>
                </a:lnTo>
                <a:lnTo>
                  <a:pt x="32" y="240"/>
                </a:lnTo>
                <a:lnTo>
                  <a:pt x="32" y="235"/>
                </a:lnTo>
                <a:lnTo>
                  <a:pt x="27" y="235"/>
                </a:lnTo>
                <a:lnTo>
                  <a:pt x="21" y="229"/>
                </a:lnTo>
                <a:lnTo>
                  <a:pt x="16" y="224"/>
                </a:lnTo>
                <a:lnTo>
                  <a:pt x="11" y="218"/>
                </a:lnTo>
                <a:lnTo>
                  <a:pt x="16" y="213"/>
                </a:lnTo>
                <a:lnTo>
                  <a:pt x="21" y="213"/>
                </a:lnTo>
                <a:lnTo>
                  <a:pt x="27" y="213"/>
                </a:lnTo>
                <a:lnTo>
                  <a:pt x="32" y="213"/>
                </a:lnTo>
                <a:lnTo>
                  <a:pt x="38" y="213"/>
                </a:lnTo>
                <a:lnTo>
                  <a:pt x="32" y="207"/>
                </a:lnTo>
                <a:lnTo>
                  <a:pt x="32" y="202"/>
                </a:lnTo>
                <a:lnTo>
                  <a:pt x="27" y="202"/>
                </a:lnTo>
                <a:lnTo>
                  <a:pt x="27" y="196"/>
                </a:lnTo>
                <a:lnTo>
                  <a:pt x="27" y="191"/>
                </a:lnTo>
                <a:lnTo>
                  <a:pt x="27" y="186"/>
                </a:lnTo>
                <a:lnTo>
                  <a:pt x="27" y="180"/>
                </a:lnTo>
                <a:lnTo>
                  <a:pt x="27" y="175"/>
                </a:lnTo>
                <a:lnTo>
                  <a:pt x="21" y="175"/>
                </a:lnTo>
                <a:lnTo>
                  <a:pt x="21" y="169"/>
                </a:lnTo>
                <a:lnTo>
                  <a:pt x="16" y="164"/>
                </a:lnTo>
                <a:lnTo>
                  <a:pt x="11" y="164"/>
                </a:lnTo>
                <a:lnTo>
                  <a:pt x="5" y="153"/>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3" name="Freeform 189">
            <a:extLst>
              <a:ext uri="{FF2B5EF4-FFF2-40B4-BE49-F238E27FC236}">
                <a16:creationId xmlns:a16="http://schemas.microsoft.com/office/drawing/2014/main" id="{65F9BDD0-B067-C5FA-BD30-69E19A4F3542}"/>
              </a:ext>
            </a:extLst>
          </p:cNvPr>
          <p:cNvSpPr>
            <a:spLocks/>
          </p:cNvSpPr>
          <p:nvPr/>
        </p:nvSpPr>
        <p:spPr bwMode="auto">
          <a:xfrm>
            <a:off x="3022600" y="2632075"/>
            <a:ext cx="282575" cy="279400"/>
          </a:xfrm>
          <a:custGeom>
            <a:avLst/>
            <a:gdLst>
              <a:gd name="T0" fmla="*/ 27 w 251"/>
              <a:gd name="T1" fmla="*/ 229 h 229"/>
              <a:gd name="T2" fmla="*/ 27 w 251"/>
              <a:gd name="T3" fmla="*/ 212 h 229"/>
              <a:gd name="T4" fmla="*/ 16 w 251"/>
              <a:gd name="T5" fmla="*/ 196 h 229"/>
              <a:gd name="T6" fmla="*/ 11 w 251"/>
              <a:gd name="T7" fmla="*/ 185 h 229"/>
              <a:gd name="T8" fmla="*/ 5 w 251"/>
              <a:gd name="T9" fmla="*/ 169 h 229"/>
              <a:gd name="T10" fmla="*/ 0 w 251"/>
              <a:gd name="T11" fmla="*/ 163 h 229"/>
              <a:gd name="T12" fmla="*/ 0 w 251"/>
              <a:gd name="T13" fmla="*/ 147 h 229"/>
              <a:gd name="T14" fmla="*/ 11 w 251"/>
              <a:gd name="T15" fmla="*/ 141 h 229"/>
              <a:gd name="T16" fmla="*/ 11 w 251"/>
              <a:gd name="T17" fmla="*/ 136 h 229"/>
              <a:gd name="T18" fmla="*/ 16 w 251"/>
              <a:gd name="T19" fmla="*/ 125 h 229"/>
              <a:gd name="T20" fmla="*/ 22 w 251"/>
              <a:gd name="T21" fmla="*/ 120 h 229"/>
              <a:gd name="T22" fmla="*/ 27 w 251"/>
              <a:gd name="T23" fmla="*/ 60 h 229"/>
              <a:gd name="T24" fmla="*/ 38 w 251"/>
              <a:gd name="T25" fmla="*/ 16 h 229"/>
              <a:gd name="T26" fmla="*/ 169 w 251"/>
              <a:gd name="T27" fmla="*/ 21 h 229"/>
              <a:gd name="T28" fmla="*/ 185 w 251"/>
              <a:gd name="T29" fmla="*/ 10 h 229"/>
              <a:gd name="T30" fmla="*/ 202 w 251"/>
              <a:gd name="T31" fmla="*/ 0 h 229"/>
              <a:gd name="T32" fmla="*/ 213 w 251"/>
              <a:gd name="T33" fmla="*/ 10 h 229"/>
              <a:gd name="T34" fmla="*/ 224 w 251"/>
              <a:gd name="T35" fmla="*/ 21 h 229"/>
              <a:gd name="T36" fmla="*/ 224 w 251"/>
              <a:gd name="T37" fmla="*/ 32 h 229"/>
              <a:gd name="T38" fmla="*/ 229 w 251"/>
              <a:gd name="T39" fmla="*/ 49 h 229"/>
              <a:gd name="T40" fmla="*/ 234 w 251"/>
              <a:gd name="T41" fmla="*/ 65 h 229"/>
              <a:gd name="T42" fmla="*/ 245 w 251"/>
              <a:gd name="T43" fmla="*/ 76 h 229"/>
              <a:gd name="T44" fmla="*/ 245 w 251"/>
              <a:gd name="T45" fmla="*/ 87 h 229"/>
              <a:gd name="T46" fmla="*/ 234 w 251"/>
              <a:gd name="T47" fmla="*/ 98 h 229"/>
              <a:gd name="T48" fmla="*/ 229 w 251"/>
              <a:gd name="T49" fmla="*/ 109 h 229"/>
              <a:gd name="T50" fmla="*/ 224 w 251"/>
              <a:gd name="T51" fmla="*/ 125 h 229"/>
              <a:gd name="T52" fmla="*/ 229 w 251"/>
              <a:gd name="T53" fmla="*/ 141 h 229"/>
              <a:gd name="T54" fmla="*/ 224 w 251"/>
              <a:gd name="T55" fmla="*/ 147 h 229"/>
              <a:gd name="T56" fmla="*/ 224 w 251"/>
              <a:gd name="T57" fmla="*/ 163 h 229"/>
              <a:gd name="T58" fmla="*/ 213 w 251"/>
              <a:gd name="T59" fmla="*/ 169 h 229"/>
              <a:gd name="T60" fmla="*/ 207 w 251"/>
              <a:gd name="T61" fmla="*/ 185 h 229"/>
              <a:gd name="T62" fmla="*/ 202 w 251"/>
              <a:gd name="T63" fmla="*/ 196 h 229"/>
              <a:gd name="T64" fmla="*/ 196 w 251"/>
              <a:gd name="T65" fmla="*/ 207 h 229"/>
              <a:gd name="T66" fmla="*/ 191 w 251"/>
              <a:gd name="T67" fmla="*/ 207 h 229"/>
              <a:gd name="T68" fmla="*/ 180 w 251"/>
              <a:gd name="T69" fmla="*/ 180 h 229"/>
              <a:gd name="T70" fmla="*/ 158 w 251"/>
              <a:gd name="T71" fmla="*/ 174 h 229"/>
              <a:gd name="T72" fmla="*/ 158 w 251"/>
              <a:gd name="T73" fmla="*/ 196 h 229"/>
              <a:gd name="T74" fmla="*/ 142 w 251"/>
              <a:gd name="T75" fmla="*/ 212 h 229"/>
              <a:gd name="T76" fmla="*/ 120 w 251"/>
              <a:gd name="T77" fmla="*/ 212 h 229"/>
              <a:gd name="T78" fmla="*/ 98 w 251"/>
              <a:gd name="T79" fmla="*/ 218 h 229"/>
              <a:gd name="T80" fmla="*/ 76 w 251"/>
              <a:gd name="T81" fmla="*/ 218 h 229"/>
              <a:gd name="T82" fmla="*/ 60 w 251"/>
              <a:gd name="T83" fmla="*/ 201 h 229"/>
              <a:gd name="T84" fmla="*/ 49 w 251"/>
              <a:gd name="T85" fmla="*/ 212 h 229"/>
              <a:gd name="T86" fmla="*/ 38 w 251"/>
              <a:gd name="T87"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1" h="229">
                <a:moveTo>
                  <a:pt x="38" y="229"/>
                </a:moveTo>
                <a:lnTo>
                  <a:pt x="33" y="229"/>
                </a:lnTo>
                <a:lnTo>
                  <a:pt x="27" y="229"/>
                </a:lnTo>
                <a:lnTo>
                  <a:pt x="27" y="223"/>
                </a:lnTo>
                <a:lnTo>
                  <a:pt x="27" y="218"/>
                </a:lnTo>
                <a:lnTo>
                  <a:pt x="27" y="212"/>
                </a:lnTo>
                <a:lnTo>
                  <a:pt x="22" y="201"/>
                </a:lnTo>
                <a:lnTo>
                  <a:pt x="22" y="196"/>
                </a:lnTo>
                <a:lnTo>
                  <a:pt x="16" y="196"/>
                </a:lnTo>
                <a:lnTo>
                  <a:pt x="16" y="190"/>
                </a:lnTo>
                <a:lnTo>
                  <a:pt x="16" y="185"/>
                </a:lnTo>
                <a:lnTo>
                  <a:pt x="11" y="185"/>
                </a:lnTo>
                <a:lnTo>
                  <a:pt x="11" y="180"/>
                </a:lnTo>
                <a:lnTo>
                  <a:pt x="11" y="174"/>
                </a:lnTo>
                <a:lnTo>
                  <a:pt x="5" y="169"/>
                </a:lnTo>
                <a:lnTo>
                  <a:pt x="5" y="163"/>
                </a:lnTo>
                <a:lnTo>
                  <a:pt x="0" y="169"/>
                </a:lnTo>
                <a:lnTo>
                  <a:pt x="0" y="163"/>
                </a:lnTo>
                <a:lnTo>
                  <a:pt x="0" y="158"/>
                </a:lnTo>
                <a:lnTo>
                  <a:pt x="5" y="152"/>
                </a:lnTo>
                <a:lnTo>
                  <a:pt x="0" y="147"/>
                </a:lnTo>
                <a:lnTo>
                  <a:pt x="5" y="147"/>
                </a:lnTo>
                <a:lnTo>
                  <a:pt x="5" y="141"/>
                </a:lnTo>
                <a:lnTo>
                  <a:pt x="11" y="141"/>
                </a:lnTo>
                <a:lnTo>
                  <a:pt x="5" y="141"/>
                </a:lnTo>
                <a:lnTo>
                  <a:pt x="5" y="136"/>
                </a:lnTo>
                <a:lnTo>
                  <a:pt x="11" y="136"/>
                </a:lnTo>
                <a:lnTo>
                  <a:pt x="11" y="130"/>
                </a:lnTo>
                <a:lnTo>
                  <a:pt x="11" y="125"/>
                </a:lnTo>
                <a:lnTo>
                  <a:pt x="16" y="125"/>
                </a:lnTo>
                <a:lnTo>
                  <a:pt x="11" y="120"/>
                </a:lnTo>
                <a:lnTo>
                  <a:pt x="16" y="120"/>
                </a:lnTo>
                <a:lnTo>
                  <a:pt x="22" y="120"/>
                </a:lnTo>
                <a:lnTo>
                  <a:pt x="22" y="114"/>
                </a:lnTo>
                <a:lnTo>
                  <a:pt x="27" y="120"/>
                </a:lnTo>
                <a:lnTo>
                  <a:pt x="27" y="60"/>
                </a:lnTo>
                <a:lnTo>
                  <a:pt x="27" y="49"/>
                </a:lnTo>
                <a:lnTo>
                  <a:pt x="38" y="49"/>
                </a:lnTo>
                <a:lnTo>
                  <a:pt x="38" y="16"/>
                </a:lnTo>
                <a:lnTo>
                  <a:pt x="136" y="16"/>
                </a:lnTo>
                <a:lnTo>
                  <a:pt x="164" y="16"/>
                </a:lnTo>
                <a:lnTo>
                  <a:pt x="169" y="21"/>
                </a:lnTo>
                <a:lnTo>
                  <a:pt x="174" y="21"/>
                </a:lnTo>
                <a:lnTo>
                  <a:pt x="180" y="16"/>
                </a:lnTo>
                <a:lnTo>
                  <a:pt x="185" y="10"/>
                </a:lnTo>
                <a:lnTo>
                  <a:pt x="191" y="5"/>
                </a:lnTo>
                <a:lnTo>
                  <a:pt x="196" y="0"/>
                </a:lnTo>
                <a:lnTo>
                  <a:pt x="202" y="0"/>
                </a:lnTo>
                <a:lnTo>
                  <a:pt x="202" y="5"/>
                </a:lnTo>
                <a:lnTo>
                  <a:pt x="207" y="5"/>
                </a:lnTo>
                <a:lnTo>
                  <a:pt x="213" y="10"/>
                </a:lnTo>
                <a:lnTo>
                  <a:pt x="218" y="16"/>
                </a:lnTo>
                <a:lnTo>
                  <a:pt x="218" y="21"/>
                </a:lnTo>
                <a:lnTo>
                  <a:pt x="224" y="21"/>
                </a:lnTo>
                <a:lnTo>
                  <a:pt x="224" y="27"/>
                </a:lnTo>
                <a:lnTo>
                  <a:pt x="229" y="32"/>
                </a:lnTo>
                <a:lnTo>
                  <a:pt x="224" y="32"/>
                </a:lnTo>
                <a:lnTo>
                  <a:pt x="229" y="38"/>
                </a:lnTo>
                <a:lnTo>
                  <a:pt x="229" y="43"/>
                </a:lnTo>
                <a:lnTo>
                  <a:pt x="229" y="49"/>
                </a:lnTo>
                <a:lnTo>
                  <a:pt x="229" y="54"/>
                </a:lnTo>
                <a:lnTo>
                  <a:pt x="229" y="60"/>
                </a:lnTo>
                <a:lnTo>
                  <a:pt x="234" y="65"/>
                </a:lnTo>
                <a:lnTo>
                  <a:pt x="234" y="70"/>
                </a:lnTo>
                <a:lnTo>
                  <a:pt x="240" y="70"/>
                </a:lnTo>
                <a:lnTo>
                  <a:pt x="245" y="76"/>
                </a:lnTo>
                <a:lnTo>
                  <a:pt x="251" y="81"/>
                </a:lnTo>
                <a:lnTo>
                  <a:pt x="251" y="87"/>
                </a:lnTo>
                <a:lnTo>
                  <a:pt x="245" y="87"/>
                </a:lnTo>
                <a:lnTo>
                  <a:pt x="240" y="87"/>
                </a:lnTo>
                <a:lnTo>
                  <a:pt x="240" y="92"/>
                </a:lnTo>
                <a:lnTo>
                  <a:pt x="234" y="98"/>
                </a:lnTo>
                <a:lnTo>
                  <a:pt x="229" y="98"/>
                </a:lnTo>
                <a:lnTo>
                  <a:pt x="229" y="103"/>
                </a:lnTo>
                <a:lnTo>
                  <a:pt x="229" y="109"/>
                </a:lnTo>
                <a:lnTo>
                  <a:pt x="229" y="114"/>
                </a:lnTo>
                <a:lnTo>
                  <a:pt x="229" y="120"/>
                </a:lnTo>
                <a:lnTo>
                  <a:pt x="224" y="125"/>
                </a:lnTo>
                <a:lnTo>
                  <a:pt x="224" y="130"/>
                </a:lnTo>
                <a:lnTo>
                  <a:pt x="224" y="136"/>
                </a:lnTo>
                <a:lnTo>
                  <a:pt x="229" y="141"/>
                </a:lnTo>
                <a:lnTo>
                  <a:pt x="224" y="147"/>
                </a:lnTo>
                <a:lnTo>
                  <a:pt x="229" y="147"/>
                </a:lnTo>
                <a:lnTo>
                  <a:pt x="224" y="147"/>
                </a:lnTo>
                <a:lnTo>
                  <a:pt x="224" y="152"/>
                </a:lnTo>
                <a:lnTo>
                  <a:pt x="224" y="158"/>
                </a:lnTo>
                <a:lnTo>
                  <a:pt x="224" y="163"/>
                </a:lnTo>
                <a:lnTo>
                  <a:pt x="218" y="163"/>
                </a:lnTo>
                <a:lnTo>
                  <a:pt x="213" y="163"/>
                </a:lnTo>
                <a:lnTo>
                  <a:pt x="213" y="169"/>
                </a:lnTo>
                <a:lnTo>
                  <a:pt x="213" y="174"/>
                </a:lnTo>
                <a:lnTo>
                  <a:pt x="207" y="180"/>
                </a:lnTo>
                <a:lnTo>
                  <a:pt x="207" y="185"/>
                </a:lnTo>
                <a:lnTo>
                  <a:pt x="207" y="190"/>
                </a:lnTo>
                <a:lnTo>
                  <a:pt x="207" y="196"/>
                </a:lnTo>
                <a:lnTo>
                  <a:pt x="202" y="196"/>
                </a:lnTo>
                <a:lnTo>
                  <a:pt x="196" y="196"/>
                </a:lnTo>
                <a:lnTo>
                  <a:pt x="196" y="201"/>
                </a:lnTo>
                <a:lnTo>
                  <a:pt x="196" y="207"/>
                </a:lnTo>
                <a:lnTo>
                  <a:pt x="196" y="212"/>
                </a:lnTo>
                <a:lnTo>
                  <a:pt x="191" y="212"/>
                </a:lnTo>
                <a:lnTo>
                  <a:pt x="191" y="207"/>
                </a:lnTo>
                <a:lnTo>
                  <a:pt x="185" y="201"/>
                </a:lnTo>
                <a:lnTo>
                  <a:pt x="180" y="196"/>
                </a:lnTo>
                <a:lnTo>
                  <a:pt x="180" y="180"/>
                </a:lnTo>
                <a:lnTo>
                  <a:pt x="180" y="174"/>
                </a:lnTo>
                <a:lnTo>
                  <a:pt x="169" y="174"/>
                </a:lnTo>
                <a:lnTo>
                  <a:pt x="158" y="174"/>
                </a:lnTo>
                <a:lnTo>
                  <a:pt x="164" y="180"/>
                </a:lnTo>
                <a:lnTo>
                  <a:pt x="164" y="190"/>
                </a:lnTo>
                <a:lnTo>
                  <a:pt x="158" y="196"/>
                </a:lnTo>
                <a:lnTo>
                  <a:pt x="158" y="201"/>
                </a:lnTo>
                <a:lnTo>
                  <a:pt x="147" y="212"/>
                </a:lnTo>
                <a:lnTo>
                  <a:pt x="142" y="212"/>
                </a:lnTo>
                <a:lnTo>
                  <a:pt x="131" y="207"/>
                </a:lnTo>
                <a:lnTo>
                  <a:pt x="125" y="207"/>
                </a:lnTo>
                <a:lnTo>
                  <a:pt x="120" y="212"/>
                </a:lnTo>
                <a:lnTo>
                  <a:pt x="114" y="212"/>
                </a:lnTo>
                <a:lnTo>
                  <a:pt x="109" y="218"/>
                </a:lnTo>
                <a:lnTo>
                  <a:pt x="98" y="218"/>
                </a:lnTo>
                <a:lnTo>
                  <a:pt x="98" y="212"/>
                </a:lnTo>
                <a:lnTo>
                  <a:pt x="82" y="212"/>
                </a:lnTo>
                <a:lnTo>
                  <a:pt x="76" y="218"/>
                </a:lnTo>
                <a:lnTo>
                  <a:pt x="65" y="207"/>
                </a:lnTo>
                <a:lnTo>
                  <a:pt x="65" y="201"/>
                </a:lnTo>
                <a:lnTo>
                  <a:pt x="60" y="201"/>
                </a:lnTo>
                <a:lnTo>
                  <a:pt x="55" y="201"/>
                </a:lnTo>
                <a:lnTo>
                  <a:pt x="55" y="207"/>
                </a:lnTo>
                <a:lnTo>
                  <a:pt x="49" y="212"/>
                </a:lnTo>
                <a:lnTo>
                  <a:pt x="49" y="218"/>
                </a:lnTo>
                <a:lnTo>
                  <a:pt x="44" y="223"/>
                </a:lnTo>
                <a:lnTo>
                  <a:pt x="38" y="229"/>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4" name="Freeform 190">
            <a:extLst>
              <a:ext uri="{FF2B5EF4-FFF2-40B4-BE49-F238E27FC236}">
                <a16:creationId xmlns:a16="http://schemas.microsoft.com/office/drawing/2014/main" id="{3596826A-678F-EE71-28A6-40220400BF46}"/>
              </a:ext>
            </a:extLst>
          </p:cNvPr>
          <p:cNvSpPr>
            <a:spLocks/>
          </p:cNvSpPr>
          <p:nvPr/>
        </p:nvSpPr>
        <p:spPr bwMode="auto">
          <a:xfrm>
            <a:off x="3275013" y="2730500"/>
            <a:ext cx="122238" cy="107950"/>
          </a:xfrm>
          <a:custGeom>
            <a:avLst/>
            <a:gdLst>
              <a:gd name="T0" fmla="*/ 5 w 109"/>
              <a:gd name="T1" fmla="*/ 60 h 88"/>
              <a:gd name="T2" fmla="*/ 0 w 109"/>
              <a:gd name="T3" fmla="*/ 55 h 88"/>
              <a:gd name="T4" fmla="*/ 0 w 109"/>
              <a:gd name="T5" fmla="*/ 49 h 88"/>
              <a:gd name="T6" fmla="*/ 0 w 109"/>
              <a:gd name="T7" fmla="*/ 44 h 88"/>
              <a:gd name="T8" fmla="*/ 5 w 109"/>
              <a:gd name="T9" fmla="*/ 39 h 88"/>
              <a:gd name="T10" fmla="*/ 5 w 109"/>
              <a:gd name="T11" fmla="*/ 33 h 88"/>
              <a:gd name="T12" fmla="*/ 5 w 109"/>
              <a:gd name="T13" fmla="*/ 28 h 88"/>
              <a:gd name="T14" fmla="*/ 5 w 109"/>
              <a:gd name="T15" fmla="*/ 22 h 88"/>
              <a:gd name="T16" fmla="*/ 5 w 109"/>
              <a:gd name="T17" fmla="*/ 17 h 88"/>
              <a:gd name="T18" fmla="*/ 10 w 109"/>
              <a:gd name="T19" fmla="*/ 17 h 88"/>
              <a:gd name="T20" fmla="*/ 16 w 109"/>
              <a:gd name="T21" fmla="*/ 11 h 88"/>
              <a:gd name="T22" fmla="*/ 16 w 109"/>
              <a:gd name="T23" fmla="*/ 6 h 88"/>
              <a:gd name="T24" fmla="*/ 21 w 109"/>
              <a:gd name="T25" fmla="*/ 6 h 88"/>
              <a:gd name="T26" fmla="*/ 27 w 109"/>
              <a:gd name="T27" fmla="*/ 6 h 88"/>
              <a:gd name="T28" fmla="*/ 27 w 109"/>
              <a:gd name="T29" fmla="*/ 0 h 88"/>
              <a:gd name="T30" fmla="*/ 32 w 109"/>
              <a:gd name="T31" fmla="*/ 6 h 88"/>
              <a:gd name="T32" fmla="*/ 38 w 109"/>
              <a:gd name="T33" fmla="*/ 11 h 88"/>
              <a:gd name="T34" fmla="*/ 38 w 109"/>
              <a:gd name="T35" fmla="*/ 17 h 88"/>
              <a:gd name="T36" fmla="*/ 38 w 109"/>
              <a:gd name="T37" fmla="*/ 22 h 88"/>
              <a:gd name="T38" fmla="*/ 43 w 109"/>
              <a:gd name="T39" fmla="*/ 22 h 88"/>
              <a:gd name="T40" fmla="*/ 43 w 109"/>
              <a:gd name="T41" fmla="*/ 28 h 88"/>
              <a:gd name="T42" fmla="*/ 43 w 109"/>
              <a:gd name="T43" fmla="*/ 33 h 88"/>
              <a:gd name="T44" fmla="*/ 49 w 109"/>
              <a:gd name="T45" fmla="*/ 39 h 88"/>
              <a:gd name="T46" fmla="*/ 49 w 109"/>
              <a:gd name="T47" fmla="*/ 44 h 88"/>
              <a:gd name="T48" fmla="*/ 54 w 109"/>
              <a:gd name="T49" fmla="*/ 44 h 88"/>
              <a:gd name="T50" fmla="*/ 54 w 109"/>
              <a:gd name="T51" fmla="*/ 39 h 88"/>
              <a:gd name="T52" fmla="*/ 54 w 109"/>
              <a:gd name="T53" fmla="*/ 44 h 88"/>
              <a:gd name="T54" fmla="*/ 60 w 109"/>
              <a:gd name="T55" fmla="*/ 49 h 88"/>
              <a:gd name="T56" fmla="*/ 65 w 109"/>
              <a:gd name="T57" fmla="*/ 49 h 88"/>
              <a:gd name="T58" fmla="*/ 70 w 109"/>
              <a:gd name="T59" fmla="*/ 55 h 88"/>
              <a:gd name="T60" fmla="*/ 70 w 109"/>
              <a:gd name="T61" fmla="*/ 49 h 88"/>
              <a:gd name="T62" fmla="*/ 76 w 109"/>
              <a:gd name="T63" fmla="*/ 55 h 88"/>
              <a:gd name="T64" fmla="*/ 81 w 109"/>
              <a:gd name="T65" fmla="*/ 60 h 88"/>
              <a:gd name="T66" fmla="*/ 81 w 109"/>
              <a:gd name="T67" fmla="*/ 66 h 88"/>
              <a:gd name="T68" fmla="*/ 87 w 109"/>
              <a:gd name="T69" fmla="*/ 66 h 88"/>
              <a:gd name="T70" fmla="*/ 92 w 109"/>
              <a:gd name="T71" fmla="*/ 71 h 88"/>
              <a:gd name="T72" fmla="*/ 98 w 109"/>
              <a:gd name="T73" fmla="*/ 77 h 88"/>
              <a:gd name="T74" fmla="*/ 103 w 109"/>
              <a:gd name="T75" fmla="*/ 77 h 88"/>
              <a:gd name="T76" fmla="*/ 103 w 109"/>
              <a:gd name="T77" fmla="*/ 82 h 88"/>
              <a:gd name="T78" fmla="*/ 109 w 109"/>
              <a:gd name="T79" fmla="*/ 82 h 88"/>
              <a:gd name="T80" fmla="*/ 103 w 109"/>
              <a:gd name="T81" fmla="*/ 88 h 88"/>
              <a:gd name="T82" fmla="*/ 98 w 109"/>
              <a:gd name="T83" fmla="*/ 88 h 88"/>
              <a:gd name="T84" fmla="*/ 92 w 109"/>
              <a:gd name="T85" fmla="*/ 82 h 88"/>
              <a:gd name="T86" fmla="*/ 87 w 109"/>
              <a:gd name="T87" fmla="*/ 77 h 88"/>
              <a:gd name="T88" fmla="*/ 76 w 109"/>
              <a:gd name="T89" fmla="*/ 71 h 88"/>
              <a:gd name="T90" fmla="*/ 76 w 109"/>
              <a:gd name="T91" fmla="*/ 66 h 88"/>
              <a:gd name="T92" fmla="*/ 70 w 109"/>
              <a:gd name="T93" fmla="*/ 60 h 88"/>
              <a:gd name="T94" fmla="*/ 65 w 109"/>
              <a:gd name="T95" fmla="*/ 60 h 88"/>
              <a:gd name="T96" fmla="*/ 60 w 109"/>
              <a:gd name="T97" fmla="*/ 55 h 88"/>
              <a:gd name="T98" fmla="*/ 54 w 109"/>
              <a:gd name="T99" fmla="*/ 55 h 88"/>
              <a:gd name="T100" fmla="*/ 49 w 109"/>
              <a:gd name="T101" fmla="*/ 55 h 88"/>
              <a:gd name="T102" fmla="*/ 43 w 109"/>
              <a:gd name="T103" fmla="*/ 55 h 88"/>
              <a:gd name="T104" fmla="*/ 38 w 109"/>
              <a:gd name="T105" fmla="*/ 55 h 88"/>
              <a:gd name="T106" fmla="*/ 32 w 109"/>
              <a:gd name="T107" fmla="*/ 55 h 88"/>
              <a:gd name="T108" fmla="*/ 27 w 109"/>
              <a:gd name="T109" fmla="*/ 55 h 88"/>
              <a:gd name="T110" fmla="*/ 27 w 109"/>
              <a:gd name="T111" fmla="*/ 49 h 88"/>
              <a:gd name="T112" fmla="*/ 21 w 109"/>
              <a:gd name="T113" fmla="*/ 49 h 88"/>
              <a:gd name="T114" fmla="*/ 21 w 109"/>
              <a:gd name="T115" fmla="*/ 60 h 88"/>
              <a:gd name="T116" fmla="*/ 16 w 109"/>
              <a:gd name="T117" fmla="*/ 60 h 88"/>
              <a:gd name="T118" fmla="*/ 16 w 109"/>
              <a:gd name="T119" fmla="*/ 55 h 88"/>
              <a:gd name="T120" fmla="*/ 10 w 109"/>
              <a:gd name="T121" fmla="*/ 60 h 88"/>
              <a:gd name="T122" fmla="*/ 5 w 109"/>
              <a:gd name="T123" fmla="*/ 6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 h="88">
                <a:moveTo>
                  <a:pt x="5" y="60"/>
                </a:moveTo>
                <a:lnTo>
                  <a:pt x="0" y="55"/>
                </a:lnTo>
                <a:lnTo>
                  <a:pt x="0" y="49"/>
                </a:lnTo>
                <a:lnTo>
                  <a:pt x="0" y="44"/>
                </a:lnTo>
                <a:lnTo>
                  <a:pt x="5" y="39"/>
                </a:lnTo>
                <a:lnTo>
                  <a:pt x="5" y="33"/>
                </a:lnTo>
                <a:lnTo>
                  <a:pt x="5" y="28"/>
                </a:lnTo>
                <a:lnTo>
                  <a:pt x="5" y="22"/>
                </a:lnTo>
                <a:lnTo>
                  <a:pt x="5" y="17"/>
                </a:lnTo>
                <a:lnTo>
                  <a:pt x="10" y="17"/>
                </a:lnTo>
                <a:lnTo>
                  <a:pt x="16" y="11"/>
                </a:lnTo>
                <a:lnTo>
                  <a:pt x="16" y="6"/>
                </a:lnTo>
                <a:lnTo>
                  <a:pt x="21" y="6"/>
                </a:lnTo>
                <a:lnTo>
                  <a:pt x="27" y="6"/>
                </a:lnTo>
                <a:lnTo>
                  <a:pt x="27" y="0"/>
                </a:lnTo>
                <a:lnTo>
                  <a:pt x="32" y="6"/>
                </a:lnTo>
                <a:lnTo>
                  <a:pt x="38" y="11"/>
                </a:lnTo>
                <a:lnTo>
                  <a:pt x="38" y="17"/>
                </a:lnTo>
                <a:lnTo>
                  <a:pt x="38" y="22"/>
                </a:lnTo>
                <a:lnTo>
                  <a:pt x="43" y="22"/>
                </a:lnTo>
                <a:lnTo>
                  <a:pt x="43" y="28"/>
                </a:lnTo>
                <a:lnTo>
                  <a:pt x="43" y="33"/>
                </a:lnTo>
                <a:lnTo>
                  <a:pt x="49" y="39"/>
                </a:lnTo>
                <a:lnTo>
                  <a:pt x="49" y="44"/>
                </a:lnTo>
                <a:lnTo>
                  <a:pt x="54" y="44"/>
                </a:lnTo>
                <a:lnTo>
                  <a:pt x="54" y="39"/>
                </a:lnTo>
                <a:lnTo>
                  <a:pt x="54" y="44"/>
                </a:lnTo>
                <a:lnTo>
                  <a:pt x="60" y="49"/>
                </a:lnTo>
                <a:lnTo>
                  <a:pt x="65" y="49"/>
                </a:lnTo>
                <a:lnTo>
                  <a:pt x="70" y="55"/>
                </a:lnTo>
                <a:lnTo>
                  <a:pt x="70" y="49"/>
                </a:lnTo>
                <a:lnTo>
                  <a:pt x="76" y="55"/>
                </a:lnTo>
                <a:lnTo>
                  <a:pt x="81" y="60"/>
                </a:lnTo>
                <a:lnTo>
                  <a:pt x="81" y="66"/>
                </a:lnTo>
                <a:lnTo>
                  <a:pt x="87" y="66"/>
                </a:lnTo>
                <a:lnTo>
                  <a:pt x="92" y="71"/>
                </a:lnTo>
                <a:lnTo>
                  <a:pt x="98" y="77"/>
                </a:lnTo>
                <a:lnTo>
                  <a:pt x="103" y="77"/>
                </a:lnTo>
                <a:lnTo>
                  <a:pt x="103" y="82"/>
                </a:lnTo>
                <a:lnTo>
                  <a:pt x="109" y="82"/>
                </a:lnTo>
                <a:lnTo>
                  <a:pt x="103" y="88"/>
                </a:lnTo>
                <a:lnTo>
                  <a:pt x="98" y="88"/>
                </a:lnTo>
                <a:lnTo>
                  <a:pt x="92" y="82"/>
                </a:lnTo>
                <a:lnTo>
                  <a:pt x="87" y="77"/>
                </a:lnTo>
                <a:lnTo>
                  <a:pt x="76" y="71"/>
                </a:lnTo>
                <a:lnTo>
                  <a:pt x="76" y="66"/>
                </a:lnTo>
                <a:lnTo>
                  <a:pt x="70" y="60"/>
                </a:lnTo>
                <a:lnTo>
                  <a:pt x="65" y="60"/>
                </a:lnTo>
                <a:lnTo>
                  <a:pt x="60" y="55"/>
                </a:lnTo>
                <a:lnTo>
                  <a:pt x="54" y="55"/>
                </a:lnTo>
                <a:lnTo>
                  <a:pt x="49" y="55"/>
                </a:lnTo>
                <a:lnTo>
                  <a:pt x="43" y="55"/>
                </a:lnTo>
                <a:lnTo>
                  <a:pt x="38" y="55"/>
                </a:lnTo>
                <a:lnTo>
                  <a:pt x="32" y="55"/>
                </a:lnTo>
                <a:lnTo>
                  <a:pt x="27" y="55"/>
                </a:lnTo>
                <a:lnTo>
                  <a:pt x="27" y="49"/>
                </a:lnTo>
                <a:lnTo>
                  <a:pt x="21" y="49"/>
                </a:lnTo>
                <a:lnTo>
                  <a:pt x="21" y="60"/>
                </a:lnTo>
                <a:lnTo>
                  <a:pt x="16" y="60"/>
                </a:lnTo>
                <a:lnTo>
                  <a:pt x="16" y="55"/>
                </a:lnTo>
                <a:lnTo>
                  <a:pt x="10" y="60"/>
                </a:lnTo>
                <a:lnTo>
                  <a:pt x="5" y="6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5" name="Freeform 191">
            <a:extLst>
              <a:ext uri="{FF2B5EF4-FFF2-40B4-BE49-F238E27FC236}">
                <a16:creationId xmlns:a16="http://schemas.microsoft.com/office/drawing/2014/main" id="{C238BCA4-84E3-3841-414A-C92F4D30EB78}"/>
              </a:ext>
            </a:extLst>
          </p:cNvPr>
          <p:cNvSpPr>
            <a:spLocks/>
          </p:cNvSpPr>
          <p:nvPr/>
        </p:nvSpPr>
        <p:spPr bwMode="auto">
          <a:xfrm>
            <a:off x="3371851" y="2830513"/>
            <a:ext cx="30163" cy="41275"/>
          </a:xfrm>
          <a:custGeom>
            <a:avLst/>
            <a:gdLst>
              <a:gd name="T0" fmla="*/ 22 w 27"/>
              <a:gd name="T1" fmla="*/ 27 h 33"/>
              <a:gd name="T2" fmla="*/ 16 w 27"/>
              <a:gd name="T3" fmla="*/ 27 h 33"/>
              <a:gd name="T4" fmla="*/ 11 w 27"/>
              <a:gd name="T5" fmla="*/ 27 h 33"/>
              <a:gd name="T6" fmla="*/ 5 w 27"/>
              <a:gd name="T7" fmla="*/ 33 h 33"/>
              <a:gd name="T8" fmla="*/ 0 w 27"/>
              <a:gd name="T9" fmla="*/ 27 h 33"/>
              <a:gd name="T10" fmla="*/ 0 w 27"/>
              <a:gd name="T11" fmla="*/ 22 h 33"/>
              <a:gd name="T12" fmla="*/ 0 w 27"/>
              <a:gd name="T13" fmla="*/ 17 h 33"/>
              <a:gd name="T14" fmla="*/ 5 w 27"/>
              <a:gd name="T15" fmla="*/ 17 h 33"/>
              <a:gd name="T16" fmla="*/ 5 w 27"/>
              <a:gd name="T17" fmla="*/ 11 h 33"/>
              <a:gd name="T18" fmla="*/ 11 w 27"/>
              <a:gd name="T19" fmla="*/ 6 h 33"/>
              <a:gd name="T20" fmla="*/ 16 w 27"/>
              <a:gd name="T21" fmla="*/ 6 h 33"/>
              <a:gd name="T22" fmla="*/ 22 w 27"/>
              <a:gd name="T23" fmla="*/ 0 h 33"/>
              <a:gd name="T24" fmla="*/ 22 w 27"/>
              <a:gd name="T25" fmla="*/ 6 h 33"/>
              <a:gd name="T26" fmla="*/ 27 w 27"/>
              <a:gd name="T27" fmla="*/ 11 h 33"/>
              <a:gd name="T28" fmla="*/ 22 w 27"/>
              <a:gd name="T29" fmla="*/ 17 h 33"/>
              <a:gd name="T30" fmla="*/ 16 w 27"/>
              <a:gd name="T31" fmla="*/ 17 h 33"/>
              <a:gd name="T32" fmla="*/ 16 w 27"/>
              <a:gd name="T33" fmla="*/ 22 h 33"/>
              <a:gd name="T34" fmla="*/ 11 w 27"/>
              <a:gd name="T35" fmla="*/ 22 h 33"/>
              <a:gd name="T36" fmla="*/ 16 w 27"/>
              <a:gd name="T37" fmla="*/ 22 h 33"/>
              <a:gd name="T38" fmla="*/ 22 w 27"/>
              <a:gd name="T39" fmla="*/ 22 h 33"/>
              <a:gd name="T40" fmla="*/ 27 w 27"/>
              <a:gd name="T41" fmla="*/ 22 h 33"/>
              <a:gd name="T42" fmla="*/ 22 w 27"/>
              <a:gd name="T43"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33">
                <a:moveTo>
                  <a:pt x="22" y="27"/>
                </a:moveTo>
                <a:lnTo>
                  <a:pt x="16" y="27"/>
                </a:lnTo>
                <a:lnTo>
                  <a:pt x="11" y="27"/>
                </a:lnTo>
                <a:lnTo>
                  <a:pt x="5" y="33"/>
                </a:lnTo>
                <a:lnTo>
                  <a:pt x="0" y="27"/>
                </a:lnTo>
                <a:lnTo>
                  <a:pt x="0" y="22"/>
                </a:lnTo>
                <a:lnTo>
                  <a:pt x="0" y="17"/>
                </a:lnTo>
                <a:lnTo>
                  <a:pt x="5" y="17"/>
                </a:lnTo>
                <a:lnTo>
                  <a:pt x="5" y="11"/>
                </a:lnTo>
                <a:lnTo>
                  <a:pt x="11" y="6"/>
                </a:lnTo>
                <a:lnTo>
                  <a:pt x="16" y="6"/>
                </a:lnTo>
                <a:lnTo>
                  <a:pt x="22" y="0"/>
                </a:lnTo>
                <a:lnTo>
                  <a:pt x="22" y="6"/>
                </a:lnTo>
                <a:lnTo>
                  <a:pt x="27" y="11"/>
                </a:lnTo>
                <a:lnTo>
                  <a:pt x="22" y="17"/>
                </a:lnTo>
                <a:lnTo>
                  <a:pt x="16" y="17"/>
                </a:lnTo>
                <a:lnTo>
                  <a:pt x="16" y="22"/>
                </a:lnTo>
                <a:lnTo>
                  <a:pt x="11" y="22"/>
                </a:lnTo>
                <a:lnTo>
                  <a:pt x="16" y="22"/>
                </a:lnTo>
                <a:lnTo>
                  <a:pt x="22" y="22"/>
                </a:lnTo>
                <a:lnTo>
                  <a:pt x="27" y="22"/>
                </a:lnTo>
                <a:lnTo>
                  <a:pt x="22" y="27"/>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6" name="Freeform 192">
            <a:extLst>
              <a:ext uri="{FF2B5EF4-FFF2-40B4-BE49-F238E27FC236}">
                <a16:creationId xmlns:a16="http://schemas.microsoft.com/office/drawing/2014/main" id="{9C4C0C5A-0C3A-8814-5A3F-12A00CFA6468}"/>
              </a:ext>
            </a:extLst>
          </p:cNvPr>
          <p:cNvSpPr>
            <a:spLocks/>
          </p:cNvSpPr>
          <p:nvPr/>
        </p:nvSpPr>
        <p:spPr bwMode="auto">
          <a:xfrm>
            <a:off x="3217863" y="2790825"/>
            <a:ext cx="269875" cy="219075"/>
          </a:xfrm>
          <a:custGeom>
            <a:avLst/>
            <a:gdLst>
              <a:gd name="T0" fmla="*/ 50 w 240"/>
              <a:gd name="T1" fmla="*/ 159 h 180"/>
              <a:gd name="T2" fmla="*/ 44 w 240"/>
              <a:gd name="T3" fmla="*/ 153 h 180"/>
              <a:gd name="T4" fmla="*/ 33 w 240"/>
              <a:gd name="T5" fmla="*/ 142 h 180"/>
              <a:gd name="T6" fmla="*/ 33 w 240"/>
              <a:gd name="T7" fmla="*/ 131 h 180"/>
              <a:gd name="T8" fmla="*/ 28 w 240"/>
              <a:gd name="T9" fmla="*/ 126 h 180"/>
              <a:gd name="T10" fmla="*/ 17 w 240"/>
              <a:gd name="T11" fmla="*/ 120 h 180"/>
              <a:gd name="T12" fmla="*/ 11 w 240"/>
              <a:gd name="T13" fmla="*/ 115 h 180"/>
              <a:gd name="T14" fmla="*/ 0 w 240"/>
              <a:gd name="T15" fmla="*/ 110 h 180"/>
              <a:gd name="T16" fmla="*/ 6 w 240"/>
              <a:gd name="T17" fmla="*/ 104 h 180"/>
              <a:gd name="T18" fmla="*/ 17 w 240"/>
              <a:gd name="T19" fmla="*/ 104 h 180"/>
              <a:gd name="T20" fmla="*/ 22 w 240"/>
              <a:gd name="T21" fmla="*/ 93 h 180"/>
              <a:gd name="T22" fmla="*/ 22 w 240"/>
              <a:gd name="T23" fmla="*/ 82 h 180"/>
              <a:gd name="T24" fmla="*/ 22 w 240"/>
              <a:gd name="T25" fmla="*/ 71 h 180"/>
              <a:gd name="T26" fmla="*/ 28 w 240"/>
              <a:gd name="T27" fmla="*/ 66 h 180"/>
              <a:gd name="T28" fmla="*/ 33 w 240"/>
              <a:gd name="T29" fmla="*/ 60 h 180"/>
              <a:gd name="T30" fmla="*/ 33 w 240"/>
              <a:gd name="T31" fmla="*/ 50 h 180"/>
              <a:gd name="T32" fmla="*/ 39 w 240"/>
              <a:gd name="T33" fmla="*/ 39 h 180"/>
              <a:gd name="T34" fmla="*/ 44 w 240"/>
              <a:gd name="T35" fmla="*/ 33 h 180"/>
              <a:gd name="T36" fmla="*/ 50 w 240"/>
              <a:gd name="T37" fmla="*/ 28 h 180"/>
              <a:gd name="T38" fmla="*/ 50 w 240"/>
              <a:gd name="T39" fmla="*/ 17 h 180"/>
              <a:gd name="T40" fmla="*/ 50 w 240"/>
              <a:gd name="T41" fmla="*/ 17 h 180"/>
              <a:gd name="T42" fmla="*/ 60 w 240"/>
              <a:gd name="T43" fmla="*/ 11 h 180"/>
              <a:gd name="T44" fmla="*/ 66 w 240"/>
              <a:gd name="T45" fmla="*/ 11 h 180"/>
              <a:gd name="T46" fmla="*/ 71 w 240"/>
              <a:gd name="T47" fmla="*/ 0 h 180"/>
              <a:gd name="T48" fmla="*/ 77 w 240"/>
              <a:gd name="T49" fmla="*/ 6 h 180"/>
              <a:gd name="T50" fmla="*/ 88 w 240"/>
              <a:gd name="T51" fmla="*/ 6 h 180"/>
              <a:gd name="T52" fmla="*/ 99 w 240"/>
              <a:gd name="T53" fmla="*/ 6 h 180"/>
              <a:gd name="T54" fmla="*/ 110 w 240"/>
              <a:gd name="T55" fmla="*/ 6 h 180"/>
              <a:gd name="T56" fmla="*/ 120 w 240"/>
              <a:gd name="T57" fmla="*/ 11 h 180"/>
              <a:gd name="T58" fmla="*/ 126 w 240"/>
              <a:gd name="T59" fmla="*/ 22 h 180"/>
              <a:gd name="T60" fmla="*/ 142 w 240"/>
              <a:gd name="T61" fmla="*/ 33 h 180"/>
              <a:gd name="T62" fmla="*/ 142 w 240"/>
              <a:gd name="T63" fmla="*/ 44 h 180"/>
              <a:gd name="T64" fmla="*/ 137 w 240"/>
              <a:gd name="T65" fmla="*/ 50 h 180"/>
              <a:gd name="T66" fmla="*/ 137 w 240"/>
              <a:gd name="T67" fmla="*/ 60 h 180"/>
              <a:gd name="T68" fmla="*/ 148 w 240"/>
              <a:gd name="T69" fmla="*/ 60 h 180"/>
              <a:gd name="T70" fmla="*/ 159 w 240"/>
              <a:gd name="T71" fmla="*/ 60 h 180"/>
              <a:gd name="T72" fmla="*/ 153 w 240"/>
              <a:gd name="T73" fmla="*/ 71 h 180"/>
              <a:gd name="T74" fmla="*/ 159 w 240"/>
              <a:gd name="T75" fmla="*/ 77 h 180"/>
              <a:gd name="T76" fmla="*/ 164 w 240"/>
              <a:gd name="T77" fmla="*/ 88 h 180"/>
              <a:gd name="T78" fmla="*/ 175 w 240"/>
              <a:gd name="T79" fmla="*/ 93 h 180"/>
              <a:gd name="T80" fmla="*/ 240 w 240"/>
              <a:gd name="T81" fmla="*/ 110 h 180"/>
              <a:gd name="T82" fmla="*/ 180 w 240"/>
              <a:gd name="T83" fmla="*/ 159 h 180"/>
              <a:gd name="T84" fmla="*/ 164 w 240"/>
              <a:gd name="T85" fmla="*/ 164 h 180"/>
              <a:gd name="T86" fmla="*/ 153 w 240"/>
              <a:gd name="T87" fmla="*/ 170 h 180"/>
              <a:gd name="T88" fmla="*/ 148 w 240"/>
              <a:gd name="T89" fmla="*/ 175 h 180"/>
              <a:gd name="T90" fmla="*/ 137 w 240"/>
              <a:gd name="T91" fmla="*/ 175 h 180"/>
              <a:gd name="T92" fmla="*/ 131 w 240"/>
              <a:gd name="T93" fmla="*/ 170 h 180"/>
              <a:gd name="T94" fmla="*/ 120 w 240"/>
              <a:gd name="T95" fmla="*/ 175 h 180"/>
              <a:gd name="T96" fmla="*/ 110 w 240"/>
              <a:gd name="T97" fmla="*/ 180 h 180"/>
              <a:gd name="T98" fmla="*/ 99 w 240"/>
              <a:gd name="T99" fmla="*/ 180 h 180"/>
              <a:gd name="T100" fmla="*/ 88 w 240"/>
              <a:gd name="T101" fmla="*/ 180 h 180"/>
              <a:gd name="T102" fmla="*/ 71 w 240"/>
              <a:gd name="T103" fmla="*/ 170 h 180"/>
              <a:gd name="T104" fmla="*/ 55 w 240"/>
              <a:gd name="T105" fmla="*/ 16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0" h="180">
                <a:moveTo>
                  <a:pt x="50" y="164"/>
                </a:moveTo>
                <a:lnTo>
                  <a:pt x="50" y="159"/>
                </a:lnTo>
                <a:lnTo>
                  <a:pt x="50" y="153"/>
                </a:lnTo>
                <a:lnTo>
                  <a:pt x="44" y="153"/>
                </a:lnTo>
                <a:lnTo>
                  <a:pt x="39" y="148"/>
                </a:lnTo>
                <a:lnTo>
                  <a:pt x="33" y="142"/>
                </a:lnTo>
                <a:lnTo>
                  <a:pt x="33" y="137"/>
                </a:lnTo>
                <a:lnTo>
                  <a:pt x="33" y="131"/>
                </a:lnTo>
                <a:lnTo>
                  <a:pt x="28" y="131"/>
                </a:lnTo>
                <a:lnTo>
                  <a:pt x="28" y="126"/>
                </a:lnTo>
                <a:lnTo>
                  <a:pt x="22" y="126"/>
                </a:lnTo>
                <a:lnTo>
                  <a:pt x="17" y="120"/>
                </a:lnTo>
                <a:lnTo>
                  <a:pt x="17" y="115"/>
                </a:lnTo>
                <a:lnTo>
                  <a:pt x="11" y="115"/>
                </a:lnTo>
                <a:lnTo>
                  <a:pt x="6" y="115"/>
                </a:lnTo>
                <a:lnTo>
                  <a:pt x="0" y="110"/>
                </a:lnTo>
                <a:lnTo>
                  <a:pt x="6" y="110"/>
                </a:lnTo>
                <a:lnTo>
                  <a:pt x="6" y="104"/>
                </a:lnTo>
                <a:lnTo>
                  <a:pt x="11" y="104"/>
                </a:lnTo>
                <a:lnTo>
                  <a:pt x="17" y="104"/>
                </a:lnTo>
                <a:lnTo>
                  <a:pt x="22" y="99"/>
                </a:lnTo>
                <a:lnTo>
                  <a:pt x="22" y="93"/>
                </a:lnTo>
                <a:lnTo>
                  <a:pt x="17" y="82"/>
                </a:lnTo>
                <a:lnTo>
                  <a:pt x="22" y="82"/>
                </a:lnTo>
                <a:lnTo>
                  <a:pt x="22" y="77"/>
                </a:lnTo>
                <a:lnTo>
                  <a:pt x="22" y="71"/>
                </a:lnTo>
                <a:lnTo>
                  <a:pt x="22" y="66"/>
                </a:lnTo>
                <a:lnTo>
                  <a:pt x="28" y="66"/>
                </a:lnTo>
                <a:lnTo>
                  <a:pt x="33" y="66"/>
                </a:lnTo>
                <a:lnTo>
                  <a:pt x="33" y="60"/>
                </a:lnTo>
                <a:lnTo>
                  <a:pt x="33" y="55"/>
                </a:lnTo>
                <a:lnTo>
                  <a:pt x="33" y="50"/>
                </a:lnTo>
                <a:lnTo>
                  <a:pt x="39" y="44"/>
                </a:lnTo>
                <a:lnTo>
                  <a:pt x="39" y="39"/>
                </a:lnTo>
                <a:lnTo>
                  <a:pt x="39" y="33"/>
                </a:lnTo>
                <a:lnTo>
                  <a:pt x="44" y="33"/>
                </a:lnTo>
                <a:lnTo>
                  <a:pt x="50" y="33"/>
                </a:lnTo>
                <a:lnTo>
                  <a:pt x="50" y="28"/>
                </a:lnTo>
                <a:lnTo>
                  <a:pt x="50" y="22"/>
                </a:lnTo>
                <a:lnTo>
                  <a:pt x="50" y="17"/>
                </a:lnTo>
                <a:lnTo>
                  <a:pt x="55" y="17"/>
                </a:lnTo>
                <a:lnTo>
                  <a:pt x="50" y="17"/>
                </a:lnTo>
                <a:lnTo>
                  <a:pt x="55" y="11"/>
                </a:lnTo>
                <a:lnTo>
                  <a:pt x="60" y="11"/>
                </a:lnTo>
                <a:lnTo>
                  <a:pt x="66" y="6"/>
                </a:lnTo>
                <a:lnTo>
                  <a:pt x="66" y="11"/>
                </a:lnTo>
                <a:lnTo>
                  <a:pt x="71" y="11"/>
                </a:lnTo>
                <a:lnTo>
                  <a:pt x="71" y="0"/>
                </a:lnTo>
                <a:lnTo>
                  <a:pt x="77" y="0"/>
                </a:lnTo>
                <a:lnTo>
                  <a:pt x="77" y="6"/>
                </a:lnTo>
                <a:lnTo>
                  <a:pt x="82" y="6"/>
                </a:lnTo>
                <a:lnTo>
                  <a:pt x="88" y="6"/>
                </a:lnTo>
                <a:lnTo>
                  <a:pt x="93" y="6"/>
                </a:lnTo>
                <a:lnTo>
                  <a:pt x="99" y="6"/>
                </a:lnTo>
                <a:lnTo>
                  <a:pt x="104" y="6"/>
                </a:lnTo>
                <a:lnTo>
                  <a:pt x="110" y="6"/>
                </a:lnTo>
                <a:lnTo>
                  <a:pt x="115" y="11"/>
                </a:lnTo>
                <a:lnTo>
                  <a:pt x="120" y="11"/>
                </a:lnTo>
                <a:lnTo>
                  <a:pt x="126" y="17"/>
                </a:lnTo>
                <a:lnTo>
                  <a:pt x="126" y="22"/>
                </a:lnTo>
                <a:lnTo>
                  <a:pt x="137" y="28"/>
                </a:lnTo>
                <a:lnTo>
                  <a:pt x="142" y="33"/>
                </a:lnTo>
                <a:lnTo>
                  <a:pt x="148" y="39"/>
                </a:lnTo>
                <a:lnTo>
                  <a:pt x="142" y="44"/>
                </a:lnTo>
                <a:lnTo>
                  <a:pt x="142" y="50"/>
                </a:lnTo>
                <a:lnTo>
                  <a:pt x="137" y="50"/>
                </a:lnTo>
                <a:lnTo>
                  <a:pt x="137" y="55"/>
                </a:lnTo>
                <a:lnTo>
                  <a:pt x="137" y="60"/>
                </a:lnTo>
                <a:lnTo>
                  <a:pt x="142" y="66"/>
                </a:lnTo>
                <a:lnTo>
                  <a:pt x="148" y="60"/>
                </a:lnTo>
                <a:lnTo>
                  <a:pt x="153" y="60"/>
                </a:lnTo>
                <a:lnTo>
                  <a:pt x="159" y="60"/>
                </a:lnTo>
                <a:lnTo>
                  <a:pt x="153" y="66"/>
                </a:lnTo>
                <a:lnTo>
                  <a:pt x="153" y="71"/>
                </a:lnTo>
                <a:lnTo>
                  <a:pt x="159" y="71"/>
                </a:lnTo>
                <a:lnTo>
                  <a:pt x="159" y="77"/>
                </a:lnTo>
                <a:lnTo>
                  <a:pt x="164" y="82"/>
                </a:lnTo>
                <a:lnTo>
                  <a:pt x="164" y="88"/>
                </a:lnTo>
                <a:lnTo>
                  <a:pt x="169" y="88"/>
                </a:lnTo>
                <a:lnTo>
                  <a:pt x="175" y="93"/>
                </a:lnTo>
                <a:lnTo>
                  <a:pt x="224" y="110"/>
                </a:lnTo>
                <a:lnTo>
                  <a:pt x="240" y="110"/>
                </a:lnTo>
                <a:lnTo>
                  <a:pt x="197" y="159"/>
                </a:lnTo>
                <a:lnTo>
                  <a:pt x="180" y="159"/>
                </a:lnTo>
                <a:lnTo>
                  <a:pt x="169" y="159"/>
                </a:lnTo>
                <a:lnTo>
                  <a:pt x="164" y="164"/>
                </a:lnTo>
                <a:lnTo>
                  <a:pt x="159" y="170"/>
                </a:lnTo>
                <a:lnTo>
                  <a:pt x="153" y="170"/>
                </a:lnTo>
                <a:lnTo>
                  <a:pt x="148" y="170"/>
                </a:lnTo>
                <a:lnTo>
                  <a:pt x="148" y="175"/>
                </a:lnTo>
                <a:lnTo>
                  <a:pt x="142" y="175"/>
                </a:lnTo>
                <a:lnTo>
                  <a:pt x="137" y="175"/>
                </a:lnTo>
                <a:lnTo>
                  <a:pt x="131" y="175"/>
                </a:lnTo>
                <a:lnTo>
                  <a:pt x="131" y="170"/>
                </a:lnTo>
                <a:lnTo>
                  <a:pt x="126" y="170"/>
                </a:lnTo>
                <a:lnTo>
                  <a:pt x="120" y="175"/>
                </a:lnTo>
                <a:lnTo>
                  <a:pt x="115" y="175"/>
                </a:lnTo>
                <a:lnTo>
                  <a:pt x="110" y="180"/>
                </a:lnTo>
                <a:lnTo>
                  <a:pt x="104" y="180"/>
                </a:lnTo>
                <a:lnTo>
                  <a:pt x="99" y="180"/>
                </a:lnTo>
                <a:lnTo>
                  <a:pt x="93" y="180"/>
                </a:lnTo>
                <a:lnTo>
                  <a:pt x="88" y="180"/>
                </a:lnTo>
                <a:lnTo>
                  <a:pt x="82" y="175"/>
                </a:lnTo>
                <a:lnTo>
                  <a:pt x="71" y="170"/>
                </a:lnTo>
                <a:lnTo>
                  <a:pt x="66" y="164"/>
                </a:lnTo>
                <a:lnTo>
                  <a:pt x="55" y="164"/>
                </a:lnTo>
                <a:lnTo>
                  <a:pt x="50" y="164"/>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7" name="Freeform 193">
            <a:extLst>
              <a:ext uri="{FF2B5EF4-FFF2-40B4-BE49-F238E27FC236}">
                <a16:creationId xmlns:a16="http://schemas.microsoft.com/office/drawing/2014/main" id="{34EF34E1-D69A-3375-5CF9-B23EBED00AFD}"/>
              </a:ext>
            </a:extLst>
          </p:cNvPr>
          <p:cNvSpPr>
            <a:spLocks/>
          </p:cNvSpPr>
          <p:nvPr/>
        </p:nvSpPr>
        <p:spPr bwMode="auto">
          <a:xfrm>
            <a:off x="3065463" y="2844800"/>
            <a:ext cx="209550" cy="165100"/>
          </a:xfrm>
          <a:custGeom>
            <a:avLst/>
            <a:gdLst>
              <a:gd name="T0" fmla="*/ 158 w 186"/>
              <a:gd name="T1" fmla="*/ 49 h 136"/>
              <a:gd name="T2" fmla="*/ 153 w 186"/>
              <a:gd name="T3" fmla="*/ 60 h 136"/>
              <a:gd name="T4" fmla="*/ 142 w 186"/>
              <a:gd name="T5" fmla="*/ 60 h 136"/>
              <a:gd name="T6" fmla="*/ 136 w 186"/>
              <a:gd name="T7" fmla="*/ 66 h 136"/>
              <a:gd name="T8" fmla="*/ 147 w 186"/>
              <a:gd name="T9" fmla="*/ 71 h 136"/>
              <a:gd name="T10" fmla="*/ 153 w 186"/>
              <a:gd name="T11" fmla="*/ 76 h 136"/>
              <a:gd name="T12" fmla="*/ 164 w 186"/>
              <a:gd name="T13" fmla="*/ 82 h 136"/>
              <a:gd name="T14" fmla="*/ 169 w 186"/>
              <a:gd name="T15" fmla="*/ 87 h 136"/>
              <a:gd name="T16" fmla="*/ 169 w 186"/>
              <a:gd name="T17" fmla="*/ 98 h 136"/>
              <a:gd name="T18" fmla="*/ 180 w 186"/>
              <a:gd name="T19" fmla="*/ 109 h 136"/>
              <a:gd name="T20" fmla="*/ 186 w 186"/>
              <a:gd name="T21" fmla="*/ 115 h 136"/>
              <a:gd name="T22" fmla="*/ 180 w 186"/>
              <a:gd name="T23" fmla="*/ 120 h 136"/>
              <a:gd name="T24" fmla="*/ 175 w 186"/>
              <a:gd name="T25" fmla="*/ 115 h 136"/>
              <a:gd name="T26" fmla="*/ 158 w 186"/>
              <a:gd name="T27" fmla="*/ 126 h 136"/>
              <a:gd name="T28" fmla="*/ 142 w 186"/>
              <a:gd name="T29" fmla="*/ 131 h 136"/>
              <a:gd name="T30" fmla="*/ 131 w 186"/>
              <a:gd name="T31" fmla="*/ 131 h 136"/>
              <a:gd name="T32" fmla="*/ 120 w 186"/>
              <a:gd name="T33" fmla="*/ 131 h 136"/>
              <a:gd name="T34" fmla="*/ 115 w 186"/>
              <a:gd name="T35" fmla="*/ 131 h 136"/>
              <a:gd name="T36" fmla="*/ 104 w 186"/>
              <a:gd name="T37" fmla="*/ 136 h 136"/>
              <a:gd name="T38" fmla="*/ 98 w 186"/>
              <a:gd name="T39" fmla="*/ 131 h 136"/>
              <a:gd name="T40" fmla="*/ 93 w 186"/>
              <a:gd name="T41" fmla="*/ 126 h 136"/>
              <a:gd name="T42" fmla="*/ 93 w 186"/>
              <a:gd name="T43" fmla="*/ 120 h 136"/>
              <a:gd name="T44" fmla="*/ 82 w 186"/>
              <a:gd name="T45" fmla="*/ 120 h 136"/>
              <a:gd name="T46" fmla="*/ 76 w 186"/>
              <a:gd name="T47" fmla="*/ 120 h 136"/>
              <a:gd name="T48" fmla="*/ 66 w 186"/>
              <a:gd name="T49" fmla="*/ 126 h 136"/>
              <a:gd name="T50" fmla="*/ 60 w 186"/>
              <a:gd name="T51" fmla="*/ 115 h 136"/>
              <a:gd name="T52" fmla="*/ 49 w 186"/>
              <a:gd name="T53" fmla="*/ 109 h 136"/>
              <a:gd name="T54" fmla="*/ 44 w 186"/>
              <a:gd name="T55" fmla="*/ 98 h 136"/>
              <a:gd name="T56" fmla="*/ 38 w 186"/>
              <a:gd name="T57" fmla="*/ 93 h 136"/>
              <a:gd name="T58" fmla="*/ 33 w 186"/>
              <a:gd name="T59" fmla="*/ 82 h 136"/>
              <a:gd name="T60" fmla="*/ 22 w 186"/>
              <a:gd name="T61" fmla="*/ 76 h 136"/>
              <a:gd name="T62" fmla="*/ 17 w 186"/>
              <a:gd name="T63" fmla="*/ 71 h 136"/>
              <a:gd name="T64" fmla="*/ 11 w 186"/>
              <a:gd name="T65" fmla="*/ 66 h 136"/>
              <a:gd name="T66" fmla="*/ 0 w 186"/>
              <a:gd name="T67" fmla="*/ 60 h 136"/>
              <a:gd name="T68" fmla="*/ 6 w 186"/>
              <a:gd name="T69" fmla="*/ 49 h 136"/>
              <a:gd name="T70" fmla="*/ 11 w 186"/>
              <a:gd name="T71" fmla="*/ 38 h 136"/>
              <a:gd name="T72" fmla="*/ 17 w 186"/>
              <a:gd name="T73" fmla="*/ 27 h 136"/>
              <a:gd name="T74" fmla="*/ 27 w 186"/>
              <a:gd name="T75" fmla="*/ 27 h 136"/>
              <a:gd name="T76" fmla="*/ 38 w 186"/>
              <a:gd name="T77" fmla="*/ 44 h 136"/>
              <a:gd name="T78" fmla="*/ 60 w 186"/>
              <a:gd name="T79" fmla="*/ 38 h 136"/>
              <a:gd name="T80" fmla="*/ 71 w 186"/>
              <a:gd name="T81" fmla="*/ 44 h 136"/>
              <a:gd name="T82" fmla="*/ 82 w 186"/>
              <a:gd name="T83" fmla="*/ 38 h 136"/>
              <a:gd name="T84" fmla="*/ 93 w 186"/>
              <a:gd name="T85" fmla="*/ 33 h 136"/>
              <a:gd name="T86" fmla="*/ 109 w 186"/>
              <a:gd name="T87" fmla="*/ 38 h 136"/>
              <a:gd name="T88" fmla="*/ 120 w 186"/>
              <a:gd name="T89" fmla="*/ 22 h 136"/>
              <a:gd name="T90" fmla="*/ 126 w 186"/>
              <a:gd name="T91" fmla="*/ 6 h 136"/>
              <a:gd name="T92" fmla="*/ 131 w 186"/>
              <a:gd name="T93" fmla="*/ 0 h 136"/>
              <a:gd name="T94" fmla="*/ 142 w 186"/>
              <a:gd name="T95" fmla="*/ 6 h 136"/>
              <a:gd name="T96" fmla="*/ 147 w 186"/>
              <a:gd name="T97" fmla="*/ 27 h 136"/>
              <a:gd name="T98" fmla="*/ 153 w 186"/>
              <a:gd name="T99" fmla="*/ 3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6" h="136">
                <a:moveTo>
                  <a:pt x="153" y="38"/>
                </a:moveTo>
                <a:lnTo>
                  <a:pt x="158" y="49"/>
                </a:lnTo>
                <a:lnTo>
                  <a:pt x="158" y="55"/>
                </a:lnTo>
                <a:lnTo>
                  <a:pt x="153" y="60"/>
                </a:lnTo>
                <a:lnTo>
                  <a:pt x="147" y="60"/>
                </a:lnTo>
                <a:lnTo>
                  <a:pt x="142" y="60"/>
                </a:lnTo>
                <a:lnTo>
                  <a:pt x="142" y="66"/>
                </a:lnTo>
                <a:lnTo>
                  <a:pt x="136" y="66"/>
                </a:lnTo>
                <a:lnTo>
                  <a:pt x="142" y="71"/>
                </a:lnTo>
                <a:lnTo>
                  <a:pt x="147" y="71"/>
                </a:lnTo>
                <a:lnTo>
                  <a:pt x="153" y="71"/>
                </a:lnTo>
                <a:lnTo>
                  <a:pt x="153" y="76"/>
                </a:lnTo>
                <a:lnTo>
                  <a:pt x="158" y="82"/>
                </a:lnTo>
                <a:lnTo>
                  <a:pt x="164" y="82"/>
                </a:lnTo>
                <a:lnTo>
                  <a:pt x="164" y="87"/>
                </a:lnTo>
                <a:lnTo>
                  <a:pt x="169" y="87"/>
                </a:lnTo>
                <a:lnTo>
                  <a:pt x="169" y="93"/>
                </a:lnTo>
                <a:lnTo>
                  <a:pt x="169" y="98"/>
                </a:lnTo>
                <a:lnTo>
                  <a:pt x="175" y="104"/>
                </a:lnTo>
                <a:lnTo>
                  <a:pt x="180" y="109"/>
                </a:lnTo>
                <a:lnTo>
                  <a:pt x="186" y="109"/>
                </a:lnTo>
                <a:lnTo>
                  <a:pt x="186" y="115"/>
                </a:lnTo>
                <a:lnTo>
                  <a:pt x="186" y="120"/>
                </a:lnTo>
                <a:lnTo>
                  <a:pt x="180" y="120"/>
                </a:lnTo>
                <a:lnTo>
                  <a:pt x="180" y="115"/>
                </a:lnTo>
                <a:lnTo>
                  <a:pt x="175" y="115"/>
                </a:lnTo>
                <a:lnTo>
                  <a:pt x="164" y="120"/>
                </a:lnTo>
                <a:lnTo>
                  <a:pt x="158" y="126"/>
                </a:lnTo>
                <a:lnTo>
                  <a:pt x="147" y="131"/>
                </a:lnTo>
                <a:lnTo>
                  <a:pt x="142" y="131"/>
                </a:lnTo>
                <a:lnTo>
                  <a:pt x="136" y="131"/>
                </a:lnTo>
                <a:lnTo>
                  <a:pt x="131" y="131"/>
                </a:lnTo>
                <a:lnTo>
                  <a:pt x="126" y="136"/>
                </a:lnTo>
                <a:lnTo>
                  <a:pt x="120" y="131"/>
                </a:lnTo>
                <a:lnTo>
                  <a:pt x="120" y="136"/>
                </a:lnTo>
                <a:lnTo>
                  <a:pt x="115" y="131"/>
                </a:lnTo>
                <a:lnTo>
                  <a:pt x="109" y="136"/>
                </a:lnTo>
                <a:lnTo>
                  <a:pt x="104" y="136"/>
                </a:lnTo>
                <a:lnTo>
                  <a:pt x="104" y="131"/>
                </a:lnTo>
                <a:lnTo>
                  <a:pt x="98" y="131"/>
                </a:lnTo>
                <a:lnTo>
                  <a:pt x="98" y="126"/>
                </a:lnTo>
                <a:lnTo>
                  <a:pt x="93" y="126"/>
                </a:lnTo>
                <a:lnTo>
                  <a:pt x="87" y="126"/>
                </a:lnTo>
                <a:lnTo>
                  <a:pt x="93" y="120"/>
                </a:lnTo>
                <a:lnTo>
                  <a:pt x="87" y="120"/>
                </a:lnTo>
                <a:lnTo>
                  <a:pt x="82" y="120"/>
                </a:lnTo>
                <a:lnTo>
                  <a:pt x="82" y="126"/>
                </a:lnTo>
                <a:lnTo>
                  <a:pt x="76" y="120"/>
                </a:lnTo>
                <a:lnTo>
                  <a:pt x="71" y="120"/>
                </a:lnTo>
                <a:lnTo>
                  <a:pt x="66" y="126"/>
                </a:lnTo>
                <a:lnTo>
                  <a:pt x="60" y="120"/>
                </a:lnTo>
                <a:lnTo>
                  <a:pt x="60" y="115"/>
                </a:lnTo>
                <a:lnTo>
                  <a:pt x="55" y="115"/>
                </a:lnTo>
                <a:lnTo>
                  <a:pt x="49" y="109"/>
                </a:lnTo>
                <a:lnTo>
                  <a:pt x="49" y="104"/>
                </a:lnTo>
                <a:lnTo>
                  <a:pt x="44" y="98"/>
                </a:lnTo>
                <a:lnTo>
                  <a:pt x="38" y="98"/>
                </a:lnTo>
                <a:lnTo>
                  <a:pt x="38" y="93"/>
                </a:lnTo>
                <a:lnTo>
                  <a:pt x="33" y="87"/>
                </a:lnTo>
                <a:lnTo>
                  <a:pt x="33" y="82"/>
                </a:lnTo>
                <a:lnTo>
                  <a:pt x="27" y="82"/>
                </a:lnTo>
                <a:lnTo>
                  <a:pt x="22" y="76"/>
                </a:lnTo>
                <a:lnTo>
                  <a:pt x="17" y="76"/>
                </a:lnTo>
                <a:lnTo>
                  <a:pt x="17" y="71"/>
                </a:lnTo>
                <a:lnTo>
                  <a:pt x="17" y="66"/>
                </a:lnTo>
                <a:lnTo>
                  <a:pt x="11" y="66"/>
                </a:lnTo>
                <a:lnTo>
                  <a:pt x="6" y="60"/>
                </a:lnTo>
                <a:lnTo>
                  <a:pt x="0" y="60"/>
                </a:lnTo>
                <a:lnTo>
                  <a:pt x="0" y="55"/>
                </a:lnTo>
                <a:lnTo>
                  <a:pt x="6" y="49"/>
                </a:lnTo>
                <a:lnTo>
                  <a:pt x="11" y="44"/>
                </a:lnTo>
                <a:lnTo>
                  <a:pt x="11" y="38"/>
                </a:lnTo>
                <a:lnTo>
                  <a:pt x="17" y="33"/>
                </a:lnTo>
                <a:lnTo>
                  <a:pt x="17" y="27"/>
                </a:lnTo>
                <a:lnTo>
                  <a:pt x="22" y="27"/>
                </a:lnTo>
                <a:lnTo>
                  <a:pt x="27" y="27"/>
                </a:lnTo>
                <a:lnTo>
                  <a:pt x="27" y="33"/>
                </a:lnTo>
                <a:lnTo>
                  <a:pt x="38" y="44"/>
                </a:lnTo>
                <a:lnTo>
                  <a:pt x="44" y="38"/>
                </a:lnTo>
                <a:lnTo>
                  <a:pt x="60" y="38"/>
                </a:lnTo>
                <a:lnTo>
                  <a:pt x="60" y="44"/>
                </a:lnTo>
                <a:lnTo>
                  <a:pt x="71" y="44"/>
                </a:lnTo>
                <a:lnTo>
                  <a:pt x="76" y="38"/>
                </a:lnTo>
                <a:lnTo>
                  <a:pt x="82" y="38"/>
                </a:lnTo>
                <a:lnTo>
                  <a:pt x="87" y="33"/>
                </a:lnTo>
                <a:lnTo>
                  <a:pt x="93" y="33"/>
                </a:lnTo>
                <a:lnTo>
                  <a:pt x="104" y="38"/>
                </a:lnTo>
                <a:lnTo>
                  <a:pt x="109" y="38"/>
                </a:lnTo>
                <a:lnTo>
                  <a:pt x="120" y="27"/>
                </a:lnTo>
                <a:lnTo>
                  <a:pt x="120" y="22"/>
                </a:lnTo>
                <a:lnTo>
                  <a:pt x="126" y="16"/>
                </a:lnTo>
                <a:lnTo>
                  <a:pt x="126" y="6"/>
                </a:lnTo>
                <a:lnTo>
                  <a:pt x="120" y="0"/>
                </a:lnTo>
                <a:lnTo>
                  <a:pt x="131" y="0"/>
                </a:lnTo>
                <a:lnTo>
                  <a:pt x="142" y="0"/>
                </a:lnTo>
                <a:lnTo>
                  <a:pt x="142" y="6"/>
                </a:lnTo>
                <a:lnTo>
                  <a:pt x="142" y="22"/>
                </a:lnTo>
                <a:lnTo>
                  <a:pt x="147" y="27"/>
                </a:lnTo>
                <a:lnTo>
                  <a:pt x="153" y="33"/>
                </a:lnTo>
                <a:lnTo>
                  <a:pt x="153" y="38"/>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8" name="Freeform 194">
            <a:extLst>
              <a:ext uri="{FF2B5EF4-FFF2-40B4-BE49-F238E27FC236}">
                <a16:creationId xmlns:a16="http://schemas.microsoft.com/office/drawing/2014/main" id="{B419087A-CDF5-08CF-F9DD-C76A46B56348}"/>
              </a:ext>
            </a:extLst>
          </p:cNvPr>
          <p:cNvSpPr>
            <a:spLocks/>
          </p:cNvSpPr>
          <p:nvPr/>
        </p:nvSpPr>
        <p:spPr bwMode="auto">
          <a:xfrm>
            <a:off x="3163889" y="2998788"/>
            <a:ext cx="98425" cy="106363"/>
          </a:xfrm>
          <a:custGeom>
            <a:avLst/>
            <a:gdLst>
              <a:gd name="T0" fmla="*/ 0 w 88"/>
              <a:gd name="T1" fmla="*/ 87 h 87"/>
              <a:gd name="T2" fmla="*/ 0 w 88"/>
              <a:gd name="T3" fmla="*/ 81 h 87"/>
              <a:gd name="T4" fmla="*/ 0 w 88"/>
              <a:gd name="T5" fmla="*/ 76 h 87"/>
              <a:gd name="T6" fmla="*/ 0 w 88"/>
              <a:gd name="T7" fmla="*/ 65 h 87"/>
              <a:gd name="T8" fmla="*/ 6 w 88"/>
              <a:gd name="T9" fmla="*/ 65 h 87"/>
              <a:gd name="T10" fmla="*/ 6 w 88"/>
              <a:gd name="T11" fmla="*/ 60 h 87"/>
              <a:gd name="T12" fmla="*/ 6 w 88"/>
              <a:gd name="T13" fmla="*/ 54 h 87"/>
              <a:gd name="T14" fmla="*/ 11 w 88"/>
              <a:gd name="T15" fmla="*/ 54 h 87"/>
              <a:gd name="T16" fmla="*/ 11 w 88"/>
              <a:gd name="T17" fmla="*/ 49 h 87"/>
              <a:gd name="T18" fmla="*/ 17 w 88"/>
              <a:gd name="T19" fmla="*/ 49 h 87"/>
              <a:gd name="T20" fmla="*/ 17 w 88"/>
              <a:gd name="T21" fmla="*/ 43 h 87"/>
              <a:gd name="T22" fmla="*/ 22 w 88"/>
              <a:gd name="T23" fmla="*/ 38 h 87"/>
              <a:gd name="T24" fmla="*/ 28 w 88"/>
              <a:gd name="T25" fmla="*/ 38 h 87"/>
              <a:gd name="T26" fmla="*/ 28 w 88"/>
              <a:gd name="T27" fmla="*/ 32 h 87"/>
              <a:gd name="T28" fmla="*/ 22 w 88"/>
              <a:gd name="T29" fmla="*/ 27 h 87"/>
              <a:gd name="T30" fmla="*/ 17 w 88"/>
              <a:gd name="T31" fmla="*/ 27 h 87"/>
              <a:gd name="T32" fmla="*/ 22 w 88"/>
              <a:gd name="T33" fmla="*/ 21 h 87"/>
              <a:gd name="T34" fmla="*/ 17 w 88"/>
              <a:gd name="T35" fmla="*/ 16 h 87"/>
              <a:gd name="T36" fmla="*/ 22 w 88"/>
              <a:gd name="T37" fmla="*/ 16 h 87"/>
              <a:gd name="T38" fmla="*/ 22 w 88"/>
              <a:gd name="T39" fmla="*/ 10 h 87"/>
              <a:gd name="T40" fmla="*/ 28 w 88"/>
              <a:gd name="T41" fmla="*/ 5 h 87"/>
              <a:gd name="T42" fmla="*/ 33 w 88"/>
              <a:gd name="T43" fmla="*/ 10 h 87"/>
              <a:gd name="T44" fmla="*/ 33 w 88"/>
              <a:gd name="T45" fmla="*/ 5 h 87"/>
              <a:gd name="T46" fmla="*/ 39 w 88"/>
              <a:gd name="T47" fmla="*/ 10 h 87"/>
              <a:gd name="T48" fmla="*/ 44 w 88"/>
              <a:gd name="T49" fmla="*/ 5 h 87"/>
              <a:gd name="T50" fmla="*/ 49 w 88"/>
              <a:gd name="T51" fmla="*/ 5 h 87"/>
              <a:gd name="T52" fmla="*/ 55 w 88"/>
              <a:gd name="T53" fmla="*/ 5 h 87"/>
              <a:gd name="T54" fmla="*/ 60 w 88"/>
              <a:gd name="T55" fmla="*/ 5 h 87"/>
              <a:gd name="T56" fmla="*/ 71 w 88"/>
              <a:gd name="T57" fmla="*/ 0 h 87"/>
              <a:gd name="T58" fmla="*/ 71 w 88"/>
              <a:gd name="T59" fmla="*/ 5 h 87"/>
              <a:gd name="T60" fmla="*/ 77 w 88"/>
              <a:gd name="T61" fmla="*/ 10 h 87"/>
              <a:gd name="T62" fmla="*/ 77 w 88"/>
              <a:gd name="T63" fmla="*/ 16 h 87"/>
              <a:gd name="T64" fmla="*/ 82 w 88"/>
              <a:gd name="T65" fmla="*/ 21 h 87"/>
              <a:gd name="T66" fmla="*/ 82 w 88"/>
              <a:gd name="T67" fmla="*/ 27 h 87"/>
              <a:gd name="T68" fmla="*/ 88 w 88"/>
              <a:gd name="T69" fmla="*/ 38 h 87"/>
              <a:gd name="T70" fmla="*/ 88 w 88"/>
              <a:gd name="T71" fmla="*/ 43 h 87"/>
              <a:gd name="T72" fmla="*/ 82 w 88"/>
              <a:gd name="T73" fmla="*/ 43 h 87"/>
              <a:gd name="T74" fmla="*/ 82 w 88"/>
              <a:gd name="T75" fmla="*/ 49 h 87"/>
              <a:gd name="T76" fmla="*/ 77 w 88"/>
              <a:gd name="T77" fmla="*/ 49 h 87"/>
              <a:gd name="T78" fmla="*/ 77 w 88"/>
              <a:gd name="T79" fmla="*/ 54 h 87"/>
              <a:gd name="T80" fmla="*/ 71 w 88"/>
              <a:gd name="T81" fmla="*/ 60 h 87"/>
              <a:gd name="T82" fmla="*/ 71 w 88"/>
              <a:gd name="T83" fmla="*/ 65 h 87"/>
              <a:gd name="T84" fmla="*/ 71 w 88"/>
              <a:gd name="T85" fmla="*/ 70 h 87"/>
              <a:gd name="T86" fmla="*/ 71 w 88"/>
              <a:gd name="T87" fmla="*/ 76 h 87"/>
              <a:gd name="T88" fmla="*/ 71 w 88"/>
              <a:gd name="T89" fmla="*/ 81 h 87"/>
              <a:gd name="T90" fmla="*/ 60 w 88"/>
              <a:gd name="T91" fmla="*/ 81 h 87"/>
              <a:gd name="T92" fmla="*/ 49 w 88"/>
              <a:gd name="T93" fmla="*/ 81 h 87"/>
              <a:gd name="T94" fmla="*/ 44 w 88"/>
              <a:gd name="T95" fmla="*/ 81 h 87"/>
              <a:gd name="T96" fmla="*/ 39 w 88"/>
              <a:gd name="T97" fmla="*/ 81 h 87"/>
              <a:gd name="T98" fmla="*/ 17 w 88"/>
              <a:gd name="T99" fmla="*/ 81 h 87"/>
              <a:gd name="T100" fmla="*/ 11 w 88"/>
              <a:gd name="T101" fmla="*/ 81 h 87"/>
              <a:gd name="T102" fmla="*/ 11 w 88"/>
              <a:gd name="T103" fmla="*/ 87 h 87"/>
              <a:gd name="T104" fmla="*/ 6 w 88"/>
              <a:gd name="T105" fmla="*/ 87 h 87"/>
              <a:gd name="T106" fmla="*/ 0 w 88"/>
              <a:gd name="T10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87">
                <a:moveTo>
                  <a:pt x="0" y="87"/>
                </a:moveTo>
                <a:lnTo>
                  <a:pt x="0" y="81"/>
                </a:lnTo>
                <a:lnTo>
                  <a:pt x="0" y="76"/>
                </a:lnTo>
                <a:lnTo>
                  <a:pt x="0" y="65"/>
                </a:lnTo>
                <a:lnTo>
                  <a:pt x="6" y="65"/>
                </a:lnTo>
                <a:lnTo>
                  <a:pt x="6" y="60"/>
                </a:lnTo>
                <a:lnTo>
                  <a:pt x="6" y="54"/>
                </a:lnTo>
                <a:lnTo>
                  <a:pt x="11" y="54"/>
                </a:lnTo>
                <a:lnTo>
                  <a:pt x="11" y="49"/>
                </a:lnTo>
                <a:lnTo>
                  <a:pt x="17" y="49"/>
                </a:lnTo>
                <a:lnTo>
                  <a:pt x="17" y="43"/>
                </a:lnTo>
                <a:lnTo>
                  <a:pt x="22" y="38"/>
                </a:lnTo>
                <a:lnTo>
                  <a:pt x="28" y="38"/>
                </a:lnTo>
                <a:lnTo>
                  <a:pt x="28" y="32"/>
                </a:lnTo>
                <a:lnTo>
                  <a:pt x="22" y="27"/>
                </a:lnTo>
                <a:lnTo>
                  <a:pt x="17" y="27"/>
                </a:lnTo>
                <a:lnTo>
                  <a:pt x="22" y="21"/>
                </a:lnTo>
                <a:lnTo>
                  <a:pt x="17" y="16"/>
                </a:lnTo>
                <a:lnTo>
                  <a:pt x="22" y="16"/>
                </a:lnTo>
                <a:lnTo>
                  <a:pt x="22" y="10"/>
                </a:lnTo>
                <a:lnTo>
                  <a:pt x="28" y="5"/>
                </a:lnTo>
                <a:lnTo>
                  <a:pt x="33" y="10"/>
                </a:lnTo>
                <a:lnTo>
                  <a:pt x="33" y="5"/>
                </a:lnTo>
                <a:lnTo>
                  <a:pt x="39" y="10"/>
                </a:lnTo>
                <a:lnTo>
                  <a:pt x="44" y="5"/>
                </a:lnTo>
                <a:lnTo>
                  <a:pt x="49" y="5"/>
                </a:lnTo>
                <a:lnTo>
                  <a:pt x="55" y="5"/>
                </a:lnTo>
                <a:lnTo>
                  <a:pt x="60" y="5"/>
                </a:lnTo>
                <a:lnTo>
                  <a:pt x="71" y="0"/>
                </a:lnTo>
                <a:lnTo>
                  <a:pt x="71" y="5"/>
                </a:lnTo>
                <a:lnTo>
                  <a:pt x="77" y="10"/>
                </a:lnTo>
                <a:lnTo>
                  <a:pt x="77" y="16"/>
                </a:lnTo>
                <a:lnTo>
                  <a:pt x="82" y="21"/>
                </a:lnTo>
                <a:lnTo>
                  <a:pt x="82" y="27"/>
                </a:lnTo>
                <a:lnTo>
                  <a:pt x="88" y="38"/>
                </a:lnTo>
                <a:lnTo>
                  <a:pt x="88" y="43"/>
                </a:lnTo>
                <a:lnTo>
                  <a:pt x="82" y="43"/>
                </a:lnTo>
                <a:lnTo>
                  <a:pt x="82" y="49"/>
                </a:lnTo>
                <a:lnTo>
                  <a:pt x="77" y="49"/>
                </a:lnTo>
                <a:lnTo>
                  <a:pt x="77" y="54"/>
                </a:lnTo>
                <a:lnTo>
                  <a:pt x="71" y="60"/>
                </a:lnTo>
                <a:lnTo>
                  <a:pt x="71" y="65"/>
                </a:lnTo>
                <a:lnTo>
                  <a:pt x="71" y="70"/>
                </a:lnTo>
                <a:lnTo>
                  <a:pt x="71" y="76"/>
                </a:lnTo>
                <a:lnTo>
                  <a:pt x="71" y="81"/>
                </a:lnTo>
                <a:lnTo>
                  <a:pt x="60" y="81"/>
                </a:lnTo>
                <a:lnTo>
                  <a:pt x="49" y="81"/>
                </a:lnTo>
                <a:lnTo>
                  <a:pt x="44" y="81"/>
                </a:lnTo>
                <a:lnTo>
                  <a:pt x="39" y="81"/>
                </a:lnTo>
                <a:lnTo>
                  <a:pt x="17" y="81"/>
                </a:lnTo>
                <a:lnTo>
                  <a:pt x="11" y="81"/>
                </a:lnTo>
                <a:lnTo>
                  <a:pt x="11" y="87"/>
                </a:lnTo>
                <a:lnTo>
                  <a:pt x="6" y="87"/>
                </a:lnTo>
                <a:lnTo>
                  <a:pt x="0" y="87"/>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9" name="Freeform 195">
            <a:extLst>
              <a:ext uri="{FF2B5EF4-FFF2-40B4-BE49-F238E27FC236}">
                <a16:creationId xmlns:a16="http://schemas.microsoft.com/office/drawing/2014/main" id="{B9F703D6-A0F8-60C1-48E8-AE81EAF56212}"/>
              </a:ext>
            </a:extLst>
          </p:cNvPr>
          <p:cNvSpPr>
            <a:spLocks/>
          </p:cNvSpPr>
          <p:nvPr/>
        </p:nvSpPr>
        <p:spPr bwMode="auto">
          <a:xfrm>
            <a:off x="3243263" y="2984499"/>
            <a:ext cx="141288" cy="185738"/>
          </a:xfrm>
          <a:custGeom>
            <a:avLst/>
            <a:gdLst>
              <a:gd name="T0" fmla="*/ 0 w 126"/>
              <a:gd name="T1" fmla="*/ 92 h 152"/>
              <a:gd name="T2" fmla="*/ 0 w 126"/>
              <a:gd name="T3" fmla="*/ 87 h 152"/>
              <a:gd name="T4" fmla="*/ 0 w 126"/>
              <a:gd name="T5" fmla="*/ 81 h 152"/>
              <a:gd name="T6" fmla="*/ 0 w 126"/>
              <a:gd name="T7" fmla="*/ 76 h 152"/>
              <a:gd name="T8" fmla="*/ 0 w 126"/>
              <a:gd name="T9" fmla="*/ 71 h 152"/>
              <a:gd name="T10" fmla="*/ 6 w 126"/>
              <a:gd name="T11" fmla="*/ 65 h 152"/>
              <a:gd name="T12" fmla="*/ 6 w 126"/>
              <a:gd name="T13" fmla="*/ 60 h 152"/>
              <a:gd name="T14" fmla="*/ 11 w 126"/>
              <a:gd name="T15" fmla="*/ 60 h 152"/>
              <a:gd name="T16" fmla="*/ 11 w 126"/>
              <a:gd name="T17" fmla="*/ 54 h 152"/>
              <a:gd name="T18" fmla="*/ 17 w 126"/>
              <a:gd name="T19" fmla="*/ 54 h 152"/>
              <a:gd name="T20" fmla="*/ 17 w 126"/>
              <a:gd name="T21" fmla="*/ 49 h 152"/>
              <a:gd name="T22" fmla="*/ 11 w 126"/>
              <a:gd name="T23" fmla="*/ 38 h 152"/>
              <a:gd name="T24" fmla="*/ 11 w 126"/>
              <a:gd name="T25" fmla="*/ 32 h 152"/>
              <a:gd name="T26" fmla="*/ 6 w 126"/>
              <a:gd name="T27" fmla="*/ 27 h 152"/>
              <a:gd name="T28" fmla="*/ 6 w 126"/>
              <a:gd name="T29" fmla="*/ 21 h 152"/>
              <a:gd name="T30" fmla="*/ 0 w 126"/>
              <a:gd name="T31" fmla="*/ 16 h 152"/>
              <a:gd name="T32" fmla="*/ 0 w 126"/>
              <a:gd name="T33" fmla="*/ 11 h 152"/>
              <a:gd name="T34" fmla="*/ 6 w 126"/>
              <a:gd name="T35" fmla="*/ 5 h 152"/>
              <a:gd name="T36" fmla="*/ 17 w 126"/>
              <a:gd name="T37" fmla="*/ 0 h 152"/>
              <a:gd name="T38" fmla="*/ 22 w 126"/>
              <a:gd name="T39" fmla="*/ 0 h 152"/>
              <a:gd name="T40" fmla="*/ 22 w 126"/>
              <a:gd name="T41" fmla="*/ 5 h 152"/>
              <a:gd name="T42" fmla="*/ 28 w 126"/>
              <a:gd name="T43" fmla="*/ 5 h 152"/>
              <a:gd name="T44" fmla="*/ 33 w 126"/>
              <a:gd name="T45" fmla="*/ 5 h 152"/>
              <a:gd name="T46" fmla="*/ 44 w 126"/>
              <a:gd name="T47" fmla="*/ 5 h 152"/>
              <a:gd name="T48" fmla="*/ 49 w 126"/>
              <a:gd name="T49" fmla="*/ 11 h 152"/>
              <a:gd name="T50" fmla="*/ 60 w 126"/>
              <a:gd name="T51" fmla="*/ 16 h 152"/>
              <a:gd name="T52" fmla="*/ 66 w 126"/>
              <a:gd name="T53" fmla="*/ 21 h 152"/>
              <a:gd name="T54" fmla="*/ 71 w 126"/>
              <a:gd name="T55" fmla="*/ 21 h 152"/>
              <a:gd name="T56" fmla="*/ 77 w 126"/>
              <a:gd name="T57" fmla="*/ 21 h 152"/>
              <a:gd name="T58" fmla="*/ 82 w 126"/>
              <a:gd name="T59" fmla="*/ 21 h 152"/>
              <a:gd name="T60" fmla="*/ 88 w 126"/>
              <a:gd name="T61" fmla="*/ 21 h 152"/>
              <a:gd name="T62" fmla="*/ 93 w 126"/>
              <a:gd name="T63" fmla="*/ 16 h 152"/>
              <a:gd name="T64" fmla="*/ 98 w 126"/>
              <a:gd name="T65" fmla="*/ 16 h 152"/>
              <a:gd name="T66" fmla="*/ 104 w 126"/>
              <a:gd name="T67" fmla="*/ 11 h 152"/>
              <a:gd name="T68" fmla="*/ 109 w 126"/>
              <a:gd name="T69" fmla="*/ 11 h 152"/>
              <a:gd name="T70" fmla="*/ 109 w 126"/>
              <a:gd name="T71" fmla="*/ 16 h 152"/>
              <a:gd name="T72" fmla="*/ 115 w 126"/>
              <a:gd name="T73" fmla="*/ 16 h 152"/>
              <a:gd name="T74" fmla="*/ 120 w 126"/>
              <a:gd name="T75" fmla="*/ 16 h 152"/>
              <a:gd name="T76" fmla="*/ 126 w 126"/>
              <a:gd name="T77" fmla="*/ 16 h 152"/>
              <a:gd name="T78" fmla="*/ 115 w 126"/>
              <a:gd name="T79" fmla="*/ 27 h 152"/>
              <a:gd name="T80" fmla="*/ 109 w 126"/>
              <a:gd name="T81" fmla="*/ 32 h 152"/>
              <a:gd name="T82" fmla="*/ 109 w 126"/>
              <a:gd name="T83" fmla="*/ 92 h 152"/>
              <a:gd name="T84" fmla="*/ 120 w 126"/>
              <a:gd name="T85" fmla="*/ 103 h 152"/>
              <a:gd name="T86" fmla="*/ 115 w 126"/>
              <a:gd name="T87" fmla="*/ 109 h 152"/>
              <a:gd name="T88" fmla="*/ 109 w 126"/>
              <a:gd name="T89" fmla="*/ 114 h 152"/>
              <a:gd name="T90" fmla="*/ 104 w 126"/>
              <a:gd name="T91" fmla="*/ 120 h 152"/>
              <a:gd name="T92" fmla="*/ 98 w 126"/>
              <a:gd name="T93" fmla="*/ 120 h 152"/>
              <a:gd name="T94" fmla="*/ 98 w 126"/>
              <a:gd name="T95" fmla="*/ 125 h 152"/>
              <a:gd name="T96" fmla="*/ 98 w 126"/>
              <a:gd name="T97" fmla="*/ 131 h 152"/>
              <a:gd name="T98" fmla="*/ 93 w 126"/>
              <a:gd name="T99" fmla="*/ 131 h 152"/>
              <a:gd name="T100" fmla="*/ 93 w 126"/>
              <a:gd name="T101" fmla="*/ 136 h 152"/>
              <a:gd name="T102" fmla="*/ 88 w 126"/>
              <a:gd name="T103" fmla="*/ 141 h 152"/>
              <a:gd name="T104" fmla="*/ 88 w 126"/>
              <a:gd name="T105" fmla="*/ 147 h 152"/>
              <a:gd name="T106" fmla="*/ 88 w 126"/>
              <a:gd name="T107" fmla="*/ 152 h 152"/>
              <a:gd name="T108" fmla="*/ 82 w 126"/>
              <a:gd name="T109" fmla="*/ 152 h 152"/>
              <a:gd name="T110" fmla="*/ 60 w 126"/>
              <a:gd name="T111" fmla="*/ 136 h 152"/>
              <a:gd name="T112" fmla="*/ 55 w 126"/>
              <a:gd name="T113" fmla="*/ 136 h 152"/>
              <a:gd name="T114" fmla="*/ 60 w 126"/>
              <a:gd name="T115" fmla="*/ 131 h 152"/>
              <a:gd name="T116" fmla="*/ 55 w 126"/>
              <a:gd name="T117" fmla="*/ 125 h 152"/>
              <a:gd name="T118" fmla="*/ 49 w 126"/>
              <a:gd name="T119" fmla="*/ 120 h 152"/>
              <a:gd name="T120" fmla="*/ 0 w 126"/>
              <a:gd name="T121" fmla="*/ 9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152">
                <a:moveTo>
                  <a:pt x="0" y="92"/>
                </a:moveTo>
                <a:lnTo>
                  <a:pt x="0" y="87"/>
                </a:lnTo>
                <a:lnTo>
                  <a:pt x="0" y="81"/>
                </a:lnTo>
                <a:lnTo>
                  <a:pt x="0" y="76"/>
                </a:lnTo>
                <a:lnTo>
                  <a:pt x="0" y="71"/>
                </a:lnTo>
                <a:lnTo>
                  <a:pt x="6" y="65"/>
                </a:lnTo>
                <a:lnTo>
                  <a:pt x="6" y="60"/>
                </a:lnTo>
                <a:lnTo>
                  <a:pt x="11" y="60"/>
                </a:lnTo>
                <a:lnTo>
                  <a:pt x="11" y="54"/>
                </a:lnTo>
                <a:lnTo>
                  <a:pt x="17" y="54"/>
                </a:lnTo>
                <a:lnTo>
                  <a:pt x="17" y="49"/>
                </a:lnTo>
                <a:lnTo>
                  <a:pt x="11" y="38"/>
                </a:lnTo>
                <a:lnTo>
                  <a:pt x="11" y="32"/>
                </a:lnTo>
                <a:lnTo>
                  <a:pt x="6" y="27"/>
                </a:lnTo>
                <a:lnTo>
                  <a:pt x="6" y="21"/>
                </a:lnTo>
                <a:lnTo>
                  <a:pt x="0" y="16"/>
                </a:lnTo>
                <a:lnTo>
                  <a:pt x="0" y="11"/>
                </a:lnTo>
                <a:lnTo>
                  <a:pt x="6" y="5"/>
                </a:lnTo>
                <a:lnTo>
                  <a:pt x="17" y="0"/>
                </a:lnTo>
                <a:lnTo>
                  <a:pt x="22" y="0"/>
                </a:lnTo>
                <a:lnTo>
                  <a:pt x="22" y="5"/>
                </a:lnTo>
                <a:lnTo>
                  <a:pt x="28" y="5"/>
                </a:lnTo>
                <a:lnTo>
                  <a:pt x="33" y="5"/>
                </a:lnTo>
                <a:lnTo>
                  <a:pt x="44" y="5"/>
                </a:lnTo>
                <a:lnTo>
                  <a:pt x="49" y="11"/>
                </a:lnTo>
                <a:lnTo>
                  <a:pt x="60" y="16"/>
                </a:lnTo>
                <a:lnTo>
                  <a:pt x="66" y="21"/>
                </a:lnTo>
                <a:lnTo>
                  <a:pt x="71" y="21"/>
                </a:lnTo>
                <a:lnTo>
                  <a:pt x="77" y="21"/>
                </a:lnTo>
                <a:lnTo>
                  <a:pt x="82" y="21"/>
                </a:lnTo>
                <a:lnTo>
                  <a:pt x="88" y="21"/>
                </a:lnTo>
                <a:lnTo>
                  <a:pt x="93" y="16"/>
                </a:lnTo>
                <a:lnTo>
                  <a:pt x="98" y="16"/>
                </a:lnTo>
                <a:lnTo>
                  <a:pt x="104" y="11"/>
                </a:lnTo>
                <a:lnTo>
                  <a:pt x="109" y="11"/>
                </a:lnTo>
                <a:lnTo>
                  <a:pt x="109" y="16"/>
                </a:lnTo>
                <a:lnTo>
                  <a:pt x="115" y="16"/>
                </a:lnTo>
                <a:lnTo>
                  <a:pt x="120" y="16"/>
                </a:lnTo>
                <a:lnTo>
                  <a:pt x="126" y="16"/>
                </a:lnTo>
                <a:lnTo>
                  <a:pt x="115" y="27"/>
                </a:lnTo>
                <a:lnTo>
                  <a:pt x="109" y="32"/>
                </a:lnTo>
                <a:lnTo>
                  <a:pt x="109" y="92"/>
                </a:lnTo>
                <a:lnTo>
                  <a:pt x="120" y="103"/>
                </a:lnTo>
                <a:lnTo>
                  <a:pt x="115" y="109"/>
                </a:lnTo>
                <a:lnTo>
                  <a:pt x="109" y="114"/>
                </a:lnTo>
                <a:lnTo>
                  <a:pt x="104" y="120"/>
                </a:lnTo>
                <a:lnTo>
                  <a:pt x="98" y="120"/>
                </a:lnTo>
                <a:lnTo>
                  <a:pt x="98" y="125"/>
                </a:lnTo>
                <a:lnTo>
                  <a:pt x="98" y="131"/>
                </a:lnTo>
                <a:lnTo>
                  <a:pt x="93" y="131"/>
                </a:lnTo>
                <a:lnTo>
                  <a:pt x="93" y="136"/>
                </a:lnTo>
                <a:lnTo>
                  <a:pt x="88" y="141"/>
                </a:lnTo>
                <a:lnTo>
                  <a:pt x="88" y="147"/>
                </a:lnTo>
                <a:lnTo>
                  <a:pt x="88" y="152"/>
                </a:lnTo>
                <a:lnTo>
                  <a:pt x="82" y="152"/>
                </a:lnTo>
                <a:lnTo>
                  <a:pt x="60" y="136"/>
                </a:lnTo>
                <a:lnTo>
                  <a:pt x="55" y="136"/>
                </a:lnTo>
                <a:lnTo>
                  <a:pt x="60" y="131"/>
                </a:lnTo>
                <a:lnTo>
                  <a:pt x="55" y="125"/>
                </a:lnTo>
                <a:lnTo>
                  <a:pt x="49" y="120"/>
                </a:lnTo>
                <a:lnTo>
                  <a:pt x="0" y="92"/>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0" name="Freeform 196">
            <a:extLst>
              <a:ext uri="{FF2B5EF4-FFF2-40B4-BE49-F238E27FC236}">
                <a16:creationId xmlns:a16="http://schemas.microsoft.com/office/drawing/2014/main" id="{9737C65B-AA98-71F8-6983-D24B565E8BAF}"/>
              </a:ext>
            </a:extLst>
          </p:cNvPr>
          <p:cNvSpPr>
            <a:spLocks/>
          </p:cNvSpPr>
          <p:nvPr/>
        </p:nvSpPr>
        <p:spPr bwMode="auto">
          <a:xfrm>
            <a:off x="3365499" y="2844801"/>
            <a:ext cx="177800" cy="265113"/>
          </a:xfrm>
          <a:custGeom>
            <a:avLst/>
            <a:gdLst>
              <a:gd name="T0" fmla="*/ 0 w 158"/>
              <a:gd name="T1" fmla="*/ 207 h 218"/>
              <a:gd name="T2" fmla="*/ 6 w 158"/>
              <a:gd name="T3" fmla="*/ 142 h 218"/>
              <a:gd name="T4" fmla="*/ 17 w 158"/>
              <a:gd name="T5" fmla="*/ 126 h 218"/>
              <a:gd name="T6" fmla="*/ 28 w 158"/>
              <a:gd name="T7" fmla="*/ 126 h 218"/>
              <a:gd name="T8" fmla="*/ 38 w 158"/>
              <a:gd name="T9" fmla="*/ 115 h 218"/>
              <a:gd name="T10" fmla="*/ 66 w 158"/>
              <a:gd name="T11" fmla="*/ 115 h 218"/>
              <a:gd name="T12" fmla="*/ 93 w 158"/>
              <a:gd name="T13" fmla="*/ 66 h 218"/>
              <a:gd name="T14" fmla="*/ 38 w 158"/>
              <a:gd name="T15" fmla="*/ 44 h 218"/>
              <a:gd name="T16" fmla="*/ 33 w 158"/>
              <a:gd name="T17" fmla="*/ 38 h 218"/>
              <a:gd name="T18" fmla="*/ 28 w 158"/>
              <a:gd name="T19" fmla="*/ 27 h 218"/>
              <a:gd name="T20" fmla="*/ 22 w 158"/>
              <a:gd name="T21" fmla="*/ 22 h 218"/>
              <a:gd name="T22" fmla="*/ 33 w 158"/>
              <a:gd name="T23" fmla="*/ 11 h 218"/>
              <a:gd name="T24" fmla="*/ 38 w 158"/>
              <a:gd name="T25" fmla="*/ 16 h 218"/>
              <a:gd name="T26" fmla="*/ 49 w 158"/>
              <a:gd name="T27" fmla="*/ 27 h 218"/>
              <a:gd name="T28" fmla="*/ 60 w 158"/>
              <a:gd name="T29" fmla="*/ 27 h 218"/>
              <a:gd name="T30" fmla="*/ 71 w 158"/>
              <a:gd name="T31" fmla="*/ 22 h 218"/>
              <a:gd name="T32" fmla="*/ 82 w 158"/>
              <a:gd name="T33" fmla="*/ 22 h 218"/>
              <a:gd name="T34" fmla="*/ 93 w 158"/>
              <a:gd name="T35" fmla="*/ 16 h 218"/>
              <a:gd name="T36" fmla="*/ 104 w 158"/>
              <a:gd name="T37" fmla="*/ 16 h 218"/>
              <a:gd name="T38" fmla="*/ 109 w 158"/>
              <a:gd name="T39" fmla="*/ 11 h 218"/>
              <a:gd name="T40" fmla="*/ 120 w 158"/>
              <a:gd name="T41" fmla="*/ 16 h 218"/>
              <a:gd name="T42" fmla="*/ 131 w 158"/>
              <a:gd name="T43" fmla="*/ 11 h 218"/>
              <a:gd name="T44" fmla="*/ 142 w 158"/>
              <a:gd name="T45" fmla="*/ 6 h 218"/>
              <a:gd name="T46" fmla="*/ 153 w 158"/>
              <a:gd name="T47" fmla="*/ 6 h 218"/>
              <a:gd name="T48" fmla="*/ 153 w 158"/>
              <a:gd name="T49" fmla="*/ 11 h 218"/>
              <a:gd name="T50" fmla="*/ 153 w 158"/>
              <a:gd name="T51" fmla="*/ 22 h 218"/>
              <a:gd name="T52" fmla="*/ 153 w 158"/>
              <a:gd name="T53" fmla="*/ 27 h 218"/>
              <a:gd name="T54" fmla="*/ 153 w 158"/>
              <a:gd name="T55" fmla="*/ 44 h 218"/>
              <a:gd name="T56" fmla="*/ 148 w 158"/>
              <a:gd name="T57" fmla="*/ 55 h 218"/>
              <a:gd name="T58" fmla="*/ 142 w 158"/>
              <a:gd name="T59" fmla="*/ 66 h 218"/>
              <a:gd name="T60" fmla="*/ 137 w 158"/>
              <a:gd name="T61" fmla="*/ 71 h 218"/>
              <a:gd name="T62" fmla="*/ 131 w 158"/>
              <a:gd name="T63" fmla="*/ 82 h 218"/>
              <a:gd name="T64" fmla="*/ 126 w 158"/>
              <a:gd name="T65" fmla="*/ 93 h 218"/>
              <a:gd name="T66" fmla="*/ 120 w 158"/>
              <a:gd name="T67" fmla="*/ 109 h 218"/>
              <a:gd name="T68" fmla="*/ 109 w 158"/>
              <a:gd name="T69" fmla="*/ 120 h 218"/>
              <a:gd name="T70" fmla="*/ 88 w 158"/>
              <a:gd name="T71" fmla="*/ 147 h 218"/>
              <a:gd name="T72" fmla="*/ 71 w 158"/>
              <a:gd name="T73" fmla="*/ 158 h 218"/>
              <a:gd name="T74" fmla="*/ 60 w 158"/>
              <a:gd name="T75" fmla="*/ 169 h 218"/>
              <a:gd name="T76" fmla="*/ 44 w 158"/>
              <a:gd name="T77" fmla="*/ 180 h 218"/>
              <a:gd name="T78" fmla="*/ 28 w 158"/>
              <a:gd name="T79" fmla="*/ 196 h 218"/>
              <a:gd name="T80" fmla="*/ 22 w 158"/>
              <a:gd name="T81" fmla="*/ 207 h 218"/>
              <a:gd name="T82" fmla="*/ 17 w 158"/>
              <a:gd name="T83" fmla="*/ 21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8" h="218">
                <a:moveTo>
                  <a:pt x="11" y="218"/>
                </a:moveTo>
                <a:lnTo>
                  <a:pt x="0" y="207"/>
                </a:lnTo>
                <a:lnTo>
                  <a:pt x="0" y="147"/>
                </a:lnTo>
                <a:lnTo>
                  <a:pt x="6" y="142"/>
                </a:lnTo>
                <a:lnTo>
                  <a:pt x="17" y="131"/>
                </a:lnTo>
                <a:lnTo>
                  <a:pt x="17" y="126"/>
                </a:lnTo>
                <a:lnTo>
                  <a:pt x="22" y="126"/>
                </a:lnTo>
                <a:lnTo>
                  <a:pt x="28" y="126"/>
                </a:lnTo>
                <a:lnTo>
                  <a:pt x="33" y="120"/>
                </a:lnTo>
                <a:lnTo>
                  <a:pt x="38" y="115"/>
                </a:lnTo>
                <a:lnTo>
                  <a:pt x="49" y="115"/>
                </a:lnTo>
                <a:lnTo>
                  <a:pt x="66" y="115"/>
                </a:lnTo>
                <a:lnTo>
                  <a:pt x="109" y="66"/>
                </a:lnTo>
                <a:lnTo>
                  <a:pt x="93" y="66"/>
                </a:lnTo>
                <a:lnTo>
                  <a:pt x="44" y="49"/>
                </a:lnTo>
                <a:lnTo>
                  <a:pt x="38" y="44"/>
                </a:lnTo>
                <a:lnTo>
                  <a:pt x="33" y="44"/>
                </a:lnTo>
                <a:lnTo>
                  <a:pt x="33" y="38"/>
                </a:lnTo>
                <a:lnTo>
                  <a:pt x="28" y="33"/>
                </a:lnTo>
                <a:lnTo>
                  <a:pt x="28" y="27"/>
                </a:lnTo>
                <a:lnTo>
                  <a:pt x="22" y="27"/>
                </a:lnTo>
                <a:lnTo>
                  <a:pt x="22" y="22"/>
                </a:lnTo>
                <a:lnTo>
                  <a:pt x="28" y="16"/>
                </a:lnTo>
                <a:lnTo>
                  <a:pt x="33" y="11"/>
                </a:lnTo>
                <a:lnTo>
                  <a:pt x="33" y="16"/>
                </a:lnTo>
                <a:lnTo>
                  <a:pt x="38" y="16"/>
                </a:lnTo>
                <a:lnTo>
                  <a:pt x="44" y="22"/>
                </a:lnTo>
                <a:lnTo>
                  <a:pt x="49" y="27"/>
                </a:lnTo>
                <a:lnTo>
                  <a:pt x="55" y="27"/>
                </a:lnTo>
                <a:lnTo>
                  <a:pt x="60" y="27"/>
                </a:lnTo>
                <a:lnTo>
                  <a:pt x="66" y="22"/>
                </a:lnTo>
                <a:lnTo>
                  <a:pt x="71" y="22"/>
                </a:lnTo>
                <a:lnTo>
                  <a:pt x="77" y="22"/>
                </a:lnTo>
                <a:lnTo>
                  <a:pt x="82" y="22"/>
                </a:lnTo>
                <a:lnTo>
                  <a:pt x="88" y="22"/>
                </a:lnTo>
                <a:lnTo>
                  <a:pt x="93" y="16"/>
                </a:lnTo>
                <a:lnTo>
                  <a:pt x="98" y="16"/>
                </a:lnTo>
                <a:lnTo>
                  <a:pt x="104" y="16"/>
                </a:lnTo>
                <a:lnTo>
                  <a:pt x="109" y="16"/>
                </a:lnTo>
                <a:lnTo>
                  <a:pt x="109" y="11"/>
                </a:lnTo>
                <a:lnTo>
                  <a:pt x="115" y="11"/>
                </a:lnTo>
                <a:lnTo>
                  <a:pt x="120" y="16"/>
                </a:lnTo>
                <a:lnTo>
                  <a:pt x="126" y="11"/>
                </a:lnTo>
                <a:lnTo>
                  <a:pt x="131" y="11"/>
                </a:lnTo>
                <a:lnTo>
                  <a:pt x="137" y="11"/>
                </a:lnTo>
                <a:lnTo>
                  <a:pt x="142" y="6"/>
                </a:lnTo>
                <a:lnTo>
                  <a:pt x="148" y="0"/>
                </a:lnTo>
                <a:lnTo>
                  <a:pt x="153" y="6"/>
                </a:lnTo>
                <a:lnTo>
                  <a:pt x="158" y="6"/>
                </a:lnTo>
                <a:lnTo>
                  <a:pt x="153" y="11"/>
                </a:lnTo>
                <a:lnTo>
                  <a:pt x="153" y="16"/>
                </a:lnTo>
                <a:lnTo>
                  <a:pt x="153" y="22"/>
                </a:lnTo>
                <a:lnTo>
                  <a:pt x="158" y="27"/>
                </a:lnTo>
                <a:lnTo>
                  <a:pt x="153" y="27"/>
                </a:lnTo>
                <a:lnTo>
                  <a:pt x="153" y="33"/>
                </a:lnTo>
                <a:lnTo>
                  <a:pt x="153" y="44"/>
                </a:lnTo>
                <a:lnTo>
                  <a:pt x="148" y="49"/>
                </a:lnTo>
                <a:lnTo>
                  <a:pt x="148" y="55"/>
                </a:lnTo>
                <a:lnTo>
                  <a:pt x="142" y="60"/>
                </a:lnTo>
                <a:lnTo>
                  <a:pt x="142" y="66"/>
                </a:lnTo>
                <a:lnTo>
                  <a:pt x="137" y="66"/>
                </a:lnTo>
                <a:lnTo>
                  <a:pt x="137" y="71"/>
                </a:lnTo>
                <a:lnTo>
                  <a:pt x="137" y="76"/>
                </a:lnTo>
                <a:lnTo>
                  <a:pt x="131" y="82"/>
                </a:lnTo>
                <a:lnTo>
                  <a:pt x="131" y="87"/>
                </a:lnTo>
                <a:lnTo>
                  <a:pt x="126" y="93"/>
                </a:lnTo>
                <a:lnTo>
                  <a:pt x="126" y="98"/>
                </a:lnTo>
                <a:lnTo>
                  <a:pt x="120" y="109"/>
                </a:lnTo>
                <a:lnTo>
                  <a:pt x="115" y="115"/>
                </a:lnTo>
                <a:lnTo>
                  <a:pt x="109" y="120"/>
                </a:lnTo>
                <a:lnTo>
                  <a:pt x="93" y="142"/>
                </a:lnTo>
                <a:lnTo>
                  <a:pt x="88" y="147"/>
                </a:lnTo>
                <a:lnTo>
                  <a:pt x="82" y="153"/>
                </a:lnTo>
                <a:lnTo>
                  <a:pt x="71" y="158"/>
                </a:lnTo>
                <a:lnTo>
                  <a:pt x="66" y="164"/>
                </a:lnTo>
                <a:lnTo>
                  <a:pt x="60" y="169"/>
                </a:lnTo>
                <a:lnTo>
                  <a:pt x="49" y="175"/>
                </a:lnTo>
                <a:lnTo>
                  <a:pt x="44" y="180"/>
                </a:lnTo>
                <a:lnTo>
                  <a:pt x="38" y="186"/>
                </a:lnTo>
                <a:lnTo>
                  <a:pt x="28" y="196"/>
                </a:lnTo>
                <a:lnTo>
                  <a:pt x="28" y="202"/>
                </a:lnTo>
                <a:lnTo>
                  <a:pt x="22" y="207"/>
                </a:lnTo>
                <a:lnTo>
                  <a:pt x="17" y="207"/>
                </a:lnTo>
                <a:lnTo>
                  <a:pt x="17" y="213"/>
                </a:lnTo>
                <a:lnTo>
                  <a:pt x="11" y="218"/>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1" name="Freeform 233">
            <a:extLst>
              <a:ext uri="{FF2B5EF4-FFF2-40B4-BE49-F238E27FC236}">
                <a16:creationId xmlns:a16="http://schemas.microsoft.com/office/drawing/2014/main" id="{BB2B0E97-BBC4-DC72-5438-0325B9F8BD01}"/>
              </a:ext>
            </a:extLst>
          </p:cNvPr>
          <p:cNvSpPr>
            <a:spLocks/>
          </p:cNvSpPr>
          <p:nvPr/>
        </p:nvSpPr>
        <p:spPr bwMode="auto">
          <a:xfrm>
            <a:off x="3048001" y="2465388"/>
            <a:ext cx="201613" cy="192088"/>
          </a:xfrm>
          <a:custGeom>
            <a:avLst/>
            <a:gdLst>
              <a:gd name="T0" fmla="*/ 5 w 180"/>
              <a:gd name="T1" fmla="*/ 38 h 158"/>
              <a:gd name="T2" fmla="*/ 0 w 180"/>
              <a:gd name="T3" fmla="*/ 33 h 158"/>
              <a:gd name="T4" fmla="*/ 0 w 180"/>
              <a:gd name="T5" fmla="*/ 22 h 158"/>
              <a:gd name="T6" fmla="*/ 0 w 180"/>
              <a:gd name="T7" fmla="*/ 17 h 158"/>
              <a:gd name="T8" fmla="*/ 0 w 180"/>
              <a:gd name="T9" fmla="*/ 6 h 158"/>
              <a:gd name="T10" fmla="*/ 5 w 180"/>
              <a:gd name="T11" fmla="*/ 6 h 158"/>
              <a:gd name="T12" fmla="*/ 16 w 180"/>
              <a:gd name="T13" fmla="*/ 0 h 158"/>
              <a:gd name="T14" fmla="*/ 33 w 180"/>
              <a:gd name="T15" fmla="*/ 6 h 158"/>
              <a:gd name="T16" fmla="*/ 43 w 180"/>
              <a:gd name="T17" fmla="*/ 6 h 158"/>
              <a:gd name="T18" fmla="*/ 49 w 180"/>
              <a:gd name="T19" fmla="*/ 11 h 158"/>
              <a:gd name="T20" fmla="*/ 60 w 180"/>
              <a:gd name="T21" fmla="*/ 17 h 158"/>
              <a:gd name="T22" fmla="*/ 71 w 180"/>
              <a:gd name="T23" fmla="*/ 11 h 158"/>
              <a:gd name="T24" fmla="*/ 82 w 180"/>
              <a:gd name="T25" fmla="*/ 6 h 158"/>
              <a:gd name="T26" fmla="*/ 92 w 180"/>
              <a:gd name="T27" fmla="*/ 0 h 158"/>
              <a:gd name="T28" fmla="*/ 103 w 180"/>
              <a:gd name="T29" fmla="*/ 6 h 158"/>
              <a:gd name="T30" fmla="*/ 114 w 180"/>
              <a:gd name="T31" fmla="*/ 11 h 158"/>
              <a:gd name="T32" fmla="*/ 125 w 180"/>
              <a:gd name="T33" fmla="*/ 11 h 158"/>
              <a:gd name="T34" fmla="*/ 136 w 180"/>
              <a:gd name="T35" fmla="*/ 6 h 158"/>
              <a:gd name="T36" fmla="*/ 142 w 180"/>
              <a:gd name="T37" fmla="*/ 17 h 158"/>
              <a:gd name="T38" fmla="*/ 152 w 180"/>
              <a:gd name="T39" fmla="*/ 33 h 158"/>
              <a:gd name="T40" fmla="*/ 147 w 180"/>
              <a:gd name="T41" fmla="*/ 44 h 158"/>
              <a:gd name="T42" fmla="*/ 147 w 180"/>
              <a:gd name="T43" fmla="*/ 55 h 158"/>
              <a:gd name="T44" fmla="*/ 142 w 180"/>
              <a:gd name="T45" fmla="*/ 60 h 158"/>
              <a:gd name="T46" fmla="*/ 136 w 180"/>
              <a:gd name="T47" fmla="*/ 55 h 158"/>
              <a:gd name="T48" fmla="*/ 131 w 180"/>
              <a:gd name="T49" fmla="*/ 49 h 158"/>
              <a:gd name="T50" fmla="*/ 120 w 180"/>
              <a:gd name="T51" fmla="*/ 38 h 158"/>
              <a:gd name="T52" fmla="*/ 114 w 180"/>
              <a:gd name="T53" fmla="*/ 27 h 158"/>
              <a:gd name="T54" fmla="*/ 120 w 180"/>
              <a:gd name="T55" fmla="*/ 38 h 158"/>
              <a:gd name="T56" fmla="*/ 120 w 180"/>
              <a:gd name="T57" fmla="*/ 49 h 158"/>
              <a:gd name="T58" fmla="*/ 131 w 180"/>
              <a:gd name="T59" fmla="*/ 55 h 158"/>
              <a:gd name="T60" fmla="*/ 136 w 180"/>
              <a:gd name="T61" fmla="*/ 66 h 158"/>
              <a:gd name="T62" fmla="*/ 142 w 180"/>
              <a:gd name="T63" fmla="*/ 77 h 158"/>
              <a:gd name="T64" fmla="*/ 147 w 180"/>
              <a:gd name="T65" fmla="*/ 82 h 158"/>
              <a:gd name="T66" fmla="*/ 152 w 180"/>
              <a:gd name="T67" fmla="*/ 93 h 158"/>
              <a:gd name="T68" fmla="*/ 163 w 180"/>
              <a:gd name="T69" fmla="*/ 104 h 158"/>
              <a:gd name="T70" fmla="*/ 169 w 180"/>
              <a:gd name="T71" fmla="*/ 115 h 158"/>
              <a:gd name="T72" fmla="*/ 174 w 180"/>
              <a:gd name="T73" fmla="*/ 126 h 158"/>
              <a:gd name="T74" fmla="*/ 174 w 180"/>
              <a:gd name="T75" fmla="*/ 126 h 158"/>
              <a:gd name="T76" fmla="*/ 174 w 180"/>
              <a:gd name="T77" fmla="*/ 137 h 158"/>
              <a:gd name="T78" fmla="*/ 163 w 180"/>
              <a:gd name="T79" fmla="*/ 147 h 158"/>
              <a:gd name="T80" fmla="*/ 152 w 180"/>
              <a:gd name="T81" fmla="*/ 158 h 158"/>
              <a:gd name="T82" fmla="*/ 142 w 180"/>
              <a:gd name="T83" fmla="*/ 153 h 158"/>
              <a:gd name="T84" fmla="*/ 16 w 180"/>
              <a:gd name="T85" fmla="*/ 15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 h="158">
                <a:moveTo>
                  <a:pt x="16" y="153"/>
                </a:moveTo>
                <a:lnTo>
                  <a:pt x="5" y="38"/>
                </a:lnTo>
                <a:lnTo>
                  <a:pt x="5" y="33"/>
                </a:lnTo>
                <a:lnTo>
                  <a:pt x="0" y="33"/>
                </a:lnTo>
                <a:lnTo>
                  <a:pt x="0" y="27"/>
                </a:lnTo>
                <a:lnTo>
                  <a:pt x="0" y="22"/>
                </a:lnTo>
                <a:lnTo>
                  <a:pt x="5" y="17"/>
                </a:lnTo>
                <a:lnTo>
                  <a:pt x="0" y="17"/>
                </a:lnTo>
                <a:lnTo>
                  <a:pt x="0" y="11"/>
                </a:lnTo>
                <a:lnTo>
                  <a:pt x="0" y="6"/>
                </a:lnTo>
                <a:lnTo>
                  <a:pt x="5" y="0"/>
                </a:lnTo>
                <a:lnTo>
                  <a:pt x="5" y="6"/>
                </a:lnTo>
                <a:lnTo>
                  <a:pt x="11" y="6"/>
                </a:lnTo>
                <a:lnTo>
                  <a:pt x="16" y="0"/>
                </a:lnTo>
                <a:lnTo>
                  <a:pt x="22" y="6"/>
                </a:lnTo>
                <a:lnTo>
                  <a:pt x="33" y="6"/>
                </a:lnTo>
                <a:lnTo>
                  <a:pt x="38" y="6"/>
                </a:lnTo>
                <a:lnTo>
                  <a:pt x="43" y="6"/>
                </a:lnTo>
                <a:lnTo>
                  <a:pt x="43" y="11"/>
                </a:lnTo>
                <a:lnTo>
                  <a:pt x="49" y="11"/>
                </a:lnTo>
                <a:lnTo>
                  <a:pt x="54" y="11"/>
                </a:lnTo>
                <a:lnTo>
                  <a:pt x="60" y="17"/>
                </a:lnTo>
                <a:lnTo>
                  <a:pt x="65" y="17"/>
                </a:lnTo>
                <a:lnTo>
                  <a:pt x="71" y="11"/>
                </a:lnTo>
                <a:lnTo>
                  <a:pt x="76" y="6"/>
                </a:lnTo>
                <a:lnTo>
                  <a:pt x="82" y="6"/>
                </a:lnTo>
                <a:lnTo>
                  <a:pt x="87" y="0"/>
                </a:lnTo>
                <a:lnTo>
                  <a:pt x="92" y="0"/>
                </a:lnTo>
                <a:lnTo>
                  <a:pt x="98" y="6"/>
                </a:lnTo>
                <a:lnTo>
                  <a:pt x="103" y="6"/>
                </a:lnTo>
                <a:lnTo>
                  <a:pt x="109" y="6"/>
                </a:lnTo>
                <a:lnTo>
                  <a:pt x="114" y="11"/>
                </a:lnTo>
                <a:lnTo>
                  <a:pt x="120" y="6"/>
                </a:lnTo>
                <a:lnTo>
                  <a:pt x="125" y="11"/>
                </a:lnTo>
                <a:lnTo>
                  <a:pt x="131" y="11"/>
                </a:lnTo>
                <a:lnTo>
                  <a:pt x="136" y="6"/>
                </a:lnTo>
                <a:lnTo>
                  <a:pt x="142" y="11"/>
                </a:lnTo>
                <a:lnTo>
                  <a:pt x="142" y="17"/>
                </a:lnTo>
                <a:lnTo>
                  <a:pt x="147" y="22"/>
                </a:lnTo>
                <a:lnTo>
                  <a:pt x="152" y="33"/>
                </a:lnTo>
                <a:lnTo>
                  <a:pt x="152" y="38"/>
                </a:lnTo>
                <a:lnTo>
                  <a:pt x="147" y="44"/>
                </a:lnTo>
                <a:lnTo>
                  <a:pt x="147" y="49"/>
                </a:lnTo>
                <a:lnTo>
                  <a:pt x="147" y="55"/>
                </a:lnTo>
                <a:lnTo>
                  <a:pt x="147" y="60"/>
                </a:lnTo>
                <a:lnTo>
                  <a:pt x="142" y="60"/>
                </a:lnTo>
                <a:lnTo>
                  <a:pt x="136" y="60"/>
                </a:lnTo>
                <a:lnTo>
                  <a:pt x="136" y="55"/>
                </a:lnTo>
                <a:lnTo>
                  <a:pt x="131" y="55"/>
                </a:lnTo>
                <a:lnTo>
                  <a:pt x="131" y="49"/>
                </a:lnTo>
                <a:lnTo>
                  <a:pt x="125" y="44"/>
                </a:lnTo>
                <a:lnTo>
                  <a:pt x="120" y="38"/>
                </a:lnTo>
                <a:lnTo>
                  <a:pt x="120" y="33"/>
                </a:lnTo>
                <a:lnTo>
                  <a:pt x="114" y="27"/>
                </a:lnTo>
                <a:lnTo>
                  <a:pt x="114" y="33"/>
                </a:lnTo>
                <a:lnTo>
                  <a:pt x="120" y="38"/>
                </a:lnTo>
                <a:lnTo>
                  <a:pt x="120" y="44"/>
                </a:lnTo>
                <a:lnTo>
                  <a:pt x="120" y="49"/>
                </a:lnTo>
                <a:lnTo>
                  <a:pt x="125" y="49"/>
                </a:lnTo>
                <a:lnTo>
                  <a:pt x="131" y="55"/>
                </a:lnTo>
                <a:lnTo>
                  <a:pt x="136" y="60"/>
                </a:lnTo>
                <a:lnTo>
                  <a:pt x="136" y="66"/>
                </a:lnTo>
                <a:lnTo>
                  <a:pt x="142" y="71"/>
                </a:lnTo>
                <a:lnTo>
                  <a:pt x="142" y="77"/>
                </a:lnTo>
                <a:lnTo>
                  <a:pt x="142" y="82"/>
                </a:lnTo>
                <a:lnTo>
                  <a:pt x="147" y="82"/>
                </a:lnTo>
                <a:lnTo>
                  <a:pt x="147" y="87"/>
                </a:lnTo>
                <a:lnTo>
                  <a:pt x="152" y="93"/>
                </a:lnTo>
                <a:lnTo>
                  <a:pt x="158" y="98"/>
                </a:lnTo>
                <a:lnTo>
                  <a:pt x="163" y="104"/>
                </a:lnTo>
                <a:lnTo>
                  <a:pt x="163" y="109"/>
                </a:lnTo>
                <a:lnTo>
                  <a:pt x="169" y="115"/>
                </a:lnTo>
                <a:lnTo>
                  <a:pt x="174" y="120"/>
                </a:lnTo>
                <a:lnTo>
                  <a:pt x="174" y="126"/>
                </a:lnTo>
                <a:lnTo>
                  <a:pt x="180" y="126"/>
                </a:lnTo>
                <a:lnTo>
                  <a:pt x="174" y="126"/>
                </a:lnTo>
                <a:lnTo>
                  <a:pt x="174" y="131"/>
                </a:lnTo>
                <a:lnTo>
                  <a:pt x="174" y="137"/>
                </a:lnTo>
                <a:lnTo>
                  <a:pt x="169" y="142"/>
                </a:lnTo>
                <a:lnTo>
                  <a:pt x="163" y="147"/>
                </a:lnTo>
                <a:lnTo>
                  <a:pt x="158" y="153"/>
                </a:lnTo>
                <a:lnTo>
                  <a:pt x="152" y="158"/>
                </a:lnTo>
                <a:lnTo>
                  <a:pt x="147" y="158"/>
                </a:lnTo>
                <a:lnTo>
                  <a:pt x="142" y="153"/>
                </a:lnTo>
                <a:lnTo>
                  <a:pt x="114" y="153"/>
                </a:lnTo>
                <a:lnTo>
                  <a:pt x="16" y="153"/>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2" name="Freeform 236">
            <a:extLst>
              <a:ext uri="{FF2B5EF4-FFF2-40B4-BE49-F238E27FC236}">
                <a16:creationId xmlns:a16="http://schemas.microsoft.com/office/drawing/2014/main" id="{A10905A9-A7E4-33D4-33AC-053A64D20593}"/>
              </a:ext>
            </a:extLst>
          </p:cNvPr>
          <p:cNvSpPr>
            <a:spLocks/>
          </p:cNvSpPr>
          <p:nvPr/>
        </p:nvSpPr>
        <p:spPr bwMode="auto">
          <a:xfrm>
            <a:off x="2790825" y="2438400"/>
            <a:ext cx="274638" cy="266700"/>
          </a:xfrm>
          <a:custGeom>
            <a:avLst/>
            <a:gdLst>
              <a:gd name="T0" fmla="*/ 38 w 245"/>
              <a:gd name="T1" fmla="*/ 142 h 219"/>
              <a:gd name="T2" fmla="*/ 27 w 245"/>
              <a:gd name="T3" fmla="*/ 137 h 219"/>
              <a:gd name="T4" fmla="*/ 16 w 245"/>
              <a:gd name="T5" fmla="*/ 137 h 219"/>
              <a:gd name="T6" fmla="*/ 16 w 245"/>
              <a:gd name="T7" fmla="*/ 126 h 219"/>
              <a:gd name="T8" fmla="*/ 11 w 245"/>
              <a:gd name="T9" fmla="*/ 120 h 219"/>
              <a:gd name="T10" fmla="*/ 11 w 245"/>
              <a:gd name="T11" fmla="*/ 104 h 219"/>
              <a:gd name="T12" fmla="*/ 11 w 245"/>
              <a:gd name="T13" fmla="*/ 93 h 219"/>
              <a:gd name="T14" fmla="*/ 11 w 245"/>
              <a:gd name="T15" fmla="*/ 82 h 219"/>
              <a:gd name="T16" fmla="*/ 11 w 245"/>
              <a:gd name="T17" fmla="*/ 66 h 219"/>
              <a:gd name="T18" fmla="*/ 5 w 245"/>
              <a:gd name="T19" fmla="*/ 49 h 219"/>
              <a:gd name="T20" fmla="*/ 0 w 245"/>
              <a:gd name="T21" fmla="*/ 44 h 219"/>
              <a:gd name="T22" fmla="*/ 11 w 245"/>
              <a:gd name="T23" fmla="*/ 44 h 219"/>
              <a:gd name="T24" fmla="*/ 16 w 245"/>
              <a:gd name="T25" fmla="*/ 33 h 219"/>
              <a:gd name="T26" fmla="*/ 16 w 245"/>
              <a:gd name="T27" fmla="*/ 22 h 219"/>
              <a:gd name="T28" fmla="*/ 27 w 245"/>
              <a:gd name="T29" fmla="*/ 11 h 219"/>
              <a:gd name="T30" fmla="*/ 33 w 245"/>
              <a:gd name="T31" fmla="*/ 6 h 219"/>
              <a:gd name="T32" fmla="*/ 38 w 245"/>
              <a:gd name="T33" fmla="*/ 0 h 219"/>
              <a:gd name="T34" fmla="*/ 49 w 245"/>
              <a:gd name="T35" fmla="*/ 6 h 219"/>
              <a:gd name="T36" fmla="*/ 60 w 245"/>
              <a:gd name="T37" fmla="*/ 6 h 219"/>
              <a:gd name="T38" fmla="*/ 71 w 245"/>
              <a:gd name="T39" fmla="*/ 6 h 219"/>
              <a:gd name="T40" fmla="*/ 82 w 245"/>
              <a:gd name="T41" fmla="*/ 11 h 219"/>
              <a:gd name="T42" fmla="*/ 87 w 245"/>
              <a:gd name="T43" fmla="*/ 17 h 219"/>
              <a:gd name="T44" fmla="*/ 92 w 245"/>
              <a:gd name="T45" fmla="*/ 22 h 219"/>
              <a:gd name="T46" fmla="*/ 98 w 245"/>
              <a:gd name="T47" fmla="*/ 28 h 219"/>
              <a:gd name="T48" fmla="*/ 109 w 245"/>
              <a:gd name="T49" fmla="*/ 28 h 219"/>
              <a:gd name="T50" fmla="*/ 125 w 245"/>
              <a:gd name="T51" fmla="*/ 33 h 219"/>
              <a:gd name="T52" fmla="*/ 136 w 245"/>
              <a:gd name="T53" fmla="*/ 39 h 219"/>
              <a:gd name="T54" fmla="*/ 142 w 245"/>
              <a:gd name="T55" fmla="*/ 44 h 219"/>
              <a:gd name="T56" fmla="*/ 152 w 245"/>
              <a:gd name="T57" fmla="*/ 44 h 219"/>
              <a:gd name="T58" fmla="*/ 158 w 245"/>
              <a:gd name="T59" fmla="*/ 39 h 219"/>
              <a:gd name="T60" fmla="*/ 158 w 245"/>
              <a:gd name="T61" fmla="*/ 28 h 219"/>
              <a:gd name="T62" fmla="*/ 158 w 245"/>
              <a:gd name="T63" fmla="*/ 17 h 219"/>
              <a:gd name="T64" fmla="*/ 163 w 245"/>
              <a:gd name="T65" fmla="*/ 11 h 219"/>
              <a:gd name="T66" fmla="*/ 169 w 245"/>
              <a:gd name="T67" fmla="*/ 6 h 219"/>
              <a:gd name="T68" fmla="*/ 180 w 245"/>
              <a:gd name="T69" fmla="*/ 0 h 219"/>
              <a:gd name="T70" fmla="*/ 185 w 245"/>
              <a:gd name="T71" fmla="*/ 0 h 219"/>
              <a:gd name="T72" fmla="*/ 191 w 245"/>
              <a:gd name="T73" fmla="*/ 6 h 219"/>
              <a:gd name="T74" fmla="*/ 202 w 245"/>
              <a:gd name="T75" fmla="*/ 11 h 219"/>
              <a:gd name="T76" fmla="*/ 207 w 245"/>
              <a:gd name="T77" fmla="*/ 17 h 219"/>
              <a:gd name="T78" fmla="*/ 218 w 245"/>
              <a:gd name="T79" fmla="*/ 17 h 219"/>
              <a:gd name="T80" fmla="*/ 229 w 245"/>
              <a:gd name="T81" fmla="*/ 17 h 219"/>
              <a:gd name="T82" fmla="*/ 229 w 245"/>
              <a:gd name="T83" fmla="*/ 33 h 219"/>
              <a:gd name="T84" fmla="*/ 234 w 245"/>
              <a:gd name="T85" fmla="*/ 39 h 219"/>
              <a:gd name="T86" fmla="*/ 229 w 245"/>
              <a:gd name="T87" fmla="*/ 49 h 219"/>
              <a:gd name="T88" fmla="*/ 234 w 245"/>
              <a:gd name="T89" fmla="*/ 55 h 219"/>
              <a:gd name="T90" fmla="*/ 245 w 245"/>
              <a:gd name="T91" fmla="*/ 175 h 219"/>
              <a:gd name="T92" fmla="*/ 234 w 245"/>
              <a:gd name="T93" fmla="*/ 208 h 219"/>
              <a:gd name="T94" fmla="*/ 202 w 245"/>
              <a:gd name="T95" fmla="*/ 197 h 219"/>
              <a:gd name="T96" fmla="*/ 109 w 245"/>
              <a:gd name="T97" fmla="*/ 153 h 219"/>
              <a:gd name="T98" fmla="*/ 82 w 245"/>
              <a:gd name="T99" fmla="*/ 164 h 219"/>
              <a:gd name="T100" fmla="*/ 65 w 245"/>
              <a:gd name="T101" fmla="*/ 15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5" h="219">
                <a:moveTo>
                  <a:pt x="43" y="153"/>
                </a:moveTo>
                <a:lnTo>
                  <a:pt x="38" y="142"/>
                </a:lnTo>
                <a:lnTo>
                  <a:pt x="33" y="137"/>
                </a:lnTo>
                <a:lnTo>
                  <a:pt x="27" y="137"/>
                </a:lnTo>
                <a:lnTo>
                  <a:pt x="22" y="137"/>
                </a:lnTo>
                <a:lnTo>
                  <a:pt x="16" y="137"/>
                </a:lnTo>
                <a:lnTo>
                  <a:pt x="16" y="131"/>
                </a:lnTo>
                <a:lnTo>
                  <a:pt x="16" y="126"/>
                </a:lnTo>
                <a:lnTo>
                  <a:pt x="16" y="120"/>
                </a:lnTo>
                <a:lnTo>
                  <a:pt x="11" y="120"/>
                </a:lnTo>
                <a:lnTo>
                  <a:pt x="5" y="109"/>
                </a:lnTo>
                <a:lnTo>
                  <a:pt x="11" y="104"/>
                </a:lnTo>
                <a:lnTo>
                  <a:pt x="11" y="99"/>
                </a:lnTo>
                <a:lnTo>
                  <a:pt x="11" y="93"/>
                </a:lnTo>
                <a:lnTo>
                  <a:pt x="11" y="88"/>
                </a:lnTo>
                <a:lnTo>
                  <a:pt x="11" y="82"/>
                </a:lnTo>
                <a:lnTo>
                  <a:pt x="11" y="77"/>
                </a:lnTo>
                <a:lnTo>
                  <a:pt x="11" y="66"/>
                </a:lnTo>
                <a:lnTo>
                  <a:pt x="11" y="60"/>
                </a:lnTo>
                <a:lnTo>
                  <a:pt x="5" y="49"/>
                </a:lnTo>
                <a:lnTo>
                  <a:pt x="0" y="49"/>
                </a:lnTo>
                <a:lnTo>
                  <a:pt x="0" y="44"/>
                </a:lnTo>
                <a:lnTo>
                  <a:pt x="5" y="44"/>
                </a:lnTo>
                <a:lnTo>
                  <a:pt x="11" y="44"/>
                </a:lnTo>
                <a:lnTo>
                  <a:pt x="11" y="39"/>
                </a:lnTo>
                <a:lnTo>
                  <a:pt x="16" y="33"/>
                </a:lnTo>
                <a:lnTo>
                  <a:pt x="11" y="28"/>
                </a:lnTo>
                <a:lnTo>
                  <a:pt x="16" y="22"/>
                </a:lnTo>
                <a:lnTo>
                  <a:pt x="22" y="17"/>
                </a:lnTo>
                <a:lnTo>
                  <a:pt x="27" y="11"/>
                </a:lnTo>
                <a:lnTo>
                  <a:pt x="33" y="11"/>
                </a:lnTo>
                <a:lnTo>
                  <a:pt x="33" y="6"/>
                </a:lnTo>
                <a:lnTo>
                  <a:pt x="33" y="0"/>
                </a:lnTo>
                <a:lnTo>
                  <a:pt x="38" y="0"/>
                </a:lnTo>
                <a:lnTo>
                  <a:pt x="43" y="6"/>
                </a:lnTo>
                <a:lnTo>
                  <a:pt x="49" y="6"/>
                </a:lnTo>
                <a:lnTo>
                  <a:pt x="54" y="6"/>
                </a:lnTo>
                <a:lnTo>
                  <a:pt x="60" y="6"/>
                </a:lnTo>
                <a:lnTo>
                  <a:pt x="65" y="6"/>
                </a:lnTo>
                <a:lnTo>
                  <a:pt x="71" y="6"/>
                </a:lnTo>
                <a:lnTo>
                  <a:pt x="76" y="11"/>
                </a:lnTo>
                <a:lnTo>
                  <a:pt x="82" y="11"/>
                </a:lnTo>
                <a:lnTo>
                  <a:pt x="87" y="11"/>
                </a:lnTo>
                <a:lnTo>
                  <a:pt x="87" y="17"/>
                </a:lnTo>
                <a:lnTo>
                  <a:pt x="87" y="22"/>
                </a:lnTo>
                <a:lnTo>
                  <a:pt x="92" y="22"/>
                </a:lnTo>
                <a:lnTo>
                  <a:pt x="92" y="28"/>
                </a:lnTo>
                <a:lnTo>
                  <a:pt x="98" y="28"/>
                </a:lnTo>
                <a:lnTo>
                  <a:pt x="103" y="28"/>
                </a:lnTo>
                <a:lnTo>
                  <a:pt x="109" y="28"/>
                </a:lnTo>
                <a:lnTo>
                  <a:pt x="120" y="33"/>
                </a:lnTo>
                <a:lnTo>
                  <a:pt x="125" y="33"/>
                </a:lnTo>
                <a:lnTo>
                  <a:pt x="131" y="39"/>
                </a:lnTo>
                <a:lnTo>
                  <a:pt x="136" y="39"/>
                </a:lnTo>
                <a:lnTo>
                  <a:pt x="136" y="44"/>
                </a:lnTo>
                <a:lnTo>
                  <a:pt x="142" y="44"/>
                </a:lnTo>
                <a:lnTo>
                  <a:pt x="147" y="44"/>
                </a:lnTo>
                <a:lnTo>
                  <a:pt x="152" y="44"/>
                </a:lnTo>
                <a:lnTo>
                  <a:pt x="152" y="39"/>
                </a:lnTo>
                <a:lnTo>
                  <a:pt x="158" y="39"/>
                </a:lnTo>
                <a:lnTo>
                  <a:pt x="158" y="33"/>
                </a:lnTo>
                <a:lnTo>
                  <a:pt x="158" y="28"/>
                </a:lnTo>
                <a:lnTo>
                  <a:pt x="158" y="22"/>
                </a:lnTo>
                <a:lnTo>
                  <a:pt x="158" y="17"/>
                </a:lnTo>
                <a:lnTo>
                  <a:pt x="158" y="11"/>
                </a:lnTo>
                <a:lnTo>
                  <a:pt x="163" y="11"/>
                </a:lnTo>
                <a:lnTo>
                  <a:pt x="163" y="6"/>
                </a:lnTo>
                <a:lnTo>
                  <a:pt x="169" y="6"/>
                </a:lnTo>
                <a:lnTo>
                  <a:pt x="174" y="6"/>
                </a:lnTo>
                <a:lnTo>
                  <a:pt x="180" y="0"/>
                </a:lnTo>
                <a:lnTo>
                  <a:pt x="185" y="6"/>
                </a:lnTo>
                <a:lnTo>
                  <a:pt x="185" y="0"/>
                </a:lnTo>
                <a:lnTo>
                  <a:pt x="185" y="6"/>
                </a:lnTo>
                <a:lnTo>
                  <a:pt x="191" y="6"/>
                </a:lnTo>
                <a:lnTo>
                  <a:pt x="202" y="6"/>
                </a:lnTo>
                <a:lnTo>
                  <a:pt x="202" y="11"/>
                </a:lnTo>
                <a:lnTo>
                  <a:pt x="202" y="17"/>
                </a:lnTo>
                <a:lnTo>
                  <a:pt x="207" y="17"/>
                </a:lnTo>
                <a:lnTo>
                  <a:pt x="212" y="17"/>
                </a:lnTo>
                <a:lnTo>
                  <a:pt x="218" y="17"/>
                </a:lnTo>
                <a:lnTo>
                  <a:pt x="223" y="17"/>
                </a:lnTo>
                <a:lnTo>
                  <a:pt x="229" y="17"/>
                </a:lnTo>
                <a:lnTo>
                  <a:pt x="229" y="28"/>
                </a:lnTo>
                <a:lnTo>
                  <a:pt x="229" y="33"/>
                </a:lnTo>
                <a:lnTo>
                  <a:pt x="229" y="39"/>
                </a:lnTo>
                <a:lnTo>
                  <a:pt x="234" y="39"/>
                </a:lnTo>
                <a:lnTo>
                  <a:pt x="229" y="44"/>
                </a:lnTo>
                <a:lnTo>
                  <a:pt x="229" y="49"/>
                </a:lnTo>
                <a:lnTo>
                  <a:pt x="229" y="55"/>
                </a:lnTo>
                <a:lnTo>
                  <a:pt x="234" y="55"/>
                </a:lnTo>
                <a:lnTo>
                  <a:pt x="234" y="60"/>
                </a:lnTo>
                <a:lnTo>
                  <a:pt x="245" y="175"/>
                </a:lnTo>
                <a:lnTo>
                  <a:pt x="245" y="208"/>
                </a:lnTo>
                <a:lnTo>
                  <a:pt x="234" y="208"/>
                </a:lnTo>
                <a:lnTo>
                  <a:pt x="234" y="219"/>
                </a:lnTo>
                <a:lnTo>
                  <a:pt x="202" y="197"/>
                </a:lnTo>
                <a:lnTo>
                  <a:pt x="152" y="175"/>
                </a:lnTo>
                <a:lnTo>
                  <a:pt x="109" y="153"/>
                </a:lnTo>
                <a:lnTo>
                  <a:pt x="92" y="159"/>
                </a:lnTo>
                <a:lnTo>
                  <a:pt x="82" y="164"/>
                </a:lnTo>
                <a:lnTo>
                  <a:pt x="71" y="159"/>
                </a:lnTo>
                <a:lnTo>
                  <a:pt x="65" y="159"/>
                </a:lnTo>
                <a:lnTo>
                  <a:pt x="43" y="153"/>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3" name="Freeform 237">
            <a:extLst>
              <a:ext uri="{FF2B5EF4-FFF2-40B4-BE49-F238E27FC236}">
                <a16:creationId xmlns:a16="http://schemas.microsoft.com/office/drawing/2014/main" id="{BC71F774-4C88-F342-E0E2-5F46A765B68C}"/>
              </a:ext>
            </a:extLst>
          </p:cNvPr>
          <p:cNvSpPr>
            <a:spLocks/>
          </p:cNvSpPr>
          <p:nvPr/>
        </p:nvSpPr>
        <p:spPr bwMode="auto">
          <a:xfrm>
            <a:off x="2490789" y="2359025"/>
            <a:ext cx="347663" cy="352425"/>
          </a:xfrm>
          <a:custGeom>
            <a:avLst/>
            <a:gdLst>
              <a:gd name="T0" fmla="*/ 0 w 310"/>
              <a:gd name="T1" fmla="*/ 136 h 289"/>
              <a:gd name="T2" fmla="*/ 11 w 310"/>
              <a:gd name="T3" fmla="*/ 125 h 289"/>
              <a:gd name="T4" fmla="*/ 21 w 310"/>
              <a:gd name="T5" fmla="*/ 120 h 289"/>
              <a:gd name="T6" fmla="*/ 38 w 310"/>
              <a:gd name="T7" fmla="*/ 120 h 289"/>
              <a:gd name="T8" fmla="*/ 54 w 310"/>
              <a:gd name="T9" fmla="*/ 114 h 289"/>
              <a:gd name="T10" fmla="*/ 65 w 310"/>
              <a:gd name="T11" fmla="*/ 104 h 289"/>
              <a:gd name="T12" fmla="*/ 76 w 310"/>
              <a:gd name="T13" fmla="*/ 98 h 289"/>
              <a:gd name="T14" fmla="*/ 87 w 310"/>
              <a:gd name="T15" fmla="*/ 87 h 289"/>
              <a:gd name="T16" fmla="*/ 98 w 310"/>
              <a:gd name="T17" fmla="*/ 82 h 289"/>
              <a:gd name="T18" fmla="*/ 114 w 310"/>
              <a:gd name="T19" fmla="*/ 82 h 289"/>
              <a:gd name="T20" fmla="*/ 109 w 310"/>
              <a:gd name="T21" fmla="*/ 71 h 289"/>
              <a:gd name="T22" fmla="*/ 109 w 310"/>
              <a:gd name="T23" fmla="*/ 54 h 289"/>
              <a:gd name="T24" fmla="*/ 103 w 310"/>
              <a:gd name="T25" fmla="*/ 44 h 289"/>
              <a:gd name="T26" fmla="*/ 103 w 310"/>
              <a:gd name="T27" fmla="*/ 33 h 289"/>
              <a:gd name="T28" fmla="*/ 114 w 310"/>
              <a:gd name="T29" fmla="*/ 27 h 289"/>
              <a:gd name="T30" fmla="*/ 130 w 310"/>
              <a:gd name="T31" fmla="*/ 22 h 289"/>
              <a:gd name="T32" fmla="*/ 141 w 310"/>
              <a:gd name="T33" fmla="*/ 16 h 289"/>
              <a:gd name="T34" fmla="*/ 152 w 310"/>
              <a:gd name="T35" fmla="*/ 11 h 289"/>
              <a:gd name="T36" fmla="*/ 169 w 310"/>
              <a:gd name="T37" fmla="*/ 11 h 289"/>
              <a:gd name="T38" fmla="*/ 180 w 310"/>
              <a:gd name="T39" fmla="*/ 5 h 289"/>
              <a:gd name="T40" fmla="*/ 196 w 310"/>
              <a:gd name="T41" fmla="*/ 5 h 289"/>
              <a:gd name="T42" fmla="*/ 207 w 310"/>
              <a:gd name="T43" fmla="*/ 11 h 289"/>
              <a:gd name="T44" fmla="*/ 223 w 310"/>
              <a:gd name="T45" fmla="*/ 0 h 289"/>
              <a:gd name="T46" fmla="*/ 234 w 310"/>
              <a:gd name="T47" fmla="*/ 0 h 289"/>
              <a:gd name="T48" fmla="*/ 250 w 310"/>
              <a:gd name="T49" fmla="*/ 5 h 289"/>
              <a:gd name="T50" fmla="*/ 245 w 310"/>
              <a:gd name="T51" fmla="*/ 11 h 289"/>
              <a:gd name="T52" fmla="*/ 250 w 310"/>
              <a:gd name="T53" fmla="*/ 22 h 289"/>
              <a:gd name="T54" fmla="*/ 250 w 310"/>
              <a:gd name="T55" fmla="*/ 38 h 289"/>
              <a:gd name="T56" fmla="*/ 240 w 310"/>
              <a:gd name="T57" fmla="*/ 49 h 289"/>
              <a:gd name="T58" fmla="*/ 245 w 310"/>
              <a:gd name="T59" fmla="*/ 65 h 289"/>
              <a:gd name="T60" fmla="*/ 250 w 310"/>
              <a:gd name="T61" fmla="*/ 76 h 289"/>
              <a:gd name="T62" fmla="*/ 272 w 310"/>
              <a:gd name="T63" fmla="*/ 109 h 289"/>
              <a:gd name="T64" fmla="*/ 272 w 310"/>
              <a:gd name="T65" fmla="*/ 114 h 289"/>
              <a:gd name="T66" fmla="*/ 278 w 310"/>
              <a:gd name="T67" fmla="*/ 142 h 289"/>
              <a:gd name="T68" fmla="*/ 278 w 310"/>
              <a:gd name="T69" fmla="*/ 158 h 289"/>
              <a:gd name="T70" fmla="*/ 272 w 310"/>
              <a:gd name="T71" fmla="*/ 174 h 289"/>
              <a:gd name="T72" fmla="*/ 283 w 310"/>
              <a:gd name="T73" fmla="*/ 191 h 289"/>
              <a:gd name="T74" fmla="*/ 289 w 310"/>
              <a:gd name="T75" fmla="*/ 202 h 289"/>
              <a:gd name="T76" fmla="*/ 305 w 310"/>
              <a:gd name="T77" fmla="*/ 207 h 289"/>
              <a:gd name="T78" fmla="*/ 250 w 310"/>
              <a:gd name="T79" fmla="*/ 256 h 289"/>
              <a:gd name="T80" fmla="*/ 196 w 310"/>
              <a:gd name="T81" fmla="*/ 289 h 289"/>
              <a:gd name="T82" fmla="*/ 180 w 310"/>
              <a:gd name="T83" fmla="*/ 278 h 289"/>
              <a:gd name="T84" fmla="*/ 163 w 310"/>
              <a:gd name="T85" fmla="*/ 267 h 289"/>
              <a:gd name="T86" fmla="*/ 147 w 310"/>
              <a:gd name="T87" fmla="*/ 262 h 289"/>
              <a:gd name="T88" fmla="*/ 103 w 310"/>
              <a:gd name="T89" fmla="*/ 224 h 289"/>
              <a:gd name="T90" fmla="*/ 32 w 310"/>
              <a:gd name="T91" fmla="*/ 174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0" h="289">
                <a:moveTo>
                  <a:pt x="0" y="158"/>
                </a:moveTo>
                <a:lnTo>
                  <a:pt x="0" y="153"/>
                </a:lnTo>
                <a:lnTo>
                  <a:pt x="0" y="136"/>
                </a:lnTo>
                <a:lnTo>
                  <a:pt x="5" y="131"/>
                </a:lnTo>
                <a:lnTo>
                  <a:pt x="11" y="131"/>
                </a:lnTo>
                <a:lnTo>
                  <a:pt x="11" y="125"/>
                </a:lnTo>
                <a:lnTo>
                  <a:pt x="16" y="125"/>
                </a:lnTo>
                <a:lnTo>
                  <a:pt x="21" y="125"/>
                </a:lnTo>
                <a:lnTo>
                  <a:pt x="21" y="120"/>
                </a:lnTo>
                <a:lnTo>
                  <a:pt x="27" y="120"/>
                </a:lnTo>
                <a:lnTo>
                  <a:pt x="32" y="120"/>
                </a:lnTo>
                <a:lnTo>
                  <a:pt x="38" y="120"/>
                </a:lnTo>
                <a:lnTo>
                  <a:pt x="43" y="120"/>
                </a:lnTo>
                <a:lnTo>
                  <a:pt x="49" y="114"/>
                </a:lnTo>
                <a:lnTo>
                  <a:pt x="54" y="114"/>
                </a:lnTo>
                <a:lnTo>
                  <a:pt x="54" y="109"/>
                </a:lnTo>
                <a:lnTo>
                  <a:pt x="60" y="104"/>
                </a:lnTo>
                <a:lnTo>
                  <a:pt x="65" y="104"/>
                </a:lnTo>
                <a:lnTo>
                  <a:pt x="71" y="104"/>
                </a:lnTo>
                <a:lnTo>
                  <a:pt x="71" y="98"/>
                </a:lnTo>
                <a:lnTo>
                  <a:pt x="76" y="98"/>
                </a:lnTo>
                <a:lnTo>
                  <a:pt x="76" y="93"/>
                </a:lnTo>
                <a:lnTo>
                  <a:pt x="76" y="87"/>
                </a:lnTo>
                <a:lnTo>
                  <a:pt x="87" y="87"/>
                </a:lnTo>
                <a:lnTo>
                  <a:pt x="87" y="82"/>
                </a:lnTo>
                <a:lnTo>
                  <a:pt x="92" y="82"/>
                </a:lnTo>
                <a:lnTo>
                  <a:pt x="98" y="82"/>
                </a:lnTo>
                <a:lnTo>
                  <a:pt x="103" y="82"/>
                </a:lnTo>
                <a:lnTo>
                  <a:pt x="109" y="82"/>
                </a:lnTo>
                <a:lnTo>
                  <a:pt x="114" y="82"/>
                </a:lnTo>
                <a:lnTo>
                  <a:pt x="109" y="76"/>
                </a:lnTo>
                <a:lnTo>
                  <a:pt x="114" y="76"/>
                </a:lnTo>
                <a:lnTo>
                  <a:pt x="109" y="71"/>
                </a:lnTo>
                <a:lnTo>
                  <a:pt x="109" y="65"/>
                </a:lnTo>
                <a:lnTo>
                  <a:pt x="103" y="60"/>
                </a:lnTo>
                <a:lnTo>
                  <a:pt x="109" y="54"/>
                </a:lnTo>
                <a:lnTo>
                  <a:pt x="103" y="54"/>
                </a:lnTo>
                <a:lnTo>
                  <a:pt x="103" y="49"/>
                </a:lnTo>
                <a:lnTo>
                  <a:pt x="103" y="44"/>
                </a:lnTo>
                <a:lnTo>
                  <a:pt x="103" y="38"/>
                </a:lnTo>
                <a:lnTo>
                  <a:pt x="98" y="33"/>
                </a:lnTo>
                <a:lnTo>
                  <a:pt x="103" y="33"/>
                </a:lnTo>
                <a:lnTo>
                  <a:pt x="109" y="33"/>
                </a:lnTo>
                <a:lnTo>
                  <a:pt x="109" y="27"/>
                </a:lnTo>
                <a:lnTo>
                  <a:pt x="114" y="27"/>
                </a:lnTo>
                <a:lnTo>
                  <a:pt x="120" y="22"/>
                </a:lnTo>
                <a:lnTo>
                  <a:pt x="125" y="22"/>
                </a:lnTo>
                <a:lnTo>
                  <a:pt x="130" y="22"/>
                </a:lnTo>
                <a:lnTo>
                  <a:pt x="130" y="16"/>
                </a:lnTo>
                <a:lnTo>
                  <a:pt x="136" y="16"/>
                </a:lnTo>
                <a:lnTo>
                  <a:pt x="141" y="16"/>
                </a:lnTo>
                <a:lnTo>
                  <a:pt x="141" y="11"/>
                </a:lnTo>
                <a:lnTo>
                  <a:pt x="147" y="11"/>
                </a:lnTo>
                <a:lnTo>
                  <a:pt x="152" y="11"/>
                </a:lnTo>
                <a:lnTo>
                  <a:pt x="158" y="11"/>
                </a:lnTo>
                <a:lnTo>
                  <a:pt x="163" y="11"/>
                </a:lnTo>
                <a:lnTo>
                  <a:pt x="169" y="11"/>
                </a:lnTo>
                <a:lnTo>
                  <a:pt x="169" y="5"/>
                </a:lnTo>
                <a:lnTo>
                  <a:pt x="174" y="5"/>
                </a:lnTo>
                <a:lnTo>
                  <a:pt x="180" y="5"/>
                </a:lnTo>
                <a:lnTo>
                  <a:pt x="185" y="5"/>
                </a:lnTo>
                <a:lnTo>
                  <a:pt x="190" y="5"/>
                </a:lnTo>
                <a:lnTo>
                  <a:pt x="196" y="5"/>
                </a:lnTo>
                <a:lnTo>
                  <a:pt x="201" y="5"/>
                </a:lnTo>
                <a:lnTo>
                  <a:pt x="201" y="11"/>
                </a:lnTo>
                <a:lnTo>
                  <a:pt x="207" y="11"/>
                </a:lnTo>
                <a:lnTo>
                  <a:pt x="212" y="5"/>
                </a:lnTo>
                <a:lnTo>
                  <a:pt x="218" y="5"/>
                </a:lnTo>
                <a:lnTo>
                  <a:pt x="223" y="0"/>
                </a:lnTo>
                <a:lnTo>
                  <a:pt x="223" y="5"/>
                </a:lnTo>
                <a:lnTo>
                  <a:pt x="229" y="5"/>
                </a:lnTo>
                <a:lnTo>
                  <a:pt x="234" y="0"/>
                </a:lnTo>
                <a:lnTo>
                  <a:pt x="240" y="5"/>
                </a:lnTo>
                <a:lnTo>
                  <a:pt x="245" y="5"/>
                </a:lnTo>
                <a:lnTo>
                  <a:pt x="250" y="5"/>
                </a:lnTo>
                <a:lnTo>
                  <a:pt x="256" y="5"/>
                </a:lnTo>
                <a:lnTo>
                  <a:pt x="250" y="5"/>
                </a:lnTo>
                <a:lnTo>
                  <a:pt x="245" y="11"/>
                </a:lnTo>
                <a:lnTo>
                  <a:pt x="250" y="11"/>
                </a:lnTo>
                <a:lnTo>
                  <a:pt x="250" y="16"/>
                </a:lnTo>
                <a:lnTo>
                  <a:pt x="250" y="22"/>
                </a:lnTo>
                <a:lnTo>
                  <a:pt x="250" y="27"/>
                </a:lnTo>
                <a:lnTo>
                  <a:pt x="250" y="33"/>
                </a:lnTo>
                <a:lnTo>
                  <a:pt x="250" y="38"/>
                </a:lnTo>
                <a:lnTo>
                  <a:pt x="245" y="44"/>
                </a:lnTo>
                <a:lnTo>
                  <a:pt x="245" y="49"/>
                </a:lnTo>
                <a:lnTo>
                  <a:pt x="240" y="49"/>
                </a:lnTo>
                <a:lnTo>
                  <a:pt x="240" y="54"/>
                </a:lnTo>
                <a:lnTo>
                  <a:pt x="245" y="60"/>
                </a:lnTo>
                <a:lnTo>
                  <a:pt x="245" y="65"/>
                </a:lnTo>
                <a:lnTo>
                  <a:pt x="250" y="65"/>
                </a:lnTo>
                <a:lnTo>
                  <a:pt x="250" y="71"/>
                </a:lnTo>
                <a:lnTo>
                  <a:pt x="250" y="76"/>
                </a:lnTo>
                <a:lnTo>
                  <a:pt x="261" y="82"/>
                </a:lnTo>
                <a:lnTo>
                  <a:pt x="261" y="87"/>
                </a:lnTo>
                <a:lnTo>
                  <a:pt x="272" y="109"/>
                </a:lnTo>
                <a:lnTo>
                  <a:pt x="267" y="109"/>
                </a:lnTo>
                <a:lnTo>
                  <a:pt x="267" y="114"/>
                </a:lnTo>
                <a:lnTo>
                  <a:pt x="272" y="114"/>
                </a:lnTo>
                <a:lnTo>
                  <a:pt x="278" y="125"/>
                </a:lnTo>
                <a:lnTo>
                  <a:pt x="278" y="131"/>
                </a:lnTo>
                <a:lnTo>
                  <a:pt x="278" y="142"/>
                </a:lnTo>
                <a:lnTo>
                  <a:pt x="278" y="147"/>
                </a:lnTo>
                <a:lnTo>
                  <a:pt x="278" y="153"/>
                </a:lnTo>
                <a:lnTo>
                  <a:pt x="278" y="158"/>
                </a:lnTo>
                <a:lnTo>
                  <a:pt x="278" y="164"/>
                </a:lnTo>
                <a:lnTo>
                  <a:pt x="278" y="169"/>
                </a:lnTo>
                <a:lnTo>
                  <a:pt x="272" y="174"/>
                </a:lnTo>
                <a:lnTo>
                  <a:pt x="278" y="185"/>
                </a:lnTo>
                <a:lnTo>
                  <a:pt x="283" y="185"/>
                </a:lnTo>
                <a:lnTo>
                  <a:pt x="283" y="191"/>
                </a:lnTo>
                <a:lnTo>
                  <a:pt x="283" y="196"/>
                </a:lnTo>
                <a:lnTo>
                  <a:pt x="283" y="202"/>
                </a:lnTo>
                <a:lnTo>
                  <a:pt x="289" y="202"/>
                </a:lnTo>
                <a:lnTo>
                  <a:pt x="294" y="202"/>
                </a:lnTo>
                <a:lnTo>
                  <a:pt x="300" y="202"/>
                </a:lnTo>
                <a:lnTo>
                  <a:pt x="305" y="207"/>
                </a:lnTo>
                <a:lnTo>
                  <a:pt x="310" y="218"/>
                </a:lnTo>
                <a:lnTo>
                  <a:pt x="300" y="224"/>
                </a:lnTo>
                <a:lnTo>
                  <a:pt x="250" y="256"/>
                </a:lnTo>
                <a:lnTo>
                  <a:pt x="245" y="262"/>
                </a:lnTo>
                <a:lnTo>
                  <a:pt x="218" y="284"/>
                </a:lnTo>
                <a:lnTo>
                  <a:pt x="196" y="289"/>
                </a:lnTo>
                <a:lnTo>
                  <a:pt x="180" y="289"/>
                </a:lnTo>
                <a:lnTo>
                  <a:pt x="180" y="284"/>
                </a:lnTo>
                <a:lnTo>
                  <a:pt x="180" y="278"/>
                </a:lnTo>
                <a:lnTo>
                  <a:pt x="174" y="273"/>
                </a:lnTo>
                <a:lnTo>
                  <a:pt x="169" y="273"/>
                </a:lnTo>
                <a:lnTo>
                  <a:pt x="163" y="267"/>
                </a:lnTo>
                <a:lnTo>
                  <a:pt x="158" y="267"/>
                </a:lnTo>
                <a:lnTo>
                  <a:pt x="152" y="262"/>
                </a:lnTo>
                <a:lnTo>
                  <a:pt x="147" y="262"/>
                </a:lnTo>
                <a:lnTo>
                  <a:pt x="147" y="256"/>
                </a:lnTo>
                <a:lnTo>
                  <a:pt x="130" y="245"/>
                </a:lnTo>
                <a:lnTo>
                  <a:pt x="103" y="224"/>
                </a:lnTo>
                <a:lnTo>
                  <a:pt x="87" y="213"/>
                </a:lnTo>
                <a:lnTo>
                  <a:pt x="54" y="196"/>
                </a:lnTo>
                <a:lnTo>
                  <a:pt x="32" y="174"/>
                </a:lnTo>
                <a:lnTo>
                  <a:pt x="0" y="158"/>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4" name="Freeform 238">
            <a:extLst>
              <a:ext uri="{FF2B5EF4-FFF2-40B4-BE49-F238E27FC236}">
                <a16:creationId xmlns:a16="http://schemas.microsoft.com/office/drawing/2014/main" id="{50FEE982-448A-D4C2-0530-B7E52419AA5E}"/>
              </a:ext>
            </a:extLst>
          </p:cNvPr>
          <p:cNvSpPr>
            <a:spLocks/>
          </p:cNvSpPr>
          <p:nvPr/>
        </p:nvSpPr>
        <p:spPr bwMode="auto">
          <a:xfrm>
            <a:off x="2760663" y="2359025"/>
            <a:ext cx="66675" cy="133350"/>
          </a:xfrm>
          <a:custGeom>
            <a:avLst/>
            <a:gdLst>
              <a:gd name="T0" fmla="*/ 32 w 60"/>
              <a:gd name="T1" fmla="*/ 109 h 109"/>
              <a:gd name="T2" fmla="*/ 21 w 60"/>
              <a:gd name="T3" fmla="*/ 87 h 109"/>
              <a:gd name="T4" fmla="*/ 21 w 60"/>
              <a:gd name="T5" fmla="*/ 82 h 109"/>
              <a:gd name="T6" fmla="*/ 10 w 60"/>
              <a:gd name="T7" fmla="*/ 76 h 109"/>
              <a:gd name="T8" fmla="*/ 10 w 60"/>
              <a:gd name="T9" fmla="*/ 71 h 109"/>
              <a:gd name="T10" fmla="*/ 10 w 60"/>
              <a:gd name="T11" fmla="*/ 65 h 109"/>
              <a:gd name="T12" fmla="*/ 5 w 60"/>
              <a:gd name="T13" fmla="*/ 65 h 109"/>
              <a:gd name="T14" fmla="*/ 5 w 60"/>
              <a:gd name="T15" fmla="*/ 60 h 109"/>
              <a:gd name="T16" fmla="*/ 0 w 60"/>
              <a:gd name="T17" fmla="*/ 54 h 109"/>
              <a:gd name="T18" fmla="*/ 0 w 60"/>
              <a:gd name="T19" fmla="*/ 49 h 109"/>
              <a:gd name="T20" fmla="*/ 5 w 60"/>
              <a:gd name="T21" fmla="*/ 49 h 109"/>
              <a:gd name="T22" fmla="*/ 5 w 60"/>
              <a:gd name="T23" fmla="*/ 44 h 109"/>
              <a:gd name="T24" fmla="*/ 10 w 60"/>
              <a:gd name="T25" fmla="*/ 38 h 109"/>
              <a:gd name="T26" fmla="*/ 10 w 60"/>
              <a:gd name="T27" fmla="*/ 33 h 109"/>
              <a:gd name="T28" fmla="*/ 10 w 60"/>
              <a:gd name="T29" fmla="*/ 27 h 109"/>
              <a:gd name="T30" fmla="*/ 10 w 60"/>
              <a:gd name="T31" fmla="*/ 22 h 109"/>
              <a:gd name="T32" fmla="*/ 10 w 60"/>
              <a:gd name="T33" fmla="*/ 16 h 109"/>
              <a:gd name="T34" fmla="*/ 10 w 60"/>
              <a:gd name="T35" fmla="*/ 11 h 109"/>
              <a:gd name="T36" fmla="*/ 5 w 60"/>
              <a:gd name="T37" fmla="*/ 11 h 109"/>
              <a:gd name="T38" fmla="*/ 10 w 60"/>
              <a:gd name="T39" fmla="*/ 5 h 109"/>
              <a:gd name="T40" fmla="*/ 16 w 60"/>
              <a:gd name="T41" fmla="*/ 5 h 109"/>
              <a:gd name="T42" fmla="*/ 10 w 60"/>
              <a:gd name="T43" fmla="*/ 5 h 109"/>
              <a:gd name="T44" fmla="*/ 16 w 60"/>
              <a:gd name="T45" fmla="*/ 5 h 109"/>
              <a:gd name="T46" fmla="*/ 16 w 60"/>
              <a:gd name="T47" fmla="*/ 0 h 109"/>
              <a:gd name="T48" fmla="*/ 21 w 60"/>
              <a:gd name="T49" fmla="*/ 0 h 109"/>
              <a:gd name="T50" fmla="*/ 27 w 60"/>
              <a:gd name="T51" fmla="*/ 0 h 109"/>
              <a:gd name="T52" fmla="*/ 32 w 60"/>
              <a:gd name="T53" fmla="*/ 0 h 109"/>
              <a:gd name="T54" fmla="*/ 38 w 60"/>
              <a:gd name="T55" fmla="*/ 0 h 109"/>
              <a:gd name="T56" fmla="*/ 38 w 60"/>
              <a:gd name="T57" fmla="*/ 5 h 109"/>
              <a:gd name="T58" fmla="*/ 43 w 60"/>
              <a:gd name="T59" fmla="*/ 5 h 109"/>
              <a:gd name="T60" fmla="*/ 43 w 60"/>
              <a:gd name="T61" fmla="*/ 0 h 109"/>
              <a:gd name="T62" fmla="*/ 49 w 60"/>
              <a:gd name="T63" fmla="*/ 0 h 109"/>
              <a:gd name="T64" fmla="*/ 49 w 60"/>
              <a:gd name="T65" fmla="*/ 5 h 109"/>
              <a:gd name="T66" fmla="*/ 43 w 60"/>
              <a:gd name="T67" fmla="*/ 11 h 109"/>
              <a:gd name="T68" fmla="*/ 38 w 60"/>
              <a:gd name="T69" fmla="*/ 16 h 109"/>
              <a:gd name="T70" fmla="*/ 43 w 60"/>
              <a:gd name="T71" fmla="*/ 22 h 109"/>
              <a:gd name="T72" fmla="*/ 49 w 60"/>
              <a:gd name="T73" fmla="*/ 27 h 109"/>
              <a:gd name="T74" fmla="*/ 49 w 60"/>
              <a:gd name="T75" fmla="*/ 33 h 109"/>
              <a:gd name="T76" fmla="*/ 49 w 60"/>
              <a:gd name="T77" fmla="*/ 38 h 109"/>
              <a:gd name="T78" fmla="*/ 43 w 60"/>
              <a:gd name="T79" fmla="*/ 38 h 109"/>
              <a:gd name="T80" fmla="*/ 43 w 60"/>
              <a:gd name="T81" fmla="*/ 44 h 109"/>
              <a:gd name="T82" fmla="*/ 38 w 60"/>
              <a:gd name="T83" fmla="*/ 44 h 109"/>
              <a:gd name="T84" fmla="*/ 38 w 60"/>
              <a:gd name="T85" fmla="*/ 49 h 109"/>
              <a:gd name="T86" fmla="*/ 38 w 60"/>
              <a:gd name="T87" fmla="*/ 54 h 109"/>
              <a:gd name="T88" fmla="*/ 43 w 60"/>
              <a:gd name="T89" fmla="*/ 54 h 109"/>
              <a:gd name="T90" fmla="*/ 49 w 60"/>
              <a:gd name="T91" fmla="*/ 60 h 109"/>
              <a:gd name="T92" fmla="*/ 49 w 60"/>
              <a:gd name="T93" fmla="*/ 54 h 109"/>
              <a:gd name="T94" fmla="*/ 54 w 60"/>
              <a:gd name="T95" fmla="*/ 60 h 109"/>
              <a:gd name="T96" fmla="*/ 54 w 60"/>
              <a:gd name="T97" fmla="*/ 65 h 109"/>
              <a:gd name="T98" fmla="*/ 60 w 60"/>
              <a:gd name="T99" fmla="*/ 65 h 109"/>
              <a:gd name="T100" fmla="*/ 60 w 60"/>
              <a:gd name="T101" fmla="*/ 71 h 109"/>
              <a:gd name="T102" fmla="*/ 60 w 60"/>
              <a:gd name="T103" fmla="*/ 76 h 109"/>
              <a:gd name="T104" fmla="*/ 54 w 60"/>
              <a:gd name="T105" fmla="*/ 76 h 109"/>
              <a:gd name="T106" fmla="*/ 49 w 60"/>
              <a:gd name="T107" fmla="*/ 82 h 109"/>
              <a:gd name="T108" fmla="*/ 43 w 60"/>
              <a:gd name="T109" fmla="*/ 87 h 109"/>
              <a:gd name="T110" fmla="*/ 38 w 60"/>
              <a:gd name="T111" fmla="*/ 93 h 109"/>
              <a:gd name="T112" fmla="*/ 43 w 60"/>
              <a:gd name="T113" fmla="*/ 98 h 109"/>
              <a:gd name="T114" fmla="*/ 38 w 60"/>
              <a:gd name="T115" fmla="*/ 104 h 109"/>
              <a:gd name="T116" fmla="*/ 38 w 60"/>
              <a:gd name="T117" fmla="*/ 109 h 109"/>
              <a:gd name="T118" fmla="*/ 32 w 60"/>
              <a:gd name="T11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09">
                <a:moveTo>
                  <a:pt x="32" y="109"/>
                </a:moveTo>
                <a:lnTo>
                  <a:pt x="21" y="87"/>
                </a:lnTo>
                <a:lnTo>
                  <a:pt x="21" y="82"/>
                </a:lnTo>
                <a:lnTo>
                  <a:pt x="10" y="76"/>
                </a:lnTo>
                <a:lnTo>
                  <a:pt x="10" y="71"/>
                </a:lnTo>
                <a:lnTo>
                  <a:pt x="10" y="65"/>
                </a:lnTo>
                <a:lnTo>
                  <a:pt x="5" y="65"/>
                </a:lnTo>
                <a:lnTo>
                  <a:pt x="5" y="60"/>
                </a:lnTo>
                <a:lnTo>
                  <a:pt x="0" y="54"/>
                </a:lnTo>
                <a:lnTo>
                  <a:pt x="0" y="49"/>
                </a:lnTo>
                <a:lnTo>
                  <a:pt x="5" y="49"/>
                </a:lnTo>
                <a:lnTo>
                  <a:pt x="5" y="44"/>
                </a:lnTo>
                <a:lnTo>
                  <a:pt x="10" y="38"/>
                </a:lnTo>
                <a:lnTo>
                  <a:pt x="10" y="33"/>
                </a:lnTo>
                <a:lnTo>
                  <a:pt x="10" y="27"/>
                </a:lnTo>
                <a:lnTo>
                  <a:pt x="10" y="22"/>
                </a:lnTo>
                <a:lnTo>
                  <a:pt x="10" y="16"/>
                </a:lnTo>
                <a:lnTo>
                  <a:pt x="10" y="11"/>
                </a:lnTo>
                <a:lnTo>
                  <a:pt x="5" y="11"/>
                </a:lnTo>
                <a:lnTo>
                  <a:pt x="10" y="5"/>
                </a:lnTo>
                <a:lnTo>
                  <a:pt x="16" y="5"/>
                </a:lnTo>
                <a:lnTo>
                  <a:pt x="10" y="5"/>
                </a:lnTo>
                <a:lnTo>
                  <a:pt x="16" y="5"/>
                </a:lnTo>
                <a:lnTo>
                  <a:pt x="16" y="0"/>
                </a:lnTo>
                <a:lnTo>
                  <a:pt x="21" y="0"/>
                </a:lnTo>
                <a:lnTo>
                  <a:pt x="27" y="0"/>
                </a:lnTo>
                <a:lnTo>
                  <a:pt x="32" y="0"/>
                </a:lnTo>
                <a:lnTo>
                  <a:pt x="38" y="0"/>
                </a:lnTo>
                <a:lnTo>
                  <a:pt x="38" y="5"/>
                </a:lnTo>
                <a:lnTo>
                  <a:pt x="43" y="5"/>
                </a:lnTo>
                <a:lnTo>
                  <a:pt x="43" y="0"/>
                </a:lnTo>
                <a:lnTo>
                  <a:pt x="49" y="0"/>
                </a:lnTo>
                <a:lnTo>
                  <a:pt x="49" y="5"/>
                </a:lnTo>
                <a:lnTo>
                  <a:pt x="43" y="11"/>
                </a:lnTo>
                <a:lnTo>
                  <a:pt x="38" y="16"/>
                </a:lnTo>
                <a:lnTo>
                  <a:pt x="43" y="22"/>
                </a:lnTo>
                <a:lnTo>
                  <a:pt x="49" y="27"/>
                </a:lnTo>
                <a:lnTo>
                  <a:pt x="49" y="33"/>
                </a:lnTo>
                <a:lnTo>
                  <a:pt x="49" y="38"/>
                </a:lnTo>
                <a:lnTo>
                  <a:pt x="43" y="38"/>
                </a:lnTo>
                <a:lnTo>
                  <a:pt x="43" y="44"/>
                </a:lnTo>
                <a:lnTo>
                  <a:pt x="38" y="44"/>
                </a:lnTo>
                <a:lnTo>
                  <a:pt x="38" y="49"/>
                </a:lnTo>
                <a:lnTo>
                  <a:pt x="38" y="54"/>
                </a:lnTo>
                <a:lnTo>
                  <a:pt x="43" y="54"/>
                </a:lnTo>
                <a:lnTo>
                  <a:pt x="49" y="60"/>
                </a:lnTo>
                <a:lnTo>
                  <a:pt x="49" y="54"/>
                </a:lnTo>
                <a:lnTo>
                  <a:pt x="54" y="60"/>
                </a:lnTo>
                <a:lnTo>
                  <a:pt x="54" y="65"/>
                </a:lnTo>
                <a:lnTo>
                  <a:pt x="60" y="65"/>
                </a:lnTo>
                <a:lnTo>
                  <a:pt x="60" y="71"/>
                </a:lnTo>
                <a:lnTo>
                  <a:pt x="60" y="76"/>
                </a:lnTo>
                <a:lnTo>
                  <a:pt x="54" y="76"/>
                </a:lnTo>
                <a:lnTo>
                  <a:pt x="49" y="82"/>
                </a:lnTo>
                <a:lnTo>
                  <a:pt x="43" y="87"/>
                </a:lnTo>
                <a:lnTo>
                  <a:pt x="38" y="93"/>
                </a:lnTo>
                <a:lnTo>
                  <a:pt x="43" y="98"/>
                </a:lnTo>
                <a:lnTo>
                  <a:pt x="38" y="104"/>
                </a:lnTo>
                <a:lnTo>
                  <a:pt x="38" y="109"/>
                </a:lnTo>
                <a:lnTo>
                  <a:pt x="32" y="109"/>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5" name="Freeform 425">
            <a:extLst>
              <a:ext uri="{FF2B5EF4-FFF2-40B4-BE49-F238E27FC236}">
                <a16:creationId xmlns:a16="http://schemas.microsoft.com/office/drawing/2014/main" id="{C29F623E-E9CA-2015-833D-FFF027AD5001}"/>
              </a:ext>
            </a:extLst>
          </p:cNvPr>
          <p:cNvSpPr>
            <a:spLocks/>
          </p:cNvSpPr>
          <p:nvPr/>
        </p:nvSpPr>
        <p:spPr bwMode="auto">
          <a:xfrm>
            <a:off x="3378200" y="3311526"/>
            <a:ext cx="141288" cy="265113"/>
          </a:xfrm>
          <a:custGeom>
            <a:avLst/>
            <a:gdLst>
              <a:gd name="T0" fmla="*/ 0 w 126"/>
              <a:gd name="T1" fmla="*/ 158 h 218"/>
              <a:gd name="T2" fmla="*/ 6 w 126"/>
              <a:gd name="T3" fmla="*/ 153 h 218"/>
              <a:gd name="T4" fmla="*/ 11 w 126"/>
              <a:gd name="T5" fmla="*/ 147 h 218"/>
              <a:gd name="T6" fmla="*/ 17 w 126"/>
              <a:gd name="T7" fmla="*/ 142 h 218"/>
              <a:gd name="T8" fmla="*/ 22 w 126"/>
              <a:gd name="T9" fmla="*/ 136 h 218"/>
              <a:gd name="T10" fmla="*/ 22 w 126"/>
              <a:gd name="T11" fmla="*/ 125 h 218"/>
              <a:gd name="T12" fmla="*/ 22 w 126"/>
              <a:gd name="T13" fmla="*/ 114 h 218"/>
              <a:gd name="T14" fmla="*/ 22 w 126"/>
              <a:gd name="T15" fmla="*/ 104 h 218"/>
              <a:gd name="T16" fmla="*/ 22 w 126"/>
              <a:gd name="T17" fmla="*/ 93 h 218"/>
              <a:gd name="T18" fmla="*/ 22 w 126"/>
              <a:gd name="T19" fmla="*/ 82 h 218"/>
              <a:gd name="T20" fmla="*/ 27 w 126"/>
              <a:gd name="T21" fmla="*/ 76 h 218"/>
              <a:gd name="T22" fmla="*/ 33 w 126"/>
              <a:gd name="T23" fmla="*/ 65 h 218"/>
              <a:gd name="T24" fmla="*/ 38 w 126"/>
              <a:gd name="T25" fmla="*/ 71 h 218"/>
              <a:gd name="T26" fmla="*/ 44 w 126"/>
              <a:gd name="T27" fmla="*/ 65 h 218"/>
              <a:gd name="T28" fmla="*/ 49 w 126"/>
              <a:gd name="T29" fmla="*/ 60 h 218"/>
              <a:gd name="T30" fmla="*/ 60 w 126"/>
              <a:gd name="T31" fmla="*/ 60 h 218"/>
              <a:gd name="T32" fmla="*/ 60 w 126"/>
              <a:gd name="T33" fmla="*/ 60 h 218"/>
              <a:gd name="T34" fmla="*/ 71 w 126"/>
              <a:gd name="T35" fmla="*/ 54 h 218"/>
              <a:gd name="T36" fmla="*/ 82 w 126"/>
              <a:gd name="T37" fmla="*/ 44 h 218"/>
              <a:gd name="T38" fmla="*/ 82 w 126"/>
              <a:gd name="T39" fmla="*/ 49 h 218"/>
              <a:gd name="T40" fmla="*/ 87 w 126"/>
              <a:gd name="T41" fmla="*/ 44 h 218"/>
              <a:gd name="T42" fmla="*/ 87 w 126"/>
              <a:gd name="T43" fmla="*/ 38 h 218"/>
              <a:gd name="T44" fmla="*/ 87 w 126"/>
              <a:gd name="T45" fmla="*/ 33 h 218"/>
              <a:gd name="T46" fmla="*/ 93 w 126"/>
              <a:gd name="T47" fmla="*/ 27 h 218"/>
              <a:gd name="T48" fmla="*/ 98 w 126"/>
              <a:gd name="T49" fmla="*/ 27 h 218"/>
              <a:gd name="T50" fmla="*/ 104 w 126"/>
              <a:gd name="T51" fmla="*/ 22 h 218"/>
              <a:gd name="T52" fmla="*/ 104 w 126"/>
              <a:gd name="T53" fmla="*/ 11 h 218"/>
              <a:gd name="T54" fmla="*/ 109 w 126"/>
              <a:gd name="T55" fmla="*/ 5 h 218"/>
              <a:gd name="T56" fmla="*/ 115 w 126"/>
              <a:gd name="T57" fmla="*/ 5 h 218"/>
              <a:gd name="T58" fmla="*/ 120 w 126"/>
              <a:gd name="T59" fmla="*/ 11 h 218"/>
              <a:gd name="T60" fmla="*/ 120 w 126"/>
              <a:gd name="T61" fmla="*/ 22 h 218"/>
              <a:gd name="T62" fmla="*/ 126 w 126"/>
              <a:gd name="T63" fmla="*/ 33 h 218"/>
              <a:gd name="T64" fmla="*/ 126 w 126"/>
              <a:gd name="T65" fmla="*/ 44 h 218"/>
              <a:gd name="T66" fmla="*/ 126 w 126"/>
              <a:gd name="T67" fmla="*/ 54 h 218"/>
              <a:gd name="T68" fmla="*/ 120 w 126"/>
              <a:gd name="T69" fmla="*/ 60 h 218"/>
              <a:gd name="T70" fmla="*/ 115 w 126"/>
              <a:gd name="T71" fmla="*/ 60 h 218"/>
              <a:gd name="T72" fmla="*/ 115 w 126"/>
              <a:gd name="T73" fmla="*/ 60 h 218"/>
              <a:gd name="T74" fmla="*/ 115 w 126"/>
              <a:gd name="T75" fmla="*/ 71 h 218"/>
              <a:gd name="T76" fmla="*/ 109 w 126"/>
              <a:gd name="T77" fmla="*/ 82 h 218"/>
              <a:gd name="T78" fmla="*/ 109 w 126"/>
              <a:gd name="T79" fmla="*/ 93 h 218"/>
              <a:gd name="T80" fmla="*/ 104 w 126"/>
              <a:gd name="T81" fmla="*/ 98 h 218"/>
              <a:gd name="T82" fmla="*/ 98 w 126"/>
              <a:gd name="T83" fmla="*/ 114 h 218"/>
              <a:gd name="T84" fmla="*/ 93 w 126"/>
              <a:gd name="T85" fmla="*/ 125 h 218"/>
              <a:gd name="T86" fmla="*/ 87 w 126"/>
              <a:gd name="T87" fmla="*/ 136 h 218"/>
              <a:gd name="T88" fmla="*/ 82 w 126"/>
              <a:gd name="T89" fmla="*/ 147 h 218"/>
              <a:gd name="T90" fmla="*/ 71 w 126"/>
              <a:gd name="T91" fmla="*/ 169 h 218"/>
              <a:gd name="T92" fmla="*/ 66 w 126"/>
              <a:gd name="T93" fmla="*/ 180 h 218"/>
              <a:gd name="T94" fmla="*/ 60 w 126"/>
              <a:gd name="T95" fmla="*/ 191 h 218"/>
              <a:gd name="T96" fmla="*/ 55 w 126"/>
              <a:gd name="T97" fmla="*/ 196 h 218"/>
              <a:gd name="T98" fmla="*/ 55 w 126"/>
              <a:gd name="T99" fmla="*/ 207 h 218"/>
              <a:gd name="T100" fmla="*/ 44 w 126"/>
              <a:gd name="T101" fmla="*/ 213 h 218"/>
              <a:gd name="T102" fmla="*/ 27 w 126"/>
              <a:gd name="T103" fmla="*/ 218 h 218"/>
              <a:gd name="T104" fmla="*/ 17 w 126"/>
              <a:gd name="T105" fmla="*/ 213 h 218"/>
              <a:gd name="T106" fmla="*/ 11 w 126"/>
              <a:gd name="T107" fmla="*/ 207 h 218"/>
              <a:gd name="T108" fmla="*/ 6 w 126"/>
              <a:gd name="T109" fmla="*/ 202 h 218"/>
              <a:gd name="T110" fmla="*/ 6 w 126"/>
              <a:gd name="T111" fmla="*/ 191 h 218"/>
              <a:gd name="T112" fmla="*/ 6 w 126"/>
              <a:gd name="T113" fmla="*/ 180 h 218"/>
              <a:gd name="T114" fmla="*/ 0 w 126"/>
              <a:gd name="T115" fmla="*/ 174 h 218"/>
              <a:gd name="T116" fmla="*/ 0 w 126"/>
              <a:gd name="T117" fmla="*/ 164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6" h="218">
                <a:moveTo>
                  <a:pt x="0" y="164"/>
                </a:moveTo>
                <a:lnTo>
                  <a:pt x="0" y="158"/>
                </a:lnTo>
                <a:lnTo>
                  <a:pt x="6" y="158"/>
                </a:lnTo>
                <a:lnTo>
                  <a:pt x="6" y="153"/>
                </a:lnTo>
                <a:lnTo>
                  <a:pt x="6" y="147"/>
                </a:lnTo>
                <a:lnTo>
                  <a:pt x="11" y="147"/>
                </a:lnTo>
                <a:lnTo>
                  <a:pt x="11" y="142"/>
                </a:lnTo>
                <a:lnTo>
                  <a:pt x="17" y="142"/>
                </a:lnTo>
                <a:lnTo>
                  <a:pt x="17" y="136"/>
                </a:lnTo>
                <a:lnTo>
                  <a:pt x="22" y="136"/>
                </a:lnTo>
                <a:lnTo>
                  <a:pt x="22" y="131"/>
                </a:lnTo>
                <a:lnTo>
                  <a:pt x="22" y="125"/>
                </a:lnTo>
                <a:lnTo>
                  <a:pt x="27" y="120"/>
                </a:lnTo>
                <a:lnTo>
                  <a:pt x="22" y="114"/>
                </a:lnTo>
                <a:lnTo>
                  <a:pt x="22" y="109"/>
                </a:lnTo>
                <a:lnTo>
                  <a:pt x="22" y="104"/>
                </a:lnTo>
                <a:lnTo>
                  <a:pt x="22" y="98"/>
                </a:lnTo>
                <a:lnTo>
                  <a:pt x="22" y="93"/>
                </a:lnTo>
                <a:lnTo>
                  <a:pt x="22" y="87"/>
                </a:lnTo>
                <a:lnTo>
                  <a:pt x="22" y="82"/>
                </a:lnTo>
                <a:lnTo>
                  <a:pt x="27" y="82"/>
                </a:lnTo>
                <a:lnTo>
                  <a:pt x="27" y="76"/>
                </a:lnTo>
                <a:lnTo>
                  <a:pt x="33" y="71"/>
                </a:lnTo>
                <a:lnTo>
                  <a:pt x="33" y="65"/>
                </a:lnTo>
                <a:lnTo>
                  <a:pt x="38" y="65"/>
                </a:lnTo>
                <a:lnTo>
                  <a:pt x="38" y="71"/>
                </a:lnTo>
                <a:lnTo>
                  <a:pt x="38" y="65"/>
                </a:lnTo>
                <a:lnTo>
                  <a:pt x="44" y="65"/>
                </a:lnTo>
                <a:lnTo>
                  <a:pt x="49" y="65"/>
                </a:lnTo>
                <a:lnTo>
                  <a:pt x="49" y="60"/>
                </a:lnTo>
                <a:lnTo>
                  <a:pt x="55" y="60"/>
                </a:lnTo>
                <a:lnTo>
                  <a:pt x="60" y="60"/>
                </a:lnTo>
                <a:lnTo>
                  <a:pt x="60" y="65"/>
                </a:lnTo>
                <a:lnTo>
                  <a:pt x="60" y="60"/>
                </a:lnTo>
                <a:lnTo>
                  <a:pt x="66" y="54"/>
                </a:lnTo>
                <a:lnTo>
                  <a:pt x="71" y="54"/>
                </a:lnTo>
                <a:lnTo>
                  <a:pt x="77" y="49"/>
                </a:lnTo>
                <a:lnTo>
                  <a:pt x="82" y="44"/>
                </a:lnTo>
                <a:lnTo>
                  <a:pt x="77" y="49"/>
                </a:lnTo>
                <a:lnTo>
                  <a:pt x="82" y="49"/>
                </a:lnTo>
                <a:lnTo>
                  <a:pt x="82" y="44"/>
                </a:lnTo>
                <a:lnTo>
                  <a:pt x="87" y="44"/>
                </a:lnTo>
                <a:lnTo>
                  <a:pt x="82" y="38"/>
                </a:lnTo>
                <a:lnTo>
                  <a:pt x="87" y="38"/>
                </a:lnTo>
                <a:lnTo>
                  <a:pt x="93" y="38"/>
                </a:lnTo>
                <a:lnTo>
                  <a:pt x="87" y="33"/>
                </a:lnTo>
                <a:lnTo>
                  <a:pt x="87" y="27"/>
                </a:lnTo>
                <a:lnTo>
                  <a:pt x="93" y="27"/>
                </a:lnTo>
                <a:lnTo>
                  <a:pt x="93" y="33"/>
                </a:lnTo>
                <a:lnTo>
                  <a:pt x="98" y="27"/>
                </a:lnTo>
                <a:lnTo>
                  <a:pt x="98" y="22"/>
                </a:lnTo>
                <a:lnTo>
                  <a:pt x="104" y="22"/>
                </a:lnTo>
                <a:lnTo>
                  <a:pt x="109" y="16"/>
                </a:lnTo>
                <a:lnTo>
                  <a:pt x="104" y="11"/>
                </a:lnTo>
                <a:lnTo>
                  <a:pt x="109" y="11"/>
                </a:lnTo>
                <a:lnTo>
                  <a:pt x="109" y="5"/>
                </a:lnTo>
                <a:lnTo>
                  <a:pt x="115" y="0"/>
                </a:lnTo>
                <a:lnTo>
                  <a:pt x="115" y="5"/>
                </a:lnTo>
                <a:lnTo>
                  <a:pt x="115" y="11"/>
                </a:lnTo>
                <a:lnTo>
                  <a:pt x="120" y="11"/>
                </a:lnTo>
                <a:lnTo>
                  <a:pt x="120" y="16"/>
                </a:lnTo>
                <a:lnTo>
                  <a:pt x="120" y="22"/>
                </a:lnTo>
                <a:lnTo>
                  <a:pt x="120" y="27"/>
                </a:lnTo>
                <a:lnTo>
                  <a:pt x="126" y="33"/>
                </a:lnTo>
                <a:lnTo>
                  <a:pt x="126" y="38"/>
                </a:lnTo>
                <a:lnTo>
                  <a:pt x="126" y="44"/>
                </a:lnTo>
                <a:lnTo>
                  <a:pt x="126" y="49"/>
                </a:lnTo>
                <a:lnTo>
                  <a:pt x="126" y="54"/>
                </a:lnTo>
                <a:lnTo>
                  <a:pt x="126" y="60"/>
                </a:lnTo>
                <a:lnTo>
                  <a:pt x="120" y="60"/>
                </a:lnTo>
                <a:lnTo>
                  <a:pt x="120" y="65"/>
                </a:lnTo>
                <a:lnTo>
                  <a:pt x="115" y="60"/>
                </a:lnTo>
                <a:lnTo>
                  <a:pt x="115" y="54"/>
                </a:lnTo>
                <a:lnTo>
                  <a:pt x="115" y="60"/>
                </a:lnTo>
                <a:lnTo>
                  <a:pt x="115" y="65"/>
                </a:lnTo>
                <a:lnTo>
                  <a:pt x="115" y="71"/>
                </a:lnTo>
                <a:lnTo>
                  <a:pt x="115" y="76"/>
                </a:lnTo>
                <a:lnTo>
                  <a:pt x="109" y="82"/>
                </a:lnTo>
                <a:lnTo>
                  <a:pt x="104" y="87"/>
                </a:lnTo>
                <a:lnTo>
                  <a:pt x="109" y="93"/>
                </a:lnTo>
                <a:lnTo>
                  <a:pt x="104" y="93"/>
                </a:lnTo>
                <a:lnTo>
                  <a:pt x="104" y="98"/>
                </a:lnTo>
                <a:lnTo>
                  <a:pt x="104" y="104"/>
                </a:lnTo>
                <a:lnTo>
                  <a:pt x="98" y="114"/>
                </a:lnTo>
                <a:lnTo>
                  <a:pt x="93" y="120"/>
                </a:lnTo>
                <a:lnTo>
                  <a:pt x="93" y="125"/>
                </a:lnTo>
                <a:lnTo>
                  <a:pt x="93" y="131"/>
                </a:lnTo>
                <a:lnTo>
                  <a:pt x="87" y="136"/>
                </a:lnTo>
                <a:lnTo>
                  <a:pt x="82" y="142"/>
                </a:lnTo>
                <a:lnTo>
                  <a:pt x="82" y="147"/>
                </a:lnTo>
                <a:lnTo>
                  <a:pt x="77" y="153"/>
                </a:lnTo>
                <a:lnTo>
                  <a:pt x="71" y="169"/>
                </a:lnTo>
                <a:lnTo>
                  <a:pt x="71" y="174"/>
                </a:lnTo>
                <a:lnTo>
                  <a:pt x="66" y="180"/>
                </a:lnTo>
                <a:lnTo>
                  <a:pt x="66" y="185"/>
                </a:lnTo>
                <a:lnTo>
                  <a:pt x="60" y="191"/>
                </a:lnTo>
                <a:lnTo>
                  <a:pt x="60" y="196"/>
                </a:lnTo>
                <a:lnTo>
                  <a:pt x="55" y="196"/>
                </a:lnTo>
                <a:lnTo>
                  <a:pt x="55" y="202"/>
                </a:lnTo>
                <a:lnTo>
                  <a:pt x="55" y="207"/>
                </a:lnTo>
                <a:lnTo>
                  <a:pt x="49" y="207"/>
                </a:lnTo>
                <a:lnTo>
                  <a:pt x="44" y="213"/>
                </a:lnTo>
                <a:lnTo>
                  <a:pt x="33" y="213"/>
                </a:lnTo>
                <a:lnTo>
                  <a:pt x="27" y="218"/>
                </a:lnTo>
                <a:lnTo>
                  <a:pt x="22" y="218"/>
                </a:lnTo>
                <a:lnTo>
                  <a:pt x="17" y="213"/>
                </a:lnTo>
                <a:lnTo>
                  <a:pt x="11" y="213"/>
                </a:lnTo>
                <a:lnTo>
                  <a:pt x="11" y="207"/>
                </a:lnTo>
                <a:lnTo>
                  <a:pt x="6" y="207"/>
                </a:lnTo>
                <a:lnTo>
                  <a:pt x="6" y="202"/>
                </a:lnTo>
                <a:lnTo>
                  <a:pt x="0" y="196"/>
                </a:lnTo>
                <a:lnTo>
                  <a:pt x="6" y="191"/>
                </a:lnTo>
                <a:lnTo>
                  <a:pt x="6" y="185"/>
                </a:lnTo>
                <a:lnTo>
                  <a:pt x="6" y="180"/>
                </a:lnTo>
                <a:lnTo>
                  <a:pt x="6" y="174"/>
                </a:lnTo>
                <a:lnTo>
                  <a:pt x="0" y="174"/>
                </a:lnTo>
                <a:lnTo>
                  <a:pt x="0" y="169"/>
                </a:lnTo>
                <a:lnTo>
                  <a:pt x="0" y="164"/>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6" name="Freeform 427">
            <a:extLst>
              <a:ext uri="{FF2B5EF4-FFF2-40B4-BE49-F238E27FC236}">
                <a16:creationId xmlns:a16="http://schemas.microsoft.com/office/drawing/2014/main" id="{D05D5858-10E5-8186-CBBE-E1CA823A813A}"/>
              </a:ext>
            </a:extLst>
          </p:cNvPr>
          <p:cNvSpPr>
            <a:spLocks/>
          </p:cNvSpPr>
          <p:nvPr/>
        </p:nvSpPr>
        <p:spPr bwMode="auto">
          <a:xfrm>
            <a:off x="3157538" y="3097213"/>
            <a:ext cx="195263" cy="214313"/>
          </a:xfrm>
          <a:custGeom>
            <a:avLst/>
            <a:gdLst>
              <a:gd name="T0" fmla="*/ 22 w 174"/>
              <a:gd name="T1" fmla="*/ 109 h 175"/>
              <a:gd name="T2" fmla="*/ 11 w 174"/>
              <a:gd name="T3" fmla="*/ 93 h 175"/>
              <a:gd name="T4" fmla="*/ 5 w 174"/>
              <a:gd name="T5" fmla="*/ 88 h 175"/>
              <a:gd name="T6" fmla="*/ 5 w 174"/>
              <a:gd name="T7" fmla="*/ 77 h 175"/>
              <a:gd name="T8" fmla="*/ 0 w 174"/>
              <a:gd name="T9" fmla="*/ 66 h 175"/>
              <a:gd name="T10" fmla="*/ 0 w 174"/>
              <a:gd name="T11" fmla="*/ 55 h 175"/>
              <a:gd name="T12" fmla="*/ 11 w 174"/>
              <a:gd name="T13" fmla="*/ 55 h 175"/>
              <a:gd name="T14" fmla="*/ 16 w 174"/>
              <a:gd name="T15" fmla="*/ 49 h 175"/>
              <a:gd name="T16" fmla="*/ 22 w 174"/>
              <a:gd name="T17" fmla="*/ 39 h 175"/>
              <a:gd name="T18" fmla="*/ 27 w 174"/>
              <a:gd name="T19" fmla="*/ 33 h 175"/>
              <a:gd name="T20" fmla="*/ 16 w 174"/>
              <a:gd name="T21" fmla="*/ 33 h 175"/>
              <a:gd name="T22" fmla="*/ 22 w 174"/>
              <a:gd name="T23" fmla="*/ 22 h 175"/>
              <a:gd name="T24" fmla="*/ 27 w 174"/>
              <a:gd name="T25" fmla="*/ 17 h 175"/>
              <a:gd name="T26" fmla="*/ 27 w 174"/>
              <a:gd name="T27" fmla="*/ 11 h 175"/>
              <a:gd name="T28" fmla="*/ 22 w 174"/>
              <a:gd name="T29" fmla="*/ 0 h 175"/>
              <a:gd name="T30" fmla="*/ 49 w 174"/>
              <a:gd name="T31" fmla="*/ 0 h 175"/>
              <a:gd name="T32" fmla="*/ 65 w 174"/>
              <a:gd name="T33" fmla="*/ 0 h 175"/>
              <a:gd name="T34" fmla="*/ 125 w 174"/>
              <a:gd name="T35" fmla="*/ 28 h 175"/>
              <a:gd name="T36" fmla="*/ 136 w 174"/>
              <a:gd name="T37" fmla="*/ 39 h 175"/>
              <a:gd name="T38" fmla="*/ 136 w 174"/>
              <a:gd name="T39" fmla="*/ 44 h 175"/>
              <a:gd name="T40" fmla="*/ 153 w 174"/>
              <a:gd name="T41" fmla="*/ 66 h 175"/>
              <a:gd name="T42" fmla="*/ 153 w 174"/>
              <a:gd name="T43" fmla="*/ 66 h 175"/>
              <a:gd name="T44" fmla="*/ 153 w 174"/>
              <a:gd name="T45" fmla="*/ 77 h 175"/>
              <a:gd name="T46" fmla="*/ 153 w 174"/>
              <a:gd name="T47" fmla="*/ 82 h 175"/>
              <a:gd name="T48" fmla="*/ 158 w 174"/>
              <a:gd name="T49" fmla="*/ 93 h 175"/>
              <a:gd name="T50" fmla="*/ 158 w 174"/>
              <a:gd name="T51" fmla="*/ 99 h 175"/>
              <a:gd name="T52" fmla="*/ 158 w 174"/>
              <a:gd name="T53" fmla="*/ 109 h 175"/>
              <a:gd name="T54" fmla="*/ 158 w 174"/>
              <a:gd name="T55" fmla="*/ 120 h 175"/>
              <a:gd name="T56" fmla="*/ 158 w 174"/>
              <a:gd name="T57" fmla="*/ 131 h 175"/>
              <a:gd name="T58" fmla="*/ 164 w 174"/>
              <a:gd name="T59" fmla="*/ 142 h 175"/>
              <a:gd name="T60" fmla="*/ 174 w 174"/>
              <a:gd name="T61" fmla="*/ 148 h 175"/>
              <a:gd name="T62" fmla="*/ 164 w 174"/>
              <a:gd name="T63" fmla="*/ 159 h 175"/>
              <a:gd name="T64" fmla="*/ 153 w 174"/>
              <a:gd name="T65" fmla="*/ 164 h 175"/>
              <a:gd name="T66" fmla="*/ 142 w 174"/>
              <a:gd name="T67" fmla="*/ 164 h 175"/>
              <a:gd name="T68" fmla="*/ 136 w 174"/>
              <a:gd name="T69" fmla="*/ 164 h 175"/>
              <a:gd name="T70" fmla="*/ 131 w 174"/>
              <a:gd name="T71" fmla="*/ 169 h 175"/>
              <a:gd name="T72" fmla="*/ 120 w 174"/>
              <a:gd name="T73" fmla="*/ 169 h 175"/>
              <a:gd name="T74" fmla="*/ 109 w 174"/>
              <a:gd name="T75" fmla="*/ 175 h 175"/>
              <a:gd name="T76" fmla="*/ 104 w 174"/>
              <a:gd name="T77" fmla="*/ 169 h 175"/>
              <a:gd name="T78" fmla="*/ 93 w 174"/>
              <a:gd name="T79" fmla="*/ 169 h 175"/>
              <a:gd name="T80" fmla="*/ 82 w 174"/>
              <a:gd name="T81" fmla="*/ 164 h 175"/>
              <a:gd name="T82" fmla="*/ 82 w 174"/>
              <a:gd name="T83" fmla="*/ 153 h 175"/>
              <a:gd name="T84" fmla="*/ 82 w 174"/>
              <a:gd name="T85" fmla="*/ 142 h 175"/>
              <a:gd name="T86" fmla="*/ 71 w 174"/>
              <a:gd name="T87" fmla="*/ 137 h 175"/>
              <a:gd name="T88" fmla="*/ 65 w 174"/>
              <a:gd name="T89" fmla="*/ 137 h 175"/>
              <a:gd name="T90" fmla="*/ 54 w 174"/>
              <a:gd name="T91" fmla="*/ 137 h 175"/>
              <a:gd name="T92" fmla="*/ 49 w 174"/>
              <a:gd name="T93" fmla="*/ 131 h 175"/>
              <a:gd name="T94" fmla="*/ 38 w 174"/>
              <a:gd name="T95" fmla="*/ 131 h 175"/>
              <a:gd name="T96" fmla="*/ 33 w 174"/>
              <a:gd name="T97" fmla="*/ 126 h 175"/>
              <a:gd name="T98" fmla="*/ 27 w 174"/>
              <a:gd name="T99" fmla="*/ 120 h 175"/>
              <a:gd name="T100" fmla="*/ 22 w 174"/>
              <a:gd name="T101" fmla="*/ 11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 h="175">
                <a:moveTo>
                  <a:pt x="22" y="115"/>
                </a:moveTo>
                <a:lnTo>
                  <a:pt x="22" y="109"/>
                </a:lnTo>
                <a:lnTo>
                  <a:pt x="16" y="99"/>
                </a:lnTo>
                <a:lnTo>
                  <a:pt x="11" y="93"/>
                </a:lnTo>
                <a:lnTo>
                  <a:pt x="5" y="93"/>
                </a:lnTo>
                <a:lnTo>
                  <a:pt x="5" y="88"/>
                </a:lnTo>
                <a:lnTo>
                  <a:pt x="5" y="82"/>
                </a:lnTo>
                <a:lnTo>
                  <a:pt x="5" y="77"/>
                </a:lnTo>
                <a:lnTo>
                  <a:pt x="5" y="71"/>
                </a:lnTo>
                <a:lnTo>
                  <a:pt x="0" y="66"/>
                </a:lnTo>
                <a:lnTo>
                  <a:pt x="0" y="60"/>
                </a:lnTo>
                <a:lnTo>
                  <a:pt x="0" y="55"/>
                </a:lnTo>
                <a:lnTo>
                  <a:pt x="5" y="55"/>
                </a:lnTo>
                <a:lnTo>
                  <a:pt x="11" y="55"/>
                </a:lnTo>
                <a:lnTo>
                  <a:pt x="11" y="49"/>
                </a:lnTo>
                <a:lnTo>
                  <a:pt x="16" y="49"/>
                </a:lnTo>
                <a:lnTo>
                  <a:pt x="16" y="44"/>
                </a:lnTo>
                <a:lnTo>
                  <a:pt x="22" y="39"/>
                </a:lnTo>
                <a:lnTo>
                  <a:pt x="27" y="39"/>
                </a:lnTo>
                <a:lnTo>
                  <a:pt x="27" y="33"/>
                </a:lnTo>
                <a:lnTo>
                  <a:pt x="22" y="33"/>
                </a:lnTo>
                <a:lnTo>
                  <a:pt x="16" y="33"/>
                </a:lnTo>
                <a:lnTo>
                  <a:pt x="16" y="28"/>
                </a:lnTo>
                <a:lnTo>
                  <a:pt x="22" y="22"/>
                </a:lnTo>
                <a:lnTo>
                  <a:pt x="27" y="22"/>
                </a:lnTo>
                <a:lnTo>
                  <a:pt x="27" y="17"/>
                </a:lnTo>
                <a:lnTo>
                  <a:pt x="22" y="17"/>
                </a:lnTo>
                <a:lnTo>
                  <a:pt x="27" y="11"/>
                </a:lnTo>
                <a:lnTo>
                  <a:pt x="22" y="6"/>
                </a:lnTo>
                <a:lnTo>
                  <a:pt x="22" y="0"/>
                </a:lnTo>
                <a:lnTo>
                  <a:pt x="44" y="0"/>
                </a:lnTo>
                <a:lnTo>
                  <a:pt x="49" y="0"/>
                </a:lnTo>
                <a:lnTo>
                  <a:pt x="54" y="0"/>
                </a:lnTo>
                <a:lnTo>
                  <a:pt x="65" y="0"/>
                </a:lnTo>
                <a:lnTo>
                  <a:pt x="76" y="0"/>
                </a:lnTo>
                <a:lnTo>
                  <a:pt x="125" y="28"/>
                </a:lnTo>
                <a:lnTo>
                  <a:pt x="131" y="33"/>
                </a:lnTo>
                <a:lnTo>
                  <a:pt x="136" y="39"/>
                </a:lnTo>
                <a:lnTo>
                  <a:pt x="131" y="44"/>
                </a:lnTo>
                <a:lnTo>
                  <a:pt x="136" y="44"/>
                </a:lnTo>
                <a:lnTo>
                  <a:pt x="158" y="60"/>
                </a:lnTo>
                <a:lnTo>
                  <a:pt x="153" y="66"/>
                </a:lnTo>
                <a:lnTo>
                  <a:pt x="158" y="66"/>
                </a:lnTo>
                <a:lnTo>
                  <a:pt x="153" y="66"/>
                </a:lnTo>
                <a:lnTo>
                  <a:pt x="153" y="71"/>
                </a:lnTo>
                <a:lnTo>
                  <a:pt x="153" y="77"/>
                </a:lnTo>
                <a:lnTo>
                  <a:pt x="147" y="82"/>
                </a:lnTo>
                <a:lnTo>
                  <a:pt x="153" y="82"/>
                </a:lnTo>
                <a:lnTo>
                  <a:pt x="153" y="88"/>
                </a:lnTo>
                <a:lnTo>
                  <a:pt x="158" y="93"/>
                </a:lnTo>
                <a:lnTo>
                  <a:pt x="164" y="99"/>
                </a:lnTo>
                <a:lnTo>
                  <a:pt x="158" y="99"/>
                </a:lnTo>
                <a:lnTo>
                  <a:pt x="158" y="104"/>
                </a:lnTo>
                <a:lnTo>
                  <a:pt x="158" y="109"/>
                </a:lnTo>
                <a:lnTo>
                  <a:pt x="158" y="115"/>
                </a:lnTo>
                <a:lnTo>
                  <a:pt x="158" y="120"/>
                </a:lnTo>
                <a:lnTo>
                  <a:pt x="158" y="126"/>
                </a:lnTo>
                <a:lnTo>
                  <a:pt x="158" y="131"/>
                </a:lnTo>
                <a:lnTo>
                  <a:pt x="158" y="137"/>
                </a:lnTo>
                <a:lnTo>
                  <a:pt x="164" y="142"/>
                </a:lnTo>
                <a:lnTo>
                  <a:pt x="169" y="148"/>
                </a:lnTo>
                <a:lnTo>
                  <a:pt x="174" y="148"/>
                </a:lnTo>
                <a:lnTo>
                  <a:pt x="169" y="153"/>
                </a:lnTo>
                <a:lnTo>
                  <a:pt x="164" y="159"/>
                </a:lnTo>
                <a:lnTo>
                  <a:pt x="158" y="159"/>
                </a:lnTo>
                <a:lnTo>
                  <a:pt x="153" y="164"/>
                </a:lnTo>
                <a:lnTo>
                  <a:pt x="147" y="164"/>
                </a:lnTo>
                <a:lnTo>
                  <a:pt x="142" y="164"/>
                </a:lnTo>
                <a:lnTo>
                  <a:pt x="142" y="169"/>
                </a:lnTo>
                <a:lnTo>
                  <a:pt x="136" y="164"/>
                </a:lnTo>
                <a:lnTo>
                  <a:pt x="131" y="164"/>
                </a:lnTo>
                <a:lnTo>
                  <a:pt x="131" y="169"/>
                </a:lnTo>
                <a:lnTo>
                  <a:pt x="125" y="169"/>
                </a:lnTo>
                <a:lnTo>
                  <a:pt x="120" y="169"/>
                </a:lnTo>
                <a:lnTo>
                  <a:pt x="114" y="169"/>
                </a:lnTo>
                <a:lnTo>
                  <a:pt x="109" y="175"/>
                </a:lnTo>
                <a:lnTo>
                  <a:pt x="109" y="169"/>
                </a:lnTo>
                <a:lnTo>
                  <a:pt x="104" y="169"/>
                </a:lnTo>
                <a:lnTo>
                  <a:pt x="98" y="169"/>
                </a:lnTo>
                <a:lnTo>
                  <a:pt x="93" y="169"/>
                </a:lnTo>
                <a:lnTo>
                  <a:pt x="87" y="169"/>
                </a:lnTo>
                <a:lnTo>
                  <a:pt x="82" y="164"/>
                </a:lnTo>
                <a:lnTo>
                  <a:pt x="82" y="159"/>
                </a:lnTo>
                <a:lnTo>
                  <a:pt x="82" y="153"/>
                </a:lnTo>
                <a:lnTo>
                  <a:pt x="82" y="148"/>
                </a:lnTo>
                <a:lnTo>
                  <a:pt x="82" y="142"/>
                </a:lnTo>
                <a:lnTo>
                  <a:pt x="76" y="142"/>
                </a:lnTo>
                <a:lnTo>
                  <a:pt x="71" y="137"/>
                </a:lnTo>
                <a:lnTo>
                  <a:pt x="71" y="142"/>
                </a:lnTo>
                <a:lnTo>
                  <a:pt x="65" y="137"/>
                </a:lnTo>
                <a:lnTo>
                  <a:pt x="60" y="137"/>
                </a:lnTo>
                <a:lnTo>
                  <a:pt x="54" y="137"/>
                </a:lnTo>
                <a:lnTo>
                  <a:pt x="54" y="131"/>
                </a:lnTo>
                <a:lnTo>
                  <a:pt x="49" y="131"/>
                </a:lnTo>
                <a:lnTo>
                  <a:pt x="44" y="131"/>
                </a:lnTo>
                <a:lnTo>
                  <a:pt x="38" y="131"/>
                </a:lnTo>
                <a:lnTo>
                  <a:pt x="38" y="126"/>
                </a:lnTo>
                <a:lnTo>
                  <a:pt x="33" y="126"/>
                </a:lnTo>
                <a:lnTo>
                  <a:pt x="33" y="120"/>
                </a:lnTo>
                <a:lnTo>
                  <a:pt x="27" y="120"/>
                </a:lnTo>
                <a:lnTo>
                  <a:pt x="22" y="120"/>
                </a:lnTo>
                <a:lnTo>
                  <a:pt x="22" y="115"/>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7" name="Freeform 429">
            <a:extLst>
              <a:ext uri="{FF2B5EF4-FFF2-40B4-BE49-F238E27FC236}">
                <a16:creationId xmlns:a16="http://schemas.microsoft.com/office/drawing/2014/main" id="{C3BE5882-181E-71C1-DCD3-D8BAA38D36FE}"/>
              </a:ext>
            </a:extLst>
          </p:cNvPr>
          <p:cNvSpPr>
            <a:spLocks/>
          </p:cNvSpPr>
          <p:nvPr/>
        </p:nvSpPr>
        <p:spPr bwMode="auto">
          <a:xfrm>
            <a:off x="3151188" y="3124200"/>
            <a:ext cx="36513" cy="39688"/>
          </a:xfrm>
          <a:custGeom>
            <a:avLst/>
            <a:gdLst>
              <a:gd name="T0" fmla="*/ 6 w 33"/>
              <a:gd name="T1" fmla="*/ 33 h 33"/>
              <a:gd name="T2" fmla="*/ 6 w 33"/>
              <a:gd name="T3" fmla="*/ 27 h 33"/>
              <a:gd name="T4" fmla="*/ 6 w 33"/>
              <a:gd name="T5" fmla="*/ 22 h 33"/>
              <a:gd name="T6" fmla="*/ 6 w 33"/>
              <a:gd name="T7" fmla="*/ 17 h 33"/>
              <a:gd name="T8" fmla="*/ 6 w 33"/>
              <a:gd name="T9" fmla="*/ 11 h 33"/>
              <a:gd name="T10" fmla="*/ 0 w 33"/>
              <a:gd name="T11" fmla="*/ 11 h 33"/>
              <a:gd name="T12" fmla="*/ 0 w 33"/>
              <a:gd name="T13" fmla="*/ 6 h 33"/>
              <a:gd name="T14" fmla="*/ 6 w 33"/>
              <a:gd name="T15" fmla="*/ 6 h 33"/>
              <a:gd name="T16" fmla="*/ 6 w 33"/>
              <a:gd name="T17" fmla="*/ 11 h 33"/>
              <a:gd name="T18" fmla="*/ 6 w 33"/>
              <a:gd name="T19" fmla="*/ 6 h 33"/>
              <a:gd name="T20" fmla="*/ 11 w 33"/>
              <a:gd name="T21" fmla="*/ 11 h 33"/>
              <a:gd name="T22" fmla="*/ 17 w 33"/>
              <a:gd name="T23" fmla="*/ 6 h 33"/>
              <a:gd name="T24" fmla="*/ 17 w 33"/>
              <a:gd name="T25" fmla="*/ 0 h 33"/>
              <a:gd name="T26" fmla="*/ 22 w 33"/>
              <a:gd name="T27" fmla="*/ 0 h 33"/>
              <a:gd name="T28" fmla="*/ 28 w 33"/>
              <a:gd name="T29" fmla="*/ 0 h 33"/>
              <a:gd name="T30" fmla="*/ 22 w 33"/>
              <a:gd name="T31" fmla="*/ 6 h 33"/>
              <a:gd name="T32" fmla="*/ 22 w 33"/>
              <a:gd name="T33" fmla="*/ 11 h 33"/>
              <a:gd name="T34" fmla="*/ 28 w 33"/>
              <a:gd name="T35" fmla="*/ 11 h 33"/>
              <a:gd name="T36" fmla="*/ 33 w 33"/>
              <a:gd name="T37" fmla="*/ 11 h 33"/>
              <a:gd name="T38" fmla="*/ 33 w 33"/>
              <a:gd name="T39" fmla="*/ 17 h 33"/>
              <a:gd name="T40" fmla="*/ 28 w 33"/>
              <a:gd name="T41" fmla="*/ 17 h 33"/>
              <a:gd name="T42" fmla="*/ 22 w 33"/>
              <a:gd name="T43" fmla="*/ 22 h 33"/>
              <a:gd name="T44" fmla="*/ 22 w 33"/>
              <a:gd name="T45" fmla="*/ 27 h 33"/>
              <a:gd name="T46" fmla="*/ 17 w 33"/>
              <a:gd name="T47" fmla="*/ 27 h 33"/>
              <a:gd name="T48" fmla="*/ 17 w 33"/>
              <a:gd name="T49" fmla="*/ 33 h 33"/>
              <a:gd name="T50" fmla="*/ 11 w 33"/>
              <a:gd name="T51" fmla="*/ 33 h 33"/>
              <a:gd name="T52" fmla="*/ 6 w 33"/>
              <a:gd name="T5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 h="33">
                <a:moveTo>
                  <a:pt x="6" y="33"/>
                </a:moveTo>
                <a:lnTo>
                  <a:pt x="6" y="27"/>
                </a:lnTo>
                <a:lnTo>
                  <a:pt x="6" y="22"/>
                </a:lnTo>
                <a:lnTo>
                  <a:pt x="6" y="17"/>
                </a:lnTo>
                <a:lnTo>
                  <a:pt x="6" y="11"/>
                </a:lnTo>
                <a:lnTo>
                  <a:pt x="0" y="11"/>
                </a:lnTo>
                <a:lnTo>
                  <a:pt x="0" y="6"/>
                </a:lnTo>
                <a:lnTo>
                  <a:pt x="6" y="6"/>
                </a:lnTo>
                <a:lnTo>
                  <a:pt x="6" y="11"/>
                </a:lnTo>
                <a:lnTo>
                  <a:pt x="6" y="6"/>
                </a:lnTo>
                <a:lnTo>
                  <a:pt x="11" y="11"/>
                </a:lnTo>
                <a:lnTo>
                  <a:pt x="17" y="6"/>
                </a:lnTo>
                <a:lnTo>
                  <a:pt x="17" y="0"/>
                </a:lnTo>
                <a:lnTo>
                  <a:pt x="22" y="0"/>
                </a:lnTo>
                <a:lnTo>
                  <a:pt x="28" y="0"/>
                </a:lnTo>
                <a:lnTo>
                  <a:pt x="22" y="6"/>
                </a:lnTo>
                <a:lnTo>
                  <a:pt x="22" y="11"/>
                </a:lnTo>
                <a:lnTo>
                  <a:pt x="28" y="11"/>
                </a:lnTo>
                <a:lnTo>
                  <a:pt x="33" y="11"/>
                </a:lnTo>
                <a:lnTo>
                  <a:pt x="33" y="17"/>
                </a:lnTo>
                <a:lnTo>
                  <a:pt x="28" y="17"/>
                </a:lnTo>
                <a:lnTo>
                  <a:pt x="22" y="22"/>
                </a:lnTo>
                <a:lnTo>
                  <a:pt x="22" y="27"/>
                </a:lnTo>
                <a:lnTo>
                  <a:pt x="17" y="27"/>
                </a:lnTo>
                <a:lnTo>
                  <a:pt x="17" y="33"/>
                </a:lnTo>
                <a:lnTo>
                  <a:pt x="11" y="33"/>
                </a:lnTo>
                <a:lnTo>
                  <a:pt x="6" y="33"/>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8" name="Freeform 430">
            <a:extLst>
              <a:ext uri="{FF2B5EF4-FFF2-40B4-BE49-F238E27FC236}">
                <a16:creationId xmlns:a16="http://schemas.microsoft.com/office/drawing/2014/main" id="{B7745AEA-27E1-B92E-B20A-A8BC1DAA4D95}"/>
              </a:ext>
            </a:extLst>
          </p:cNvPr>
          <p:cNvSpPr>
            <a:spLocks/>
          </p:cNvSpPr>
          <p:nvPr/>
        </p:nvSpPr>
        <p:spPr bwMode="auto">
          <a:xfrm>
            <a:off x="3151188" y="3097213"/>
            <a:ext cx="36513" cy="39688"/>
          </a:xfrm>
          <a:custGeom>
            <a:avLst/>
            <a:gdLst>
              <a:gd name="T0" fmla="*/ 0 w 33"/>
              <a:gd name="T1" fmla="*/ 28 h 33"/>
              <a:gd name="T2" fmla="*/ 0 w 33"/>
              <a:gd name="T3" fmla="*/ 22 h 33"/>
              <a:gd name="T4" fmla="*/ 6 w 33"/>
              <a:gd name="T5" fmla="*/ 22 h 33"/>
              <a:gd name="T6" fmla="*/ 6 w 33"/>
              <a:gd name="T7" fmla="*/ 17 h 33"/>
              <a:gd name="T8" fmla="*/ 6 w 33"/>
              <a:gd name="T9" fmla="*/ 11 h 33"/>
              <a:gd name="T10" fmla="*/ 11 w 33"/>
              <a:gd name="T11" fmla="*/ 6 h 33"/>
              <a:gd name="T12" fmla="*/ 17 w 33"/>
              <a:gd name="T13" fmla="*/ 6 h 33"/>
              <a:gd name="T14" fmla="*/ 22 w 33"/>
              <a:gd name="T15" fmla="*/ 6 h 33"/>
              <a:gd name="T16" fmla="*/ 22 w 33"/>
              <a:gd name="T17" fmla="*/ 0 h 33"/>
              <a:gd name="T18" fmla="*/ 28 w 33"/>
              <a:gd name="T19" fmla="*/ 0 h 33"/>
              <a:gd name="T20" fmla="*/ 28 w 33"/>
              <a:gd name="T21" fmla="*/ 6 h 33"/>
              <a:gd name="T22" fmla="*/ 33 w 33"/>
              <a:gd name="T23" fmla="*/ 11 h 33"/>
              <a:gd name="T24" fmla="*/ 28 w 33"/>
              <a:gd name="T25" fmla="*/ 17 h 33"/>
              <a:gd name="T26" fmla="*/ 33 w 33"/>
              <a:gd name="T27" fmla="*/ 17 h 33"/>
              <a:gd name="T28" fmla="*/ 33 w 33"/>
              <a:gd name="T29" fmla="*/ 22 h 33"/>
              <a:gd name="T30" fmla="*/ 28 w 33"/>
              <a:gd name="T31" fmla="*/ 22 h 33"/>
              <a:gd name="T32" fmla="*/ 22 w 33"/>
              <a:gd name="T33" fmla="*/ 22 h 33"/>
              <a:gd name="T34" fmla="*/ 17 w 33"/>
              <a:gd name="T35" fmla="*/ 22 h 33"/>
              <a:gd name="T36" fmla="*/ 17 w 33"/>
              <a:gd name="T37" fmla="*/ 28 h 33"/>
              <a:gd name="T38" fmla="*/ 11 w 33"/>
              <a:gd name="T39" fmla="*/ 33 h 33"/>
              <a:gd name="T40" fmla="*/ 6 w 33"/>
              <a:gd name="T41" fmla="*/ 28 h 33"/>
              <a:gd name="T42" fmla="*/ 6 w 33"/>
              <a:gd name="T43" fmla="*/ 33 h 33"/>
              <a:gd name="T44" fmla="*/ 6 w 33"/>
              <a:gd name="T45" fmla="*/ 28 h 33"/>
              <a:gd name="T46" fmla="*/ 0 w 33"/>
              <a:gd name="T47"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33">
                <a:moveTo>
                  <a:pt x="0" y="28"/>
                </a:moveTo>
                <a:lnTo>
                  <a:pt x="0" y="22"/>
                </a:lnTo>
                <a:lnTo>
                  <a:pt x="6" y="22"/>
                </a:lnTo>
                <a:lnTo>
                  <a:pt x="6" y="17"/>
                </a:lnTo>
                <a:lnTo>
                  <a:pt x="6" y="11"/>
                </a:lnTo>
                <a:lnTo>
                  <a:pt x="11" y="6"/>
                </a:lnTo>
                <a:lnTo>
                  <a:pt x="17" y="6"/>
                </a:lnTo>
                <a:lnTo>
                  <a:pt x="22" y="6"/>
                </a:lnTo>
                <a:lnTo>
                  <a:pt x="22" y="0"/>
                </a:lnTo>
                <a:lnTo>
                  <a:pt x="28" y="0"/>
                </a:lnTo>
                <a:lnTo>
                  <a:pt x="28" y="6"/>
                </a:lnTo>
                <a:lnTo>
                  <a:pt x="33" y="11"/>
                </a:lnTo>
                <a:lnTo>
                  <a:pt x="28" y="17"/>
                </a:lnTo>
                <a:lnTo>
                  <a:pt x="33" y="17"/>
                </a:lnTo>
                <a:lnTo>
                  <a:pt x="33" y="22"/>
                </a:lnTo>
                <a:lnTo>
                  <a:pt x="28" y="22"/>
                </a:lnTo>
                <a:lnTo>
                  <a:pt x="22" y="22"/>
                </a:lnTo>
                <a:lnTo>
                  <a:pt x="17" y="22"/>
                </a:lnTo>
                <a:lnTo>
                  <a:pt x="17" y="28"/>
                </a:lnTo>
                <a:lnTo>
                  <a:pt x="11" y="33"/>
                </a:lnTo>
                <a:lnTo>
                  <a:pt x="6" y="28"/>
                </a:lnTo>
                <a:lnTo>
                  <a:pt x="6" y="33"/>
                </a:lnTo>
                <a:lnTo>
                  <a:pt x="6" y="28"/>
                </a:lnTo>
                <a:lnTo>
                  <a:pt x="0" y="28"/>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9" name="Freeform 431">
            <a:extLst>
              <a:ext uri="{FF2B5EF4-FFF2-40B4-BE49-F238E27FC236}">
                <a16:creationId xmlns:a16="http://schemas.microsoft.com/office/drawing/2014/main" id="{235A2807-AA4F-5D7E-94DD-D8F2AC4A6B7F}"/>
              </a:ext>
            </a:extLst>
          </p:cNvPr>
          <p:cNvSpPr>
            <a:spLocks/>
          </p:cNvSpPr>
          <p:nvPr/>
        </p:nvSpPr>
        <p:spPr bwMode="auto">
          <a:xfrm>
            <a:off x="2851149" y="2978151"/>
            <a:ext cx="344488" cy="358775"/>
          </a:xfrm>
          <a:custGeom>
            <a:avLst/>
            <a:gdLst>
              <a:gd name="T0" fmla="*/ 11 w 306"/>
              <a:gd name="T1" fmla="*/ 164 h 295"/>
              <a:gd name="T2" fmla="*/ 22 w 306"/>
              <a:gd name="T3" fmla="*/ 164 h 295"/>
              <a:gd name="T4" fmla="*/ 33 w 306"/>
              <a:gd name="T5" fmla="*/ 153 h 295"/>
              <a:gd name="T6" fmla="*/ 44 w 306"/>
              <a:gd name="T7" fmla="*/ 164 h 295"/>
              <a:gd name="T8" fmla="*/ 55 w 306"/>
              <a:gd name="T9" fmla="*/ 147 h 295"/>
              <a:gd name="T10" fmla="*/ 66 w 306"/>
              <a:gd name="T11" fmla="*/ 131 h 295"/>
              <a:gd name="T12" fmla="*/ 71 w 306"/>
              <a:gd name="T13" fmla="*/ 109 h 295"/>
              <a:gd name="T14" fmla="*/ 88 w 306"/>
              <a:gd name="T15" fmla="*/ 87 h 295"/>
              <a:gd name="T16" fmla="*/ 93 w 306"/>
              <a:gd name="T17" fmla="*/ 66 h 295"/>
              <a:gd name="T18" fmla="*/ 98 w 306"/>
              <a:gd name="T19" fmla="*/ 49 h 295"/>
              <a:gd name="T20" fmla="*/ 104 w 306"/>
              <a:gd name="T21" fmla="*/ 27 h 295"/>
              <a:gd name="T22" fmla="*/ 109 w 306"/>
              <a:gd name="T23" fmla="*/ 6 h 295"/>
              <a:gd name="T24" fmla="*/ 126 w 306"/>
              <a:gd name="T25" fmla="*/ 6 h 295"/>
              <a:gd name="T26" fmla="*/ 142 w 306"/>
              <a:gd name="T27" fmla="*/ 17 h 295"/>
              <a:gd name="T28" fmla="*/ 164 w 306"/>
              <a:gd name="T29" fmla="*/ 17 h 295"/>
              <a:gd name="T30" fmla="*/ 175 w 306"/>
              <a:gd name="T31" fmla="*/ 11 h 295"/>
              <a:gd name="T32" fmla="*/ 197 w 306"/>
              <a:gd name="T33" fmla="*/ 0 h 295"/>
              <a:gd name="T34" fmla="*/ 218 w 306"/>
              <a:gd name="T35" fmla="*/ 0 h 295"/>
              <a:gd name="T36" fmla="*/ 229 w 306"/>
              <a:gd name="T37" fmla="*/ 0 h 295"/>
              <a:gd name="T38" fmla="*/ 251 w 306"/>
              <a:gd name="T39" fmla="*/ 6 h 295"/>
              <a:gd name="T40" fmla="*/ 267 w 306"/>
              <a:gd name="T41" fmla="*/ 11 h 295"/>
              <a:gd name="T42" fmla="*/ 284 w 306"/>
              <a:gd name="T43" fmla="*/ 11 h 295"/>
              <a:gd name="T44" fmla="*/ 289 w 306"/>
              <a:gd name="T45" fmla="*/ 22 h 295"/>
              <a:gd name="T46" fmla="*/ 300 w 306"/>
              <a:gd name="T47" fmla="*/ 33 h 295"/>
              <a:gd name="T48" fmla="*/ 300 w 306"/>
              <a:gd name="T49" fmla="*/ 44 h 295"/>
              <a:gd name="T50" fmla="*/ 295 w 306"/>
              <a:gd name="T51" fmla="*/ 60 h 295"/>
              <a:gd name="T52" fmla="*/ 284 w 306"/>
              <a:gd name="T53" fmla="*/ 71 h 295"/>
              <a:gd name="T54" fmla="*/ 278 w 306"/>
              <a:gd name="T55" fmla="*/ 93 h 295"/>
              <a:gd name="T56" fmla="*/ 273 w 306"/>
              <a:gd name="T57" fmla="*/ 115 h 295"/>
              <a:gd name="T58" fmla="*/ 267 w 306"/>
              <a:gd name="T59" fmla="*/ 131 h 295"/>
              <a:gd name="T60" fmla="*/ 273 w 306"/>
              <a:gd name="T61" fmla="*/ 147 h 295"/>
              <a:gd name="T62" fmla="*/ 278 w 306"/>
              <a:gd name="T63" fmla="*/ 169 h 295"/>
              <a:gd name="T64" fmla="*/ 278 w 306"/>
              <a:gd name="T65" fmla="*/ 191 h 295"/>
              <a:gd name="T66" fmla="*/ 295 w 306"/>
              <a:gd name="T67" fmla="*/ 213 h 295"/>
              <a:gd name="T68" fmla="*/ 267 w 306"/>
              <a:gd name="T69" fmla="*/ 224 h 295"/>
              <a:gd name="T70" fmla="*/ 262 w 306"/>
              <a:gd name="T71" fmla="*/ 235 h 295"/>
              <a:gd name="T72" fmla="*/ 262 w 306"/>
              <a:gd name="T73" fmla="*/ 246 h 295"/>
              <a:gd name="T74" fmla="*/ 257 w 306"/>
              <a:gd name="T75" fmla="*/ 267 h 295"/>
              <a:gd name="T76" fmla="*/ 267 w 306"/>
              <a:gd name="T77" fmla="*/ 278 h 295"/>
              <a:gd name="T78" fmla="*/ 273 w 306"/>
              <a:gd name="T79" fmla="*/ 295 h 295"/>
              <a:gd name="T80" fmla="*/ 257 w 306"/>
              <a:gd name="T81" fmla="*/ 289 h 295"/>
              <a:gd name="T82" fmla="*/ 246 w 306"/>
              <a:gd name="T83" fmla="*/ 278 h 295"/>
              <a:gd name="T84" fmla="*/ 235 w 306"/>
              <a:gd name="T85" fmla="*/ 267 h 295"/>
              <a:gd name="T86" fmla="*/ 218 w 306"/>
              <a:gd name="T87" fmla="*/ 273 h 295"/>
              <a:gd name="T88" fmla="*/ 208 w 306"/>
              <a:gd name="T89" fmla="*/ 267 h 295"/>
              <a:gd name="T90" fmla="*/ 191 w 306"/>
              <a:gd name="T91" fmla="*/ 267 h 295"/>
              <a:gd name="T92" fmla="*/ 175 w 306"/>
              <a:gd name="T93" fmla="*/ 257 h 295"/>
              <a:gd name="T94" fmla="*/ 158 w 306"/>
              <a:gd name="T95" fmla="*/ 262 h 295"/>
              <a:gd name="T96" fmla="*/ 158 w 306"/>
              <a:gd name="T97" fmla="*/ 240 h 295"/>
              <a:gd name="T98" fmla="*/ 153 w 306"/>
              <a:gd name="T99" fmla="*/ 218 h 295"/>
              <a:gd name="T100" fmla="*/ 131 w 306"/>
              <a:gd name="T101" fmla="*/ 202 h 295"/>
              <a:gd name="T102" fmla="*/ 120 w 306"/>
              <a:gd name="T103" fmla="*/ 197 h 295"/>
              <a:gd name="T104" fmla="*/ 115 w 306"/>
              <a:gd name="T105" fmla="*/ 207 h 295"/>
              <a:gd name="T106" fmla="*/ 104 w 306"/>
              <a:gd name="T107" fmla="*/ 213 h 295"/>
              <a:gd name="T108" fmla="*/ 82 w 306"/>
              <a:gd name="T109" fmla="*/ 207 h 295"/>
              <a:gd name="T110" fmla="*/ 71 w 306"/>
              <a:gd name="T111" fmla="*/ 186 h 295"/>
              <a:gd name="T112" fmla="*/ 38 w 306"/>
              <a:gd name="T113" fmla="*/ 180 h 295"/>
              <a:gd name="T114" fmla="*/ 17 w 306"/>
              <a:gd name="T115" fmla="*/ 175 h 295"/>
              <a:gd name="T116" fmla="*/ 6 w 306"/>
              <a:gd name="T117" fmla="*/ 18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6" h="295">
                <a:moveTo>
                  <a:pt x="0" y="175"/>
                </a:moveTo>
                <a:lnTo>
                  <a:pt x="6" y="175"/>
                </a:lnTo>
                <a:lnTo>
                  <a:pt x="6" y="164"/>
                </a:lnTo>
                <a:lnTo>
                  <a:pt x="11" y="164"/>
                </a:lnTo>
                <a:lnTo>
                  <a:pt x="11" y="158"/>
                </a:lnTo>
                <a:lnTo>
                  <a:pt x="17" y="158"/>
                </a:lnTo>
                <a:lnTo>
                  <a:pt x="22" y="158"/>
                </a:lnTo>
                <a:lnTo>
                  <a:pt x="22" y="164"/>
                </a:lnTo>
                <a:lnTo>
                  <a:pt x="22" y="158"/>
                </a:lnTo>
                <a:lnTo>
                  <a:pt x="28" y="158"/>
                </a:lnTo>
                <a:lnTo>
                  <a:pt x="28" y="153"/>
                </a:lnTo>
                <a:lnTo>
                  <a:pt x="33" y="153"/>
                </a:lnTo>
                <a:lnTo>
                  <a:pt x="38" y="153"/>
                </a:lnTo>
                <a:lnTo>
                  <a:pt x="38" y="158"/>
                </a:lnTo>
                <a:lnTo>
                  <a:pt x="38" y="164"/>
                </a:lnTo>
                <a:lnTo>
                  <a:pt x="44" y="164"/>
                </a:lnTo>
                <a:lnTo>
                  <a:pt x="44" y="158"/>
                </a:lnTo>
                <a:lnTo>
                  <a:pt x="49" y="153"/>
                </a:lnTo>
                <a:lnTo>
                  <a:pt x="55" y="153"/>
                </a:lnTo>
                <a:lnTo>
                  <a:pt x="55" y="147"/>
                </a:lnTo>
                <a:lnTo>
                  <a:pt x="60" y="147"/>
                </a:lnTo>
                <a:lnTo>
                  <a:pt x="66" y="142"/>
                </a:lnTo>
                <a:lnTo>
                  <a:pt x="66" y="137"/>
                </a:lnTo>
                <a:lnTo>
                  <a:pt x="66" y="131"/>
                </a:lnTo>
                <a:lnTo>
                  <a:pt x="66" y="126"/>
                </a:lnTo>
                <a:lnTo>
                  <a:pt x="66" y="120"/>
                </a:lnTo>
                <a:lnTo>
                  <a:pt x="71" y="115"/>
                </a:lnTo>
                <a:lnTo>
                  <a:pt x="71" y="109"/>
                </a:lnTo>
                <a:lnTo>
                  <a:pt x="77" y="104"/>
                </a:lnTo>
                <a:lnTo>
                  <a:pt x="82" y="98"/>
                </a:lnTo>
                <a:lnTo>
                  <a:pt x="88" y="93"/>
                </a:lnTo>
                <a:lnTo>
                  <a:pt x="88" y="87"/>
                </a:lnTo>
                <a:lnTo>
                  <a:pt x="93" y="82"/>
                </a:lnTo>
                <a:lnTo>
                  <a:pt x="93" y="77"/>
                </a:lnTo>
                <a:lnTo>
                  <a:pt x="93" y="71"/>
                </a:lnTo>
                <a:lnTo>
                  <a:pt x="93" y="66"/>
                </a:lnTo>
                <a:lnTo>
                  <a:pt x="93" y="60"/>
                </a:lnTo>
                <a:lnTo>
                  <a:pt x="93" y="55"/>
                </a:lnTo>
                <a:lnTo>
                  <a:pt x="93" y="49"/>
                </a:lnTo>
                <a:lnTo>
                  <a:pt x="98" y="49"/>
                </a:lnTo>
                <a:lnTo>
                  <a:pt x="98" y="44"/>
                </a:lnTo>
                <a:lnTo>
                  <a:pt x="104" y="38"/>
                </a:lnTo>
                <a:lnTo>
                  <a:pt x="104" y="33"/>
                </a:lnTo>
                <a:lnTo>
                  <a:pt x="104" y="27"/>
                </a:lnTo>
                <a:lnTo>
                  <a:pt x="104" y="22"/>
                </a:lnTo>
                <a:lnTo>
                  <a:pt x="104" y="17"/>
                </a:lnTo>
                <a:lnTo>
                  <a:pt x="109" y="11"/>
                </a:lnTo>
                <a:lnTo>
                  <a:pt x="109" y="6"/>
                </a:lnTo>
                <a:lnTo>
                  <a:pt x="115" y="6"/>
                </a:lnTo>
                <a:lnTo>
                  <a:pt x="115" y="0"/>
                </a:lnTo>
                <a:lnTo>
                  <a:pt x="120" y="0"/>
                </a:lnTo>
                <a:lnTo>
                  <a:pt x="126" y="6"/>
                </a:lnTo>
                <a:lnTo>
                  <a:pt x="131" y="11"/>
                </a:lnTo>
                <a:lnTo>
                  <a:pt x="137" y="11"/>
                </a:lnTo>
                <a:lnTo>
                  <a:pt x="142" y="11"/>
                </a:lnTo>
                <a:lnTo>
                  <a:pt x="142" y="17"/>
                </a:lnTo>
                <a:lnTo>
                  <a:pt x="148" y="17"/>
                </a:lnTo>
                <a:lnTo>
                  <a:pt x="153" y="17"/>
                </a:lnTo>
                <a:lnTo>
                  <a:pt x="158" y="17"/>
                </a:lnTo>
                <a:lnTo>
                  <a:pt x="164" y="17"/>
                </a:lnTo>
                <a:lnTo>
                  <a:pt x="169" y="11"/>
                </a:lnTo>
                <a:lnTo>
                  <a:pt x="169" y="6"/>
                </a:lnTo>
                <a:lnTo>
                  <a:pt x="175" y="6"/>
                </a:lnTo>
                <a:lnTo>
                  <a:pt x="175" y="11"/>
                </a:lnTo>
                <a:lnTo>
                  <a:pt x="180" y="11"/>
                </a:lnTo>
                <a:lnTo>
                  <a:pt x="186" y="6"/>
                </a:lnTo>
                <a:lnTo>
                  <a:pt x="191" y="6"/>
                </a:lnTo>
                <a:lnTo>
                  <a:pt x="197" y="0"/>
                </a:lnTo>
                <a:lnTo>
                  <a:pt x="202" y="6"/>
                </a:lnTo>
                <a:lnTo>
                  <a:pt x="208" y="6"/>
                </a:lnTo>
                <a:lnTo>
                  <a:pt x="213" y="0"/>
                </a:lnTo>
                <a:lnTo>
                  <a:pt x="218" y="0"/>
                </a:lnTo>
                <a:lnTo>
                  <a:pt x="224" y="0"/>
                </a:lnTo>
                <a:lnTo>
                  <a:pt x="229" y="0"/>
                </a:lnTo>
                <a:lnTo>
                  <a:pt x="229" y="6"/>
                </a:lnTo>
                <a:lnTo>
                  <a:pt x="229" y="0"/>
                </a:lnTo>
                <a:lnTo>
                  <a:pt x="235" y="6"/>
                </a:lnTo>
                <a:lnTo>
                  <a:pt x="240" y="0"/>
                </a:lnTo>
                <a:lnTo>
                  <a:pt x="246" y="6"/>
                </a:lnTo>
                <a:lnTo>
                  <a:pt x="251" y="6"/>
                </a:lnTo>
                <a:lnTo>
                  <a:pt x="251" y="11"/>
                </a:lnTo>
                <a:lnTo>
                  <a:pt x="257" y="17"/>
                </a:lnTo>
                <a:lnTo>
                  <a:pt x="262" y="11"/>
                </a:lnTo>
                <a:lnTo>
                  <a:pt x="267" y="11"/>
                </a:lnTo>
                <a:lnTo>
                  <a:pt x="273" y="17"/>
                </a:lnTo>
                <a:lnTo>
                  <a:pt x="273" y="11"/>
                </a:lnTo>
                <a:lnTo>
                  <a:pt x="278" y="11"/>
                </a:lnTo>
                <a:lnTo>
                  <a:pt x="284" y="11"/>
                </a:lnTo>
                <a:lnTo>
                  <a:pt x="278" y="17"/>
                </a:lnTo>
                <a:lnTo>
                  <a:pt x="284" y="17"/>
                </a:lnTo>
                <a:lnTo>
                  <a:pt x="289" y="17"/>
                </a:lnTo>
                <a:lnTo>
                  <a:pt x="289" y="22"/>
                </a:lnTo>
                <a:lnTo>
                  <a:pt x="295" y="22"/>
                </a:lnTo>
                <a:lnTo>
                  <a:pt x="295" y="27"/>
                </a:lnTo>
                <a:lnTo>
                  <a:pt x="300" y="27"/>
                </a:lnTo>
                <a:lnTo>
                  <a:pt x="300" y="33"/>
                </a:lnTo>
                <a:lnTo>
                  <a:pt x="295" y="33"/>
                </a:lnTo>
                <a:lnTo>
                  <a:pt x="300" y="38"/>
                </a:lnTo>
                <a:lnTo>
                  <a:pt x="295" y="44"/>
                </a:lnTo>
                <a:lnTo>
                  <a:pt x="300" y="44"/>
                </a:lnTo>
                <a:lnTo>
                  <a:pt x="306" y="49"/>
                </a:lnTo>
                <a:lnTo>
                  <a:pt x="306" y="55"/>
                </a:lnTo>
                <a:lnTo>
                  <a:pt x="300" y="55"/>
                </a:lnTo>
                <a:lnTo>
                  <a:pt x="295" y="60"/>
                </a:lnTo>
                <a:lnTo>
                  <a:pt x="295" y="66"/>
                </a:lnTo>
                <a:lnTo>
                  <a:pt x="289" y="66"/>
                </a:lnTo>
                <a:lnTo>
                  <a:pt x="289" y="71"/>
                </a:lnTo>
                <a:lnTo>
                  <a:pt x="284" y="71"/>
                </a:lnTo>
                <a:lnTo>
                  <a:pt x="284" y="77"/>
                </a:lnTo>
                <a:lnTo>
                  <a:pt x="284" y="82"/>
                </a:lnTo>
                <a:lnTo>
                  <a:pt x="278" y="82"/>
                </a:lnTo>
                <a:lnTo>
                  <a:pt x="278" y="93"/>
                </a:lnTo>
                <a:lnTo>
                  <a:pt x="278" y="98"/>
                </a:lnTo>
                <a:lnTo>
                  <a:pt x="278" y="104"/>
                </a:lnTo>
                <a:lnTo>
                  <a:pt x="273" y="109"/>
                </a:lnTo>
                <a:lnTo>
                  <a:pt x="273" y="115"/>
                </a:lnTo>
                <a:lnTo>
                  <a:pt x="273" y="120"/>
                </a:lnTo>
                <a:lnTo>
                  <a:pt x="267" y="120"/>
                </a:lnTo>
                <a:lnTo>
                  <a:pt x="267" y="126"/>
                </a:lnTo>
                <a:lnTo>
                  <a:pt x="267" y="131"/>
                </a:lnTo>
                <a:lnTo>
                  <a:pt x="273" y="131"/>
                </a:lnTo>
                <a:lnTo>
                  <a:pt x="273" y="137"/>
                </a:lnTo>
                <a:lnTo>
                  <a:pt x="273" y="142"/>
                </a:lnTo>
                <a:lnTo>
                  <a:pt x="273" y="147"/>
                </a:lnTo>
                <a:lnTo>
                  <a:pt x="273" y="153"/>
                </a:lnTo>
                <a:lnTo>
                  <a:pt x="273" y="158"/>
                </a:lnTo>
                <a:lnTo>
                  <a:pt x="273" y="164"/>
                </a:lnTo>
                <a:lnTo>
                  <a:pt x="278" y="169"/>
                </a:lnTo>
                <a:lnTo>
                  <a:pt x="278" y="175"/>
                </a:lnTo>
                <a:lnTo>
                  <a:pt x="278" y="180"/>
                </a:lnTo>
                <a:lnTo>
                  <a:pt x="278" y="186"/>
                </a:lnTo>
                <a:lnTo>
                  <a:pt x="278" y="191"/>
                </a:lnTo>
                <a:lnTo>
                  <a:pt x="284" y="191"/>
                </a:lnTo>
                <a:lnTo>
                  <a:pt x="289" y="197"/>
                </a:lnTo>
                <a:lnTo>
                  <a:pt x="295" y="207"/>
                </a:lnTo>
                <a:lnTo>
                  <a:pt x="295" y="213"/>
                </a:lnTo>
                <a:lnTo>
                  <a:pt x="289" y="213"/>
                </a:lnTo>
                <a:lnTo>
                  <a:pt x="284" y="218"/>
                </a:lnTo>
                <a:lnTo>
                  <a:pt x="267" y="218"/>
                </a:lnTo>
                <a:lnTo>
                  <a:pt x="267" y="224"/>
                </a:lnTo>
                <a:lnTo>
                  <a:pt x="262" y="224"/>
                </a:lnTo>
                <a:lnTo>
                  <a:pt x="257" y="229"/>
                </a:lnTo>
                <a:lnTo>
                  <a:pt x="257" y="235"/>
                </a:lnTo>
                <a:lnTo>
                  <a:pt x="262" y="235"/>
                </a:lnTo>
                <a:lnTo>
                  <a:pt x="262" y="240"/>
                </a:lnTo>
                <a:lnTo>
                  <a:pt x="262" y="246"/>
                </a:lnTo>
                <a:lnTo>
                  <a:pt x="257" y="246"/>
                </a:lnTo>
                <a:lnTo>
                  <a:pt x="262" y="246"/>
                </a:lnTo>
                <a:lnTo>
                  <a:pt x="262" y="251"/>
                </a:lnTo>
                <a:lnTo>
                  <a:pt x="257" y="257"/>
                </a:lnTo>
                <a:lnTo>
                  <a:pt x="257" y="262"/>
                </a:lnTo>
                <a:lnTo>
                  <a:pt x="257" y="267"/>
                </a:lnTo>
                <a:lnTo>
                  <a:pt x="257" y="273"/>
                </a:lnTo>
                <a:lnTo>
                  <a:pt x="262" y="273"/>
                </a:lnTo>
                <a:lnTo>
                  <a:pt x="262" y="278"/>
                </a:lnTo>
                <a:lnTo>
                  <a:pt x="267" y="278"/>
                </a:lnTo>
                <a:lnTo>
                  <a:pt x="273" y="284"/>
                </a:lnTo>
                <a:lnTo>
                  <a:pt x="273" y="278"/>
                </a:lnTo>
                <a:lnTo>
                  <a:pt x="278" y="278"/>
                </a:lnTo>
                <a:lnTo>
                  <a:pt x="273" y="295"/>
                </a:lnTo>
                <a:lnTo>
                  <a:pt x="267" y="295"/>
                </a:lnTo>
                <a:lnTo>
                  <a:pt x="262" y="295"/>
                </a:lnTo>
                <a:lnTo>
                  <a:pt x="262" y="289"/>
                </a:lnTo>
                <a:lnTo>
                  <a:pt x="257" y="289"/>
                </a:lnTo>
                <a:lnTo>
                  <a:pt x="257" y="284"/>
                </a:lnTo>
                <a:lnTo>
                  <a:pt x="251" y="278"/>
                </a:lnTo>
                <a:lnTo>
                  <a:pt x="251" y="284"/>
                </a:lnTo>
                <a:lnTo>
                  <a:pt x="246" y="278"/>
                </a:lnTo>
                <a:lnTo>
                  <a:pt x="240" y="278"/>
                </a:lnTo>
                <a:lnTo>
                  <a:pt x="240" y="273"/>
                </a:lnTo>
                <a:lnTo>
                  <a:pt x="235" y="273"/>
                </a:lnTo>
                <a:lnTo>
                  <a:pt x="235" y="267"/>
                </a:lnTo>
                <a:lnTo>
                  <a:pt x="235" y="273"/>
                </a:lnTo>
                <a:lnTo>
                  <a:pt x="229" y="273"/>
                </a:lnTo>
                <a:lnTo>
                  <a:pt x="224" y="273"/>
                </a:lnTo>
                <a:lnTo>
                  <a:pt x="218" y="273"/>
                </a:lnTo>
                <a:lnTo>
                  <a:pt x="213" y="273"/>
                </a:lnTo>
                <a:lnTo>
                  <a:pt x="213" y="267"/>
                </a:lnTo>
                <a:lnTo>
                  <a:pt x="208" y="273"/>
                </a:lnTo>
                <a:lnTo>
                  <a:pt x="208" y="267"/>
                </a:lnTo>
                <a:lnTo>
                  <a:pt x="208" y="262"/>
                </a:lnTo>
                <a:lnTo>
                  <a:pt x="202" y="262"/>
                </a:lnTo>
                <a:lnTo>
                  <a:pt x="197" y="262"/>
                </a:lnTo>
                <a:lnTo>
                  <a:pt x="191" y="267"/>
                </a:lnTo>
                <a:lnTo>
                  <a:pt x="191" y="262"/>
                </a:lnTo>
                <a:lnTo>
                  <a:pt x="186" y="257"/>
                </a:lnTo>
                <a:lnTo>
                  <a:pt x="180" y="257"/>
                </a:lnTo>
                <a:lnTo>
                  <a:pt x="175" y="257"/>
                </a:lnTo>
                <a:lnTo>
                  <a:pt x="175" y="262"/>
                </a:lnTo>
                <a:lnTo>
                  <a:pt x="169" y="262"/>
                </a:lnTo>
                <a:lnTo>
                  <a:pt x="164" y="257"/>
                </a:lnTo>
                <a:lnTo>
                  <a:pt x="158" y="262"/>
                </a:lnTo>
                <a:lnTo>
                  <a:pt x="158" y="257"/>
                </a:lnTo>
                <a:lnTo>
                  <a:pt x="158" y="251"/>
                </a:lnTo>
                <a:lnTo>
                  <a:pt x="158" y="246"/>
                </a:lnTo>
                <a:lnTo>
                  <a:pt x="158" y="240"/>
                </a:lnTo>
                <a:lnTo>
                  <a:pt x="153" y="235"/>
                </a:lnTo>
                <a:lnTo>
                  <a:pt x="153" y="229"/>
                </a:lnTo>
                <a:lnTo>
                  <a:pt x="153" y="224"/>
                </a:lnTo>
                <a:lnTo>
                  <a:pt x="153" y="218"/>
                </a:lnTo>
                <a:lnTo>
                  <a:pt x="153" y="213"/>
                </a:lnTo>
                <a:lnTo>
                  <a:pt x="153" y="207"/>
                </a:lnTo>
                <a:lnTo>
                  <a:pt x="153" y="202"/>
                </a:lnTo>
                <a:lnTo>
                  <a:pt x="131" y="202"/>
                </a:lnTo>
                <a:lnTo>
                  <a:pt x="131" y="197"/>
                </a:lnTo>
                <a:lnTo>
                  <a:pt x="137" y="191"/>
                </a:lnTo>
                <a:lnTo>
                  <a:pt x="131" y="197"/>
                </a:lnTo>
                <a:lnTo>
                  <a:pt x="120" y="197"/>
                </a:lnTo>
                <a:lnTo>
                  <a:pt x="115" y="202"/>
                </a:lnTo>
                <a:lnTo>
                  <a:pt x="120" y="202"/>
                </a:lnTo>
                <a:lnTo>
                  <a:pt x="115" y="202"/>
                </a:lnTo>
                <a:lnTo>
                  <a:pt x="115" y="207"/>
                </a:lnTo>
                <a:lnTo>
                  <a:pt x="115" y="213"/>
                </a:lnTo>
                <a:lnTo>
                  <a:pt x="104" y="213"/>
                </a:lnTo>
                <a:lnTo>
                  <a:pt x="104" y="207"/>
                </a:lnTo>
                <a:lnTo>
                  <a:pt x="104" y="213"/>
                </a:lnTo>
                <a:lnTo>
                  <a:pt x="98" y="213"/>
                </a:lnTo>
                <a:lnTo>
                  <a:pt x="93" y="213"/>
                </a:lnTo>
                <a:lnTo>
                  <a:pt x="88" y="213"/>
                </a:lnTo>
                <a:lnTo>
                  <a:pt x="82" y="207"/>
                </a:lnTo>
                <a:lnTo>
                  <a:pt x="82" y="202"/>
                </a:lnTo>
                <a:lnTo>
                  <a:pt x="77" y="197"/>
                </a:lnTo>
                <a:lnTo>
                  <a:pt x="77" y="191"/>
                </a:lnTo>
                <a:lnTo>
                  <a:pt x="71" y="186"/>
                </a:lnTo>
                <a:lnTo>
                  <a:pt x="71" y="180"/>
                </a:lnTo>
                <a:lnTo>
                  <a:pt x="66" y="175"/>
                </a:lnTo>
                <a:lnTo>
                  <a:pt x="44" y="175"/>
                </a:lnTo>
                <a:lnTo>
                  <a:pt x="38" y="180"/>
                </a:lnTo>
                <a:lnTo>
                  <a:pt x="33" y="175"/>
                </a:lnTo>
                <a:lnTo>
                  <a:pt x="28" y="175"/>
                </a:lnTo>
                <a:lnTo>
                  <a:pt x="22" y="175"/>
                </a:lnTo>
                <a:lnTo>
                  <a:pt x="17" y="175"/>
                </a:lnTo>
                <a:lnTo>
                  <a:pt x="17" y="180"/>
                </a:lnTo>
                <a:lnTo>
                  <a:pt x="11" y="175"/>
                </a:lnTo>
                <a:lnTo>
                  <a:pt x="11" y="180"/>
                </a:lnTo>
                <a:lnTo>
                  <a:pt x="6" y="180"/>
                </a:lnTo>
                <a:lnTo>
                  <a:pt x="0" y="175"/>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0" name="Freeform 432">
            <a:extLst>
              <a:ext uri="{FF2B5EF4-FFF2-40B4-BE49-F238E27FC236}">
                <a16:creationId xmlns:a16="http://schemas.microsoft.com/office/drawing/2014/main" id="{F131F6EC-00ED-E4D2-80F6-0DA92E480973}"/>
              </a:ext>
            </a:extLst>
          </p:cNvPr>
          <p:cNvSpPr>
            <a:spLocks/>
          </p:cNvSpPr>
          <p:nvPr/>
        </p:nvSpPr>
        <p:spPr bwMode="auto">
          <a:xfrm>
            <a:off x="2833687" y="3009900"/>
            <a:ext cx="134938" cy="168275"/>
          </a:xfrm>
          <a:custGeom>
            <a:avLst/>
            <a:gdLst>
              <a:gd name="T0" fmla="*/ 5 w 120"/>
              <a:gd name="T1" fmla="*/ 115 h 137"/>
              <a:gd name="T2" fmla="*/ 16 w 120"/>
              <a:gd name="T3" fmla="*/ 110 h 137"/>
              <a:gd name="T4" fmla="*/ 11 w 120"/>
              <a:gd name="T5" fmla="*/ 99 h 137"/>
              <a:gd name="T6" fmla="*/ 16 w 120"/>
              <a:gd name="T7" fmla="*/ 93 h 137"/>
              <a:gd name="T8" fmla="*/ 22 w 120"/>
              <a:gd name="T9" fmla="*/ 88 h 137"/>
              <a:gd name="T10" fmla="*/ 33 w 120"/>
              <a:gd name="T11" fmla="*/ 93 h 137"/>
              <a:gd name="T12" fmla="*/ 44 w 120"/>
              <a:gd name="T13" fmla="*/ 88 h 137"/>
              <a:gd name="T14" fmla="*/ 49 w 120"/>
              <a:gd name="T15" fmla="*/ 99 h 137"/>
              <a:gd name="T16" fmla="*/ 49 w 120"/>
              <a:gd name="T17" fmla="*/ 88 h 137"/>
              <a:gd name="T18" fmla="*/ 54 w 120"/>
              <a:gd name="T19" fmla="*/ 82 h 137"/>
              <a:gd name="T20" fmla="*/ 54 w 120"/>
              <a:gd name="T21" fmla="*/ 71 h 137"/>
              <a:gd name="T22" fmla="*/ 49 w 120"/>
              <a:gd name="T23" fmla="*/ 66 h 137"/>
              <a:gd name="T24" fmla="*/ 44 w 120"/>
              <a:gd name="T25" fmla="*/ 60 h 137"/>
              <a:gd name="T26" fmla="*/ 49 w 120"/>
              <a:gd name="T27" fmla="*/ 50 h 137"/>
              <a:gd name="T28" fmla="*/ 49 w 120"/>
              <a:gd name="T29" fmla="*/ 39 h 137"/>
              <a:gd name="T30" fmla="*/ 44 w 120"/>
              <a:gd name="T31" fmla="*/ 33 h 137"/>
              <a:gd name="T32" fmla="*/ 33 w 120"/>
              <a:gd name="T33" fmla="*/ 39 h 137"/>
              <a:gd name="T34" fmla="*/ 33 w 120"/>
              <a:gd name="T35" fmla="*/ 28 h 137"/>
              <a:gd name="T36" fmla="*/ 54 w 120"/>
              <a:gd name="T37" fmla="*/ 22 h 137"/>
              <a:gd name="T38" fmla="*/ 65 w 120"/>
              <a:gd name="T39" fmla="*/ 22 h 137"/>
              <a:gd name="T40" fmla="*/ 76 w 120"/>
              <a:gd name="T41" fmla="*/ 28 h 137"/>
              <a:gd name="T42" fmla="*/ 82 w 120"/>
              <a:gd name="T43" fmla="*/ 33 h 137"/>
              <a:gd name="T44" fmla="*/ 82 w 120"/>
              <a:gd name="T45" fmla="*/ 22 h 137"/>
              <a:gd name="T46" fmla="*/ 87 w 120"/>
              <a:gd name="T47" fmla="*/ 6 h 137"/>
              <a:gd name="T48" fmla="*/ 93 w 120"/>
              <a:gd name="T49" fmla="*/ 0 h 137"/>
              <a:gd name="T50" fmla="*/ 104 w 120"/>
              <a:gd name="T51" fmla="*/ 0 h 137"/>
              <a:gd name="T52" fmla="*/ 114 w 120"/>
              <a:gd name="T53" fmla="*/ 0 h 137"/>
              <a:gd name="T54" fmla="*/ 120 w 120"/>
              <a:gd name="T55" fmla="*/ 6 h 137"/>
              <a:gd name="T56" fmla="*/ 114 w 120"/>
              <a:gd name="T57" fmla="*/ 17 h 137"/>
              <a:gd name="T58" fmla="*/ 109 w 120"/>
              <a:gd name="T59" fmla="*/ 22 h 137"/>
              <a:gd name="T60" fmla="*/ 109 w 120"/>
              <a:gd name="T61" fmla="*/ 33 h 137"/>
              <a:gd name="T62" fmla="*/ 109 w 120"/>
              <a:gd name="T63" fmla="*/ 44 h 137"/>
              <a:gd name="T64" fmla="*/ 109 w 120"/>
              <a:gd name="T65" fmla="*/ 55 h 137"/>
              <a:gd name="T66" fmla="*/ 104 w 120"/>
              <a:gd name="T67" fmla="*/ 66 h 137"/>
              <a:gd name="T68" fmla="*/ 93 w 120"/>
              <a:gd name="T69" fmla="*/ 77 h 137"/>
              <a:gd name="T70" fmla="*/ 87 w 120"/>
              <a:gd name="T71" fmla="*/ 88 h 137"/>
              <a:gd name="T72" fmla="*/ 82 w 120"/>
              <a:gd name="T73" fmla="*/ 99 h 137"/>
              <a:gd name="T74" fmla="*/ 82 w 120"/>
              <a:gd name="T75" fmla="*/ 110 h 137"/>
              <a:gd name="T76" fmla="*/ 76 w 120"/>
              <a:gd name="T77" fmla="*/ 120 h 137"/>
              <a:gd name="T78" fmla="*/ 71 w 120"/>
              <a:gd name="T79" fmla="*/ 126 h 137"/>
              <a:gd name="T80" fmla="*/ 60 w 120"/>
              <a:gd name="T81" fmla="*/ 131 h 137"/>
              <a:gd name="T82" fmla="*/ 54 w 120"/>
              <a:gd name="T83" fmla="*/ 137 h 137"/>
              <a:gd name="T84" fmla="*/ 54 w 120"/>
              <a:gd name="T85" fmla="*/ 126 h 137"/>
              <a:gd name="T86" fmla="*/ 44 w 120"/>
              <a:gd name="T87" fmla="*/ 126 h 137"/>
              <a:gd name="T88" fmla="*/ 38 w 120"/>
              <a:gd name="T89" fmla="*/ 131 h 137"/>
              <a:gd name="T90" fmla="*/ 38 w 120"/>
              <a:gd name="T91" fmla="*/ 131 h 137"/>
              <a:gd name="T92" fmla="*/ 27 w 120"/>
              <a:gd name="T93" fmla="*/ 126 h 137"/>
              <a:gd name="T94" fmla="*/ 22 w 120"/>
              <a:gd name="T95" fmla="*/ 131 h 137"/>
              <a:gd name="T96" fmla="*/ 16 w 120"/>
              <a:gd name="T97" fmla="*/ 137 h 137"/>
              <a:gd name="T98" fmla="*/ 11 w 120"/>
              <a:gd name="T99" fmla="*/ 126 h 137"/>
              <a:gd name="T100" fmla="*/ 0 w 120"/>
              <a:gd name="T101" fmla="*/ 12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 h="137">
                <a:moveTo>
                  <a:pt x="0" y="120"/>
                </a:moveTo>
                <a:lnTo>
                  <a:pt x="5" y="115"/>
                </a:lnTo>
                <a:lnTo>
                  <a:pt x="11" y="115"/>
                </a:lnTo>
                <a:lnTo>
                  <a:pt x="16" y="110"/>
                </a:lnTo>
                <a:lnTo>
                  <a:pt x="16" y="104"/>
                </a:lnTo>
                <a:lnTo>
                  <a:pt x="11" y="99"/>
                </a:lnTo>
                <a:lnTo>
                  <a:pt x="11" y="93"/>
                </a:lnTo>
                <a:lnTo>
                  <a:pt x="16" y="93"/>
                </a:lnTo>
                <a:lnTo>
                  <a:pt x="22" y="93"/>
                </a:lnTo>
                <a:lnTo>
                  <a:pt x="22" y="88"/>
                </a:lnTo>
                <a:lnTo>
                  <a:pt x="27" y="88"/>
                </a:lnTo>
                <a:lnTo>
                  <a:pt x="33" y="93"/>
                </a:lnTo>
                <a:lnTo>
                  <a:pt x="38" y="93"/>
                </a:lnTo>
                <a:lnTo>
                  <a:pt x="44" y="88"/>
                </a:lnTo>
                <a:lnTo>
                  <a:pt x="44" y="93"/>
                </a:lnTo>
                <a:lnTo>
                  <a:pt x="49" y="99"/>
                </a:lnTo>
                <a:lnTo>
                  <a:pt x="49" y="93"/>
                </a:lnTo>
                <a:lnTo>
                  <a:pt x="49" y="88"/>
                </a:lnTo>
                <a:lnTo>
                  <a:pt x="54" y="88"/>
                </a:lnTo>
                <a:lnTo>
                  <a:pt x="54" y="82"/>
                </a:lnTo>
                <a:lnTo>
                  <a:pt x="54" y="77"/>
                </a:lnTo>
                <a:lnTo>
                  <a:pt x="54" y="71"/>
                </a:lnTo>
                <a:lnTo>
                  <a:pt x="54" y="66"/>
                </a:lnTo>
                <a:lnTo>
                  <a:pt x="49" y="66"/>
                </a:lnTo>
                <a:lnTo>
                  <a:pt x="49" y="60"/>
                </a:lnTo>
                <a:lnTo>
                  <a:pt x="44" y="60"/>
                </a:lnTo>
                <a:lnTo>
                  <a:pt x="44" y="55"/>
                </a:lnTo>
                <a:lnTo>
                  <a:pt x="49" y="50"/>
                </a:lnTo>
                <a:lnTo>
                  <a:pt x="54" y="44"/>
                </a:lnTo>
                <a:lnTo>
                  <a:pt x="49" y="39"/>
                </a:lnTo>
                <a:lnTo>
                  <a:pt x="49" y="33"/>
                </a:lnTo>
                <a:lnTo>
                  <a:pt x="44" y="33"/>
                </a:lnTo>
                <a:lnTo>
                  <a:pt x="38" y="39"/>
                </a:lnTo>
                <a:lnTo>
                  <a:pt x="33" y="39"/>
                </a:lnTo>
                <a:lnTo>
                  <a:pt x="33" y="33"/>
                </a:lnTo>
                <a:lnTo>
                  <a:pt x="33" y="28"/>
                </a:lnTo>
                <a:lnTo>
                  <a:pt x="38" y="22"/>
                </a:lnTo>
                <a:lnTo>
                  <a:pt x="54" y="22"/>
                </a:lnTo>
                <a:lnTo>
                  <a:pt x="60" y="22"/>
                </a:lnTo>
                <a:lnTo>
                  <a:pt x="65" y="22"/>
                </a:lnTo>
                <a:lnTo>
                  <a:pt x="71" y="28"/>
                </a:lnTo>
                <a:lnTo>
                  <a:pt x="76" y="28"/>
                </a:lnTo>
                <a:lnTo>
                  <a:pt x="82" y="28"/>
                </a:lnTo>
                <a:lnTo>
                  <a:pt x="82" y="33"/>
                </a:lnTo>
                <a:lnTo>
                  <a:pt x="82" y="28"/>
                </a:lnTo>
                <a:lnTo>
                  <a:pt x="82" y="22"/>
                </a:lnTo>
                <a:lnTo>
                  <a:pt x="87" y="11"/>
                </a:lnTo>
                <a:lnTo>
                  <a:pt x="87" y="6"/>
                </a:lnTo>
                <a:lnTo>
                  <a:pt x="87" y="0"/>
                </a:lnTo>
                <a:lnTo>
                  <a:pt x="93" y="0"/>
                </a:lnTo>
                <a:lnTo>
                  <a:pt x="98" y="0"/>
                </a:lnTo>
                <a:lnTo>
                  <a:pt x="104" y="0"/>
                </a:lnTo>
                <a:lnTo>
                  <a:pt x="109" y="0"/>
                </a:lnTo>
                <a:lnTo>
                  <a:pt x="114" y="0"/>
                </a:lnTo>
                <a:lnTo>
                  <a:pt x="120" y="0"/>
                </a:lnTo>
                <a:lnTo>
                  <a:pt x="120" y="6"/>
                </a:lnTo>
                <a:lnTo>
                  <a:pt x="120" y="11"/>
                </a:lnTo>
                <a:lnTo>
                  <a:pt x="114" y="17"/>
                </a:lnTo>
                <a:lnTo>
                  <a:pt x="114" y="22"/>
                </a:lnTo>
                <a:lnTo>
                  <a:pt x="109" y="22"/>
                </a:lnTo>
                <a:lnTo>
                  <a:pt x="109" y="28"/>
                </a:lnTo>
                <a:lnTo>
                  <a:pt x="109" y="33"/>
                </a:lnTo>
                <a:lnTo>
                  <a:pt x="109" y="39"/>
                </a:lnTo>
                <a:lnTo>
                  <a:pt x="109" y="44"/>
                </a:lnTo>
                <a:lnTo>
                  <a:pt x="109" y="50"/>
                </a:lnTo>
                <a:lnTo>
                  <a:pt x="109" y="55"/>
                </a:lnTo>
                <a:lnTo>
                  <a:pt x="104" y="60"/>
                </a:lnTo>
                <a:lnTo>
                  <a:pt x="104" y="66"/>
                </a:lnTo>
                <a:lnTo>
                  <a:pt x="98" y="71"/>
                </a:lnTo>
                <a:lnTo>
                  <a:pt x="93" y="77"/>
                </a:lnTo>
                <a:lnTo>
                  <a:pt x="87" y="82"/>
                </a:lnTo>
                <a:lnTo>
                  <a:pt x="87" y="88"/>
                </a:lnTo>
                <a:lnTo>
                  <a:pt x="82" y="93"/>
                </a:lnTo>
                <a:lnTo>
                  <a:pt x="82" y="99"/>
                </a:lnTo>
                <a:lnTo>
                  <a:pt x="82" y="104"/>
                </a:lnTo>
                <a:lnTo>
                  <a:pt x="82" y="110"/>
                </a:lnTo>
                <a:lnTo>
                  <a:pt x="82" y="115"/>
                </a:lnTo>
                <a:lnTo>
                  <a:pt x="76" y="120"/>
                </a:lnTo>
                <a:lnTo>
                  <a:pt x="71" y="120"/>
                </a:lnTo>
                <a:lnTo>
                  <a:pt x="71" y="126"/>
                </a:lnTo>
                <a:lnTo>
                  <a:pt x="65" y="126"/>
                </a:lnTo>
                <a:lnTo>
                  <a:pt x="60" y="131"/>
                </a:lnTo>
                <a:lnTo>
                  <a:pt x="60" y="137"/>
                </a:lnTo>
                <a:lnTo>
                  <a:pt x="54" y="137"/>
                </a:lnTo>
                <a:lnTo>
                  <a:pt x="54" y="131"/>
                </a:lnTo>
                <a:lnTo>
                  <a:pt x="54" y="126"/>
                </a:lnTo>
                <a:lnTo>
                  <a:pt x="49" y="126"/>
                </a:lnTo>
                <a:lnTo>
                  <a:pt x="44" y="126"/>
                </a:lnTo>
                <a:lnTo>
                  <a:pt x="44" y="131"/>
                </a:lnTo>
                <a:lnTo>
                  <a:pt x="38" y="131"/>
                </a:lnTo>
                <a:lnTo>
                  <a:pt x="38" y="137"/>
                </a:lnTo>
                <a:lnTo>
                  <a:pt x="38" y="131"/>
                </a:lnTo>
                <a:lnTo>
                  <a:pt x="33" y="131"/>
                </a:lnTo>
                <a:lnTo>
                  <a:pt x="27" y="126"/>
                </a:lnTo>
                <a:lnTo>
                  <a:pt x="27" y="131"/>
                </a:lnTo>
                <a:lnTo>
                  <a:pt x="22" y="131"/>
                </a:lnTo>
                <a:lnTo>
                  <a:pt x="16" y="131"/>
                </a:lnTo>
                <a:lnTo>
                  <a:pt x="16" y="137"/>
                </a:lnTo>
                <a:lnTo>
                  <a:pt x="11" y="131"/>
                </a:lnTo>
                <a:lnTo>
                  <a:pt x="11" y="126"/>
                </a:lnTo>
                <a:lnTo>
                  <a:pt x="5" y="126"/>
                </a:lnTo>
                <a:lnTo>
                  <a:pt x="0" y="120"/>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1" name="Freeform 433">
            <a:extLst>
              <a:ext uri="{FF2B5EF4-FFF2-40B4-BE49-F238E27FC236}">
                <a16:creationId xmlns:a16="http://schemas.microsoft.com/office/drawing/2014/main" id="{9014669F-F6F2-85E7-6698-E3D7471DC56B}"/>
              </a:ext>
            </a:extLst>
          </p:cNvPr>
          <p:cNvSpPr>
            <a:spLocks/>
          </p:cNvSpPr>
          <p:nvPr/>
        </p:nvSpPr>
        <p:spPr bwMode="auto">
          <a:xfrm>
            <a:off x="2790825" y="3036887"/>
            <a:ext cx="103188" cy="120650"/>
          </a:xfrm>
          <a:custGeom>
            <a:avLst/>
            <a:gdLst>
              <a:gd name="T0" fmla="*/ 38 w 92"/>
              <a:gd name="T1" fmla="*/ 93 h 98"/>
              <a:gd name="T2" fmla="*/ 33 w 92"/>
              <a:gd name="T3" fmla="*/ 88 h 98"/>
              <a:gd name="T4" fmla="*/ 27 w 92"/>
              <a:gd name="T5" fmla="*/ 82 h 98"/>
              <a:gd name="T6" fmla="*/ 16 w 92"/>
              <a:gd name="T7" fmla="*/ 71 h 98"/>
              <a:gd name="T8" fmla="*/ 11 w 92"/>
              <a:gd name="T9" fmla="*/ 60 h 98"/>
              <a:gd name="T10" fmla="*/ 5 w 92"/>
              <a:gd name="T11" fmla="*/ 49 h 98"/>
              <a:gd name="T12" fmla="*/ 0 w 92"/>
              <a:gd name="T13" fmla="*/ 44 h 98"/>
              <a:gd name="T14" fmla="*/ 5 w 92"/>
              <a:gd name="T15" fmla="*/ 44 h 98"/>
              <a:gd name="T16" fmla="*/ 11 w 92"/>
              <a:gd name="T17" fmla="*/ 38 h 98"/>
              <a:gd name="T18" fmla="*/ 11 w 92"/>
              <a:gd name="T19" fmla="*/ 28 h 98"/>
              <a:gd name="T20" fmla="*/ 16 w 92"/>
              <a:gd name="T21" fmla="*/ 33 h 98"/>
              <a:gd name="T22" fmla="*/ 16 w 92"/>
              <a:gd name="T23" fmla="*/ 33 h 98"/>
              <a:gd name="T24" fmla="*/ 11 w 92"/>
              <a:gd name="T25" fmla="*/ 28 h 98"/>
              <a:gd name="T26" fmla="*/ 16 w 92"/>
              <a:gd name="T27" fmla="*/ 22 h 98"/>
              <a:gd name="T28" fmla="*/ 22 w 92"/>
              <a:gd name="T29" fmla="*/ 22 h 98"/>
              <a:gd name="T30" fmla="*/ 38 w 92"/>
              <a:gd name="T31" fmla="*/ 17 h 98"/>
              <a:gd name="T32" fmla="*/ 43 w 92"/>
              <a:gd name="T33" fmla="*/ 0 h 98"/>
              <a:gd name="T34" fmla="*/ 54 w 92"/>
              <a:gd name="T35" fmla="*/ 0 h 98"/>
              <a:gd name="T36" fmla="*/ 65 w 92"/>
              <a:gd name="T37" fmla="*/ 0 h 98"/>
              <a:gd name="T38" fmla="*/ 76 w 92"/>
              <a:gd name="T39" fmla="*/ 0 h 98"/>
              <a:gd name="T40" fmla="*/ 71 w 92"/>
              <a:gd name="T41" fmla="*/ 11 h 98"/>
              <a:gd name="T42" fmla="*/ 76 w 92"/>
              <a:gd name="T43" fmla="*/ 17 h 98"/>
              <a:gd name="T44" fmla="*/ 87 w 92"/>
              <a:gd name="T45" fmla="*/ 11 h 98"/>
              <a:gd name="T46" fmla="*/ 92 w 92"/>
              <a:gd name="T47" fmla="*/ 22 h 98"/>
              <a:gd name="T48" fmla="*/ 82 w 92"/>
              <a:gd name="T49" fmla="*/ 33 h 98"/>
              <a:gd name="T50" fmla="*/ 87 w 92"/>
              <a:gd name="T51" fmla="*/ 38 h 98"/>
              <a:gd name="T52" fmla="*/ 92 w 92"/>
              <a:gd name="T53" fmla="*/ 44 h 98"/>
              <a:gd name="T54" fmla="*/ 92 w 92"/>
              <a:gd name="T55" fmla="*/ 55 h 98"/>
              <a:gd name="T56" fmla="*/ 92 w 92"/>
              <a:gd name="T57" fmla="*/ 66 h 98"/>
              <a:gd name="T58" fmla="*/ 87 w 92"/>
              <a:gd name="T59" fmla="*/ 71 h 98"/>
              <a:gd name="T60" fmla="*/ 82 w 92"/>
              <a:gd name="T61" fmla="*/ 71 h 98"/>
              <a:gd name="T62" fmla="*/ 76 w 92"/>
              <a:gd name="T63" fmla="*/ 71 h 98"/>
              <a:gd name="T64" fmla="*/ 65 w 92"/>
              <a:gd name="T65" fmla="*/ 66 h 98"/>
              <a:gd name="T66" fmla="*/ 60 w 92"/>
              <a:gd name="T67" fmla="*/ 71 h 98"/>
              <a:gd name="T68" fmla="*/ 49 w 92"/>
              <a:gd name="T69" fmla="*/ 71 h 98"/>
              <a:gd name="T70" fmla="*/ 54 w 92"/>
              <a:gd name="T71" fmla="*/ 82 h 98"/>
              <a:gd name="T72" fmla="*/ 49 w 92"/>
              <a:gd name="T73" fmla="*/ 93 h 98"/>
              <a:gd name="T74" fmla="*/ 38 w 92"/>
              <a:gd name="T7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98">
                <a:moveTo>
                  <a:pt x="38" y="98"/>
                </a:moveTo>
                <a:lnTo>
                  <a:pt x="38" y="93"/>
                </a:lnTo>
                <a:lnTo>
                  <a:pt x="33" y="93"/>
                </a:lnTo>
                <a:lnTo>
                  <a:pt x="33" y="88"/>
                </a:lnTo>
                <a:lnTo>
                  <a:pt x="27" y="88"/>
                </a:lnTo>
                <a:lnTo>
                  <a:pt x="27" y="82"/>
                </a:lnTo>
                <a:lnTo>
                  <a:pt x="22" y="77"/>
                </a:lnTo>
                <a:lnTo>
                  <a:pt x="16" y="71"/>
                </a:lnTo>
                <a:lnTo>
                  <a:pt x="11" y="66"/>
                </a:lnTo>
                <a:lnTo>
                  <a:pt x="11" y="60"/>
                </a:lnTo>
                <a:lnTo>
                  <a:pt x="5" y="55"/>
                </a:lnTo>
                <a:lnTo>
                  <a:pt x="5" y="49"/>
                </a:lnTo>
                <a:lnTo>
                  <a:pt x="0" y="49"/>
                </a:lnTo>
                <a:lnTo>
                  <a:pt x="0" y="44"/>
                </a:lnTo>
                <a:lnTo>
                  <a:pt x="5" y="49"/>
                </a:lnTo>
                <a:lnTo>
                  <a:pt x="5" y="44"/>
                </a:lnTo>
                <a:lnTo>
                  <a:pt x="11" y="44"/>
                </a:lnTo>
                <a:lnTo>
                  <a:pt x="11" y="38"/>
                </a:lnTo>
                <a:lnTo>
                  <a:pt x="11" y="33"/>
                </a:lnTo>
                <a:lnTo>
                  <a:pt x="11" y="28"/>
                </a:lnTo>
                <a:lnTo>
                  <a:pt x="11" y="33"/>
                </a:lnTo>
                <a:lnTo>
                  <a:pt x="16" y="33"/>
                </a:lnTo>
                <a:lnTo>
                  <a:pt x="22" y="33"/>
                </a:lnTo>
                <a:lnTo>
                  <a:pt x="16" y="33"/>
                </a:lnTo>
                <a:lnTo>
                  <a:pt x="16" y="28"/>
                </a:lnTo>
                <a:lnTo>
                  <a:pt x="11" y="28"/>
                </a:lnTo>
                <a:lnTo>
                  <a:pt x="16" y="28"/>
                </a:lnTo>
                <a:lnTo>
                  <a:pt x="16" y="22"/>
                </a:lnTo>
                <a:lnTo>
                  <a:pt x="16" y="17"/>
                </a:lnTo>
                <a:lnTo>
                  <a:pt x="22" y="22"/>
                </a:lnTo>
                <a:lnTo>
                  <a:pt x="22" y="17"/>
                </a:lnTo>
                <a:lnTo>
                  <a:pt x="38" y="17"/>
                </a:lnTo>
                <a:lnTo>
                  <a:pt x="43" y="17"/>
                </a:lnTo>
                <a:lnTo>
                  <a:pt x="43" y="0"/>
                </a:lnTo>
                <a:lnTo>
                  <a:pt x="49" y="0"/>
                </a:lnTo>
                <a:lnTo>
                  <a:pt x="54" y="0"/>
                </a:lnTo>
                <a:lnTo>
                  <a:pt x="60" y="0"/>
                </a:lnTo>
                <a:lnTo>
                  <a:pt x="65" y="0"/>
                </a:lnTo>
                <a:lnTo>
                  <a:pt x="71" y="0"/>
                </a:lnTo>
                <a:lnTo>
                  <a:pt x="76" y="0"/>
                </a:lnTo>
                <a:lnTo>
                  <a:pt x="71" y="6"/>
                </a:lnTo>
                <a:lnTo>
                  <a:pt x="71" y="11"/>
                </a:lnTo>
                <a:lnTo>
                  <a:pt x="71" y="17"/>
                </a:lnTo>
                <a:lnTo>
                  <a:pt x="76" y="17"/>
                </a:lnTo>
                <a:lnTo>
                  <a:pt x="82" y="11"/>
                </a:lnTo>
                <a:lnTo>
                  <a:pt x="87" y="11"/>
                </a:lnTo>
                <a:lnTo>
                  <a:pt x="87" y="17"/>
                </a:lnTo>
                <a:lnTo>
                  <a:pt x="92" y="22"/>
                </a:lnTo>
                <a:lnTo>
                  <a:pt x="87" y="28"/>
                </a:lnTo>
                <a:lnTo>
                  <a:pt x="82" y="33"/>
                </a:lnTo>
                <a:lnTo>
                  <a:pt x="82" y="38"/>
                </a:lnTo>
                <a:lnTo>
                  <a:pt x="87" y="38"/>
                </a:lnTo>
                <a:lnTo>
                  <a:pt x="87" y="44"/>
                </a:lnTo>
                <a:lnTo>
                  <a:pt x="92" y="44"/>
                </a:lnTo>
                <a:lnTo>
                  <a:pt x="92" y="49"/>
                </a:lnTo>
                <a:lnTo>
                  <a:pt x="92" y="55"/>
                </a:lnTo>
                <a:lnTo>
                  <a:pt x="92" y="60"/>
                </a:lnTo>
                <a:lnTo>
                  <a:pt x="92" y="66"/>
                </a:lnTo>
                <a:lnTo>
                  <a:pt x="87" y="66"/>
                </a:lnTo>
                <a:lnTo>
                  <a:pt x="87" y="71"/>
                </a:lnTo>
                <a:lnTo>
                  <a:pt x="87" y="77"/>
                </a:lnTo>
                <a:lnTo>
                  <a:pt x="82" y="71"/>
                </a:lnTo>
                <a:lnTo>
                  <a:pt x="82" y="66"/>
                </a:lnTo>
                <a:lnTo>
                  <a:pt x="76" y="71"/>
                </a:lnTo>
                <a:lnTo>
                  <a:pt x="71" y="71"/>
                </a:lnTo>
                <a:lnTo>
                  <a:pt x="65" y="66"/>
                </a:lnTo>
                <a:lnTo>
                  <a:pt x="60" y="66"/>
                </a:lnTo>
                <a:lnTo>
                  <a:pt x="60" y="71"/>
                </a:lnTo>
                <a:lnTo>
                  <a:pt x="54" y="71"/>
                </a:lnTo>
                <a:lnTo>
                  <a:pt x="49" y="71"/>
                </a:lnTo>
                <a:lnTo>
                  <a:pt x="49" y="77"/>
                </a:lnTo>
                <a:lnTo>
                  <a:pt x="54" y="82"/>
                </a:lnTo>
                <a:lnTo>
                  <a:pt x="54" y="88"/>
                </a:lnTo>
                <a:lnTo>
                  <a:pt x="49" y="93"/>
                </a:lnTo>
                <a:lnTo>
                  <a:pt x="43" y="93"/>
                </a:lnTo>
                <a:lnTo>
                  <a:pt x="38" y="98"/>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2" name="Freeform 434">
            <a:extLst>
              <a:ext uri="{FF2B5EF4-FFF2-40B4-BE49-F238E27FC236}">
                <a16:creationId xmlns:a16="http://schemas.microsoft.com/office/drawing/2014/main" id="{6C904B0D-F375-A547-75EA-F8CB3C7F0CD5}"/>
              </a:ext>
            </a:extLst>
          </p:cNvPr>
          <p:cNvSpPr>
            <a:spLocks/>
          </p:cNvSpPr>
          <p:nvPr/>
        </p:nvSpPr>
        <p:spPr bwMode="auto">
          <a:xfrm>
            <a:off x="2851150" y="3163887"/>
            <a:ext cx="19050" cy="26988"/>
          </a:xfrm>
          <a:custGeom>
            <a:avLst/>
            <a:gdLst>
              <a:gd name="T0" fmla="*/ 0 w 17"/>
              <a:gd name="T1" fmla="*/ 11 h 22"/>
              <a:gd name="T2" fmla="*/ 0 w 17"/>
              <a:gd name="T3" fmla="*/ 5 h 22"/>
              <a:gd name="T4" fmla="*/ 6 w 17"/>
              <a:gd name="T5" fmla="*/ 5 h 22"/>
              <a:gd name="T6" fmla="*/ 11 w 17"/>
              <a:gd name="T7" fmla="*/ 5 h 22"/>
              <a:gd name="T8" fmla="*/ 11 w 17"/>
              <a:gd name="T9" fmla="*/ 0 h 22"/>
              <a:gd name="T10" fmla="*/ 17 w 17"/>
              <a:gd name="T11" fmla="*/ 5 h 22"/>
              <a:gd name="T12" fmla="*/ 11 w 17"/>
              <a:gd name="T13" fmla="*/ 5 h 22"/>
              <a:gd name="T14" fmla="*/ 11 w 17"/>
              <a:gd name="T15" fmla="*/ 11 h 22"/>
              <a:gd name="T16" fmla="*/ 6 w 17"/>
              <a:gd name="T17" fmla="*/ 11 h 22"/>
              <a:gd name="T18" fmla="*/ 6 w 17"/>
              <a:gd name="T19" fmla="*/ 22 h 22"/>
              <a:gd name="T20" fmla="*/ 0 w 17"/>
              <a:gd name="T21" fmla="*/ 22 h 22"/>
              <a:gd name="T22" fmla="*/ 0 w 17"/>
              <a:gd name="T23" fmla="*/ 16 h 22"/>
              <a:gd name="T24" fmla="*/ 0 w 17"/>
              <a:gd name="T25"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22">
                <a:moveTo>
                  <a:pt x="0" y="11"/>
                </a:moveTo>
                <a:lnTo>
                  <a:pt x="0" y="5"/>
                </a:lnTo>
                <a:lnTo>
                  <a:pt x="6" y="5"/>
                </a:lnTo>
                <a:lnTo>
                  <a:pt x="11" y="5"/>
                </a:lnTo>
                <a:lnTo>
                  <a:pt x="11" y="0"/>
                </a:lnTo>
                <a:lnTo>
                  <a:pt x="17" y="5"/>
                </a:lnTo>
                <a:lnTo>
                  <a:pt x="11" y="5"/>
                </a:lnTo>
                <a:lnTo>
                  <a:pt x="11" y="11"/>
                </a:lnTo>
                <a:lnTo>
                  <a:pt x="6" y="11"/>
                </a:lnTo>
                <a:lnTo>
                  <a:pt x="6" y="22"/>
                </a:lnTo>
                <a:lnTo>
                  <a:pt x="0" y="22"/>
                </a:lnTo>
                <a:lnTo>
                  <a:pt x="0" y="16"/>
                </a:lnTo>
                <a:lnTo>
                  <a:pt x="0" y="11"/>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3" name="Freeform 435">
            <a:extLst>
              <a:ext uri="{FF2B5EF4-FFF2-40B4-BE49-F238E27FC236}">
                <a16:creationId xmlns:a16="http://schemas.microsoft.com/office/drawing/2014/main" id="{76895955-80AE-0EEC-1FCD-A1B84AFABBFE}"/>
              </a:ext>
            </a:extLst>
          </p:cNvPr>
          <p:cNvSpPr>
            <a:spLocks/>
          </p:cNvSpPr>
          <p:nvPr/>
        </p:nvSpPr>
        <p:spPr bwMode="auto">
          <a:xfrm>
            <a:off x="2973388" y="3424238"/>
            <a:ext cx="166688" cy="179388"/>
          </a:xfrm>
          <a:custGeom>
            <a:avLst/>
            <a:gdLst>
              <a:gd name="T0" fmla="*/ 0 w 148"/>
              <a:gd name="T1" fmla="*/ 103 h 147"/>
              <a:gd name="T2" fmla="*/ 6 w 148"/>
              <a:gd name="T3" fmla="*/ 65 h 147"/>
              <a:gd name="T4" fmla="*/ 22 w 148"/>
              <a:gd name="T5" fmla="*/ 11 h 147"/>
              <a:gd name="T6" fmla="*/ 55 w 148"/>
              <a:gd name="T7" fmla="*/ 5 h 147"/>
              <a:gd name="T8" fmla="*/ 66 w 148"/>
              <a:gd name="T9" fmla="*/ 5 h 147"/>
              <a:gd name="T10" fmla="*/ 71 w 148"/>
              <a:gd name="T11" fmla="*/ 5 h 147"/>
              <a:gd name="T12" fmla="*/ 82 w 148"/>
              <a:gd name="T13" fmla="*/ 5 h 147"/>
              <a:gd name="T14" fmla="*/ 88 w 148"/>
              <a:gd name="T15" fmla="*/ 0 h 147"/>
              <a:gd name="T16" fmla="*/ 93 w 148"/>
              <a:gd name="T17" fmla="*/ 5 h 147"/>
              <a:gd name="T18" fmla="*/ 99 w 148"/>
              <a:gd name="T19" fmla="*/ 16 h 147"/>
              <a:gd name="T20" fmla="*/ 104 w 148"/>
              <a:gd name="T21" fmla="*/ 21 h 147"/>
              <a:gd name="T22" fmla="*/ 104 w 148"/>
              <a:gd name="T23" fmla="*/ 32 h 147"/>
              <a:gd name="T24" fmla="*/ 115 w 148"/>
              <a:gd name="T25" fmla="*/ 38 h 147"/>
              <a:gd name="T26" fmla="*/ 120 w 148"/>
              <a:gd name="T27" fmla="*/ 43 h 147"/>
              <a:gd name="T28" fmla="*/ 126 w 148"/>
              <a:gd name="T29" fmla="*/ 49 h 147"/>
              <a:gd name="T30" fmla="*/ 131 w 148"/>
              <a:gd name="T31" fmla="*/ 60 h 147"/>
              <a:gd name="T32" fmla="*/ 142 w 148"/>
              <a:gd name="T33" fmla="*/ 65 h 147"/>
              <a:gd name="T34" fmla="*/ 142 w 148"/>
              <a:gd name="T35" fmla="*/ 71 h 147"/>
              <a:gd name="T36" fmla="*/ 137 w 148"/>
              <a:gd name="T37" fmla="*/ 76 h 147"/>
              <a:gd name="T38" fmla="*/ 126 w 148"/>
              <a:gd name="T39" fmla="*/ 81 h 147"/>
              <a:gd name="T40" fmla="*/ 115 w 148"/>
              <a:gd name="T41" fmla="*/ 87 h 147"/>
              <a:gd name="T42" fmla="*/ 109 w 148"/>
              <a:gd name="T43" fmla="*/ 98 h 147"/>
              <a:gd name="T44" fmla="*/ 104 w 148"/>
              <a:gd name="T45" fmla="*/ 103 h 147"/>
              <a:gd name="T46" fmla="*/ 99 w 148"/>
              <a:gd name="T47" fmla="*/ 109 h 147"/>
              <a:gd name="T48" fmla="*/ 93 w 148"/>
              <a:gd name="T49" fmla="*/ 114 h 147"/>
              <a:gd name="T50" fmla="*/ 88 w 148"/>
              <a:gd name="T51" fmla="*/ 125 h 147"/>
              <a:gd name="T52" fmla="*/ 77 w 148"/>
              <a:gd name="T53" fmla="*/ 125 h 147"/>
              <a:gd name="T54" fmla="*/ 66 w 148"/>
              <a:gd name="T55" fmla="*/ 125 h 147"/>
              <a:gd name="T56" fmla="*/ 60 w 148"/>
              <a:gd name="T57" fmla="*/ 120 h 147"/>
              <a:gd name="T58" fmla="*/ 49 w 148"/>
              <a:gd name="T59" fmla="*/ 120 h 147"/>
              <a:gd name="T60" fmla="*/ 44 w 148"/>
              <a:gd name="T61" fmla="*/ 131 h 147"/>
              <a:gd name="T62" fmla="*/ 33 w 148"/>
              <a:gd name="T63" fmla="*/ 136 h 147"/>
              <a:gd name="T64" fmla="*/ 28 w 148"/>
              <a:gd name="T65" fmla="*/ 141 h 147"/>
              <a:gd name="T66" fmla="*/ 22 w 148"/>
              <a:gd name="T67" fmla="*/ 141 h 147"/>
              <a:gd name="T68" fmla="*/ 11 w 148"/>
              <a:gd name="T69" fmla="*/ 141 h 147"/>
              <a:gd name="T70" fmla="*/ 11 w 148"/>
              <a:gd name="T71" fmla="*/ 141 h 147"/>
              <a:gd name="T72" fmla="*/ 11 w 148"/>
              <a:gd name="T73" fmla="*/ 131 h 147"/>
              <a:gd name="T74" fmla="*/ 11 w 148"/>
              <a:gd name="T75" fmla="*/ 120 h 147"/>
              <a:gd name="T76" fmla="*/ 0 w 148"/>
              <a:gd name="T77" fmla="*/ 10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 h="147">
                <a:moveTo>
                  <a:pt x="0" y="109"/>
                </a:moveTo>
                <a:lnTo>
                  <a:pt x="0" y="103"/>
                </a:lnTo>
                <a:lnTo>
                  <a:pt x="6" y="71"/>
                </a:lnTo>
                <a:lnTo>
                  <a:pt x="6" y="65"/>
                </a:lnTo>
                <a:lnTo>
                  <a:pt x="22" y="65"/>
                </a:lnTo>
                <a:lnTo>
                  <a:pt x="22" y="11"/>
                </a:lnTo>
                <a:lnTo>
                  <a:pt x="33" y="11"/>
                </a:lnTo>
                <a:lnTo>
                  <a:pt x="55" y="5"/>
                </a:lnTo>
                <a:lnTo>
                  <a:pt x="60" y="5"/>
                </a:lnTo>
                <a:lnTo>
                  <a:pt x="66" y="5"/>
                </a:lnTo>
                <a:lnTo>
                  <a:pt x="66" y="11"/>
                </a:lnTo>
                <a:lnTo>
                  <a:pt x="71" y="5"/>
                </a:lnTo>
                <a:lnTo>
                  <a:pt x="77" y="5"/>
                </a:lnTo>
                <a:lnTo>
                  <a:pt x="82" y="5"/>
                </a:lnTo>
                <a:lnTo>
                  <a:pt x="82" y="0"/>
                </a:lnTo>
                <a:lnTo>
                  <a:pt x="88" y="0"/>
                </a:lnTo>
                <a:lnTo>
                  <a:pt x="93" y="0"/>
                </a:lnTo>
                <a:lnTo>
                  <a:pt x="93" y="5"/>
                </a:lnTo>
                <a:lnTo>
                  <a:pt x="93" y="11"/>
                </a:lnTo>
                <a:lnTo>
                  <a:pt x="99" y="16"/>
                </a:lnTo>
                <a:lnTo>
                  <a:pt x="99" y="21"/>
                </a:lnTo>
                <a:lnTo>
                  <a:pt x="104" y="21"/>
                </a:lnTo>
                <a:lnTo>
                  <a:pt x="104" y="27"/>
                </a:lnTo>
                <a:lnTo>
                  <a:pt x="104" y="32"/>
                </a:lnTo>
                <a:lnTo>
                  <a:pt x="109" y="32"/>
                </a:lnTo>
                <a:lnTo>
                  <a:pt x="115" y="38"/>
                </a:lnTo>
                <a:lnTo>
                  <a:pt x="120" y="38"/>
                </a:lnTo>
                <a:lnTo>
                  <a:pt x="120" y="43"/>
                </a:lnTo>
                <a:lnTo>
                  <a:pt x="126" y="43"/>
                </a:lnTo>
                <a:lnTo>
                  <a:pt x="126" y="49"/>
                </a:lnTo>
                <a:lnTo>
                  <a:pt x="126" y="54"/>
                </a:lnTo>
                <a:lnTo>
                  <a:pt x="131" y="60"/>
                </a:lnTo>
                <a:lnTo>
                  <a:pt x="137" y="60"/>
                </a:lnTo>
                <a:lnTo>
                  <a:pt x="142" y="65"/>
                </a:lnTo>
                <a:lnTo>
                  <a:pt x="148" y="71"/>
                </a:lnTo>
                <a:lnTo>
                  <a:pt x="142" y="71"/>
                </a:lnTo>
                <a:lnTo>
                  <a:pt x="142" y="76"/>
                </a:lnTo>
                <a:lnTo>
                  <a:pt x="137" y="76"/>
                </a:lnTo>
                <a:lnTo>
                  <a:pt x="131" y="76"/>
                </a:lnTo>
                <a:lnTo>
                  <a:pt x="126" y="81"/>
                </a:lnTo>
                <a:lnTo>
                  <a:pt x="120" y="87"/>
                </a:lnTo>
                <a:lnTo>
                  <a:pt x="115" y="87"/>
                </a:lnTo>
                <a:lnTo>
                  <a:pt x="109" y="92"/>
                </a:lnTo>
                <a:lnTo>
                  <a:pt x="109" y="98"/>
                </a:lnTo>
                <a:lnTo>
                  <a:pt x="109" y="103"/>
                </a:lnTo>
                <a:lnTo>
                  <a:pt x="104" y="103"/>
                </a:lnTo>
                <a:lnTo>
                  <a:pt x="104" y="109"/>
                </a:lnTo>
                <a:lnTo>
                  <a:pt x="99" y="109"/>
                </a:lnTo>
                <a:lnTo>
                  <a:pt x="93" y="109"/>
                </a:lnTo>
                <a:lnTo>
                  <a:pt x="93" y="114"/>
                </a:lnTo>
                <a:lnTo>
                  <a:pt x="88" y="120"/>
                </a:lnTo>
                <a:lnTo>
                  <a:pt x="88" y="125"/>
                </a:lnTo>
                <a:lnTo>
                  <a:pt x="82" y="125"/>
                </a:lnTo>
                <a:lnTo>
                  <a:pt x="77" y="125"/>
                </a:lnTo>
                <a:lnTo>
                  <a:pt x="71" y="125"/>
                </a:lnTo>
                <a:lnTo>
                  <a:pt x="66" y="125"/>
                </a:lnTo>
                <a:lnTo>
                  <a:pt x="60" y="125"/>
                </a:lnTo>
                <a:lnTo>
                  <a:pt x="60" y="120"/>
                </a:lnTo>
                <a:lnTo>
                  <a:pt x="55" y="120"/>
                </a:lnTo>
                <a:lnTo>
                  <a:pt x="49" y="120"/>
                </a:lnTo>
                <a:lnTo>
                  <a:pt x="44" y="125"/>
                </a:lnTo>
                <a:lnTo>
                  <a:pt x="44" y="131"/>
                </a:lnTo>
                <a:lnTo>
                  <a:pt x="39" y="136"/>
                </a:lnTo>
                <a:lnTo>
                  <a:pt x="33" y="136"/>
                </a:lnTo>
                <a:lnTo>
                  <a:pt x="33" y="141"/>
                </a:lnTo>
                <a:lnTo>
                  <a:pt x="28" y="141"/>
                </a:lnTo>
                <a:lnTo>
                  <a:pt x="28" y="147"/>
                </a:lnTo>
                <a:lnTo>
                  <a:pt x="22" y="141"/>
                </a:lnTo>
                <a:lnTo>
                  <a:pt x="17" y="147"/>
                </a:lnTo>
                <a:lnTo>
                  <a:pt x="11" y="141"/>
                </a:lnTo>
                <a:lnTo>
                  <a:pt x="11" y="147"/>
                </a:lnTo>
                <a:lnTo>
                  <a:pt x="11" y="141"/>
                </a:lnTo>
                <a:lnTo>
                  <a:pt x="11" y="136"/>
                </a:lnTo>
                <a:lnTo>
                  <a:pt x="11" y="131"/>
                </a:lnTo>
                <a:lnTo>
                  <a:pt x="11" y="125"/>
                </a:lnTo>
                <a:lnTo>
                  <a:pt x="11" y="120"/>
                </a:lnTo>
                <a:lnTo>
                  <a:pt x="6" y="114"/>
                </a:lnTo>
                <a:lnTo>
                  <a:pt x="0" y="109"/>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4" name="Freeform 436">
            <a:extLst>
              <a:ext uri="{FF2B5EF4-FFF2-40B4-BE49-F238E27FC236}">
                <a16:creationId xmlns:a16="http://schemas.microsoft.com/office/drawing/2014/main" id="{A213B881-88BE-AAAC-9646-201E776A762A}"/>
              </a:ext>
            </a:extLst>
          </p:cNvPr>
          <p:cNvSpPr>
            <a:spLocks/>
          </p:cNvSpPr>
          <p:nvPr/>
        </p:nvSpPr>
        <p:spPr bwMode="auto">
          <a:xfrm>
            <a:off x="3078162" y="3384551"/>
            <a:ext cx="134938" cy="131763"/>
          </a:xfrm>
          <a:custGeom>
            <a:avLst/>
            <a:gdLst>
              <a:gd name="T0" fmla="*/ 49 w 120"/>
              <a:gd name="T1" fmla="*/ 98 h 109"/>
              <a:gd name="T2" fmla="*/ 38 w 120"/>
              <a:gd name="T3" fmla="*/ 93 h 109"/>
              <a:gd name="T4" fmla="*/ 33 w 120"/>
              <a:gd name="T5" fmla="*/ 82 h 109"/>
              <a:gd name="T6" fmla="*/ 27 w 120"/>
              <a:gd name="T7" fmla="*/ 76 h 109"/>
              <a:gd name="T8" fmla="*/ 22 w 120"/>
              <a:gd name="T9" fmla="*/ 71 h 109"/>
              <a:gd name="T10" fmla="*/ 11 w 120"/>
              <a:gd name="T11" fmla="*/ 65 h 109"/>
              <a:gd name="T12" fmla="*/ 11 w 120"/>
              <a:gd name="T13" fmla="*/ 54 h 109"/>
              <a:gd name="T14" fmla="*/ 6 w 120"/>
              <a:gd name="T15" fmla="*/ 49 h 109"/>
              <a:gd name="T16" fmla="*/ 0 w 120"/>
              <a:gd name="T17" fmla="*/ 38 h 109"/>
              <a:gd name="T18" fmla="*/ 6 w 120"/>
              <a:gd name="T19" fmla="*/ 33 h 109"/>
              <a:gd name="T20" fmla="*/ 11 w 120"/>
              <a:gd name="T21" fmla="*/ 33 h 109"/>
              <a:gd name="T22" fmla="*/ 22 w 120"/>
              <a:gd name="T23" fmla="*/ 38 h 109"/>
              <a:gd name="T24" fmla="*/ 27 w 120"/>
              <a:gd name="T25" fmla="*/ 33 h 109"/>
              <a:gd name="T26" fmla="*/ 38 w 120"/>
              <a:gd name="T27" fmla="*/ 22 h 109"/>
              <a:gd name="T28" fmla="*/ 49 w 120"/>
              <a:gd name="T29" fmla="*/ 16 h 109"/>
              <a:gd name="T30" fmla="*/ 55 w 120"/>
              <a:gd name="T31" fmla="*/ 11 h 109"/>
              <a:gd name="T32" fmla="*/ 60 w 120"/>
              <a:gd name="T33" fmla="*/ 5 h 109"/>
              <a:gd name="T34" fmla="*/ 65 w 120"/>
              <a:gd name="T35" fmla="*/ 0 h 109"/>
              <a:gd name="T36" fmla="*/ 76 w 120"/>
              <a:gd name="T37" fmla="*/ 0 h 109"/>
              <a:gd name="T38" fmla="*/ 82 w 120"/>
              <a:gd name="T39" fmla="*/ 5 h 109"/>
              <a:gd name="T40" fmla="*/ 93 w 120"/>
              <a:gd name="T41" fmla="*/ 5 h 109"/>
              <a:gd name="T42" fmla="*/ 104 w 120"/>
              <a:gd name="T43" fmla="*/ 11 h 109"/>
              <a:gd name="T44" fmla="*/ 115 w 120"/>
              <a:gd name="T45" fmla="*/ 16 h 109"/>
              <a:gd name="T46" fmla="*/ 115 w 120"/>
              <a:gd name="T47" fmla="*/ 22 h 109"/>
              <a:gd name="T48" fmla="*/ 120 w 120"/>
              <a:gd name="T49" fmla="*/ 27 h 109"/>
              <a:gd name="T50" fmla="*/ 115 w 120"/>
              <a:gd name="T51" fmla="*/ 38 h 109"/>
              <a:gd name="T52" fmla="*/ 120 w 120"/>
              <a:gd name="T53" fmla="*/ 44 h 109"/>
              <a:gd name="T54" fmla="*/ 115 w 120"/>
              <a:gd name="T55" fmla="*/ 49 h 109"/>
              <a:gd name="T56" fmla="*/ 115 w 120"/>
              <a:gd name="T57" fmla="*/ 54 h 109"/>
              <a:gd name="T58" fmla="*/ 115 w 120"/>
              <a:gd name="T59" fmla="*/ 65 h 109"/>
              <a:gd name="T60" fmla="*/ 109 w 120"/>
              <a:gd name="T61" fmla="*/ 76 h 109"/>
              <a:gd name="T62" fmla="*/ 104 w 120"/>
              <a:gd name="T63" fmla="*/ 82 h 109"/>
              <a:gd name="T64" fmla="*/ 87 w 120"/>
              <a:gd name="T65" fmla="*/ 104 h 109"/>
              <a:gd name="T66" fmla="*/ 82 w 120"/>
              <a:gd name="T67" fmla="*/ 104 h 109"/>
              <a:gd name="T68" fmla="*/ 71 w 120"/>
              <a:gd name="T69" fmla="*/ 104 h 109"/>
              <a:gd name="T70" fmla="*/ 60 w 120"/>
              <a:gd name="T71"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09">
                <a:moveTo>
                  <a:pt x="55" y="104"/>
                </a:moveTo>
                <a:lnTo>
                  <a:pt x="49" y="98"/>
                </a:lnTo>
                <a:lnTo>
                  <a:pt x="44" y="93"/>
                </a:lnTo>
                <a:lnTo>
                  <a:pt x="38" y="93"/>
                </a:lnTo>
                <a:lnTo>
                  <a:pt x="33" y="87"/>
                </a:lnTo>
                <a:lnTo>
                  <a:pt x="33" y="82"/>
                </a:lnTo>
                <a:lnTo>
                  <a:pt x="33" y="76"/>
                </a:lnTo>
                <a:lnTo>
                  <a:pt x="27" y="76"/>
                </a:lnTo>
                <a:lnTo>
                  <a:pt x="27" y="71"/>
                </a:lnTo>
                <a:lnTo>
                  <a:pt x="22" y="71"/>
                </a:lnTo>
                <a:lnTo>
                  <a:pt x="16" y="65"/>
                </a:lnTo>
                <a:lnTo>
                  <a:pt x="11" y="65"/>
                </a:lnTo>
                <a:lnTo>
                  <a:pt x="11" y="60"/>
                </a:lnTo>
                <a:lnTo>
                  <a:pt x="11" y="54"/>
                </a:lnTo>
                <a:lnTo>
                  <a:pt x="6" y="54"/>
                </a:lnTo>
                <a:lnTo>
                  <a:pt x="6" y="49"/>
                </a:lnTo>
                <a:lnTo>
                  <a:pt x="0" y="44"/>
                </a:lnTo>
                <a:lnTo>
                  <a:pt x="0" y="38"/>
                </a:lnTo>
                <a:lnTo>
                  <a:pt x="0" y="33"/>
                </a:lnTo>
                <a:lnTo>
                  <a:pt x="6" y="33"/>
                </a:lnTo>
                <a:lnTo>
                  <a:pt x="11" y="38"/>
                </a:lnTo>
                <a:lnTo>
                  <a:pt x="11" y="33"/>
                </a:lnTo>
                <a:lnTo>
                  <a:pt x="16" y="38"/>
                </a:lnTo>
                <a:lnTo>
                  <a:pt x="22" y="38"/>
                </a:lnTo>
                <a:lnTo>
                  <a:pt x="27" y="38"/>
                </a:lnTo>
                <a:lnTo>
                  <a:pt x="27" y="33"/>
                </a:lnTo>
                <a:lnTo>
                  <a:pt x="33" y="27"/>
                </a:lnTo>
                <a:lnTo>
                  <a:pt x="38" y="22"/>
                </a:lnTo>
                <a:lnTo>
                  <a:pt x="44" y="16"/>
                </a:lnTo>
                <a:lnTo>
                  <a:pt x="49" y="16"/>
                </a:lnTo>
                <a:lnTo>
                  <a:pt x="55" y="16"/>
                </a:lnTo>
                <a:lnTo>
                  <a:pt x="55" y="11"/>
                </a:lnTo>
                <a:lnTo>
                  <a:pt x="55" y="5"/>
                </a:lnTo>
                <a:lnTo>
                  <a:pt x="60" y="5"/>
                </a:lnTo>
                <a:lnTo>
                  <a:pt x="60" y="0"/>
                </a:lnTo>
                <a:lnTo>
                  <a:pt x="65" y="0"/>
                </a:lnTo>
                <a:lnTo>
                  <a:pt x="71" y="0"/>
                </a:lnTo>
                <a:lnTo>
                  <a:pt x="76" y="0"/>
                </a:lnTo>
                <a:lnTo>
                  <a:pt x="82" y="0"/>
                </a:lnTo>
                <a:lnTo>
                  <a:pt x="82" y="5"/>
                </a:lnTo>
                <a:lnTo>
                  <a:pt x="87" y="5"/>
                </a:lnTo>
                <a:lnTo>
                  <a:pt x="93" y="5"/>
                </a:lnTo>
                <a:lnTo>
                  <a:pt x="98" y="5"/>
                </a:lnTo>
                <a:lnTo>
                  <a:pt x="104" y="11"/>
                </a:lnTo>
                <a:lnTo>
                  <a:pt x="109" y="11"/>
                </a:lnTo>
                <a:lnTo>
                  <a:pt x="115" y="16"/>
                </a:lnTo>
                <a:lnTo>
                  <a:pt x="120" y="16"/>
                </a:lnTo>
                <a:lnTo>
                  <a:pt x="115" y="22"/>
                </a:lnTo>
                <a:lnTo>
                  <a:pt x="120" y="22"/>
                </a:lnTo>
                <a:lnTo>
                  <a:pt x="120" y="27"/>
                </a:lnTo>
                <a:lnTo>
                  <a:pt x="120" y="33"/>
                </a:lnTo>
                <a:lnTo>
                  <a:pt x="115" y="38"/>
                </a:lnTo>
                <a:lnTo>
                  <a:pt x="115" y="44"/>
                </a:lnTo>
                <a:lnTo>
                  <a:pt x="120" y="44"/>
                </a:lnTo>
                <a:lnTo>
                  <a:pt x="115" y="44"/>
                </a:lnTo>
                <a:lnTo>
                  <a:pt x="115" y="49"/>
                </a:lnTo>
                <a:lnTo>
                  <a:pt x="109" y="49"/>
                </a:lnTo>
                <a:lnTo>
                  <a:pt x="115" y="54"/>
                </a:lnTo>
                <a:lnTo>
                  <a:pt x="115" y="60"/>
                </a:lnTo>
                <a:lnTo>
                  <a:pt x="115" y="65"/>
                </a:lnTo>
                <a:lnTo>
                  <a:pt x="115" y="71"/>
                </a:lnTo>
                <a:lnTo>
                  <a:pt x="109" y="76"/>
                </a:lnTo>
                <a:lnTo>
                  <a:pt x="104" y="76"/>
                </a:lnTo>
                <a:lnTo>
                  <a:pt x="104" y="82"/>
                </a:lnTo>
                <a:lnTo>
                  <a:pt x="104" y="87"/>
                </a:lnTo>
                <a:lnTo>
                  <a:pt x="87" y="104"/>
                </a:lnTo>
                <a:lnTo>
                  <a:pt x="87" y="109"/>
                </a:lnTo>
                <a:lnTo>
                  <a:pt x="82" y="104"/>
                </a:lnTo>
                <a:lnTo>
                  <a:pt x="76" y="104"/>
                </a:lnTo>
                <a:lnTo>
                  <a:pt x="71" y="104"/>
                </a:lnTo>
                <a:lnTo>
                  <a:pt x="65" y="104"/>
                </a:lnTo>
                <a:lnTo>
                  <a:pt x="60" y="104"/>
                </a:lnTo>
                <a:lnTo>
                  <a:pt x="55" y="104"/>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5" name="Freeform 437">
            <a:extLst>
              <a:ext uri="{FF2B5EF4-FFF2-40B4-BE49-F238E27FC236}">
                <a16:creationId xmlns:a16="http://schemas.microsoft.com/office/drawing/2014/main" id="{4FFE96E8-F01B-1642-1AA2-F53FC321EAE9}"/>
              </a:ext>
            </a:extLst>
          </p:cNvPr>
          <p:cNvSpPr>
            <a:spLocks/>
          </p:cNvSpPr>
          <p:nvPr/>
        </p:nvSpPr>
        <p:spPr bwMode="auto">
          <a:xfrm>
            <a:off x="3022600" y="3236913"/>
            <a:ext cx="207963" cy="193675"/>
          </a:xfrm>
          <a:custGeom>
            <a:avLst/>
            <a:gdLst>
              <a:gd name="T0" fmla="*/ 16 w 185"/>
              <a:gd name="T1" fmla="*/ 147 h 158"/>
              <a:gd name="T2" fmla="*/ 11 w 185"/>
              <a:gd name="T3" fmla="*/ 142 h 158"/>
              <a:gd name="T4" fmla="*/ 0 w 185"/>
              <a:gd name="T5" fmla="*/ 131 h 158"/>
              <a:gd name="T6" fmla="*/ 0 w 185"/>
              <a:gd name="T7" fmla="*/ 76 h 158"/>
              <a:gd name="T8" fmla="*/ 33 w 185"/>
              <a:gd name="T9" fmla="*/ 71 h 158"/>
              <a:gd name="T10" fmla="*/ 33 w 185"/>
              <a:gd name="T11" fmla="*/ 60 h 158"/>
              <a:gd name="T12" fmla="*/ 33 w 185"/>
              <a:gd name="T13" fmla="*/ 49 h 158"/>
              <a:gd name="T14" fmla="*/ 38 w 185"/>
              <a:gd name="T15" fmla="*/ 49 h 158"/>
              <a:gd name="T16" fmla="*/ 44 w 185"/>
              <a:gd name="T17" fmla="*/ 49 h 158"/>
              <a:gd name="T18" fmla="*/ 55 w 185"/>
              <a:gd name="T19" fmla="*/ 49 h 158"/>
              <a:gd name="T20" fmla="*/ 55 w 185"/>
              <a:gd name="T21" fmla="*/ 60 h 158"/>
              <a:gd name="T22" fmla="*/ 60 w 185"/>
              <a:gd name="T23" fmla="*/ 60 h 158"/>
              <a:gd name="T24" fmla="*/ 71 w 185"/>
              <a:gd name="T25" fmla="*/ 60 h 158"/>
              <a:gd name="T26" fmla="*/ 82 w 185"/>
              <a:gd name="T27" fmla="*/ 60 h 158"/>
              <a:gd name="T28" fmla="*/ 82 w 185"/>
              <a:gd name="T29" fmla="*/ 60 h 158"/>
              <a:gd name="T30" fmla="*/ 87 w 185"/>
              <a:gd name="T31" fmla="*/ 65 h 158"/>
              <a:gd name="T32" fmla="*/ 98 w 185"/>
              <a:gd name="T33" fmla="*/ 71 h 158"/>
              <a:gd name="T34" fmla="*/ 104 w 185"/>
              <a:gd name="T35" fmla="*/ 71 h 158"/>
              <a:gd name="T36" fmla="*/ 109 w 185"/>
              <a:gd name="T37" fmla="*/ 76 h 158"/>
              <a:gd name="T38" fmla="*/ 114 w 185"/>
              <a:gd name="T39" fmla="*/ 82 h 158"/>
              <a:gd name="T40" fmla="*/ 125 w 185"/>
              <a:gd name="T41" fmla="*/ 65 h 158"/>
              <a:gd name="T42" fmla="*/ 120 w 185"/>
              <a:gd name="T43" fmla="*/ 71 h 158"/>
              <a:gd name="T44" fmla="*/ 109 w 185"/>
              <a:gd name="T45" fmla="*/ 65 h 158"/>
              <a:gd name="T46" fmla="*/ 104 w 185"/>
              <a:gd name="T47" fmla="*/ 60 h 158"/>
              <a:gd name="T48" fmla="*/ 104 w 185"/>
              <a:gd name="T49" fmla="*/ 49 h 158"/>
              <a:gd name="T50" fmla="*/ 109 w 185"/>
              <a:gd name="T51" fmla="*/ 38 h 158"/>
              <a:gd name="T52" fmla="*/ 104 w 185"/>
              <a:gd name="T53" fmla="*/ 33 h 158"/>
              <a:gd name="T54" fmla="*/ 109 w 185"/>
              <a:gd name="T55" fmla="*/ 27 h 158"/>
              <a:gd name="T56" fmla="*/ 104 w 185"/>
              <a:gd name="T57" fmla="*/ 22 h 158"/>
              <a:gd name="T58" fmla="*/ 109 w 185"/>
              <a:gd name="T59" fmla="*/ 11 h 158"/>
              <a:gd name="T60" fmla="*/ 114 w 185"/>
              <a:gd name="T61" fmla="*/ 5 h 158"/>
              <a:gd name="T62" fmla="*/ 136 w 185"/>
              <a:gd name="T63" fmla="*/ 0 h 158"/>
              <a:gd name="T64" fmla="*/ 142 w 185"/>
              <a:gd name="T65" fmla="*/ 5 h 158"/>
              <a:gd name="T66" fmla="*/ 153 w 185"/>
              <a:gd name="T67" fmla="*/ 5 h 158"/>
              <a:gd name="T68" fmla="*/ 158 w 185"/>
              <a:gd name="T69" fmla="*/ 11 h 158"/>
              <a:gd name="T70" fmla="*/ 164 w 185"/>
              <a:gd name="T71" fmla="*/ 16 h 158"/>
              <a:gd name="T72" fmla="*/ 174 w 185"/>
              <a:gd name="T73" fmla="*/ 16 h 158"/>
              <a:gd name="T74" fmla="*/ 180 w 185"/>
              <a:gd name="T75" fmla="*/ 22 h 158"/>
              <a:gd name="T76" fmla="*/ 180 w 185"/>
              <a:gd name="T77" fmla="*/ 33 h 158"/>
              <a:gd name="T78" fmla="*/ 185 w 185"/>
              <a:gd name="T79" fmla="*/ 38 h 158"/>
              <a:gd name="T80" fmla="*/ 180 w 185"/>
              <a:gd name="T81" fmla="*/ 49 h 158"/>
              <a:gd name="T82" fmla="*/ 180 w 185"/>
              <a:gd name="T83" fmla="*/ 60 h 158"/>
              <a:gd name="T84" fmla="*/ 180 w 185"/>
              <a:gd name="T85" fmla="*/ 71 h 158"/>
              <a:gd name="T86" fmla="*/ 174 w 185"/>
              <a:gd name="T87" fmla="*/ 76 h 158"/>
              <a:gd name="T88" fmla="*/ 169 w 185"/>
              <a:gd name="T89" fmla="*/ 87 h 158"/>
              <a:gd name="T90" fmla="*/ 164 w 185"/>
              <a:gd name="T91" fmla="*/ 98 h 158"/>
              <a:gd name="T92" fmla="*/ 147 w 185"/>
              <a:gd name="T93" fmla="*/ 104 h 158"/>
              <a:gd name="T94" fmla="*/ 125 w 185"/>
              <a:gd name="T95" fmla="*/ 109 h 158"/>
              <a:gd name="T96" fmla="*/ 131 w 185"/>
              <a:gd name="T97" fmla="*/ 120 h 158"/>
              <a:gd name="T98" fmla="*/ 120 w 185"/>
              <a:gd name="T99" fmla="*/ 120 h 158"/>
              <a:gd name="T100" fmla="*/ 109 w 185"/>
              <a:gd name="T101" fmla="*/ 120 h 158"/>
              <a:gd name="T102" fmla="*/ 104 w 185"/>
              <a:gd name="T103" fmla="*/ 125 h 158"/>
              <a:gd name="T104" fmla="*/ 104 w 185"/>
              <a:gd name="T105" fmla="*/ 136 h 158"/>
              <a:gd name="T106" fmla="*/ 93 w 185"/>
              <a:gd name="T107" fmla="*/ 136 h 158"/>
              <a:gd name="T108" fmla="*/ 82 w 185"/>
              <a:gd name="T109" fmla="*/ 147 h 158"/>
              <a:gd name="T110" fmla="*/ 76 w 185"/>
              <a:gd name="T111" fmla="*/ 158 h 158"/>
              <a:gd name="T112" fmla="*/ 65 w 185"/>
              <a:gd name="T113" fmla="*/ 158 h 158"/>
              <a:gd name="T114" fmla="*/ 60 w 185"/>
              <a:gd name="T115" fmla="*/ 158 h 158"/>
              <a:gd name="T116" fmla="*/ 49 w 185"/>
              <a:gd name="T117" fmla="*/ 153 h 158"/>
              <a:gd name="T118" fmla="*/ 38 w 185"/>
              <a:gd name="T119" fmla="*/ 147 h 158"/>
              <a:gd name="T120" fmla="*/ 16 w 185"/>
              <a:gd name="T121" fmla="*/ 15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5" h="158">
                <a:moveTo>
                  <a:pt x="16" y="153"/>
                </a:moveTo>
                <a:lnTo>
                  <a:pt x="16" y="147"/>
                </a:lnTo>
                <a:lnTo>
                  <a:pt x="11" y="147"/>
                </a:lnTo>
                <a:lnTo>
                  <a:pt x="11" y="142"/>
                </a:lnTo>
                <a:lnTo>
                  <a:pt x="0" y="136"/>
                </a:lnTo>
                <a:lnTo>
                  <a:pt x="0" y="131"/>
                </a:lnTo>
                <a:lnTo>
                  <a:pt x="0" y="125"/>
                </a:lnTo>
                <a:lnTo>
                  <a:pt x="0" y="76"/>
                </a:lnTo>
                <a:lnTo>
                  <a:pt x="33" y="76"/>
                </a:lnTo>
                <a:lnTo>
                  <a:pt x="33" y="71"/>
                </a:lnTo>
                <a:lnTo>
                  <a:pt x="33" y="65"/>
                </a:lnTo>
                <a:lnTo>
                  <a:pt x="33" y="60"/>
                </a:lnTo>
                <a:lnTo>
                  <a:pt x="33" y="54"/>
                </a:lnTo>
                <a:lnTo>
                  <a:pt x="33" y="49"/>
                </a:lnTo>
                <a:lnTo>
                  <a:pt x="33" y="44"/>
                </a:lnTo>
                <a:lnTo>
                  <a:pt x="38" y="49"/>
                </a:lnTo>
                <a:lnTo>
                  <a:pt x="38" y="54"/>
                </a:lnTo>
                <a:lnTo>
                  <a:pt x="44" y="49"/>
                </a:lnTo>
                <a:lnTo>
                  <a:pt x="49" y="49"/>
                </a:lnTo>
                <a:lnTo>
                  <a:pt x="55" y="49"/>
                </a:lnTo>
                <a:lnTo>
                  <a:pt x="55" y="54"/>
                </a:lnTo>
                <a:lnTo>
                  <a:pt x="55" y="60"/>
                </a:lnTo>
                <a:lnTo>
                  <a:pt x="60" y="54"/>
                </a:lnTo>
                <a:lnTo>
                  <a:pt x="60" y="60"/>
                </a:lnTo>
                <a:lnTo>
                  <a:pt x="65" y="60"/>
                </a:lnTo>
                <a:lnTo>
                  <a:pt x="71" y="60"/>
                </a:lnTo>
                <a:lnTo>
                  <a:pt x="76" y="60"/>
                </a:lnTo>
                <a:lnTo>
                  <a:pt x="82" y="60"/>
                </a:lnTo>
                <a:lnTo>
                  <a:pt x="82" y="54"/>
                </a:lnTo>
                <a:lnTo>
                  <a:pt x="82" y="60"/>
                </a:lnTo>
                <a:lnTo>
                  <a:pt x="87" y="60"/>
                </a:lnTo>
                <a:lnTo>
                  <a:pt x="87" y="65"/>
                </a:lnTo>
                <a:lnTo>
                  <a:pt x="93" y="65"/>
                </a:lnTo>
                <a:lnTo>
                  <a:pt x="98" y="71"/>
                </a:lnTo>
                <a:lnTo>
                  <a:pt x="98" y="65"/>
                </a:lnTo>
                <a:lnTo>
                  <a:pt x="104" y="71"/>
                </a:lnTo>
                <a:lnTo>
                  <a:pt x="104" y="76"/>
                </a:lnTo>
                <a:lnTo>
                  <a:pt x="109" y="76"/>
                </a:lnTo>
                <a:lnTo>
                  <a:pt x="109" y="82"/>
                </a:lnTo>
                <a:lnTo>
                  <a:pt x="114" y="82"/>
                </a:lnTo>
                <a:lnTo>
                  <a:pt x="120" y="82"/>
                </a:lnTo>
                <a:lnTo>
                  <a:pt x="125" y="65"/>
                </a:lnTo>
                <a:lnTo>
                  <a:pt x="120" y="65"/>
                </a:lnTo>
                <a:lnTo>
                  <a:pt x="120" y="71"/>
                </a:lnTo>
                <a:lnTo>
                  <a:pt x="114" y="65"/>
                </a:lnTo>
                <a:lnTo>
                  <a:pt x="109" y="65"/>
                </a:lnTo>
                <a:lnTo>
                  <a:pt x="109" y="60"/>
                </a:lnTo>
                <a:lnTo>
                  <a:pt x="104" y="60"/>
                </a:lnTo>
                <a:lnTo>
                  <a:pt x="104" y="54"/>
                </a:lnTo>
                <a:lnTo>
                  <a:pt x="104" y="49"/>
                </a:lnTo>
                <a:lnTo>
                  <a:pt x="104" y="44"/>
                </a:lnTo>
                <a:lnTo>
                  <a:pt x="109" y="38"/>
                </a:lnTo>
                <a:lnTo>
                  <a:pt x="109" y="33"/>
                </a:lnTo>
                <a:lnTo>
                  <a:pt x="104" y="33"/>
                </a:lnTo>
                <a:lnTo>
                  <a:pt x="109" y="33"/>
                </a:lnTo>
                <a:lnTo>
                  <a:pt x="109" y="27"/>
                </a:lnTo>
                <a:lnTo>
                  <a:pt x="109" y="22"/>
                </a:lnTo>
                <a:lnTo>
                  <a:pt x="104" y="22"/>
                </a:lnTo>
                <a:lnTo>
                  <a:pt x="104" y="16"/>
                </a:lnTo>
                <a:lnTo>
                  <a:pt x="109" y="11"/>
                </a:lnTo>
                <a:lnTo>
                  <a:pt x="114" y="11"/>
                </a:lnTo>
                <a:lnTo>
                  <a:pt x="114" y="5"/>
                </a:lnTo>
                <a:lnTo>
                  <a:pt x="131" y="5"/>
                </a:lnTo>
                <a:lnTo>
                  <a:pt x="136" y="0"/>
                </a:lnTo>
                <a:lnTo>
                  <a:pt x="142" y="0"/>
                </a:lnTo>
                <a:lnTo>
                  <a:pt x="142" y="5"/>
                </a:lnTo>
                <a:lnTo>
                  <a:pt x="147" y="5"/>
                </a:lnTo>
                <a:lnTo>
                  <a:pt x="153" y="5"/>
                </a:lnTo>
                <a:lnTo>
                  <a:pt x="153" y="11"/>
                </a:lnTo>
                <a:lnTo>
                  <a:pt x="158" y="11"/>
                </a:lnTo>
                <a:lnTo>
                  <a:pt x="158" y="16"/>
                </a:lnTo>
                <a:lnTo>
                  <a:pt x="164" y="16"/>
                </a:lnTo>
                <a:lnTo>
                  <a:pt x="169" y="16"/>
                </a:lnTo>
                <a:lnTo>
                  <a:pt x="174" y="16"/>
                </a:lnTo>
                <a:lnTo>
                  <a:pt x="174" y="22"/>
                </a:lnTo>
                <a:lnTo>
                  <a:pt x="180" y="22"/>
                </a:lnTo>
                <a:lnTo>
                  <a:pt x="180" y="27"/>
                </a:lnTo>
                <a:lnTo>
                  <a:pt x="180" y="33"/>
                </a:lnTo>
                <a:lnTo>
                  <a:pt x="185" y="33"/>
                </a:lnTo>
                <a:lnTo>
                  <a:pt x="185" y="38"/>
                </a:lnTo>
                <a:lnTo>
                  <a:pt x="180" y="44"/>
                </a:lnTo>
                <a:lnTo>
                  <a:pt x="180" y="49"/>
                </a:lnTo>
                <a:lnTo>
                  <a:pt x="180" y="54"/>
                </a:lnTo>
                <a:lnTo>
                  <a:pt x="180" y="60"/>
                </a:lnTo>
                <a:lnTo>
                  <a:pt x="180" y="65"/>
                </a:lnTo>
                <a:lnTo>
                  <a:pt x="180" y="71"/>
                </a:lnTo>
                <a:lnTo>
                  <a:pt x="174" y="71"/>
                </a:lnTo>
                <a:lnTo>
                  <a:pt x="174" y="76"/>
                </a:lnTo>
                <a:lnTo>
                  <a:pt x="174" y="82"/>
                </a:lnTo>
                <a:lnTo>
                  <a:pt x="169" y="87"/>
                </a:lnTo>
                <a:lnTo>
                  <a:pt x="174" y="93"/>
                </a:lnTo>
                <a:lnTo>
                  <a:pt x="164" y="98"/>
                </a:lnTo>
                <a:lnTo>
                  <a:pt x="153" y="104"/>
                </a:lnTo>
                <a:lnTo>
                  <a:pt x="147" y="104"/>
                </a:lnTo>
                <a:lnTo>
                  <a:pt x="136" y="104"/>
                </a:lnTo>
                <a:lnTo>
                  <a:pt x="125" y="109"/>
                </a:lnTo>
                <a:lnTo>
                  <a:pt x="131" y="114"/>
                </a:lnTo>
                <a:lnTo>
                  <a:pt x="131" y="120"/>
                </a:lnTo>
                <a:lnTo>
                  <a:pt x="125" y="120"/>
                </a:lnTo>
                <a:lnTo>
                  <a:pt x="120" y="120"/>
                </a:lnTo>
                <a:lnTo>
                  <a:pt x="114" y="120"/>
                </a:lnTo>
                <a:lnTo>
                  <a:pt x="109" y="120"/>
                </a:lnTo>
                <a:lnTo>
                  <a:pt x="109" y="125"/>
                </a:lnTo>
                <a:lnTo>
                  <a:pt x="104" y="125"/>
                </a:lnTo>
                <a:lnTo>
                  <a:pt x="104" y="131"/>
                </a:lnTo>
                <a:lnTo>
                  <a:pt x="104" y="136"/>
                </a:lnTo>
                <a:lnTo>
                  <a:pt x="98" y="136"/>
                </a:lnTo>
                <a:lnTo>
                  <a:pt x="93" y="136"/>
                </a:lnTo>
                <a:lnTo>
                  <a:pt x="87" y="142"/>
                </a:lnTo>
                <a:lnTo>
                  <a:pt x="82" y="147"/>
                </a:lnTo>
                <a:lnTo>
                  <a:pt x="76" y="153"/>
                </a:lnTo>
                <a:lnTo>
                  <a:pt x="76" y="158"/>
                </a:lnTo>
                <a:lnTo>
                  <a:pt x="71" y="158"/>
                </a:lnTo>
                <a:lnTo>
                  <a:pt x="65" y="158"/>
                </a:lnTo>
                <a:lnTo>
                  <a:pt x="60" y="153"/>
                </a:lnTo>
                <a:lnTo>
                  <a:pt x="60" y="158"/>
                </a:lnTo>
                <a:lnTo>
                  <a:pt x="55" y="153"/>
                </a:lnTo>
                <a:lnTo>
                  <a:pt x="49" y="153"/>
                </a:lnTo>
                <a:lnTo>
                  <a:pt x="44" y="153"/>
                </a:lnTo>
                <a:lnTo>
                  <a:pt x="38" y="147"/>
                </a:lnTo>
                <a:lnTo>
                  <a:pt x="33" y="147"/>
                </a:lnTo>
                <a:lnTo>
                  <a:pt x="16" y="153"/>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6" name="Freeform 438">
            <a:extLst>
              <a:ext uri="{FF2B5EF4-FFF2-40B4-BE49-F238E27FC236}">
                <a16:creationId xmlns:a16="http://schemas.microsoft.com/office/drawing/2014/main" id="{9C891331-7F87-8274-988B-B0502A5C62AB}"/>
              </a:ext>
            </a:extLst>
          </p:cNvPr>
          <p:cNvSpPr>
            <a:spLocks/>
          </p:cNvSpPr>
          <p:nvPr/>
        </p:nvSpPr>
        <p:spPr bwMode="auto">
          <a:xfrm>
            <a:off x="3213100" y="3263899"/>
            <a:ext cx="55563" cy="147638"/>
          </a:xfrm>
          <a:custGeom>
            <a:avLst/>
            <a:gdLst>
              <a:gd name="T0" fmla="*/ 0 w 49"/>
              <a:gd name="T1" fmla="*/ 65 h 120"/>
              <a:gd name="T2" fmla="*/ 5 w 49"/>
              <a:gd name="T3" fmla="*/ 54 h 120"/>
              <a:gd name="T4" fmla="*/ 11 w 49"/>
              <a:gd name="T5" fmla="*/ 49 h 120"/>
              <a:gd name="T6" fmla="*/ 11 w 49"/>
              <a:gd name="T7" fmla="*/ 38 h 120"/>
              <a:gd name="T8" fmla="*/ 11 w 49"/>
              <a:gd name="T9" fmla="*/ 27 h 120"/>
              <a:gd name="T10" fmla="*/ 16 w 49"/>
              <a:gd name="T11" fmla="*/ 16 h 120"/>
              <a:gd name="T12" fmla="*/ 11 w 49"/>
              <a:gd name="T13" fmla="*/ 11 h 120"/>
              <a:gd name="T14" fmla="*/ 11 w 49"/>
              <a:gd name="T15" fmla="*/ 0 h 120"/>
              <a:gd name="T16" fmla="*/ 11 w 49"/>
              <a:gd name="T17" fmla="*/ 0 h 120"/>
              <a:gd name="T18" fmla="*/ 22 w 49"/>
              <a:gd name="T19" fmla="*/ 5 h 120"/>
              <a:gd name="T20" fmla="*/ 27 w 49"/>
              <a:gd name="T21" fmla="*/ 5 h 120"/>
              <a:gd name="T22" fmla="*/ 33 w 49"/>
              <a:gd name="T23" fmla="*/ 11 h 120"/>
              <a:gd name="T24" fmla="*/ 33 w 49"/>
              <a:gd name="T25" fmla="*/ 22 h 120"/>
              <a:gd name="T26" fmla="*/ 38 w 49"/>
              <a:gd name="T27" fmla="*/ 32 h 120"/>
              <a:gd name="T28" fmla="*/ 33 w 49"/>
              <a:gd name="T29" fmla="*/ 38 h 120"/>
              <a:gd name="T30" fmla="*/ 27 w 49"/>
              <a:gd name="T31" fmla="*/ 49 h 120"/>
              <a:gd name="T32" fmla="*/ 27 w 49"/>
              <a:gd name="T33" fmla="*/ 60 h 120"/>
              <a:gd name="T34" fmla="*/ 38 w 49"/>
              <a:gd name="T35" fmla="*/ 65 h 120"/>
              <a:gd name="T36" fmla="*/ 49 w 49"/>
              <a:gd name="T37" fmla="*/ 82 h 120"/>
              <a:gd name="T38" fmla="*/ 44 w 49"/>
              <a:gd name="T39" fmla="*/ 87 h 120"/>
              <a:gd name="T40" fmla="*/ 44 w 49"/>
              <a:gd name="T41" fmla="*/ 103 h 120"/>
              <a:gd name="T42" fmla="*/ 38 w 49"/>
              <a:gd name="T43" fmla="*/ 109 h 120"/>
              <a:gd name="T44" fmla="*/ 33 w 49"/>
              <a:gd name="T45" fmla="*/ 114 h 120"/>
              <a:gd name="T46" fmla="*/ 33 w 49"/>
              <a:gd name="T47" fmla="*/ 114 h 120"/>
              <a:gd name="T48" fmla="*/ 27 w 49"/>
              <a:gd name="T49" fmla="*/ 109 h 120"/>
              <a:gd name="T50" fmla="*/ 22 w 49"/>
              <a:gd name="T51" fmla="*/ 103 h 120"/>
              <a:gd name="T52" fmla="*/ 22 w 49"/>
              <a:gd name="T53" fmla="*/ 92 h 120"/>
              <a:gd name="T54" fmla="*/ 27 w 49"/>
              <a:gd name="T55" fmla="*/ 87 h 120"/>
              <a:gd name="T56" fmla="*/ 22 w 49"/>
              <a:gd name="T57" fmla="*/ 76 h 120"/>
              <a:gd name="T58" fmla="*/ 16 w 49"/>
              <a:gd name="T59" fmla="*/ 82 h 120"/>
              <a:gd name="T60" fmla="*/ 11 w 49"/>
              <a:gd name="T61" fmla="*/ 82 h 120"/>
              <a:gd name="T62" fmla="*/ 5 w 49"/>
              <a:gd name="T63" fmla="*/ 7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9" h="120">
                <a:moveTo>
                  <a:pt x="5" y="71"/>
                </a:moveTo>
                <a:lnTo>
                  <a:pt x="0" y="65"/>
                </a:lnTo>
                <a:lnTo>
                  <a:pt x="5" y="60"/>
                </a:lnTo>
                <a:lnTo>
                  <a:pt x="5" y="54"/>
                </a:lnTo>
                <a:lnTo>
                  <a:pt x="5" y="49"/>
                </a:lnTo>
                <a:lnTo>
                  <a:pt x="11" y="49"/>
                </a:lnTo>
                <a:lnTo>
                  <a:pt x="11" y="43"/>
                </a:lnTo>
                <a:lnTo>
                  <a:pt x="11" y="38"/>
                </a:lnTo>
                <a:lnTo>
                  <a:pt x="11" y="32"/>
                </a:lnTo>
                <a:lnTo>
                  <a:pt x="11" y="27"/>
                </a:lnTo>
                <a:lnTo>
                  <a:pt x="11" y="22"/>
                </a:lnTo>
                <a:lnTo>
                  <a:pt x="16" y="16"/>
                </a:lnTo>
                <a:lnTo>
                  <a:pt x="16" y="11"/>
                </a:lnTo>
                <a:lnTo>
                  <a:pt x="11" y="11"/>
                </a:lnTo>
                <a:lnTo>
                  <a:pt x="11" y="5"/>
                </a:lnTo>
                <a:lnTo>
                  <a:pt x="11" y="0"/>
                </a:lnTo>
                <a:lnTo>
                  <a:pt x="5" y="0"/>
                </a:lnTo>
                <a:lnTo>
                  <a:pt x="11" y="0"/>
                </a:lnTo>
                <a:lnTo>
                  <a:pt x="16" y="0"/>
                </a:lnTo>
                <a:lnTo>
                  <a:pt x="22" y="5"/>
                </a:lnTo>
                <a:lnTo>
                  <a:pt x="22" y="0"/>
                </a:lnTo>
                <a:lnTo>
                  <a:pt x="27" y="5"/>
                </a:lnTo>
                <a:lnTo>
                  <a:pt x="33" y="5"/>
                </a:lnTo>
                <a:lnTo>
                  <a:pt x="33" y="11"/>
                </a:lnTo>
                <a:lnTo>
                  <a:pt x="33" y="16"/>
                </a:lnTo>
                <a:lnTo>
                  <a:pt x="33" y="22"/>
                </a:lnTo>
                <a:lnTo>
                  <a:pt x="33" y="27"/>
                </a:lnTo>
                <a:lnTo>
                  <a:pt x="38" y="32"/>
                </a:lnTo>
                <a:lnTo>
                  <a:pt x="33" y="32"/>
                </a:lnTo>
                <a:lnTo>
                  <a:pt x="33" y="38"/>
                </a:lnTo>
                <a:lnTo>
                  <a:pt x="27" y="43"/>
                </a:lnTo>
                <a:lnTo>
                  <a:pt x="27" y="49"/>
                </a:lnTo>
                <a:lnTo>
                  <a:pt x="27" y="54"/>
                </a:lnTo>
                <a:lnTo>
                  <a:pt x="27" y="60"/>
                </a:lnTo>
                <a:lnTo>
                  <a:pt x="33" y="65"/>
                </a:lnTo>
                <a:lnTo>
                  <a:pt x="38" y="65"/>
                </a:lnTo>
                <a:lnTo>
                  <a:pt x="44" y="76"/>
                </a:lnTo>
                <a:lnTo>
                  <a:pt x="49" y="82"/>
                </a:lnTo>
                <a:lnTo>
                  <a:pt x="49" y="87"/>
                </a:lnTo>
                <a:lnTo>
                  <a:pt x="44" y="87"/>
                </a:lnTo>
                <a:lnTo>
                  <a:pt x="44" y="92"/>
                </a:lnTo>
                <a:lnTo>
                  <a:pt x="44" y="103"/>
                </a:lnTo>
                <a:lnTo>
                  <a:pt x="38" y="103"/>
                </a:lnTo>
                <a:lnTo>
                  <a:pt x="38" y="109"/>
                </a:lnTo>
                <a:lnTo>
                  <a:pt x="33" y="109"/>
                </a:lnTo>
                <a:lnTo>
                  <a:pt x="33" y="114"/>
                </a:lnTo>
                <a:lnTo>
                  <a:pt x="33" y="120"/>
                </a:lnTo>
                <a:lnTo>
                  <a:pt x="33" y="114"/>
                </a:lnTo>
                <a:lnTo>
                  <a:pt x="27" y="114"/>
                </a:lnTo>
                <a:lnTo>
                  <a:pt x="27" y="109"/>
                </a:lnTo>
                <a:lnTo>
                  <a:pt x="22" y="109"/>
                </a:lnTo>
                <a:lnTo>
                  <a:pt x="22" y="103"/>
                </a:lnTo>
                <a:lnTo>
                  <a:pt x="22" y="98"/>
                </a:lnTo>
                <a:lnTo>
                  <a:pt x="22" y="92"/>
                </a:lnTo>
                <a:lnTo>
                  <a:pt x="27" y="92"/>
                </a:lnTo>
                <a:lnTo>
                  <a:pt x="27" y="87"/>
                </a:lnTo>
                <a:lnTo>
                  <a:pt x="27" y="82"/>
                </a:lnTo>
                <a:lnTo>
                  <a:pt x="22" y="76"/>
                </a:lnTo>
                <a:lnTo>
                  <a:pt x="16" y="76"/>
                </a:lnTo>
                <a:lnTo>
                  <a:pt x="16" y="82"/>
                </a:lnTo>
                <a:lnTo>
                  <a:pt x="11" y="76"/>
                </a:lnTo>
                <a:lnTo>
                  <a:pt x="11" y="82"/>
                </a:lnTo>
                <a:lnTo>
                  <a:pt x="11" y="76"/>
                </a:lnTo>
                <a:lnTo>
                  <a:pt x="5" y="71"/>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7" name="Freeform 440">
            <a:extLst>
              <a:ext uri="{FF2B5EF4-FFF2-40B4-BE49-F238E27FC236}">
                <a16:creationId xmlns:a16="http://schemas.microsoft.com/office/drawing/2014/main" id="{C6AF4962-4623-66B7-AFED-C825E78386DB}"/>
              </a:ext>
            </a:extLst>
          </p:cNvPr>
          <p:cNvSpPr>
            <a:spLocks/>
          </p:cNvSpPr>
          <p:nvPr/>
        </p:nvSpPr>
        <p:spPr bwMode="auto">
          <a:xfrm>
            <a:off x="3163889" y="3284538"/>
            <a:ext cx="188913" cy="319088"/>
          </a:xfrm>
          <a:custGeom>
            <a:avLst/>
            <a:gdLst>
              <a:gd name="T0" fmla="*/ 0 w 169"/>
              <a:gd name="T1" fmla="*/ 71 h 262"/>
              <a:gd name="T2" fmla="*/ 28 w 169"/>
              <a:gd name="T3" fmla="*/ 66 h 262"/>
              <a:gd name="T4" fmla="*/ 55 w 169"/>
              <a:gd name="T5" fmla="*/ 60 h 262"/>
              <a:gd name="T6" fmla="*/ 60 w 169"/>
              <a:gd name="T7" fmla="*/ 66 h 262"/>
              <a:gd name="T8" fmla="*/ 71 w 169"/>
              <a:gd name="T9" fmla="*/ 66 h 262"/>
              <a:gd name="T10" fmla="*/ 66 w 169"/>
              <a:gd name="T11" fmla="*/ 76 h 262"/>
              <a:gd name="T12" fmla="*/ 66 w 169"/>
              <a:gd name="T13" fmla="*/ 93 h 262"/>
              <a:gd name="T14" fmla="*/ 77 w 169"/>
              <a:gd name="T15" fmla="*/ 98 h 262"/>
              <a:gd name="T16" fmla="*/ 77 w 169"/>
              <a:gd name="T17" fmla="*/ 93 h 262"/>
              <a:gd name="T18" fmla="*/ 88 w 169"/>
              <a:gd name="T19" fmla="*/ 87 h 262"/>
              <a:gd name="T20" fmla="*/ 93 w 169"/>
              <a:gd name="T21" fmla="*/ 71 h 262"/>
              <a:gd name="T22" fmla="*/ 82 w 169"/>
              <a:gd name="T23" fmla="*/ 49 h 262"/>
              <a:gd name="T24" fmla="*/ 71 w 169"/>
              <a:gd name="T25" fmla="*/ 38 h 262"/>
              <a:gd name="T26" fmla="*/ 77 w 169"/>
              <a:gd name="T27" fmla="*/ 22 h 262"/>
              <a:gd name="T28" fmla="*/ 88 w 169"/>
              <a:gd name="T29" fmla="*/ 16 h 262"/>
              <a:gd name="T30" fmla="*/ 104 w 169"/>
              <a:gd name="T31" fmla="*/ 16 h 262"/>
              <a:gd name="T32" fmla="*/ 115 w 169"/>
              <a:gd name="T33" fmla="*/ 16 h 262"/>
              <a:gd name="T34" fmla="*/ 126 w 169"/>
              <a:gd name="T35" fmla="*/ 11 h 262"/>
              <a:gd name="T36" fmla="*/ 137 w 169"/>
              <a:gd name="T37" fmla="*/ 11 h 262"/>
              <a:gd name="T38" fmla="*/ 153 w 169"/>
              <a:gd name="T39" fmla="*/ 6 h 262"/>
              <a:gd name="T40" fmla="*/ 169 w 169"/>
              <a:gd name="T41" fmla="*/ 0 h 262"/>
              <a:gd name="T42" fmla="*/ 164 w 169"/>
              <a:gd name="T43" fmla="*/ 11 h 262"/>
              <a:gd name="T44" fmla="*/ 164 w 169"/>
              <a:gd name="T45" fmla="*/ 22 h 262"/>
              <a:gd name="T46" fmla="*/ 169 w 169"/>
              <a:gd name="T47" fmla="*/ 27 h 262"/>
              <a:gd name="T48" fmla="*/ 164 w 169"/>
              <a:gd name="T49" fmla="*/ 38 h 262"/>
              <a:gd name="T50" fmla="*/ 164 w 169"/>
              <a:gd name="T51" fmla="*/ 44 h 262"/>
              <a:gd name="T52" fmla="*/ 164 w 169"/>
              <a:gd name="T53" fmla="*/ 60 h 262"/>
              <a:gd name="T54" fmla="*/ 164 w 169"/>
              <a:gd name="T55" fmla="*/ 71 h 262"/>
              <a:gd name="T56" fmla="*/ 164 w 169"/>
              <a:gd name="T57" fmla="*/ 76 h 262"/>
              <a:gd name="T58" fmla="*/ 153 w 169"/>
              <a:gd name="T59" fmla="*/ 93 h 262"/>
              <a:gd name="T60" fmla="*/ 137 w 169"/>
              <a:gd name="T61" fmla="*/ 104 h 262"/>
              <a:gd name="T62" fmla="*/ 115 w 169"/>
              <a:gd name="T63" fmla="*/ 109 h 262"/>
              <a:gd name="T64" fmla="*/ 104 w 169"/>
              <a:gd name="T65" fmla="*/ 120 h 262"/>
              <a:gd name="T66" fmla="*/ 93 w 169"/>
              <a:gd name="T67" fmla="*/ 131 h 262"/>
              <a:gd name="T68" fmla="*/ 82 w 169"/>
              <a:gd name="T69" fmla="*/ 136 h 262"/>
              <a:gd name="T70" fmla="*/ 66 w 169"/>
              <a:gd name="T71" fmla="*/ 147 h 262"/>
              <a:gd name="T72" fmla="*/ 71 w 169"/>
              <a:gd name="T73" fmla="*/ 164 h 262"/>
              <a:gd name="T74" fmla="*/ 71 w 169"/>
              <a:gd name="T75" fmla="*/ 175 h 262"/>
              <a:gd name="T76" fmla="*/ 77 w 169"/>
              <a:gd name="T77" fmla="*/ 186 h 262"/>
              <a:gd name="T78" fmla="*/ 71 w 169"/>
              <a:gd name="T79" fmla="*/ 202 h 262"/>
              <a:gd name="T80" fmla="*/ 71 w 169"/>
              <a:gd name="T81" fmla="*/ 218 h 262"/>
              <a:gd name="T82" fmla="*/ 55 w 169"/>
              <a:gd name="T83" fmla="*/ 229 h 262"/>
              <a:gd name="T84" fmla="*/ 28 w 169"/>
              <a:gd name="T85" fmla="*/ 235 h 262"/>
              <a:gd name="T86" fmla="*/ 22 w 169"/>
              <a:gd name="T87" fmla="*/ 251 h 262"/>
              <a:gd name="T88" fmla="*/ 28 w 169"/>
              <a:gd name="T89" fmla="*/ 256 h 262"/>
              <a:gd name="T90" fmla="*/ 17 w 169"/>
              <a:gd name="T91" fmla="*/ 256 h 262"/>
              <a:gd name="T92" fmla="*/ 11 w 169"/>
              <a:gd name="T93" fmla="*/ 251 h 262"/>
              <a:gd name="T94" fmla="*/ 11 w 169"/>
              <a:gd name="T95" fmla="*/ 240 h 262"/>
              <a:gd name="T96" fmla="*/ 17 w 169"/>
              <a:gd name="T97" fmla="*/ 213 h 262"/>
              <a:gd name="T98" fmla="*/ 11 w 169"/>
              <a:gd name="T99" fmla="*/ 202 h 262"/>
              <a:gd name="T100" fmla="*/ 28 w 169"/>
              <a:gd name="T101" fmla="*/ 169 h 262"/>
              <a:gd name="T102" fmla="*/ 33 w 169"/>
              <a:gd name="T103" fmla="*/ 158 h 262"/>
              <a:gd name="T104" fmla="*/ 39 w 169"/>
              <a:gd name="T105" fmla="*/ 142 h 262"/>
              <a:gd name="T106" fmla="*/ 39 w 169"/>
              <a:gd name="T107" fmla="*/ 131 h 262"/>
              <a:gd name="T108" fmla="*/ 39 w 169"/>
              <a:gd name="T109" fmla="*/ 126 h 262"/>
              <a:gd name="T110" fmla="*/ 44 w 169"/>
              <a:gd name="T111" fmla="*/ 109 h 262"/>
              <a:gd name="T112" fmla="*/ 44 w 169"/>
              <a:gd name="T113" fmla="*/ 98 h 262"/>
              <a:gd name="T114" fmla="*/ 28 w 169"/>
              <a:gd name="T115" fmla="*/ 93 h 262"/>
              <a:gd name="T116" fmla="*/ 11 w 169"/>
              <a:gd name="T117" fmla="*/ 8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9" h="262">
                <a:moveTo>
                  <a:pt x="6" y="82"/>
                </a:moveTo>
                <a:lnTo>
                  <a:pt x="6" y="76"/>
                </a:lnTo>
                <a:lnTo>
                  <a:pt x="0" y="71"/>
                </a:lnTo>
                <a:lnTo>
                  <a:pt x="11" y="66"/>
                </a:lnTo>
                <a:lnTo>
                  <a:pt x="22" y="66"/>
                </a:lnTo>
                <a:lnTo>
                  <a:pt x="28" y="66"/>
                </a:lnTo>
                <a:lnTo>
                  <a:pt x="39" y="60"/>
                </a:lnTo>
                <a:lnTo>
                  <a:pt x="49" y="55"/>
                </a:lnTo>
                <a:lnTo>
                  <a:pt x="55" y="60"/>
                </a:lnTo>
                <a:lnTo>
                  <a:pt x="55" y="66"/>
                </a:lnTo>
                <a:lnTo>
                  <a:pt x="55" y="60"/>
                </a:lnTo>
                <a:lnTo>
                  <a:pt x="60" y="66"/>
                </a:lnTo>
                <a:lnTo>
                  <a:pt x="60" y="60"/>
                </a:lnTo>
                <a:lnTo>
                  <a:pt x="66" y="60"/>
                </a:lnTo>
                <a:lnTo>
                  <a:pt x="71" y="66"/>
                </a:lnTo>
                <a:lnTo>
                  <a:pt x="71" y="71"/>
                </a:lnTo>
                <a:lnTo>
                  <a:pt x="71" y="76"/>
                </a:lnTo>
                <a:lnTo>
                  <a:pt x="66" y="76"/>
                </a:lnTo>
                <a:lnTo>
                  <a:pt x="66" y="82"/>
                </a:lnTo>
                <a:lnTo>
                  <a:pt x="66" y="87"/>
                </a:lnTo>
                <a:lnTo>
                  <a:pt x="66" y="93"/>
                </a:lnTo>
                <a:lnTo>
                  <a:pt x="71" y="93"/>
                </a:lnTo>
                <a:lnTo>
                  <a:pt x="71" y="98"/>
                </a:lnTo>
                <a:lnTo>
                  <a:pt x="77" y="98"/>
                </a:lnTo>
                <a:lnTo>
                  <a:pt x="77" y="104"/>
                </a:lnTo>
                <a:lnTo>
                  <a:pt x="77" y="98"/>
                </a:lnTo>
                <a:lnTo>
                  <a:pt x="77" y="93"/>
                </a:lnTo>
                <a:lnTo>
                  <a:pt x="82" y="93"/>
                </a:lnTo>
                <a:lnTo>
                  <a:pt x="82" y="87"/>
                </a:lnTo>
                <a:lnTo>
                  <a:pt x="88" y="87"/>
                </a:lnTo>
                <a:lnTo>
                  <a:pt x="88" y="76"/>
                </a:lnTo>
                <a:lnTo>
                  <a:pt x="88" y="71"/>
                </a:lnTo>
                <a:lnTo>
                  <a:pt x="93" y="71"/>
                </a:lnTo>
                <a:lnTo>
                  <a:pt x="93" y="66"/>
                </a:lnTo>
                <a:lnTo>
                  <a:pt x="88" y="60"/>
                </a:lnTo>
                <a:lnTo>
                  <a:pt x="82" y="49"/>
                </a:lnTo>
                <a:lnTo>
                  <a:pt x="77" y="49"/>
                </a:lnTo>
                <a:lnTo>
                  <a:pt x="71" y="44"/>
                </a:lnTo>
                <a:lnTo>
                  <a:pt x="71" y="38"/>
                </a:lnTo>
                <a:lnTo>
                  <a:pt x="71" y="33"/>
                </a:lnTo>
                <a:lnTo>
                  <a:pt x="71" y="27"/>
                </a:lnTo>
                <a:lnTo>
                  <a:pt x="77" y="22"/>
                </a:lnTo>
                <a:lnTo>
                  <a:pt x="77" y="16"/>
                </a:lnTo>
                <a:lnTo>
                  <a:pt x="82" y="16"/>
                </a:lnTo>
                <a:lnTo>
                  <a:pt x="88" y="16"/>
                </a:lnTo>
                <a:lnTo>
                  <a:pt x="93" y="16"/>
                </a:lnTo>
                <a:lnTo>
                  <a:pt x="99" y="16"/>
                </a:lnTo>
                <a:lnTo>
                  <a:pt x="104" y="16"/>
                </a:lnTo>
                <a:lnTo>
                  <a:pt x="104" y="22"/>
                </a:lnTo>
                <a:lnTo>
                  <a:pt x="109" y="16"/>
                </a:lnTo>
                <a:lnTo>
                  <a:pt x="115" y="16"/>
                </a:lnTo>
                <a:lnTo>
                  <a:pt x="120" y="16"/>
                </a:lnTo>
                <a:lnTo>
                  <a:pt x="126" y="16"/>
                </a:lnTo>
                <a:lnTo>
                  <a:pt x="126" y="11"/>
                </a:lnTo>
                <a:lnTo>
                  <a:pt x="131" y="11"/>
                </a:lnTo>
                <a:lnTo>
                  <a:pt x="137" y="16"/>
                </a:lnTo>
                <a:lnTo>
                  <a:pt x="137" y="11"/>
                </a:lnTo>
                <a:lnTo>
                  <a:pt x="142" y="11"/>
                </a:lnTo>
                <a:lnTo>
                  <a:pt x="148" y="11"/>
                </a:lnTo>
                <a:lnTo>
                  <a:pt x="153" y="6"/>
                </a:lnTo>
                <a:lnTo>
                  <a:pt x="159" y="6"/>
                </a:lnTo>
                <a:lnTo>
                  <a:pt x="164" y="0"/>
                </a:lnTo>
                <a:lnTo>
                  <a:pt x="169" y="0"/>
                </a:lnTo>
                <a:lnTo>
                  <a:pt x="169" y="6"/>
                </a:lnTo>
                <a:lnTo>
                  <a:pt x="169" y="11"/>
                </a:lnTo>
                <a:lnTo>
                  <a:pt x="164" y="11"/>
                </a:lnTo>
                <a:lnTo>
                  <a:pt x="169" y="11"/>
                </a:lnTo>
                <a:lnTo>
                  <a:pt x="164" y="16"/>
                </a:lnTo>
                <a:lnTo>
                  <a:pt x="164" y="22"/>
                </a:lnTo>
                <a:lnTo>
                  <a:pt x="169" y="22"/>
                </a:lnTo>
                <a:lnTo>
                  <a:pt x="164" y="27"/>
                </a:lnTo>
                <a:lnTo>
                  <a:pt x="169" y="27"/>
                </a:lnTo>
                <a:lnTo>
                  <a:pt x="164" y="33"/>
                </a:lnTo>
                <a:lnTo>
                  <a:pt x="169" y="33"/>
                </a:lnTo>
                <a:lnTo>
                  <a:pt x="164" y="38"/>
                </a:lnTo>
                <a:lnTo>
                  <a:pt x="169" y="38"/>
                </a:lnTo>
                <a:lnTo>
                  <a:pt x="164" y="38"/>
                </a:lnTo>
                <a:lnTo>
                  <a:pt x="164" y="44"/>
                </a:lnTo>
                <a:lnTo>
                  <a:pt x="164" y="49"/>
                </a:lnTo>
                <a:lnTo>
                  <a:pt x="164" y="55"/>
                </a:lnTo>
                <a:lnTo>
                  <a:pt x="164" y="60"/>
                </a:lnTo>
                <a:lnTo>
                  <a:pt x="169" y="60"/>
                </a:lnTo>
                <a:lnTo>
                  <a:pt x="169" y="66"/>
                </a:lnTo>
                <a:lnTo>
                  <a:pt x="164" y="71"/>
                </a:lnTo>
                <a:lnTo>
                  <a:pt x="169" y="71"/>
                </a:lnTo>
                <a:lnTo>
                  <a:pt x="164" y="71"/>
                </a:lnTo>
                <a:lnTo>
                  <a:pt x="164" y="76"/>
                </a:lnTo>
                <a:lnTo>
                  <a:pt x="159" y="82"/>
                </a:lnTo>
                <a:lnTo>
                  <a:pt x="153" y="87"/>
                </a:lnTo>
                <a:lnTo>
                  <a:pt x="153" y="93"/>
                </a:lnTo>
                <a:lnTo>
                  <a:pt x="148" y="93"/>
                </a:lnTo>
                <a:lnTo>
                  <a:pt x="137" y="98"/>
                </a:lnTo>
                <a:lnTo>
                  <a:pt x="137" y="104"/>
                </a:lnTo>
                <a:lnTo>
                  <a:pt x="126" y="104"/>
                </a:lnTo>
                <a:lnTo>
                  <a:pt x="120" y="109"/>
                </a:lnTo>
                <a:lnTo>
                  <a:pt x="115" y="109"/>
                </a:lnTo>
                <a:lnTo>
                  <a:pt x="109" y="115"/>
                </a:lnTo>
                <a:lnTo>
                  <a:pt x="104" y="115"/>
                </a:lnTo>
                <a:lnTo>
                  <a:pt x="104" y="120"/>
                </a:lnTo>
                <a:lnTo>
                  <a:pt x="99" y="120"/>
                </a:lnTo>
                <a:lnTo>
                  <a:pt x="93" y="126"/>
                </a:lnTo>
                <a:lnTo>
                  <a:pt x="93" y="131"/>
                </a:lnTo>
                <a:lnTo>
                  <a:pt x="88" y="131"/>
                </a:lnTo>
                <a:lnTo>
                  <a:pt x="88" y="136"/>
                </a:lnTo>
                <a:lnTo>
                  <a:pt x="82" y="136"/>
                </a:lnTo>
                <a:lnTo>
                  <a:pt x="77" y="142"/>
                </a:lnTo>
                <a:lnTo>
                  <a:pt x="71" y="147"/>
                </a:lnTo>
                <a:lnTo>
                  <a:pt x="66" y="147"/>
                </a:lnTo>
                <a:lnTo>
                  <a:pt x="66" y="153"/>
                </a:lnTo>
                <a:lnTo>
                  <a:pt x="66" y="158"/>
                </a:lnTo>
                <a:lnTo>
                  <a:pt x="71" y="164"/>
                </a:lnTo>
                <a:lnTo>
                  <a:pt x="66" y="169"/>
                </a:lnTo>
                <a:lnTo>
                  <a:pt x="71" y="169"/>
                </a:lnTo>
                <a:lnTo>
                  <a:pt x="71" y="175"/>
                </a:lnTo>
                <a:lnTo>
                  <a:pt x="71" y="180"/>
                </a:lnTo>
                <a:lnTo>
                  <a:pt x="71" y="186"/>
                </a:lnTo>
                <a:lnTo>
                  <a:pt x="77" y="186"/>
                </a:lnTo>
                <a:lnTo>
                  <a:pt x="71" y="191"/>
                </a:lnTo>
                <a:lnTo>
                  <a:pt x="71" y="196"/>
                </a:lnTo>
                <a:lnTo>
                  <a:pt x="71" y="202"/>
                </a:lnTo>
                <a:lnTo>
                  <a:pt x="71" y="207"/>
                </a:lnTo>
                <a:lnTo>
                  <a:pt x="66" y="213"/>
                </a:lnTo>
                <a:lnTo>
                  <a:pt x="71" y="218"/>
                </a:lnTo>
                <a:lnTo>
                  <a:pt x="66" y="224"/>
                </a:lnTo>
                <a:lnTo>
                  <a:pt x="60" y="224"/>
                </a:lnTo>
                <a:lnTo>
                  <a:pt x="55" y="229"/>
                </a:lnTo>
                <a:lnTo>
                  <a:pt x="49" y="229"/>
                </a:lnTo>
                <a:lnTo>
                  <a:pt x="39" y="235"/>
                </a:lnTo>
                <a:lnTo>
                  <a:pt x="28" y="235"/>
                </a:lnTo>
                <a:lnTo>
                  <a:pt x="28" y="240"/>
                </a:lnTo>
                <a:lnTo>
                  <a:pt x="22" y="246"/>
                </a:lnTo>
                <a:lnTo>
                  <a:pt x="22" y="251"/>
                </a:lnTo>
                <a:lnTo>
                  <a:pt x="28" y="251"/>
                </a:lnTo>
                <a:lnTo>
                  <a:pt x="28" y="246"/>
                </a:lnTo>
                <a:lnTo>
                  <a:pt x="28" y="256"/>
                </a:lnTo>
                <a:lnTo>
                  <a:pt x="22" y="256"/>
                </a:lnTo>
                <a:lnTo>
                  <a:pt x="17" y="262"/>
                </a:lnTo>
                <a:lnTo>
                  <a:pt x="17" y="256"/>
                </a:lnTo>
                <a:lnTo>
                  <a:pt x="11" y="262"/>
                </a:lnTo>
                <a:lnTo>
                  <a:pt x="11" y="256"/>
                </a:lnTo>
                <a:lnTo>
                  <a:pt x="11" y="251"/>
                </a:lnTo>
                <a:lnTo>
                  <a:pt x="17" y="246"/>
                </a:lnTo>
                <a:lnTo>
                  <a:pt x="11" y="246"/>
                </a:lnTo>
                <a:lnTo>
                  <a:pt x="11" y="240"/>
                </a:lnTo>
                <a:lnTo>
                  <a:pt x="17" y="235"/>
                </a:lnTo>
                <a:lnTo>
                  <a:pt x="17" y="218"/>
                </a:lnTo>
                <a:lnTo>
                  <a:pt x="17" y="213"/>
                </a:lnTo>
                <a:lnTo>
                  <a:pt x="11" y="213"/>
                </a:lnTo>
                <a:lnTo>
                  <a:pt x="11" y="207"/>
                </a:lnTo>
                <a:lnTo>
                  <a:pt x="11" y="202"/>
                </a:lnTo>
                <a:lnTo>
                  <a:pt x="11" y="191"/>
                </a:lnTo>
                <a:lnTo>
                  <a:pt x="11" y="186"/>
                </a:lnTo>
                <a:lnTo>
                  <a:pt x="28" y="169"/>
                </a:lnTo>
                <a:lnTo>
                  <a:pt x="28" y="164"/>
                </a:lnTo>
                <a:lnTo>
                  <a:pt x="28" y="158"/>
                </a:lnTo>
                <a:lnTo>
                  <a:pt x="33" y="158"/>
                </a:lnTo>
                <a:lnTo>
                  <a:pt x="39" y="153"/>
                </a:lnTo>
                <a:lnTo>
                  <a:pt x="39" y="147"/>
                </a:lnTo>
                <a:lnTo>
                  <a:pt x="39" y="142"/>
                </a:lnTo>
                <a:lnTo>
                  <a:pt x="39" y="136"/>
                </a:lnTo>
                <a:lnTo>
                  <a:pt x="33" y="131"/>
                </a:lnTo>
                <a:lnTo>
                  <a:pt x="39" y="131"/>
                </a:lnTo>
                <a:lnTo>
                  <a:pt x="39" y="126"/>
                </a:lnTo>
                <a:lnTo>
                  <a:pt x="44" y="126"/>
                </a:lnTo>
                <a:lnTo>
                  <a:pt x="39" y="126"/>
                </a:lnTo>
                <a:lnTo>
                  <a:pt x="39" y="120"/>
                </a:lnTo>
                <a:lnTo>
                  <a:pt x="44" y="115"/>
                </a:lnTo>
                <a:lnTo>
                  <a:pt x="44" y="109"/>
                </a:lnTo>
                <a:lnTo>
                  <a:pt x="44" y="104"/>
                </a:lnTo>
                <a:lnTo>
                  <a:pt x="39" y="104"/>
                </a:lnTo>
                <a:lnTo>
                  <a:pt x="44" y="98"/>
                </a:lnTo>
                <a:lnTo>
                  <a:pt x="39" y="98"/>
                </a:lnTo>
                <a:lnTo>
                  <a:pt x="33" y="93"/>
                </a:lnTo>
                <a:lnTo>
                  <a:pt x="28" y="93"/>
                </a:lnTo>
                <a:lnTo>
                  <a:pt x="22" y="87"/>
                </a:lnTo>
                <a:lnTo>
                  <a:pt x="17" y="87"/>
                </a:lnTo>
                <a:lnTo>
                  <a:pt x="11" y="87"/>
                </a:lnTo>
                <a:lnTo>
                  <a:pt x="6" y="87"/>
                </a:lnTo>
                <a:lnTo>
                  <a:pt x="6" y="82"/>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8" name="Freeform 442">
            <a:extLst>
              <a:ext uri="{FF2B5EF4-FFF2-40B4-BE49-F238E27FC236}">
                <a16:creationId xmlns:a16="http://schemas.microsoft.com/office/drawing/2014/main" id="{1047B99C-0E3D-CC48-C204-A7E3081B5B91}"/>
              </a:ext>
            </a:extLst>
          </p:cNvPr>
          <p:cNvSpPr>
            <a:spLocks/>
          </p:cNvSpPr>
          <p:nvPr/>
        </p:nvSpPr>
        <p:spPr bwMode="auto">
          <a:xfrm>
            <a:off x="3084513" y="3636963"/>
            <a:ext cx="42863" cy="39688"/>
          </a:xfrm>
          <a:custGeom>
            <a:avLst/>
            <a:gdLst>
              <a:gd name="T0" fmla="*/ 5 w 38"/>
              <a:gd name="T1" fmla="*/ 17 h 33"/>
              <a:gd name="T2" fmla="*/ 0 w 38"/>
              <a:gd name="T3" fmla="*/ 17 h 33"/>
              <a:gd name="T4" fmla="*/ 5 w 38"/>
              <a:gd name="T5" fmla="*/ 11 h 33"/>
              <a:gd name="T6" fmla="*/ 10 w 38"/>
              <a:gd name="T7" fmla="*/ 11 h 33"/>
              <a:gd name="T8" fmla="*/ 10 w 38"/>
              <a:gd name="T9" fmla="*/ 6 h 33"/>
              <a:gd name="T10" fmla="*/ 16 w 38"/>
              <a:gd name="T11" fmla="*/ 0 h 33"/>
              <a:gd name="T12" fmla="*/ 21 w 38"/>
              <a:gd name="T13" fmla="*/ 0 h 33"/>
              <a:gd name="T14" fmla="*/ 27 w 38"/>
              <a:gd name="T15" fmla="*/ 0 h 33"/>
              <a:gd name="T16" fmla="*/ 32 w 38"/>
              <a:gd name="T17" fmla="*/ 0 h 33"/>
              <a:gd name="T18" fmla="*/ 38 w 38"/>
              <a:gd name="T19" fmla="*/ 6 h 33"/>
              <a:gd name="T20" fmla="*/ 38 w 38"/>
              <a:gd name="T21" fmla="*/ 11 h 33"/>
              <a:gd name="T22" fmla="*/ 38 w 38"/>
              <a:gd name="T23" fmla="*/ 17 h 33"/>
              <a:gd name="T24" fmla="*/ 32 w 38"/>
              <a:gd name="T25" fmla="*/ 17 h 33"/>
              <a:gd name="T26" fmla="*/ 27 w 38"/>
              <a:gd name="T27" fmla="*/ 22 h 33"/>
              <a:gd name="T28" fmla="*/ 21 w 38"/>
              <a:gd name="T29" fmla="*/ 22 h 33"/>
              <a:gd name="T30" fmla="*/ 16 w 38"/>
              <a:gd name="T31" fmla="*/ 22 h 33"/>
              <a:gd name="T32" fmla="*/ 21 w 38"/>
              <a:gd name="T33" fmla="*/ 27 h 33"/>
              <a:gd name="T34" fmla="*/ 16 w 38"/>
              <a:gd name="T35" fmla="*/ 33 h 33"/>
              <a:gd name="T36" fmla="*/ 10 w 38"/>
              <a:gd name="T37" fmla="*/ 27 h 33"/>
              <a:gd name="T38" fmla="*/ 5 w 38"/>
              <a:gd name="T39" fmla="*/ 27 h 33"/>
              <a:gd name="T40" fmla="*/ 5 w 38"/>
              <a:gd name="T41" fmla="*/ 22 h 33"/>
              <a:gd name="T42" fmla="*/ 5 w 38"/>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 h="33">
                <a:moveTo>
                  <a:pt x="5" y="17"/>
                </a:moveTo>
                <a:lnTo>
                  <a:pt x="0" y="17"/>
                </a:lnTo>
                <a:lnTo>
                  <a:pt x="5" y="11"/>
                </a:lnTo>
                <a:lnTo>
                  <a:pt x="10" y="11"/>
                </a:lnTo>
                <a:lnTo>
                  <a:pt x="10" y="6"/>
                </a:lnTo>
                <a:lnTo>
                  <a:pt x="16" y="0"/>
                </a:lnTo>
                <a:lnTo>
                  <a:pt x="21" y="0"/>
                </a:lnTo>
                <a:lnTo>
                  <a:pt x="27" y="0"/>
                </a:lnTo>
                <a:lnTo>
                  <a:pt x="32" y="0"/>
                </a:lnTo>
                <a:lnTo>
                  <a:pt x="38" y="6"/>
                </a:lnTo>
                <a:lnTo>
                  <a:pt x="38" y="11"/>
                </a:lnTo>
                <a:lnTo>
                  <a:pt x="38" y="17"/>
                </a:lnTo>
                <a:lnTo>
                  <a:pt x="32" y="17"/>
                </a:lnTo>
                <a:lnTo>
                  <a:pt x="27" y="22"/>
                </a:lnTo>
                <a:lnTo>
                  <a:pt x="21" y="22"/>
                </a:lnTo>
                <a:lnTo>
                  <a:pt x="16" y="22"/>
                </a:lnTo>
                <a:lnTo>
                  <a:pt x="21" y="27"/>
                </a:lnTo>
                <a:lnTo>
                  <a:pt x="16" y="33"/>
                </a:lnTo>
                <a:lnTo>
                  <a:pt x="10" y="27"/>
                </a:lnTo>
                <a:lnTo>
                  <a:pt x="5" y="27"/>
                </a:lnTo>
                <a:lnTo>
                  <a:pt x="5" y="22"/>
                </a:lnTo>
                <a:lnTo>
                  <a:pt x="5" y="17"/>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9" name="Freeform 443">
            <a:extLst>
              <a:ext uri="{FF2B5EF4-FFF2-40B4-BE49-F238E27FC236}">
                <a16:creationId xmlns:a16="http://schemas.microsoft.com/office/drawing/2014/main" id="{9CEE9FA1-A1B2-905F-5EB3-A50B9E4B03EA}"/>
              </a:ext>
            </a:extLst>
          </p:cNvPr>
          <p:cNvSpPr>
            <a:spLocks noEditPoints="1"/>
          </p:cNvSpPr>
          <p:nvPr/>
        </p:nvSpPr>
        <p:spPr bwMode="auto">
          <a:xfrm>
            <a:off x="2913063" y="3511551"/>
            <a:ext cx="274638" cy="244475"/>
          </a:xfrm>
          <a:custGeom>
            <a:avLst/>
            <a:gdLst>
              <a:gd name="T0" fmla="*/ 5 w 245"/>
              <a:gd name="T1" fmla="*/ 92 h 201"/>
              <a:gd name="T2" fmla="*/ 11 w 245"/>
              <a:gd name="T3" fmla="*/ 103 h 201"/>
              <a:gd name="T4" fmla="*/ 27 w 245"/>
              <a:gd name="T5" fmla="*/ 103 h 201"/>
              <a:gd name="T6" fmla="*/ 43 w 245"/>
              <a:gd name="T7" fmla="*/ 103 h 201"/>
              <a:gd name="T8" fmla="*/ 54 w 245"/>
              <a:gd name="T9" fmla="*/ 98 h 201"/>
              <a:gd name="T10" fmla="*/ 60 w 245"/>
              <a:gd name="T11" fmla="*/ 43 h 201"/>
              <a:gd name="T12" fmla="*/ 65 w 245"/>
              <a:gd name="T13" fmla="*/ 60 h 201"/>
              <a:gd name="T14" fmla="*/ 65 w 245"/>
              <a:gd name="T15" fmla="*/ 76 h 201"/>
              <a:gd name="T16" fmla="*/ 76 w 245"/>
              <a:gd name="T17" fmla="*/ 70 h 201"/>
              <a:gd name="T18" fmla="*/ 87 w 245"/>
              <a:gd name="T19" fmla="*/ 70 h 201"/>
              <a:gd name="T20" fmla="*/ 98 w 245"/>
              <a:gd name="T21" fmla="*/ 60 h 201"/>
              <a:gd name="T22" fmla="*/ 109 w 245"/>
              <a:gd name="T23" fmla="*/ 49 h 201"/>
              <a:gd name="T24" fmla="*/ 120 w 245"/>
              <a:gd name="T25" fmla="*/ 54 h 201"/>
              <a:gd name="T26" fmla="*/ 136 w 245"/>
              <a:gd name="T27" fmla="*/ 54 h 201"/>
              <a:gd name="T28" fmla="*/ 147 w 245"/>
              <a:gd name="T29" fmla="*/ 43 h 201"/>
              <a:gd name="T30" fmla="*/ 158 w 245"/>
              <a:gd name="T31" fmla="*/ 38 h 201"/>
              <a:gd name="T32" fmla="*/ 163 w 245"/>
              <a:gd name="T33" fmla="*/ 27 h 201"/>
              <a:gd name="T34" fmla="*/ 174 w 245"/>
              <a:gd name="T35" fmla="*/ 16 h 201"/>
              <a:gd name="T36" fmla="*/ 191 w 245"/>
              <a:gd name="T37" fmla="*/ 5 h 201"/>
              <a:gd name="T38" fmla="*/ 202 w 245"/>
              <a:gd name="T39" fmla="*/ 0 h 201"/>
              <a:gd name="T40" fmla="*/ 218 w 245"/>
              <a:gd name="T41" fmla="*/ 0 h 201"/>
              <a:gd name="T42" fmla="*/ 234 w 245"/>
              <a:gd name="T43" fmla="*/ 5 h 201"/>
              <a:gd name="T44" fmla="*/ 234 w 245"/>
              <a:gd name="T45" fmla="*/ 27 h 201"/>
              <a:gd name="T46" fmla="*/ 240 w 245"/>
              <a:gd name="T47" fmla="*/ 49 h 201"/>
              <a:gd name="T48" fmla="*/ 229 w 245"/>
              <a:gd name="T49" fmla="*/ 54 h 201"/>
              <a:gd name="T50" fmla="*/ 218 w 245"/>
              <a:gd name="T51" fmla="*/ 70 h 201"/>
              <a:gd name="T52" fmla="*/ 223 w 245"/>
              <a:gd name="T53" fmla="*/ 81 h 201"/>
              <a:gd name="T54" fmla="*/ 234 w 245"/>
              <a:gd name="T55" fmla="*/ 76 h 201"/>
              <a:gd name="T56" fmla="*/ 245 w 245"/>
              <a:gd name="T57" fmla="*/ 70 h 201"/>
              <a:gd name="T58" fmla="*/ 240 w 245"/>
              <a:gd name="T59" fmla="*/ 92 h 201"/>
              <a:gd name="T60" fmla="*/ 229 w 245"/>
              <a:gd name="T61" fmla="*/ 103 h 201"/>
              <a:gd name="T62" fmla="*/ 218 w 245"/>
              <a:gd name="T63" fmla="*/ 114 h 201"/>
              <a:gd name="T64" fmla="*/ 212 w 245"/>
              <a:gd name="T65" fmla="*/ 125 h 201"/>
              <a:gd name="T66" fmla="*/ 202 w 245"/>
              <a:gd name="T67" fmla="*/ 141 h 201"/>
              <a:gd name="T68" fmla="*/ 185 w 245"/>
              <a:gd name="T69" fmla="*/ 147 h 201"/>
              <a:gd name="T70" fmla="*/ 180 w 245"/>
              <a:gd name="T71" fmla="*/ 158 h 201"/>
              <a:gd name="T72" fmla="*/ 169 w 245"/>
              <a:gd name="T73" fmla="*/ 163 h 201"/>
              <a:gd name="T74" fmla="*/ 163 w 245"/>
              <a:gd name="T75" fmla="*/ 174 h 201"/>
              <a:gd name="T76" fmla="*/ 153 w 245"/>
              <a:gd name="T77" fmla="*/ 180 h 201"/>
              <a:gd name="T78" fmla="*/ 142 w 245"/>
              <a:gd name="T79" fmla="*/ 185 h 201"/>
              <a:gd name="T80" fmla="*/ 125 w 245"/>
              <a:gd name="T81" fmla="*/ 185 h 201"/>
              <a:gd name="T82" fmla="*/ 109 w 245"/>
              <a:gd name="T83" fmla="*/ 190 h 201"/>
              <a:gd name="T84" fmla="*/ 93 w 245"/>
              <a:gd name="T85" fmla="*/ 190 h 201"/>
              <a:gd name="T86" fmla="*/ 82 w 245"/>
              <a:gd name="T87" fmla="*/ 185 h 201"/>
              <a:gd name="T88" fmla="*/ 65 w 245"/>
              <a:gd name="T89" fmla="*/ 190 h 201"/>
              <a:gd name="T90" fmla="*/ 54 w 245"/>
              <a:gd name="T91" fmla="*/ 196 h 201"/>
              <a:gd name="T92" fmla="*/ 43 w 245"/>
              <a:gd name="T93" fmla="*/ 201 h 201"/>
              <a:gd name="T94" fmla="*/ 27 w 245"/>
              <a:gd name="T95" fmla="*/ 190 h 201"/>
              <a:gd name="T96" fmla="*/ 22 w 245"/>
              <a:gd name="T97" fmla="*/ 180 h 201"/>
              <a:gd name="T98" fmla="*/ 22 w 245"/>
              <a:gd name="T99" fmla="*/ 169 h 201"/>
              <a:gd name="T100" fmla="*/ 22 w 245"/>
              <a:gd name="T101" fmla="*/ 152 h 201"/>
              <a:gd name="T102" fmla="*/ 16 w 245"/>
              <a:gd name="T103" fmla="*/ 141 h 201"/>
              <a:gd name="T104" fmla="*/ 5 w 245"/>
              <a:gd name="T105" fmla="*/ 114 h 201"/>
              <a:gd name="T106" fmla="*/ 158 w 245"/>
              <a:gd name="T107" fmla="*/ 120 h 201"/>
              <a:gd name="T108" fmla="*/ 163 w 245"/>
              <a:gd name="T109" fmla="*/ 114 h 201"/>
              <a:gd name="T110" fmla="*/ 174 w 245"/>
              <a:gd name="T111" fmla="*/ 103 h 201"/>
              <a:gd name="T112" fmla="*/ 191 w 245"/>
              <a:gd name="T113" fmla="*/ 109 h 201"/>
              <a:gd name="T114" fmla="*/ 185 w 245"/>
              <a:gd name="T115" fmla="*/ 120 h 201"/>
              <a:gd name="T116" fmla="*/ 169 w 245"/>
              <a:gd name="T117" fmla="*/ 125 h 201"/>
              <a:gd name="T118" fmla="*/ 163 w 245"/>
              <a:gd name="T119" fmla="*/ 130 h 201"/>
              <a:gd name="T120" fmla="*/ 158 w 245"/>
              <a:gd name="T121" fmla="*/ 12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5" h="201">
                <a:moveTo>
                  <a:pt x="0" y="103"/>
                </a:moveTo>
                <a:lnTo>
                  <a:pt x="5" y="98"/>
                </a:lnTo>
                <a:lnTo>
                  <a:pt x="5" y="92"/>
                </a:lnTo>
                <a:lnTo>
                  <a:pt x="11" y="92"/>
                </a:lnTo>
                <a:lnTo>
                  <a:pt x="11" y="98"/>
                </a:lnTo>
                <a:lnTo>
                  <a:pt x="11" y="103"/>
                </a:lnTo>
                <a:lnTo>
                  <a:pt x="16" y="103"/>
                </a:lnTo>
                <a:lnTo>
                  <a:pt x="22" y="103"/>
                </a:lnTo>
                <a:lnTo>
                  <a:pt x="27" y="103"/>
                </a:lnTo>
                <a:lnTo>
                  <a:pt x="33" y="103"/>
                </a:lnTo>
                <a:lnTo>
                  <a:pt x="38" y="109"/>
                </a:lnTo>
                <a:lnTo>
                  <a:pt x="43" y="103"/>
                </a:lnTo>
                <a:lnTo>
                  <a:pt x="43" y="98"/>
                </a:lnTo>
                <a:lnTo>
                  <a:pt x="49" y="98"/>
                </a:lnTo>
                <a:lnTo>
                  <a:pt x="54" y="98"/>
                </a:lnTo>
                <a:lnTo>
                  <a:pt x="54" y="54"/>
                </a:lnTo>
                <a:lnTo>
                  <a:pt x="54" y="38"/>
                </a:lnTo>
                <a:lnTo>
                  <a:pt x="60" y="43"/>
                </a:lnTo>
                <a:lnTo>
                  <a:pt x="65" y="49"/>
                </a:lnTo>
                <a:lnTo>
                  <a:pt x="65" y="54"/>
                </a:lnTo>
                <a:lnTo>
                  <a:pt x="65" y="60"/>
                </a:lnTo>
                <a:lnTo>
                  <a:pt x="65" y="65"/>
                </a:lnTo>
                <a:lnTo>
                  <a:pt x="65" y="70"/>
                </a:lnTo>
                <a:lnTo>
                  <a:pt x="65" y="76"/>
                </a:lnTo>
                <a:lnTo>
                  <a:pt x="65" y="70"/>
                </a:lnTo>
                <a:lnTo>
                  <a:pt x="71" y="76"/>
                </a:lnTo>
                <a:lnTo>
                  <a:pt x="76" y="70"/>
                </a:lnTo>
                <a:lnTo>
                  <a:pt x="82" y="76"/>
                </a:lnTo>
                <a:lnTo>
                  <a:pt x="82" y="70"/>
                </a:lnTo>
                <a:lnTo>
                  <a:pt x="87" y="70"/>
                </a:lnTo>
                <a:lnTo>
                  <a:pt x="87" y="65"/>
                </a:lnTo>
                <a:lnTo>
                  <a:pt x="93" y="65"/>
                </a:lnTo>
                <a:lnTo>
                  <a:pt x="98" y="60"/>
                </a:lnTo>
                <a:lnTo>
                  <a:pt x="98" y="54"/>
                </a:lnTo>
                <a:lnTo>
                  <a:pt x="103" y="49"/>
                </a:lnTo>
                <a:lnTo>
                  <a:pt x="109" y="49"/>
                </a:lnTo>
                <a:lnTo>
                  <a:pt x="114" y="49"/>
                </a:lnTo>
                <a:lnTo>
                  <a:pt x="114" y="54"/>
                </a:lnTo>
                <a:lnTo>
                  <a:pt x="120" y="54"/>
                </a:lnTo>
                <a:lnTo>
                  <a:pt x="125" y="54"/>
                </a:lnTo>
                <a:lnTo>
                  <a:pt x="131" y="54"/>
                </a:lnTo>
                <a:lnTo>
                  <a:pt x="136" y="54"/>
                </a:lnTo>
                <a:lnTo>
                  <a:pt x="142" y="54"/>
                </a:lnTo>
                <a:lnTo>
                  <a:pt x="142" y="49"/>
                </a:lnTo>
                <a:lnTo>
                  <a:pt x="147" y="43"/>
                </a:lnTo>
                <a:lnTo>
                  <a:pt x="147" y="38"/>
                </a:lnTo>
                <a:lnTo>
                  <a:pt x="153" y="38"/>
                </a:lnTo>
                <a:lnTo>
                  <a:pt x="158" y="38"/>
                </a:lnTo>
                <a:lnTo>
                  <a:pt x="158" y="32"/>
                </a:lnTo>
                <a:lnTo>
                  <a:pt x="163" y="32"/>
                </a:lnTo>
                <a:lnTo>
                  <a:pt x="163" y="27"/>
                </a:lnTo>
                <a:lnTo>
                  <a:pt x="163" y="21"/>
                </a:lnTo>
                <a:lnTo>
                  <a:pt x="169" y="16"/>
                </a:lnTo>
                <a:lnTo>
                  <a:pt x="174" y="16"/>
                </a:lnTo>
                <a:lnTo>
                  <a:pt x="180" y="10"/>
                </a:lnTo>
                <a:lnTo>
                  <a:pt x="185" y="5"/>
                </a:lnTo>
                <a:lnTo>
                  <a:pt x="191" y="5"/>
                </a:lnTo>
                <a:lnTo>
                  <a:pt x="196" y="5"/>
                </a:lnTo>
                <a:lnTo>
                  <a:pt x="196" y="0"/>
                </a:lnTo>
                <a:lnTo>
                  <a:pt x="202" y="0"/>
                </a:lnTo>
                <a:lnTo>
                  <a:pt x="207" y="0"/>
                </a:lnTo>
                <a:lnTo>
                  <a:pt x="212" y="0"/>
                </a:lnTo>
                <a:lnTo>
                  <a:pt x="218" y="0"/>
                </a:lnTo>
                <a:lnTo>
                  <a:pt x="223" y="0"/>
                </a:lnTo>
                <a:lnTo>
                  <a:pt x="229" y="0"/>
                </a:lnTo>
                <a:lnTo>
                  <a:pt x="234" y="5"/>
                </a:lnTo>
                <a:lnTo>
                  <a:pt x="234" y="16"/>
                </a:lnTo>
                <a:lnTo>
                  <a:pt x="234" y="21"/>
                </a:lnTo>
                <a:lnTo>
                  <a:pt x="234" y="27"/>
                </a:lnTo>
                <a:lnTo>
                  <a:pt x="240" y="27"/>
                </a:lnTo>
                <a:lnTo>
                  <a:pt x="240" y="32"/>
                </a:lnTo>
                <a:lnTo>
                  <a:pt x="240" y="49"/>
                </a:lnTo>
                <a:lnTo>
                  <a:pt x="234" y="54"/>
                </a:lnTo>
                <a:lnTo>
                  <a:pt x="234" y="60"/>
                </a:lnTo>
                <a:lnTo>
                  <a:pt x="229" y="54"/>
                </a:lnTo>
                <a:lnTo>
                  <a:pt x="223" y="60"/>
                </a:lnTo>
                <a:lnTo>
                  <a:pt x="218" y="65"/>
                </a:lnTo>
                <a:lnTo>
                  <a:pt x="218" y="70"/>
                </a:lnTo>
                <a:lnTo>
                  <a:pt x="218" y="76"/>
                </a:lnTo>
                <a:lnTo>
                  <a:pt x="223" y="76"/>
                </a:lnTo>
                <a:lnTo>
                  <a:pt x="223" y="81"/>
                </a:lnTo>
                <a:lnTo>
                  <a:pt x="234" y="81"/>
                </a:lnTo>
                <a:lnTo>
                  <a:pt x="234" y="70"/>
                </a:lnTo>
                <a:lnTo>
                  <a:pt x="234" y="76"/>
                </a:lnTo>
                <a:lnTo>
                  <a:pt x="240" y="70"/>
                </a:lnTo>
                <a:lnTo>
                  <a:pt x="240" y="76"/>
                </a:lnTo>
                <a:lnTo>
                  <a:pt x="245" y="70"/>
                </a:lnTo>
                <a:lnTo>
                  <a:pt x="245" y="76"/>
                </a:lnTo>
                <a:lnTo>
                  <a:pt x="245" y="81"/>
                </a:lnTo>
                <a:lnTo>
                  <a:pt x="240" y="92"/>
                </a:lnTo>
                <a:lnTo>
                  <a:pt x="240" y="98"/>
                </a:lnTo>
                <a:lnTo>
                  <a:pt x="234" y="98"/>
                </a:lnTo>
                <a:lnTo>
                  <a:pt x="229" y="103"/>
                </a:lnTo>
                <a:lnTo>
                  <a:pt x="229" y="109"/>
                </a:lnTo>
                <a:lnTo>
                  <a:pt x="223" y="109"/>
                </a:lnTo>
                <a:lnTo>
                  <a:pt x="218" y="114"/>
                </a:lnTo>
                <a:lnTo>
                  <a:pt x="218" y="120"/>
                </a:lnTo>
                <a:lnTo>
                  <a:pt x="212" y="120"/>
                </a:lnTo>
                <a:lnTo>
                  <a:pt x="212" y="125"/>
                </a:lnTo>
                <a:lnTo>
                  <a:pt x="207" y="125"/>
                </a:lnTo>
                <a:lnTo>
                  <a:pt x="207" y="130"/>
                </a:lnTo>
                <a:lnTo>
                  <a:pt x="202" y="141"/>
                </a:lnTo>
                <a:lnTo>
                  <a:pt x="196" y="141"/>
                </a:lnTo>
                <a:lnTo>
                  <a:pt x="191" y="147"/>
                </a:lnTo>
                <a:lnTo>
                  <a:pt x="185" y="147"/>
                </a:lnTo>
                <a:lnTo>
                  <a:pt x="185" y="152"/>
                </a:lnTo>
                <a:lnTo>
                  <a:pt x="180" y="152"/>
                </a:lnTo>
                <a:lnTo>
                  <a:pt x="180" y="158"/>
                </a:lnTo>
                <a:lnTo>
                  <a:pt x="174" y="158"/>
                </a:lnTo>
                <a:lnTo>
                  <a:pt x="174" y="163"/>
                </a:lnTo>
                <a:lnTo>
                  <a:pt x="169" y="163"/>
                </a:lnTo>
                <a:lnTo>
                  <a:pt x="169" y="169"/>
                </a:lnTo>
                <a:lnTo>
                  <a:pt x="163" y="169"/>
                </a:lnTo>
                <a:lnTo>
                  <a:pt x="163" y="174"/>
                </a:lnTo>
                <a:lnTo>
                  <a:pt x="158" y="174"/>
                </a:lnTo>
                <a:lnTo>
                  <a:pt x="153" y="174"/>
                </a:lnTo>
                <a:lnTo>
                  <a:pt x="153" y="180"/>
                </a:lnTo>
                <a:lnTo>
                  <a:pt x="147" y="180"/>
                </a:lnTo>
                <a:lnTo>
                  <a:pt x="142" y="180"/>
                </a:lnTo>
                <a:lnTo>
                  <a:pt x="142" y="185"/>
                </a:lnTo>
                <a:lnTo>
                  <a:pt x="136" y="185"/>
                </a:lnTo>
                <a:lnTo>
                  <a:pt x="131" y="180"/>
                </a:lnTo>
                <a:lnTo>
                  <a:pt x="125" y="185"/>
                </a:lnTo>
                <a:lnTo>
                  <a:pt x="120" y="185"/>
                </a:lnTo>
                <a:lnTo>
                  <a:pt x="114" y="190"/>
                </a:lnTo>
                <a:lnTo>
                  <a:pt x="109" y="190"/>
                </a:lnTo>
                <a:lnTo>
                  <a:pt x="103" y="185"/>
                </a:lnTo>
                <a:lnTo>
                  <a:pt x="98" y="185"/>
                </a:lnTo>
                <a:lnTo>
                  <a:pt x="93" y="190"/>
                </a:lnTo>
                <a:lnTo>
                  <a:pt x="87" y="185"/>
                </a:lnTo>
                <a:lnTo>
                  <a:pt x="87" y="190"/>
                </a:lnTo>
                <a:lnTo>
                  <a:pt x="82" y="185"/>
                </a:lnTo>
                <a:lnTo>
                  <a:pt x="76" y="190"/>
                </a:lnTo>
                <a:lnTo>
                  <a:pt x="71" y="190"/>
                </a:lnTo>
                <a:lnTo>
                  <a:pt x="65" y="190"/>
                </a:lnTo>
                <a:lnTo>
                  <a:pt x="60" y="196"/>
                </a:lnTo>
                <a:lnTo>
                  <a:pt x="60" y="190"/>
                </a:lnTo>
                <a:lnTo>
                  <a:pt x="54" y="196"/>
                </a:lnTo>
                <a:lnTo>
                  <a:pt x="49" y="196"/>
                </a:lnTo>
                <a:lnTo>
                  <a:pt x="43" y="196"/>
                </a:lnTo>
                <a:lnTo>
                  <a:pt x="43" y="201"/>
                </a:lnTo>
                <a:lnTo>
                  <a:pt x="38" y="201"/>
                </a:lnTo>
                <a:lnTo>
                  <a:pt x="33" y="196"/>
                </a:lnTo>
                <a:lnTo>
                  <a:pt x="27" y="190"/>
                </a:lnTo>
                <a:lnTo>
                  <a:pt x="22" y="190"/>
                </a:lnTo>
                <a:lnTo>
                  <a:pt x="22" y="185"/>
                </a:lnTo>
                <a:lnTo>
                  <a:pt x="22" y="180"/>
                </a:lnTo>
                <a:lnTo>
                  <a:pt x="16" y="174"/>
                </a:lnTo>
                <a:lnTo>
                  <a:pt x="16" y="169"/>
                </a:lnTo>
                <a:lnTo>
                  <a:pt x="22" y="169"/>
                </a:lnTo>
                <a:lnTo>
                  <a:pt x="22" y="163"/>
                </a:lnTo>
                <a:lnTo>
                  <a:pt x="22" y="158"/>
                </a:lnTo>
                <a:lnTo>
                  <a:pt x="22" y="152"/>
                </a:lnTo>
                <a:lnTo>
                  <a:pt x="22" y="147"/>
                </a:lnTo>
                <a:lnTo>
                  <a:pt x="16" y="147"/>
                </a:lnTo>
                <a:lnTo>
                  <a:pt x="16" y="141"/>
                </a:lnTo>
                <a:lnTo>
                  <a:pt x="11" y="130"/>
                </a:lnTo>
                <a:lnTo>
                  <a:pt x="5" y="120"/>
                </a:lnTo>
                <a:lnTo>
                  <a:pt x="5" y="114"/>
                </a:lnTo>
                <a:lnTo>
                  <a:pt x="5" y="109"/>
                </a:lnTo>
                <a:lnTo>
                  <a:pt x="0" y="103"/>
                </a:lnTo>
                <a:close/>
                <a:moveTo>
                  <a:pt x="158" y="120"/>
                </a:moveTo>
                <a:lnTo>
                  <a:pt x="153" y="120"/>
                </a:lnTo>
                <a:lnTo>
                  <a:pt x="158" y="114"/>
                </a:lnTo>
                <a:lnTo>
                  <a:pt x="163" y="114"/>
                </a:lnTo>
                <a:lnTo>
                  <a:pt x="163" y="109"/>
                </a:lnTo>
                <a:lnTo>
                  <a:pt x="169" y="103"/>
                </a:lnTo>
                <a:lnTo>
                  <a:pt x="174" y="103"/>
                </a:lnTo>
                <a:lnTo>
                  <a:pt x="180" y="103"/>
                </a:lnTo>
                <a:lnTo>
                  <a:pt x="185" y="103"/>
                </a:lnTo>
                <a:lnTo>
                  <a:pt x="191" y="109"/>
                </a:lnTo>
                <a:lnTo>
                  <a:pt x="191" y="114"/>
                </a:lnTo>
                <a:lnTo>
                  <a:pt x="191" y="120"/>
                </a:lnTo>
                <a:lnTo>
                  <a:pt x="185" y="120"/>
                </a:lnTo>
                <a:lnTo>
                  <a:pt x="180" y="125"/>
                </a:lnTo>
                <a:lnTo>
                  <a:pt x="174" y="125"/>
                </a:lnTo>
                <a:lnTo>
                  <a:pt x="169" y="125"/>
                </a:lnTo>
                <a:lnTo>
                  <a:pt x="174" y="130"/>
                </a:lnTo>
                <a:lnTo>
                  <a:pt x="169" y="136"/>
                </a:lnTo>
                <a:lnTo>
                  <a:pt x="163" y="130"/>
                </a:lnTo>
                <a:lnTo>
                  <a:pt x="158" y="130"/>
                </a:lnTo>
                <a:lnTo>
                  <a:pt x="158" y="125"/>
                </a:lnTo>
                <a:lnTo>
                  <a:pt x="158" y="120"/>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0" name="Freeform 444">
            <a:extLst>
              <a:ext uri="{FF2B5EF4-FFF2-40B4-BE49-F238E27FC236}">
                <a16:creationId xmlns:a16="http://schemas.microsoft.com/office/drawing/2014/main" id="{24F6C72A-85B6-B2A1-61DC-CAF40109994A}"/>
              </a:ext>
            </a:extLst>
          </p:cNvPr>
          <p:cNvSpPr>
            <a:spLocks/>
          </p:cNvSpPr>
          <p:nvPr/>
        </p:nvSpPr>
        <p:spPr bwMode="auto">
          <a:xfrm>
            <a:off x="3157538" y="3576638"/>
            <a:ext cx="25400" cy="33338"/>
          </a:xfrm>
          <a:custGeom>
            <a:avLst/>
            <a:gdLst>
              <a:gd name="T0" fmla="*/ 16 w 22"/>
              <a:gd name="T1" fmla="*/ 16 h 27"/>
              <a:gd name="T2" fmla="*/ 16 w 22"/>
              <a:gd name="T3" fmla="*/ 27 h 27"/>
              <a:gd name="T4" fmla="*/ 5 w 22"/>
              <a:gd name="T5" fmla="*/ 27 h 27"/>
              <a:gd name="T6" fmla="*/ 5 w 22"/>
              <a:gd name="T7" fmla="*/ 22 h 27"/>
              <a:gd name="T8" fmla="*/ 0 w 22"/>
              <a:gd name="T9" fmla="*/ 22 h 27"/>
              <a:gd name="T10" fmla="*/ 0 w 22"/>
              <a:gd name="T11" fmla="*/ 16 h 27"/>
              <a:gd name="T12" fmla="*/ 0 w 22"/>
              <a:gd name="T13" fmla="*/ 11 h 27"/>
              <a:gd name="T14" fmla="*/ 5 w 22"/>
              <a:gd name="T15" fmla="*/ 6 h 27"/>
              <a:gd name="T16" fmla="*/ 11 w 22"/>
              <a:gd name="T17" fmla="*/ 0 h 27"/>
              <a:gd name="T18" fmla="*/ 16 w 22"/>
              <a:gd name="T19" fmla="*/ 6 h 27"/>
              <a:gd name="T20" fmla="*/ 22 w 22"/>
              <a:gd name="T21" fmla="*/ 6 h 27"/>
              <a:gd name="T22" fmla="*/ 16 w 22"/>
              <a:gd name="T23" fmla="*/ 11 h 27"/>
              <a:gd name="T24" fmla="*/ 16 w 22"/>
              <a:gd name="T25"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7">
                <a:moveTo>
                  <a:pt x="16" y="16"/>
                </a:moveTo>
                <a:lnTo>
                  <a:pt x="16" y="27"/>
                </a:lnTo>
                <a:lnTo>
                  <a:pt x="5" y="27"/>
                </a:lnTo>
                <a:lnTo>
                  <a:pt x="5" y="22"/>
                </a:lnTo>
                <a:lnTo>
                  <a:pt x="0" y="22"/>
                </a:lnTo>
                <a:lnTo>
                  <a:pt x="0" y="16"/>
                </a:lnTo>
                <a:lnTo>
                  <a:pt x="0" y="11"/>
                </a:lnTo>
                <a:lnTo>
                  <a:pt x="5" y="6"/>
                </a:lnTo>
                <a:lnTo>
                  <a:pt x="11" y="0"/>
                </a:lnTo>
                <a:lnTo>
                  <a:pt x="16" y="6"/>
                </a:lnTo>
                <a:lnTo>
                  <a:pt x="22" y="6"/>
                </a:lnTo>
                <a:lnTo>
                  <a:pt x="16" y="11"/>
                </a:lnTo>
                <a:lnTo>
                  <a:pt x="16" y="16"/>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1" name="Freeform 445">
            <a:extLst>
              <a:ext uri="{FF2B5EF4-FFF2-40B4-BE49-F238E27FC236}">
                <a16:creationId xmlns:a16="http://schemas.microsoft.com/office/drawing/2014/main" id="{53C10386-EB3C-8195-03A1-D584A48308E1}"/>
              </a:ext>
            </a:extLst>
          </p:cNvPr>
          <p:cNvSpPr>
            <a:spLocks/>
          </p:cNvSpPr>
          <p:nvPr/>
        </p:nvSpPr>
        <p:spPr bwMode="auto">
          <a:xfrm>
            <a:off x="2838450" y="3411539"/>
            <a:ext cx="239713" cy="231775"/>
          </a:xfrm>
          <a:custGeom>
            <a:avLst/>
            <a:gdLst>
              <a:gd name="T0" fmla="*/ 60 w 213"/>
              <a:gd name="T1" fmla="*/ 180 h 191"/>
              <a:gd name="T2" fmla="*/ 55 w 213"/>
              <a:gd name="T3" fmla="*/ 169 h 191"/>
              <a:gd name="T4" fmla="*/ 49 w 213"/>
              <a:gd name="T5" fmla="*/ 163 h 191"/>
              <a:gd name="T6" fmla="*/ 44 w 213"/>
              <a:gd name="T7" fmla="*/ 152 h 191"/>
              <a:gd name="T8" fmla="*/ 44 w 213"/>
              <a:gd name="T9" fmla="*/ 147 h 191"/>
              <a:gd name="T10" fmla="*/ 44 w 213"/>
              <a:gd name="T11" fmla="*/ 136 h 191"/>
              <a:gd name="T12" fmla="*/ 44 w 213"/>
              <a:gd name="T13" fmla="*/ 125 h 191"/>
              <a:gd name="T14" fmla="*/ 39 w 213"/>
              <a:gd name="T15" fmla="*/ 120 h 191"/>
              <a:gd name="T16" fmla="*/ 39 w 213"/>
              <a:gd name="T17" fmla="*/ 109 h 191"/>
              <a:gd name="T18" fmla="*/ 39 w 213"/>
              <a:gd name="T19" fmla="*/ 98 h 191"/>
              <a:gd name="T20" fmla="*/ 44 w 213"/>
              <a:gd name="T21" fmla="*/ 92 h 191"/>
              <a:gd name="T22" fmla="*/ 39 w 213"/>
              <a:gd name="T23" fmla="*/ 82 h 191"/>
              <a:gd name="T24" fmla="*/ 33 w 213"/>
              <a:gd name="T25" fmla="*/ 71 h 191"/>
              <a:gd name="T26" fmla="*/ 28 w 213"/>
              <a:gd name="T27" fmla="*/ 60 h 191"/>
              <a:gd name="T28" fmla="*/ 22 w 213"/>
              <a:gd name="T29" fmla="*/ 49 h 191"/>
              <a:gd name="T30" fmla="*/ 17 w 213"/>
              <a:gd name="T31" fmla="*/ 38 h 191"/>
              <a:gd name="T32" fmla="*/ 11 w 213"/>
              <a:gd name="T33" fmla="*/ 32 h 191"/>
              <a:gd name="T34" fmla="*/ 6 w 213"/>
              <a:gd name="T35" fmla="*/ 22 h 191"/>
              <a:gd name="T36" fmla="*/ 0 w 213"/>
              <a:gd name="T37" fmla="*/ 11 h 191"/>
              <a:gd name="T38" fmla="*/ 6 w 213"/>
              <a:gd name="T39" fmla="*/ 0 h 191"/>
              <a:gd name="T40" fmla="*/ 11 w 213"/>
              <a:gd name="T41" fmla="*/ 5 h 191"/>
              <a:gd name="T42" fmla="*/ 22 w 213"/>
              <a:gd name="T43" fmla="*/ 0 h 191"/>
              <a:gd name="T44" fmla="*/ 33 w 213"/>
              <a:gd name="T45" fmla="*/ 5 h 191"/>
              <a:gd name="T46" fmla="*/ 104 w 213"/>
              <a:gd name="T47" fmla="*/ 5 h 191"/>
              <a:gd name="T48" fmla="*/ 115 w 213"/>
              <a:gd name="T49" fmla="*/ 11 h 191"/>
              <a:gd name="T50" fmla="*/ 126 w 213"/>
              <a:gd name="T51" fmla="*/ 11 h 191"/>
              <a:gd name="T52" fmla="*/ 137 w 213"/>
              <a:gd name="T53" fmla="*/ 11 h 191"/>
              <a:gd name="T54" fmla="*/ 142 w 213"/>
              <a:gd name="T55" fmla="*/ 16 h 191"/>
              <a:gd name="T56" fmla="*/ 153 w 213"/>
              <a:gd name="T57" fmla="*/ 16 h 191"/>
              <a:gd name="T58" fmla="*/ 197 w 213"/>
              <a:gd name="T59" fmla="*/ 5 h 191"/>
              <a:gd name="T60" fmla="*/ 208 w 213"/>
              <a:gd name="T61" fmla="*/ 11 h 191"/>
              <a:gd name="T62" fmla="*/ 208 w 213"/>
              <a:gd name="T63" fmla="*/ 11 h 191"/>
              <a:gd name="T64" fmla="*/ 202 w 213"/>
              <a:gd name="T65" fmla="*/ 16 h 191"/>
              <a:gd name="T66" fmla="*/ 191 w 213"/>
              <a:gd name="T67" fmla="*/ 16 h 191"/>
              <a:gd name="T68" fmla="*/ 186 w 213"/>
              <a:gd name="T69" fmla="*/ 16 h 191"/>
              <a:gd name="T70" fmla="*/ 175 w 213"/>
              <a:gd name="T71" fmla="*/ 16 h 191"/>
              <a:gd name="T72" fmla="*/ 142 w 213"/>
              <a:gd name="T73" fmla="*/ 22 h 191"/>
              <a:gd name="T74" fmla="*/ 126 w 213"/>
              <a:gd name="T75" fmla="*/ 76 h 191"/>
              <a:gd name="T76" fmla="*/ 120 w 213"/>
              <a:gd name="T77" fmla="*/ 114 h 191"/>
              <a:gd name="T78" fmla="*/ 120 w 213"/>
              <a:gd name="T79" fmla="*/ 136 h 191"/>
              <a:gd name="T80" fmla="*/ 115 w 213"/>
              <a:gd name="T81" fmla="*/ 180 h 191"/>
              <a:gd name="T82" fmla="*/ 109 w 213"/>
              <a:gd name="T83" fmla="*/ 185 h 191"/>
              <a:gd name="T84" fmla="*/ 99 w 213"/>
              <a:gd name="T85" fmla="*/ 185 h 191"/>
              <a:gd name="T86" fmla="*/ 88 w 213"/>
              <a:gd name="T87" fmla="*/ 185 h 191"/>
              <a:gd name="T88" fmla="*/ 77 w 213"/>
              <a:gd name="T89" fmla="*/ 185 h 191"/>
              <a:gd name="T90" fmla="*/ 77 w 213"/>
              <a:gd name="T91" fmla="*/ 174 h 191"/>
              <a:gd name="T92" fmla="*/ 71 w 213"/>
              <a:gd name="T93" fmla="*/ 18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191">
                <a:moveTo>
                  <a:pt x="66" y="185"/>
                </a:moveTo>
                <a:lnTo>
                  <a:pt x="60" y="180"/>
                </a:lnTo>
                <a:lnTo>
                  <a:pt x="55" y="174"/>
                </a:lnTo>
                <a:lnTo>
                  <a:pt x="55" y="169"/>
                </a:lnTo>
                <a:lnTo>
                  <a:pt x="49" y="169"/>
                </a:lnTo>
                <a:lnTo>
                  <a:pt x="49" y="163"/>
                </a:lnTo>
                <a:lnTo>
                  <a:pt x="49" y="158"/>
                </a:lnTo>
                <a:lnTo>
                  <a:pt x="44" y="152"/>
                </a:lnTo>
                <a:lnTo>
                  <a:pt x="49" y="152"/>
                </a:lnTo>
                <a:lnTo>
                  <a:pt x="44" y="147"/>
                </a:lnTo>
                <a:lnTo>
                  <a:pt x="44" y="142"/>
                </a:lnTo>
                <a:lnTo>
                  <a:pt x="44" y="136"/>
                </a:lnTo>
                <a:lnTo>
                  <a:pt x="44" y="131"/>
                </a:lnTo>
                <a:lnTo>
                  <a:pt x="44" y="125"/>
                </a:lnTo>
                <a:lnTo>
                  <a:pt x="44" y="120"/>
                </a:lnTo>
                <a:lnTo>
                  <a:pt x="39" y="120"/>
                </a:lnTo>
                <a:lnTo>
                  <a:pt x="39" y="114"/>
                </a:lnTo>
                <a:lnTo>
                  <a:pt x="39" y="109"/>
                </a:lnTo>
                <a:lnTo>
                  <a:pt x="39" y="103"/>
                </a:lnTo>
                <a:lnTo>
                  <a:pt x="39" y="98"/>
                </a:lnTo>
                <a:lnTo>
                  <a:pt x="39" y="92"/>
                </a:lnTo>
                <a:lnTo>
                  <a:pt x="44" y="92"/>
                </a:lnTo>
                <a:lnTo>
                  <a:pt x="39" y="87"/>
                </a:lnTo>
                <a:lnTo>
                  <a:pt x="39" y="82"/>
                </a:lnTo>
                <a:lnTo>
                  <a:pt x="33" y="76"/>
                </a:lnTo>
                <a:lnTo>
                  <a:pt x="33" y="71"/>
                </a:lnTo>
                <a:lnTo>
                  <a:pt x="28" y="65"/>
                </a:lnTo>
                <a:lnTo>
                  <a:pt x="28" y="60"/>
                </a:lnTo>
                <a:lnTo>
                  <a:pt x="22" y="54"/>
                </a:lnTo>
                <a:lnTo>
                  <a:pt x="22" y="49"/>
                </a:lnTo>
                <a:lnTo>
                  <a:pt x="22" y="43"/>
                </a:lnTo>
                <a:lnTo>
                  <a:pt x="17" y="38"/>
                </a:lnTo>
                <a:lnTo>
                  <a:pt x="17" y="32"/>
                </a:lnTo>
                <a:lnTo>
                  <a:pt x="11" y="32"/>
                </a:lnTo>
                <a:lnTo>
                  <a:pt x="11" y="27"/>
                </a:lnTo>
                <a:lnTo>
                  <a:pt x="6" y="22"/>
                </a:lnTo>
                <a:lnTo>
                  <a:pt x="0" y="16"/>
                </a:lnTo>
                <a:lnTo>
                  <a:pt x="0" y="11"/>
                </a:lnTo>
                <a:lnTo>
                  <a:pt x="0" y="5"/>
                </a:lnTo>
                <a:lnTo>
                  <a:pt x="6" y="0"/>
                </a:lnTo>
                <a:lnTo>
                  <a:pt x="11" y="0"/>
                </a:lnTo>
                <a:lnTo>
                  <a:pt x="11" y="5"/>
                </a:lnTo>
                <a:lnTo>
                  <a:pt x="17" y="0"/>
                </a:lnTo>
                <a:lnTo>
                  <a:pt x="22" y="0"/>
                </a:lnTo>
                <a:lnTo>
                  <a:pt x="28" y="0"/>
                </a:lnTo>
                <a:lnTo>
                  <a:pt x="33" y="5"/>
                </a:lnTo>
                <a:lnTo>
                  <a:pt x="39" y="5"/>
                </a:lnTo>
                <a:lnTo>
                  <a:pt x="104" y="5"/>
                </a:lnTo>
                <a:lnTo>
                  <a:pt x="109" y="11"/>
                </a:lnTo>
                <a:lnTo>
                  <a:pt x="115" y="11"/>
                </a:lnTo>
                <a:lnTo>
                  <a:pt x="120" y="11"/>
                </a:lnTo>
                <a:lnTo>
                  <a:pt x="126" y="11"/>
                </a:lnTo>
                <a:lnTo>
                  <a:pt x="131" y="11"/>
                </a:lnTo>
                <a:lnTo>
                  <a:pt x="137" y="11"/>
                </a:lnTo>
                <a:lnTo>
                  <a:pt x="137" y="16"/>
                </a:lnTo>
                <a:lnTo>
                  <a:pt x="142" y="16"/>
                </a:lnTo>
                <a:lnTo>
                  <a:pt x="148" y="16"/>
                </a:lnTo>
                <a:lnTo>
                  <a:pt x="153" y="16"/>
                </a:lnTo>
                <a:lnTo>
                  <a:pt x="180" y="11"/>
                </a:lnTo>
                <a:lnTo>
                  <a:pt x="197" y="5"/>
                </a:lnTo>
                <a:lnTo>
                  <a:pt x="202" y="5"/>
                </a:lnTo>
                <a:lnTo>
                  <a:pt x="208" y="11"/>
                </a:lnTo>
                <a:lnTo>
                  <a:pt x="213" y="11"/>
                </a:lnTo>
                <a:lnTo>
                  <a:pt x="208" y="11"/>
                </a:lnTo>
                <a:lnTo>
                  <a:pt x="202" y="11"/>
                </a:lnTo>
                <a:lnTo>
                  <a:pt x="202" y="16"/>
                </a:lnTo>
                <a:lnTo>
                  <a:pt x="197" y="16"/>
                </a:lnTo>
                <a:lnTo>
                  <a:pt x="191" y="16"/>
                </a:lnTo>
                <a:lnTo>
                  <a:pt x="186" y="22"/>
                </a:lnTo>
                <a:lnTo>
                  <a:pt x="186" y="16"/>
                </a:lnTo>
                <a:lnTo>
                  <a:pt x="180" y="16"/>
                </a:lnTo>
                <a:lnTo>
                  <a:pt x="175" y="16"/>
                </a:lnTo>
                <a:lnTo>
                  <a:pt x="153" y="22"/>
                </a:lnTo>
                <a:lnTo>
                  <a:pt x="142" y="22"/>
                </a:lnTo>
                <a:lnTo>
                  <a:pt x="142" y="76"/>
                </a:lnTo>
                <a:lnTo>
                  <a:pt x="126" y="76"/>
                </a:lnTo>
                <a:lnTo>
                  <a:pt x="126" y="82"/>
                </a:lnTo>
                <a:lnTo>
                  <a:pt x="120" y="114"/>
                </a:lnTo>
                <a:lnTo>
                  <a:pt x="120" y="120"/>
                </a:lnTo>
                <a:lnTo>
                  <a:pt x="120" y="136"/>
                </a:lnTo>
                <a:lnTo>
                  <a:pt x="120" y="180"/>
                </a:lnTo>
                <a:lnTo>
                  <a:pt x="115" y="180"/>
                </a:lnTo>
                <a:lnTo>
                  <a:pt x="109" y="180"/>
                </a:lnTo>
                <a:lnTo>
                  <a:pt x="109" y="185"/>
                </a:lnTo>
                <a:lnTo>
                  <a:pt x="104" y="191"/>
                </a:lnTo>
                <a:lnTo>
                  <a:pt x="99" y="185"/>
                </a:lnTo>
                <a:lnTo>
                  <a:pt x="93" y="185"/>
                </a:lnTo>
                <a:lnTo>
                  <a:pt x="88" y="185"/>
                </a:lnTo>
                <a:lnTo>
                  <a:pt x="82" y="185"/>
                </a:lnTo>
                <a:lnTo>
                  <a:pt x="77" y="185"/>
                </a:lnTo>
                <a:lnTo>
                  <a:pt x="77" y="180"/>
                </a:lnTo>
                <a:lnTo>
                  <a:pt x="77" y="174"/>
                </a:lnTo>
                <a:lnTo>
                  <a:pt x="71" y="174"/>
                </a:lnTo>
                <a:lnTo>
                  <a:pt x="71" y="180"/>
                </a:lnTo>
                <a:lnTo>
                  <a:pt x="66" y="185"/>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2" name="Freeform 625">
            <a:extLst>
              <a:ext uri="{FF2B5EF4-FFF2-40B4-BE49-F238E27FC236}">
                <a16:creationId xmlns:a16="http://schemas.microsoft.com/office/drawing/2014/main" id="{6299ABA6-842D-500F-A903-3B02991F9B1D}"/>
              </a:ext>
            </a:extLst>
          </p:cNvPr>
          <p:cNvSpPr>
            <a:spLocks/>
          </p:cNvSpPr>
          <p:nvPr/>
        </p:nvSpPr>
        <p:spPr bwMode="auto">
          <a:xfrm>
            <a:off x="2343150" y="2830513"/>
            <a:ext cx="55563" cy="33338"/>
          </a:xfrm>
          <a:custGeom>
            <a:avLst/>
            <a:gdLst>
              <a:gd name="T0" fmla="*/ 0 w 49"/>
              <a:gd name="T1" fmla="*/ 6 h 27"/>
              <a:gd name="T2" fmla="*/ 5 w 49"/>
              <a:gd name="T3" fmla="*/ 6 h 27"/>
              <a:gd name="T4" fmla="*/ 11 w 49"/>
              <a:gd name="T5" fmla="*/ 6 h 27"/>
              <a:gd name="T6" fmla="*/ 16 w 49"/>
              <a:gd name="T7" fmla="*/ 6 h 27"/>
              <a:gd name="T8" fmla="*/ 22 w 49"/>
              <a:gd name="T9" fmla="*/ 6 h 27"/>
              <a:gd name="T10" fmla="*/ 22 w 49"/>
              <a:gd name="T11" fmla="*/ 0 h 27"/>
              <a:gd name="T12" fmla="*/ 38 w 49"/>
              <a:gd name="T13" fmla="*/ 0 h 27"/>
              <a:gd name="T14" fmla="*/ 43 w 49"/>
              <a:gd name="T15" fmla="*/ 0 h 27"/>
              <a:gd name="T16" fmla="*/ 49 w 49"/>
              <a:gd name="T17" fmla="*/ 6 h 27"/>
              <a:gd name="T18" fmla="*/ 43 w 49"/>
              <a:gd name="T19" fmla="*/ 11 h 27"/>
              <a:gd name="T20" fmla="*/ 43 w 49"/>
              <a:gd name="T21" fmla="*/ 17 h 27"/>
              <a:gd name="T22" fmla="*/ 38 w 49"/>
              <a:gd name="T23" fmla="*/ 17 h 27"/>
              <a:gd name="T24" fmla="*/ 33 w 49"/>
              <a:gd name="T25" fmla="*/ 22 h 27"/>
              <a:gd name="T26" fmla="*/ 27 w 49"/>
              <a:gd name="T27" fmla="*/ 22 h 27"/>
              <a:gd name="T28" fmla="*/ 27 w 49"/>
              <a:gd name="T29" fmla="*/ 27 h 27"/>
              <a:gd name="T30" fmla="*/ 22 w 49"/>
              <a:gd name="T31" fmla="*/ 27 h 27"/>
              <a:gd name="T32" fmla="*/ 16 w 49"/>
              <a:gd name="T33" fmla="*/ 27 h 27"/>
              <a:gd name="T34" fmla="*/ 22 w 49"/>
              <a:gd name="T35" fmla="*/ 22 h 27"/>
              <a:gd name="T36" fmla="*/ 16 w 49"/>
              <a:gd name="T37" fmla="*/ 22 h 27"/>
              <a:gd name="T38" fmla="*/ 16 w 49"/>
              <a:gd name="T39" fmla="*/ 17 h 27"/>
              <a:gd name="T40" fmla="*/ 22 w 49"/>
              <a:gd name="T41" fmla="*/ 17 h 27"/>
              <a:gd name="T42" fmla="*/ 27 w 49"/>
              <a:gd name="T43" fmla="*/ 11 h 27"/>
              <a:gd name="T44" fmla="*/ 22 w 49"/>
              <a:gd name="T45" fmla="*/ 17 h 27"/>
              <a:gd name="T46" fmla="*/ 16 w 49"/>
              <a:gd name="T47" fmla="*/ 17 h 27"/>
              <a:gd name="T48" fmla="*/ 11 w 49"/>
              <a:gd name="T49" fmla="*/ 17 h 27"/>
              <a:gd name="T50" fmla="*/ 5 w 49"/>
              <a:gd name="T51" fmla="*/ 17 h 27"/>
              <a:gd name="T52" fmla="*/ 5 w 49"/>
              <a:gd name="T53" fmla="*/ 11 h 27"/>
              <a:gd name="T54" fmla="*/ 0 w 49"/>
              <a:gd name="T55" fmla="*/ 11 h 27"/>
              <a:gd name="T56" fmla="*/ 0 w 49"/>
              <a:gd name="T5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9" h="27">
                <a:moveTo>
                  <a:pt x="0" y="6"/>
                </a:moveTo>
                <a:lnTo>
                  <a:pt x="5" y="6"/>
                </a:lnTo>
                <a:lnTo>
                  <a:pt x="11" y="6"/>
                </a:lnTo>
                <a:lnTo>
                  <a:pt x="16" y="6"/>
                </a:lnTo>
                <a:lnTo>
                  <a:pt x="22" y="6"/>
                </a:lnTo>
                <a:lnTo>
                  <a:pt x="22" y="0"/>
                </a:lnTo>
                <a:lnTo>
                  <a:pt x="38" y="0"/>
                </a:lnTo>
                <a:lnTo>
                  <a:pt x="43" y="0"/>
                </a:lnTo>
                <a:lnTo>
                  <a:pt x="49" y="6"/>
                </a:lnTo>
                <a:lnTo>
                  <a:pt x="43" y="11"/>
                </a:lnTo>
                <a:lnTo>
                  <a:pt x="43" y="17"/>
                </a:lnTo>
                <a:lnTo>
                  <a:pt x="38" y="17"/>
                </a:lnTo>
                <a:lnTo>
                  <a:pt x="33" y="22"/>
                </a:lnTo>
                <a:lnTo>
                  <a:pt x="27" y="22"/>
                </a:lnTo>
                <a:lnTo>
                  <a:pt x="27" y="27"/>
                </a:lnTo>
                <a:lnTo>
                  <a:pt x="22" y="27"/>
                </a:lnTo>
                <a:lnTo>
                  <a:pt x="16" y="27"/>
                </a:lnTo>
                <a:lnTo>
                  <a:pt x="22" y="22"/>
                </a:lnTo>
                <a:lnTo>
                  <a:pt x="16" y="22"/>
                </a:lnTo>
                <a:lnTo>
                  <a:pt x="16" y="17"/>
                </a:lnTo>
                <a:lnTo>
                  <a:pt x="22" y="17"/>
                </a:lnTo>
                <a:lnTo>
                  <a:pt x="27" y="11"/>
                </a:lnTo>
                <a:lnTo>
                  <a:pt x="22" y="17"/>
                </a:lnTo>
                <a:lnTo>
                  <a:pt x="16" y="17"/>
                </a:lnTo>
                <a:lnTo>
                  <a:pt x="11" y="17"/>
                </a:lnTo>
                <a:lnTo>
                  <a:pt x="5" y="17"/>
                </a:lnTo>
                <a:lnTo>
                  <a:pt x="5" y="11"/>
                </a:lnTo>
                <a:lnTo>
                  <a:pt x="0" y="11"/>
                </a:lnTo>
                <a:lnTo>
                  <a:pt x="0" y="6"/>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3" name="Freeform 626">
            <a:extLst>
              <a:ext uri="{FF2B5EF4-FFF2-40B4-BE49-F238E27FC236}">
                <a16:creationId xmlns:a16="http://schemas.microsoft.com/office/drawing/2014/main" id="{33F09FB2-4EDF-58E2-0708-F4D815674B5D}"/>
              </a:ext>
            </a:extLst>
          </p:cNvPr>
          <p:cNvSpPr>
            <a:spLocks/>
          </p:cNvSpPr>
          <p:nvPr/>
        </p:nvSpPr>
        <p:spPr bwMode="auto">
          <a:xfrm>
            <a:off x="2343150" y="2551113"/>
            <a:ext cx="207963" cy="239713"/>
          </a:xfrm>
          <a:custGeom>
            <a:avLst/>
            <a:gdLst>
              <a:gd name="T0" fmla="*/ 0 w 185"/>
              <a:gd name="T1" fmla="*/ 98 h 196"/>
              <a:gd name="T2" fmla="*/ 60 w 185"/>
              <a:gd name="T3" fmla="*/ 93 h 196"/>
              <a:gd name="T4" fmla="*/ 60 w 185"/>
              <a:gd name="T5" fmla="*/ 66 h 196"/>
              <a:gd name="T6" fmla="*/ 65 w 185"/>
              <a:gd name="T7" fmla="*/ 60 h 196"/>
              <a:gd name="T8" fmla="*/ 82 w 185"/>
              <a:gd name="T9" fmla="*/ 22 h 196"/>
              <a:gd name="T10" fmla="*/ 131 w 185"/>
              <a:gd name="T11" fmla="*/ 0 h 196"/>
              <a:gd name="T12" fmla="*/ 185 w 185"/>
              <a:gd name="T13" fmla="*/ 38 h 196"/>
              <a:gd name="T14" fmla="*/ 163 w 185"/>
              <a:gd name="T15" fmla="*/ 60 h 196"/>
              <a:gd name="T16" fmla="*/ 163 w 185"/>
              <a:gd name="T17" fmla="*/ 82 h 196"/>
              <a:gd name="T18" fmla="*/ 174 w 185"/>
              <a:gd name="T19" fmla="*/ 169 h 196"/>
              <a:gd name="T20" fmla="*/ 174 w 185"/>
              <a:gd name="T21" fmla="*/ 186 h 196"/>
              <a:gd name="T22" fmla="*/ 131 w 185"/>
              <a:gd name="T23" fmla="*/ 186 h 196"/>
              <a:gd name="T24" fmla="*/ 109 w 185"/>
              <a:gd name="T25" fmla="*/ 186 h 196"/>
              <a:gd name="T26" fmla="*/ 103 w 185"/>
              <a:gd name="T27" fmla="*/ 191 h 196"/>
              <a:gd name="T28" fmla="*/ 92 w 185"/>
              <a:gd name="T29" fmla="*/ 186 h 196"/>
              <a:gd name="T30" fmla="*/ 87 w 185"/>
              <a:gd name="T31" fmla="*/ 191 h 196"/>
              <a:gd name="T32" fmla="*/ 82 w 185"/>
              <a:gd name="T33" fmla="*/ 186 h 196"/>
              <a:gd name="T34" fmla="*/ 76 w 185"/>
              <a:gd name="T35" fmla="*/ 191 h 196"/>
              <a:gd name="T36" fmla="*/ 71 w 185"/>
              <a:gd name="T37" fmla="*/ 196 h 196"/>
              <a:gd name="T38" fmla="*/ 65 w 185"/>
              <a:gd name="T39" fmla="*/ 191 h 196"/>
              <a:gd name="T40" fmla="*/ 60 w 185"/>
              <a:gd name="T41" fmla="*/ 186 h 196"/>
              <a:gd name="T42" fmla="*/ 54 w 185"/>
              <a:gd name="T43" fmla="*/ 180 h 196"/>
              <a:gd name="T44" fmla="*/ 43 w 185"/>
              <a:gd name="T45" fmla="*/ 175 h 196"/>
              <a:gd name="T46" fmla="*/ 33 w 185"/>
              <a:gd name="T47" fmla="*/ 169 h 196"/>
              <a:gd name="T48" fmla="*/ 22 w 185"/>
              <a:gd name="T49" fmla="*/ 169 h 196"/>
              <a:gd name="T50" fmla="*/ 11 w 185"/>
              <a:gd name="T51" fmla="*/ 169 h 196"/>
              <a:gd name="T52" fmla="*/ 5 w 185"/>
              <a:gd name="T53" fmla="*/ 175 h 196"/>
              <a:gd name="T54" fmla="*/ 5 w 185"/>
              <a:gd name="T55" fmla="*/ 175 h 196"/>
              <a:gd name="T56" fmla="*/ 11 w 185"/>
              <a:gd name="T57" fmla="*/ 158 h 196"/>
              <a:gd name="T58" fmla="*/ 11 w 185"/>
              <a:gd name="T59" fmla="*/ 147 h 196"/>
              <a:gd name="T60" fmla="*/ 11 w 185"/>
              <a:gd name="T61" fmla="*/ 136 h 196"/>
              <a:gd name="T62" fmla="*/ 5 w 185"/>
              <a:gd name="T63" fmla="*/ 126 h 196"/>
              <a:gd name="T64" fmla="*/ 5 w 185"/>
              <a:gd name="T65" fmla="*/ 126 h 196"/>
              <a:gd name="T66" fmla="*/ 11 w 185"/>
              <a:gd name="T67" fmla="*/ 120 h 196"/>
              <a:gd name="T68" fmla="*/ 11 w 185"/>
              <a:gd name="T69" fmla="*/ 109 h 196"/>
              <a:gd name="T70" fmla="*/ 0 w 185"/>
              <a:gd name="T71" fmla="*/ 98 h 196"/>
              <a:gd name="T72" fmla="*/ 0 w 185"/>
              <a:gd name="T73" fmla="*/ 93 h 196"/>
              <a:gd name="T74" fmla="*/ 0 w 185"/>
              <a:gd name="T75" fmla="*/ 10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5" h="196">
                <a:moveTo>
                  <a:pt x="0" y="104"/>
                </a:moveTo>
                <a:lnTo>
                  <a:pt x="0" y="98"/>
                </a:lnTo>
                <a:lnTo>
                  <a:pt x="0" y="93"/>
                </a:lnTo>
                <a:lnTo>
                  <a:pt x="60" y="93"/>
                </a:lnTo>
                <a:lnTo>
                  <a:pt x="60" y="71"/>
                </a:lnTo>
                <a:lnTo>
                  <a:pt x="60" y="66"/>
                </a:lnTo>
                <a:lnTo>
                  <a:pt x="65" y="66"/>
                </a:lnTo>
                <a:lnTo>
                  <a:pt x="65" y="60"/>
                </a:lnTo>
                <a:lnTo>
                  <a:pt x="76" y="60"/>
                </a:lnTo>
                <a:lnTo>
                  <a:pt x="82" y="22"/>
                </a:lnTo>
                <a:lnTo>
                  <a:pt x="131" y="22"/>
                </a:lnTo>
                <a:lnTo>
                  <a:pt x="131" y="0"/>
                </a:lnTo>
                <a:lnTo>
                  <a:pt x="163" y="16"/>
                </a:lnTo>
                <a:lnTo>
                  <a:pt x="185" y="38"/>
                </a:lnTo>
                <a:lnTo>
                  <a:pt x="163" y="38"/>
                </a:lnTo>
                <a:lnTo>
                  <a:pt x="163" y="60"/>
                </a:lnTo>
                <a:lnTo>
                  <a:pt x="163" y="66"/>
                </a:lnTo>
                <a:lnTo>
                  <a:pt x="163" y="82"/>
                </a:lnTo>
                <a:lnTo>
                  <a:pt x="169" y="98"/>
                </a:lnTo>
                <a:lnTo>
                  <a:pt x="174" y="169"/>
                </a:lnTo>
                <a:lnTo>
                  <a:pt x="180" y="175"/>
                </a:lnTo>
                <a:lnTo>
                  <a:pt x="174" y="186"/>
                </a:lnTo>
                <a:lnTo>
                  <a:pt x="169" y="186"/>
                </a:lnTo>
                <a:lnTo>
                  <a:pt x="131" y="186"/>
                </a:lnTo>
                <a:lnTo>
                  <a:pt x="114" y="186"/>
                </a:lnTo>
                <a:lnTo>
                  <a:pt x="109" y="186"/>
                </a:lnTo>
                <a:lnTo>
                  <a:pt x="109" y="191"/>
                </a:lnTo>
                <a:lnTo>
                  <a:pt x="103" y="191"/>
                </a:lnTo>
                <a:lnTo>
                  <a:pt x="98" y="186"/>
                </a:lnTo>
                <a:lnTo>
                  <a:pt x="92" y="186"/>
                </a:lnTo>
                <a:lnTo>
                  <a:pt x="92" y="191"/>
                </a:lnTo>
                <a:lnTo>
                  <a:pt x="87" y="191"/>
                </a:lnTo>
                <a:lnTo>
                  <a:pt x="87" y="186"/>
                </a:lnTo>
                <a:lnTo>
                  <a:pt x="82" y="186"/>
                </a:lnTo>
                <a:lnTo>
                  <a:pt x="76" y="186"/>
                </a:lnTo>
                <a:lnTo>
                  <a:pt x="76" y="191"/>
                </a:lnTo>
                <a:lnTo>
                  <a:pt x="76" y="196"/>
                </a:lnTo>
                <a:lnTo>
                  <a:pt x="71" y="196"/>
                </a:lnTo>
                <a:lnTo>
                  <a:pt x="65" y="196"/>
                </a:lnTo>
                <a:lnTo>
                  <a:pt x="65" y="191"/>
                </a:lnTo>
                <a:lnTo>
                  <a:pt x="60" y="191"/>
                </a:lnTo>
                <a:lnTo>
                  <a:pt x="60" y="186"/>
                </a:lnTo>
                <a:lnTo>
                  <a:pt x="54" y="186"/>
                </a:lnTo>
                <a:lnTo>
                  <a:pt x="54" y="180"/>
                </a:lnTo>
                <a:lnTo>
                  <a:pt x="49" y="175"/>
                </a:lnTo>
                <a:lnTo>
                  <a:pt x="43" y="175"/>
                </a:lnTo>
                <a:lnTo>
                  <a:pt x="38" y="169"/>
                </a:lnTo>
                <a:lnTo>
                  <a:pt x="33" y="169"/>
                </a:lnTo>
                <a:lnTo>
                  <a:pt x="27" y="169"/>
                </a:lnTo>
                <a:lnTo>
                  <a:pt x="22" y="169"/>
                </a:lnTo>
                <a:lnTo>
                  <a:pt x="16" y="169"/>
                </a:lnTo>
                <a:lnTo>
                  <a:pt x="11" y="169"/>
                </a:lnTo>
                <a:lnTo>
                  <a:pt x="5" y="169"/>
                </a:lnTo>
                <a:lnTo>
                  <a:pt x="5" y="175"/>
                </a:lnTo>
                <a:lnTo>
                  <a:pt x="5" y="180"/>
                </a:lnTo>
                <a:lnTo>
                  <a:pt x="5" y="175"/>
                </a:lnTo>
                <a:lnTo>
                  <a:pt x="5" y="169"/>
                </a:lnTo>
                <a:lnTo>
                  <a:pt x="11" y="158"/>
                </a:lnTo>
                <a:lnTo>
                  <a:pt x="11" y="153"/>
                </a:lnTo>
                <a:lnTo>
                  <a:pt x="11" y="147"/>
                </a:lnTo>
                <a:lnTo>
                  <a:pt x="11" y="142"/>
                </a:lnTo>
                <a:lnTo>
                  <a:pt x="11" y="136"/>
                </a:lnTo>
                <a:lnTo>
                  <a:pt x="11" y="131"/>
                </a:lnTo>
                <a:lnTo>
                  <a:pt x="5" y="126"/>
                </a:lnTo>
                <a:lnTo>
                  <a:pt x="11" y="120"/>
                </a:lnTo>
                <a:lnTo>
                  <a:pt x="5" y="126"/>
                </a:lnTo>
                <a:lnTo>
                  <a:pt x="5" y="120"/>
                </a:lnTo>
                <a:lnTo>
                  <a:pt x="11" y="120"/>
                </a:lnTo>
                <a:lnTo>
                  <a:pt x="11" y="115"/>
                </a:lnTo>
                <a:lnTo>
                  <a:pt x="11" y="109"/>
                </a:lnTo>
                <a:lnTo>
                  <a:pt x="5" y="104"/>
                </a:lnTo>
                <a:lnTo>
                  <a:pt x="0" y="98"/>
                </a:lnTo>
                <a:lnTo>
                  <a:pt x="5" y="98"/>
                </a:lnTo>
                <a:lnTo>
                  <a:pt x="0" y="93"/>
                </a:lnTo>
                <a:lnTo>
                  <a:pt x="0" y="98"/>
                </a:lnTo>
                <a:lnTo>
                  <a:pt x="0" y="104"/>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4" name="Freeform 635">
            <a:extLst>
              <a:ext uri="{FF2B5EF4-FFF2-40B4-BE49-F238E27FC236}">
                <a16:creationId xmlns:a16="http://schemas.microsoft.com/office/drawing/2014/main" id="{71ECA352-AB88-0073-DC4E-63D186E1AF98}"/>
              </a:ext>
            </a:extLst>
          </p:cNvPr>
          <p:cNvSpPr>
            <a:spLocks/>
          </p:cNvSpPr>
          <p:nvPr/>
        </p:nvSpPr>
        <p:spPr bwMode="auto">
          <a:xfrm>
            <a:off x="2373313" y="2830513"/>
            <a:ext cx="130175" cy="106363"/>
          </a:xfrm>
          <a:custGeom>
            <a:avLst/>
            <a:gdLst>
              <a:gd name="T0" fmla="*/ 0 w 115"/>
              <a:gd name="T1" fmla="*/ 22 h 87"/>
              <a:gd name="T2" fmla="*/ 11 w 115"/>
              <a:gd name="T3" fmla="*/ 17 h 87"/>
              <a:gd name="T4" fmla="*/ 16 w 115"/>
              <a:gd name="T5" fmla="*/ 11 h 87"/>
              <a:gd name="T6" fmla="*/ 16 w 115"/>
              <a:gd name="T7" fmla="*/ 0 h 87"/>
              <a:gd name="T8" fmla="*/ 27 w 115"/>
              <a:gd name="T9" fmla="*/ 6 h 87"/>
              <a:gd name="T10" fmla="*/ 38 w 115"/>
              <a:gd name="T11" fmla="*/ 6 h 87"/>
              <a:gd name="T12" fmla="*/ 49 w 115"/>
              <a:gd name="T13" fmla="*/ 6 h 87"/>
              <a:gd name="T14" fmla="*/ 55 w 115"/>
              <a:gd name="T15" fmla="*/ 11 h 87"/>
              <a:gd name="T16" fmla="*/ 65 w 115"/>
              <a:gd name="T17" fmla="*/ 17 h 87"/>
              <a:gd name="T18" fmla="*/ 76 w 115"/>
              <a:gd name="T19" fmla="*/ 11 h 87"/>
              <a:gd name="T20" fmla="*/ 87 w 115"/>
              <a:gd name="T21" fmla="*/ 11 h 87"/>
              <a:gd name="T22" fmla="*/ 93 w 115"/>
              <a:gd name="T23" fmla="*/ 6 h 87"/>
              <a:gd name="T24" fmla="*/ 98 w 115"/>
              <a:gd name="T25" fmla="*/ 11 h 87"/>
              <a:gd name="T26" fmla="*/ 93 w 115"/>
              <a:gd name="T27" fmla="*/ 17 h 87"/>
              <a:gd name="T28" fmla="*/ 98 w 115"/>
              <a:gd name="T29" fmla="*/ 22 h 87"/>
              <a:gd name="T30" fmla="*/ 98 w 115"/>
              <a:gd name="T31" fmla="*/ 27 h 87"/>
              <a:gd name="T32" fmla="*/ 104 w 115"/>
              <a:gd name="T33" fmla="*/ 33 h 87"/>
              <a:gd name="T34" fmla="*/ 109 w 115"/>
              <a:gd name="T35" fmla="*/ 38 h 87"/>
              <a:gd name="T36" fmla="*/ 104 w 115"/>
              <a:gd name="T37" fmla="*/ 44 h 87"/>
              <a:gd name="T38" fmla="*/ 104 w 115"/>
              <a:gd name="T39" fmla="*/ 55 h 87"/>
              <a:gd name="T40" fmla="*/ 109 w 115"/>
              <a:gd name="T41" fmla="*/ 60 h 87"/>
              <a:gd name="T42" fmla="*/ 115 w 115"/>
              <a:gd name="T43" fmla="*/ 71 h 87"/>
              <a:gd name="T44" fmla="*/ 104 w 115"/>
              <a:gd name="T45" fmla="*/ 71 h 87"/>
              <a:gd name="T46" fmla="*/ 109 w 115"/>
              <a:gd name="T47" fmla="*/ 77 h 87"/>
              <a:gd name="T48" fmla="*/ 98 w 115"/>
              <a:gd name="T49" fmla="*/ 82 h 87"/>
              <a:gd name="T50" fmla="*/ 87 w 115"/>
              <a:gd name="T51" fmla="*/ 87 h 87"/>
              <a:gd name="T52" fmla="*/ 87 w 115"/>
              <a:gd name="T53" fmla="*/ 82 h 87"/>
              <a:gd name="T54" fmla="*/ 82 w 115"/>
              <a:gd name="T55" fmla="*/ 71 h 87"/>
              <a:gd name="T56" fmla="*/ 76 w 115"/>
              <a:gd name="T57" fmla="*/ 71 h 87"/>
              <a:gd name="T58" fmla="*/ 65 w 115"/>
              <a:gd name="T59" fmla="*/ 71 h 87"/>
              <a:gd name="T60" fmla="*/ 71 w 115"/>
              <a:gd name="T61" fmla="*/ 66 h 87"/>
              <a:gd name="T62" fmla="*/ 65 w 115"/>
              <a:gd name="T63" fmla="*/ 60 h 87"/>
              <a:gd name="T64" fmla="*/ 60 w 115"/>
              <a:gd name="T65" fmla="*/ 49 h 87"/>
              <a:gd name="T66" fmla="*/ 49 w 115"/>
              <a:gd name="T67" fmla="*/ 44 h 87"/>
              <a:gd name="T68" fmla="*/ 38 w 115"/>
              <a:gd name="T69" fmla="*/ 49 h 87"/>
              <a:gd name="T70" fmla="*/ 27 w 115"/>
              <a:gd name="T71" fmla="*/ 55 h 87"/>
              <a:gd name="T72" fmla="*/ 22 w 115"/>
              <a:gd name="T73" fmla="*/ 60 h 87"/>
              <a:gd name="T74" fmla="*/ 22 w 115"/>
              <a:gd name="T75" fmla="*/ 49 h 87"/>
              <a:gd name="T76" fmla="*/ 16 w 115"/>
              <a:gd name="T77" fmla="*/ 49 h 87"/>
              <a:gd name="T78" fmla="*/ 11 w 115"/>
              <a:gd name="T79" fmla="*/ 44 h 87"/>
              <a:gd name="T80" fmla="*/ 6 w 115"/>
              <a:gd name="T81" fmla="*/ 38 h 87"/>
              <a:gd name="T82" fmla="*/ 0 w 115"/>
              <a:gd name="T83" fmla="*/ 3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5" h="87">
                <a:moveTo>
                  <a:pt x="0" y="27"/>
                </a:moveTo>
                <a:lnTo>
                  <a:pt x="0" y="22"/>
                </a:lnTo>
                <a:lnTo>
                  <a:pt x="6" y="22"/>
                </a:lnTo>
                <a:lnTo>
                  <a:pt x="11" y="17"/>
                </a:lnTo>
                <a:lnTo>
                  <a:pt x="16" y="17"/>
                </a:lnTo>
                <a:lnTo>
                  <a:pt x="16" y="11"/>
                </a:lnTo>
                <a:lnTo>
                  <a:pt x="22" y="6"/>
                </a:lnTo>
                <a:lnTo>
                  <a:pt x="16" y="0"/>
                </a:lnTo>
                <a:lnTo>
                  <a:pt x="22" y="0"/>
                </a:lnTo>
                <a:lnTo>
                  <a:pt x="27" y="6"/>
                </a:lnTo>
                <a:lnTo>
                  <a:pt x="33" y="6"/>
                </a:lnTo>
                <a:lnTo>
                  <a:pt x="38" y="6"/>
                </a:lnTo>
                <a:lnTo>
                  <a:pt x="44" y="6"/>
                </a:lnTo>
                <a:lnTo>
                  <a:pt x="49" y="6"/>
                </a:lnTo>
                <a:lnTo>
                  <a:pt x="55" y="6"/>
                </a:lnTo>
                <a:lnTo>
                  <a:pt x="55" y="11"/>
                </a:lnTo>
                <a:lnTo>
                  <a:pt x="60" y="11"/>
                </a:lnTo>
                <a:lnTo>
                  <a:pt x="65" y="17"/>
                </a:lnTo>
                <a:lnTo>
                  <a:pt x="71" y="11"/>
                </a:lnTo>
                <a:lnTo>
                  <a:pt x="76" y="11"/>
                </a:lnTo>
                <a:lnTo>
                  <a:pt x="82" y="11"/>
                </a:lnTo>
                <a:lnTo>
                  <a:pt x="87" y="11"/>
                </a:lnTo>
                <a:lnTo>
                  <a:pt x="87" y="6"/>
                </a:lnTo>
                <a:lnTo>
                  <a:pt x="93" y="6"/>
                </a:lnTo>
                <a:lnTo>
                  <a:pt x="93" y="11"/>
                </a:lnTo>
                <a:lnTo>
                  <a:pt x="98" y="11"/>
                </a:lnTo>
                <a:lnTo>
                  <a:pt x="98" y="17"/>
                </a:lnTo>
                <a:lnTo>
                  <a:pt x="93" y="17"/>
                </a:lnTo>
                <a:lnTo>
                  <a:pt x="98" y="17"/>
                </a:lnTo>
                <a:lnTo>
                  <a:pt x="98" y="22"/>
                </a:lnTo>
                <a:lnTo>
                  <a:pt x="104" y="22"/>
                </a:lnTo>
                <a:lnTo>
                  <a:pt x="98" y="27"/>
                </a:lnTo>
                <a:lnTo>
                  <a:pt x="104" y="27"/>
                </a:lnTo>
                <a:lnTo>
                  <a:pt x="104" y="33"/>
                </a:lnTo>
                <a:lnTo>
                  <a:pt x="104" y="38"/>
                </a:lnTo>
                <a:lnTo>
                  <a:pt x="109" y="38"/>
                </a:lnTo>
                <a:lnTo>
                  <a:pt x="109" y="44"/>
                </a:lnTo>
                <a:lnTo>
                  <a:pt x="104" y="44"/>
                </a:lnTo>
                <a:lnTo>
                  <a:pt x="104" y="49"/>
                </a:lnTo>
                <a:lnTo>
                  <a:pt x="104" y="55"/>
                </a:lnTo>
                <a:lnTo>
                  <a:pt x="109" y="55"/>
                </a:lnTo>
                <a:lnTo>
                  <a:pt x="109" y="60"/>
                </a:lnTo>
                <a:lnTo>
                  <a:pt x="109" y="66"/>
                </a:lnTo>
                <a:lnTo>
                  <a:pt x="115" y="71"/>
                </a:lnTo>
                <a:lnTo>
                  <a:pt x="109" y="71"/>
                </a:lnTo>
                <a:lnTo>
                  <a:pt x="104" y="71"/>
                </a:lnTo>
                <a:lnTo>
                  <a:pt x="109" y="71"/>
                </a:lnTo>
                <a:lnTo>
                  <a:pt x="109" y="77"/>
                </a:lnTo>
                <a:lnTo>
                  <a:pt x="104" y="82"/>
                </a:lnTo>
                <a:lnTo>
                  <a:pt x="98" y="82"/>
                </a:lnTo>
                <a:lnTo>
                  <a:pt x="93" y="87"/>
                </a:lnTo>
                <a:lnTo>
                  <a:pt x="87" y="87"/>
                </a:lnTo>
                <a:lnTo>
                  <a:pt x="82" y="87"/>
                </a:lnTo>
                <a:lnTo>
                  <a:pt x="87" y="82"/>
                </a:lnTo>
                <a:lnTo>
                  <a:pt x="82" y="77"/>
                </a:lnTo>
                <a:lnTo>
                  <a:pt x="82" y="71"/>
                </a:lnTo>
                <a:lnTo>
                  <a:pt x="82" y="66"/>
                </a:lnTo>
                <a:lnTo>
                  <a:pt x="76" y="71"/>
                </a:lnTo>
                <a:lnTo>
                  <a:pt x="71" y="71"/>
                </a:lnTo>
                <a:lnTo>
                  <a:pt x="65" y="71"/>
                </a:lnTo>
                <a:lnTo>
                  <a:pt x="65" y="66"/>
                </a:lnTo>
                <a:lnTo>
                  <a:pt x="71" y="66"/>
                </a:lnTo>
                <a:lnTo>
                  <a:pt x="65" y="66"/>
                </a:lnTo>
                <a:lnTo>
                  <a:pt x="65" y="60"/>
                </a:lnTo>
                <a:lnTo>
                  <a:pt x="65" y="55"/>
                </a:lnTo>
                <a:lnTo>
                  <a:pt x="60" y="49"/>
                </a:lnTo>
                <a:lnTo>
                  <a:pt x="55" y="44"/>
                </a:lnTo>
                <a:lnTo>
                  <a:pt x="49" y="44"/>
                </a:lnTo>
                <a:lnTo>
                  <a:pt x="44" y="49"/>
                </a:lnTo>
                <a:lnTo>
                  <a:pt x="38" y="49"/>
                </a:lnTo>
                <a:lnTo>
                  <a:pt x="33" y="55"/>
                </a:lnTo>
                <a:lnTo>
                  <a:pt x="27" y="55"/>
                </a:lnTo>
                <a:lnTo>
                  <a:pt x="27" y="60"/>
                </a:lnTo>
                <a:lnTo>
                  <a:pt x="22" y="60"/>
                </a:lnTo>
                <a:lnTo>
                  <a:pt x="22" y="55"/>
                </a:lnTo>
                <a:lnTo>
                  <a:pt x="22" y="49"/>
                </a:lnTo>
                <a:lnTo>
                  <a:pt x="16" y="55"/>
                </a:lnTo>
                <a:lnTo>
                  <a:pt x="16" y="49"/>
                </a:lnTo>
                <a:lnTo>
                  <a:pt x="16" y="44"/>
                </a:lnTo>
                <a:lnTo>
                  <a:pt x="11" y="44"/>
                </a:lnTo>
                <a:lnTo>
                  <a:pt x="6" y="44"/>
                </a:lnTo>
                <a:lnTo>
                  <a:pt x="6" y="38"/>
                </a:lnTo>
                <a:lnTo>
                  <a:pt x="6" y="33"/>
                </a:lnTo>
                <a:lnTo>
                  <a:pt x="0" y="33"/>
                </a:lnTo>
                <a:lnTo>
                  <a:pt x="0" y="27"/>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5" name="Freeform 636">
            <a:extLst>
              <a:ext uri="{FF2B5EF4-FFF2-40B4-BE49-F238E27FC236}">
                <a16:creationId xmlns:a16="http://schemas.microsoft.com/office/drawing/2014/main" id="{36DC91DE-4F74-F450-490F-C62D6E5857D4}"/>
              </a:ext>
            </a:extLst>
          </p:cNvPr>
          <p:cNvSpPr>
            <a:spLocks/>
          </p:cNvSpPr>
          <p:nvPr/>
        </p:nvSpPr>
        <p:spPr bwMode="auto">
          <a:xfrm>
            <a:off x="2398713" y="2884488"/>
            <a:ext cx="55563" cy="60325"/>
          </a:xfrm>
          <a:custGeom>
            <a:avLst/>
            <a:gdLst>
              <a:gd name="T0" fmla="*/ 0 w 49"/>
              <a:gd name="T1" fmla="*/ 16 h 49"/>
              <a:gd name="T2" fmla="*/ 5 w 49"/>
              <a:gd name="T3" fmla="*/ 16 h 49"/>
              <a:gd name="T4" fmla="*/ 5 w 49"/>
              <a:gd name="T5" fmla="*/ 11 h 49"/>
              <a:gd name="T6" fmla="*/ 11 w 49"/>
              <a:gd name="T7" fmla="*/ 11 h 49"/>
              <a:gd name="T8" fmla="*/ 16 w 49"/>
              <a:gd name="T9" fmla="*/ 5 h 49"/>
              <a:gd name="T10" fmla="*/ 22 w 49"/>
              <a:gd name="T11" fmla="*/ 5 h 49"/>
              <a:gd name="T12" fmla="*/ 27 w 49"/>
              <a:gd name="T13" fmla="*/ 0 h 49"/>
              <a:gd name="T14" fmla="*/ 33 w 49"/>
              <a:gd name="T15" fmla="*/ 0 h 49"/>
              <a:gd name="T16" fmla="*/ 38 w 49"/>
              <a:gd name="T17" fmla="*/ 5 h 49"/>
              <a:gd name="T18" fmla="*/ 43 w 49"/>
              <a:gd name="T19" fmla="*/ 11 h 49"/>
              <a:gd name="T20" fmla="*/ 43 w 49"/>
              <a:gd name="T21" fmla="*/ 16 h 49"/>
              <a:gd name="T22" fmla="*/ 43 w 49"/>
              <a:gd name="T23" fmla="*/ 22 h 49"/>
              <a:gd name="T24" fmla="*/ 49 w 49"/>
              <a:gd name="T25" fmla="*/ 22 h 49"/>
              <a:gd name="T26" fmla="*/ 43 w 49"/>
              <a:gd name="T27" fmla="*/ 22 h 49"/>
              <a:gd name="T28" fmla="*/ 43 w 49"/>
              <a:gd name="T29" fmla="*/ 27 h 49"/>
              <a:gd name="T30" fmla="*/ 49 w 49"/>
              <a:gd name="T31" fmla="*/ 27 h 49"/>
              <a:gd name="T32" fmla="*/ 43 w 49"/>
              <a:gd name="T33" fmla="*/ 33 h 49"/>
              <a:gd name="T34" fmla="*/ 43 w 49"/>
              <a:gd name="T35" fmla="*/ 38 h 49"/>
              <a:gd name="T36" fmla="*/ 38 w 49"/>
              <a:gd name="T37" fmla="*/ 38 h 49"/>
              <a:gd name="T38" fmla="*/ 38 w 49"/>
              <a:gd name="T39" fmla="*/ 43 h 49"/>
              <a:gd name="T40" fmla="*/ 33 w 49"/>
              <a:gd name="T41" fmla="*/ 43 h 49"/>
              <a:gd name="T42" fmla="*/ 33 w 49"/>
              <a:gd name="T43" fmla="*/ 49 h 49"/>
              <a:gd name="T44" fmla="*/ 27 w 49"/>
              <a:gd name="T45" fmla="*/ 49 h 49"/>
              <a:gd name="T46" fmla="*/ 16 w 49"/>
              <a:gd name="T47" fmla="*/ 43 h 49"/>
              <a:gd name="T48" fmla="*/ 16 w 49"/>
              <a:gd name="T49" fmla="*/ 38 h 49"/>
              <a:gd name="T50" fmla="*/ 11 w 49"/>
              <a:gd name="T51" fmla="*/ 38 h 49"/>
              <a:gd name="T52" fmla="*/ 5 w 49"/>
              <a:gd name="T53" fmla="*/ 33 h 49"/>
              <a:gd name="T54" fmla="*/ 5 w 49"/>
              <a:gd name="T55" fmla="*/ 27 h 49"/>
              <a:gd name="T56" fmla="*/ 0 w 49"/>
              <a:gd name="T57" fmla="*/ 27 h 49"/>
              <a:gd name="T58" fmla="*/ 5 w 49"/>
              <a:gd name="T59" fmla="*/ 22 h 49"/>
              <a:gd name="T60" fmla="*/ 0 w 49"/>
              <a:gd name="T61" fmla="*/ 1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9" h="49">
                <a:moveTo>
                  <a:pt x="0" y="16"/>
                </a:moveTo>
                <a:lnTo>
                  <a:pt x="5" y="16"/>
                </a:lnTo>
                <a:lnTo>
                  <a:pt x="5" y="11"/>
                </a:lnTo>
                <a:lnTo>
                  <a:pt x="11" y="11"/>
                </a:lnTo>
                <a:lnTo>
                  <a:pt x="16" y="5"/>
                </a:lnTo>
                <a:lnTo>
                  <a:pt x="22" y="5"/>
                </a:lnTo>
                <a:lnTo>
                  <a:pt x="27" y="0"/>
                </a:lnTo>
                <a:lnTo>
                  <a:pt x="33" y="0"/>
                </a:lnTo>
                <a:lnTo>
                  <a:pt x="38" y="5"/>
                </a:lnTo>
                <a:lnTo>
                  <a:pt x="43" y="11"/>
                </a:lnTo>
                <a:lnTo>
                  <a:pt x="43" y="16"/>
                </a:lnTo>
                <a:lnTo>
                  <a:pt x="43" y="22"/>
                </a:lnTo>
                <a:lnTo>
                  <a:pt x="49" y="22"/>
                </a:lnTo>
                <a:lnTo>
                  <a:pt x="43" y="22"/>
                </a:lnTo>
                <a:lnTo>
                  <a:pt x="43" y="27"/>
                </a:lnTo>
                <a:lnTo>
                  <a:pt x="49" y="27"/>
                </a:lnTo>
                <a:lnTo>
                  <a:pt x="43" y="33"/>
                </a:lnTo>
                <a:lnTo>
                  <a:pt x="43" y="38"/>
                </a:lnTo>
                <a:lnTo>
                  <a:pt x="38" y="38"/>
                </a:lnTo>
                <a:lnTo>
                  <a:pt x="38" y="43"/>
                </a:lnTo>
                <a:lnTo>
                  <a:pt x="33" y="43"/>
                </a:lnTo>
                <a:lnTo>
                  <a:pt x="33" y="49"/>
                </a:lnTo>
                <a:lnTo>
                  <a:pt x="27" y="49"/>
                </a:lnTo>
                <a:lnTo>
                  <a:pt x="16" y="43"/>
                </a:lnTo>
                <a:lnTo>
                  <a:pt x="16" y="38"/>
                </a:lnTo>
                <a:lnTo>
                  <a:pt x="11" y="38"/>
                </a:lnTo>
                <a:lnTo>
                  <a:pt x="5" y="33"/>
                </a:lnTo>
                <a:lnTo>
                  <a:pt x="5" y="27"/>
                </a:lnTo>
                <a:lnTo>
                  <a:pt x="0" y="27"/>
                </a:lnTo>
                <a:lnTo>
                  <a:pt x="5" y="22"/>
                </a:lnTo>
                <a:lnTo>
                  <a:pt x="0" y="16"/>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6" name="Freeform 845">
            <a:extLst>
              <a:ext uri="{FF2B5EF4-FFF2-40B4-BE49-F238E27FC236}">
                <a16:creationId xmlns:a16="http://schemas.microsoft.com/office/drawing/2014/main" id="{E85ECDE1-03D2-65F2-C36C-DB3B638CBD47}"/>
              </a:ext>
            </a:extLst>
          </p:cNvPr>
          <p:cNvSpPr>
            <a:spLocks/>
          </p:cNvSpPr>
          <p:nvPr/>
        </p:nvSpPr>
        <p:spPr bwMode="auto">
          <a:xfrm>
            <a:off x="2838450" y="3190875"/>
            <a:ext cx="222250" cy="239713"/>
          </a:xfrm>
          <a:custGeom>
            <a:avLst/>
            <a:gdLst>
              <a:gd name="T0" fmla="*/ 0 w 197"/>
              <a:gd name="T1" fmla="*/ 174 h 196"/>
              <a:gd name="T2" fmla="*/ 6 w 197"/>
              <a:gd name="T3" fmla="*/ 163 h 196"/>
              <a:gd name="T4" fmla="*/ 6 w 197"/>
              <a:gd name="T5" fmla="*/ 158 h 196"/>
              <a:gd name="T6" fmla="*/ 11 w 197"/>
              <a:gd name="T7" fmla="*/ 147 h 196"/>
              <a:gd name="T8" fmla="*/ 11 w 197"/>
              <a:gd name="T9" fmla="*/ 136 h 196"/>
              <a:gd name="T10" fmla="*/ 17 w 197"/>
              <a:gd name="T11" fmla="*/ 131 h 196"/>
              <a:gd name="T12" fmla="*/ 17 w 197"/>
              <a:gd name="T13" fmla="*/ 120 h 196"/>
              <a:gd name="T14" fmla="*/ 22 w 197"/>
              <a:gd name="T15" fmla="*/ 114 h 196"/>
              <a:gd name="T16" fmla="*/ 33 w 197"/>
              <a:gd name="T17" fmla="*/ 109 h 196"/>
              <a:gd name="T18" fmla="*/ 39 w 197"/>
              <a:gd name="T19" fmla="*/ 98 h 196"/>
              <a:gd name="T20" fmla="*/ 39 w 197"/>
              <a:gd name="T21" fmla="*/ 87 h 196"/>
              <a:gd name="T22" fmla="*/ 39 w 197"/>
              <a:gd name="T23" fmla="*/ 76 h 196"/>
              <a:gd name="T24" fmla="*/ 33 w 197"/>
              <a:gd name="T25" fmla="*/ 71 h 196"/>
              <a:gd name="T26" fmla="*/ 28 w 197"/>
              <a:gd name="T27" fmla="*/ 60 h 196"/>
              <a:gd name="T28" fmla="*/ 22 w 197"/>
              <a:gd name="T29" fmla="*/ 54 h 196"/>
              <a:gd name="T30" fmla="*/ 33 w 197"/>
              <a:gd name="T31" fmla="*/ 49 h 196"/>
              <a:gd name="T32" fmla="*/ 28 w 197"/>
              <a:gd name="T33" fmla="*/ 32 h 196"/>
              <a:gd name="T34" fmla="*/ 22 w 197"/>
              <a:gd name="T35" fmla="*/ 22 h 196"/>
              <a:gd name="T36" fmla="*/ 17 w 197"/>
              <a:gd name="T37" fmla="*/ 11 h 196"/>
              <a:gd name="T38" fmla="*/ 17 w 197"/>
              <a:gd name="T39" fmla="*/ 5 h 196"/>
              <a:gd name="T40" fmla="*/ 28 w 197"/>
              <a:gd name="T41" fmla="*/ 5 h 196"/>
              <a:gd name="T42" fmla="*/ 33 w 197"/>
              <a:gd name="T43" fmla="*/ 0 h 196"/>
              <a:gd name="T44" fmla="*/ 44 w 197"/>
              <a:gd name="T45" fmla="*/ 0 h 196"/>
              <a:gd name="T46" fmla="*/ 55 w 197"/>
              <a:gd name="T47" fmla="*/ 0 h 196"/>
              <a:gd name="T48" fmla="*/ 82 w 197"/>
              <a:gd name="T49" fmla="*/ 5 h 196"/>
              <a:gd name="T50" fmla="*/ 88 w 197"/>
              <a:gd name="T51" fmla="*/ 16 h 196"/>
              <a:gd name="T52" fmla="*/ 93 w 197"/>
              <a:gd name="T53" fmla="*/ 27 h 196"/>
              <a:gd name="T54" fmla="*/ 99 w 197"/>
              <a:gd name="T55" fmla="*/ 38 h 196"/>
              <a:gd name="T56" fmla="*/ 109 w 197"/>
              <a:gd name="T57" fmla="*/ 38 h 196"/>
              <a:gd name="T58" fmla="*/ 115 w 197"/>
              <a:gd name="T59" fmla="*/ 32 h 196"/>
              <a:gd name="T60" fmla="*/ 126 w 197"/>
              <a:gd name="T61" fmla="*/ 38 h 196"/>
              <a:gd name="T62" fmla="*/ 126 w 197"/>
              <a:gd name="T63" fmla="*/ 27 h 196"/>
              <a:gd name="T64" fmla="*/ 126 w 197"/>
              <a:gd name="T65" fmla="*/ 27 h 196"/>
              <a:gd name="T66" fmla="*/ 142 w 197"/>
              <a:gd name="T67" fmla="*/ 22 h 196"/>
              <a:gd name="T68" fmla="*/ 142 w 197"/>
              <a:gd name="T69" fmla="*/ 22 h 196"/>
              <a:gd name="T70" fmla="*/ 164 w 197"/>
              <a:gd name="T71" fmla="*/ 27 h 196"/>
              <a:gd name="T72" fmla="*/ 164 w 197"/>
              <a:gd name="T73" fmla="*/ 38 h 196"/>
              <a:gd name="T74" fmla="*/ 164 w 197"/>
              <a:gd name="T75" fmla="*/ 49 h 196"/>
              <a:gd name="T76" fmla="*/ 164 w 197"/>
              <a:gd name="T77" fmla="*/ 60 h 196"/>
              <a:gd name="T78" fmla="*/ 169 w 197"/>
              <a:gd name="T79" fmla="*/ 71 h 196"/>
              <a:gd name="T80" fmla="*/ 169 w 197"/>
              <a:gd name="T81" fmla="*/ 82 h 196"/>
              <a:gd name="T82" fmla="*/ 175 w 197"/>
              <a:gd name="T83" fmla="*/ 82 h 196"/>
              <a:gd name="T84" fmla="*/ 186 w 197"/>
              <a:gd name="T85" fmla="*/ 87 h 196"/>
              <a:gd name="T86" fmla="*/ 191 w 197"/>
              <a:gd name="T87" fmla="*/ 82 h 196"/>
              <a:gd name="T88" fmla="*/ 197 w 197"/>
              <a:gd name="T89" fmla="*/ 87 h 196"/>
              <a:gd name="T90" fmla="*/ 197 w 197"/>
              <a:gd name="T91" fmla="*/ 98 h 196"/>
              <a:gd name="T92" fmla="*/ 197 w 197"/>
              <a:gd name="T93" fmla="*/ 109 h 196"/>
              <a:gd name="T94" fmla="*/ 164 w 197"/>
              <a:gd name="T95" fmla="*/ 114 h 196"/>
              <a:gd name="T96" fmla="*/ 164 w 197"/>
              <a:gd name="T97" fmla="*/ 169 h 196"/>
              <a:gd name="T98" fmla="*/ 175 w 197"/>
              <a:gd name="T99" fmla="*/ 180 h 196"/>
              <a:gd name="T100" fmla="*/ 180 w 197"/>
              <a:gd name="T101" fmla="*/ 185 h 196"/>
              <a:gd name="T102" fmla="*/ 153 w 197"/>
              <a:gd name="T103" fmla="*/ 196 h 196"/>
              <a:gd name="T104" fmla="*/ 142 w 197"/>
              <a:gd name="T105" fmla="*/ 196 h 196"/>
              <a:gd name="T106" fmla="*/ 137 w 197"/>
              <a:gd name="T107" fmla="*/ 191 h 196"/>
              <a:gd name="T108" fmla="*/ 126 w 197"/>
              <a:gd name="T109" fmla="*/ 191 h 196"/>
              <a:gd name="T110" fmla="*/ 115 w 197"/>
              <a:gd name="T111" fmla="*/ 191 h 196"/>
              <a:gd name="T112" fmla="*/ 104 w 197"/>
              <a:gd name="T113" fmla="*/ 185 h 196"/>
              <a:gd name="T114" fmla="*/ 33 w 197"/>
              <a:gd name="T115" fmla="*/ 185 h 196"/>
              <a:gd name="T116" fmla="*/ 22 w 197"/>
              <a:gd name="T117" fmla="*/ 180 h 196"/>
              <a:gd name="T118" fmla="*/ 11 w 197"/>
              <a:gd name="T119" fmla="*/ 185 h 196"/>
              <a:gd name="T120" fmla="*/ 6 w 197"/>
              <a:gd name="T121" fmla="*/ 18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7" h="196">
                <a:moveTo>
                  <a:pt x="0" y="185"/>
                </a:moveTo>
                <a:lnTo>
                  <a:pt x="0" y="174"/>
                </a:lnTo>
                <a:lnTo>
                  <a:pt x="6" y="169"/>
                </a:lnTo>
                <a:lnTo>
                  <a:pt x="6" y="163"/>
                </a:lnTo>
                <a:lnTo>
                  <a:pt x="0" y="163"/>
                </a:lnTo>
                <a:lnTo>
                  <a:pt x="6" y="158"/>
                </a:lnTo>
                <a:lnTo>
                  <a:pt x="6" y="152"/>
                </a:lnTo>
                <a:lnTo>
                  <a:pt x="11" y="147"/>
                </a:lnTo>
                <a:lnTo>
                  <a:pt x="11" y="142"/>
                </a:lnTo>
                <a:lnTo>
                  <a:pt x="11" y="136"/>
                </a:lnTo>
                <a:lnTo>
                  <a:pt x="11" y="131"/>
                </a:lnTo>
                <a:lnTo>
                  <a:pt x="17" y="131"/>
                </a:lnTo>
                <a:lnTo>
                  <a:pt x="17" y="125"/>
                </a:lnTo>
                <a:lnTo>
                  <a:pt x="17" y="120"/>
                </a:lnTo>
                <a:lnTo>
                  <a:pt x="22" y="120"/>
                </a:lnTo>
                <a:lnTo>
                  <a:pt x="22" y="114"/>
                </a:lnTo>
                <a:lnTo>
                  <a:pt x="28" y="109"/>
                </a:lnTo>
                <a:lnTo>
                  <a:pt x="33" y="109"/>
                </a:lnTo>
                <a:lnTo>
                  <a:pt x="33" y="103"/>
                </a:lnTo>
                <a:lnTo>
                  <a:pt x="39" y="98"/>
                </a:lnTo>
                <a:lnTo>
                  <a:pt x="39" y="92"/>
                </a:lnTo>
                <a:lnTo>
                  <a:pt x="39" y="87"/>
                </a:lnTo>
                <a:lnTo>
                  <a:pt x="39" y="82"/>
                </a:lnTo>
                <a:lnTo>
                  <a:pt x="39" y="76"/>
                </a:lnTo>
                <a:lnTo>
                  <a:pt x="33" y="76"/>
                </a:lnTo>
                <a:lnTo>
                  <a:pt x="33" y="71"/>
                </a:lnTo>
                <a:lnTo>
                  <a:pt x="28" y="65"/>
                </a:lnTo>
                <a:lnTo>
                  <a:pt x="28" y="60"/>
                </a:lnTo>
                <a:lnTo>
                  <a:pt x="28" y="54"/>
                </a:lnTo>
                <a:lnTo>
                  <a:pt x="22" y="54"/>
                </a:lnTo>
                <a:lnTo>
                  <a:pt x="28" y="49"/>
                </a:lnTo>
                <a:lnTo>
                  <a:pt x="33" y="49"/>
                </a:lnTo>
                <a:lnTo>
                  <a:pt x="33" y="43"/>
                </a:lnTo>
                <a:lnTo>
                  <a:pt x="28" y="32"/>
                </a:lnTo>
                <a:lnTo>
                  <a:pt x="22" y="27"/>
                </a:lnTo>
                <a:lnTo>
                  <a:pt x="22" y="22"/>
                </a:lnTo>
                <a:lnTo>
                  <a:pt x="17" y="16"/>
                </a:lnTo>
                <a:lnTo>
                  <a:pt x="17" y="11"/>
                </a:lnTo>
                <a:lnTo>
                  <a:pt x="11" y="5"/>
                </a:lnTo>
                <a:lnTo>
                  <a:pt x="17" y="5"/>
                </a:lnTo>
                <a:lnTo>
                  <a:pt x="22" y="5"/>
                </a:lnTo>
                <a:lnTo>
                  <a:pt x="28" y="5"/>
                </a:lnTo>
                <a:lnTo>
                  <a:pt x="28" y="0"/>
                </a:lnTo>
                <a:lnTo>
                  <a:pt x="33" y="0"/>
                </a:lnTo>
                <a:lnTo>
                  <a:pt x="39" y="0"/>
                </a:lnTo>
                <a:lnTo>
                  <a:pt x="44" y="0"/>
                </a:lnTo>
                <a:lnTo>
                  <a:pt x="49" y="5"/>
                </a:lnTo>
                <a:lnTo>
                  <a:pt x="55" y="0"/>
                </a:lnTo>
                <a:lnTo>
                  <a:pt x="77" y="0"/>
                </a:lnTo>
                <a:lnTo>
                  <a:pt x="82" y="5"/>
                </a:lnTo>
                <a:lnTo>
                  <a:pt x="82" y="11"/>
                </a:lnTo>
                <a:lnTo>
                  <a:pt x="88" y="16"/>
                </a:lnTo>
                <a:lnTo>
                  <a:pt x="88" y="22"/>
                </a:lnTo>
                <a:lnTo>
                  <a:pt x="93" y="27"/>
                </a:lnTo>
                <a:lnTo>
                  <a:pt x="93" y="32"/>
                </a:lnTo>
                <a:lnTo>
                  <a:pt x="99" y="38"/>
                </a:lnTo>
                <a:lnTo>
                  <a:pt x="104" y="38"/>
                </a:lnTo>
                <a:lnTo>
                  <a:pt x="109" y="38"/>
                </a:lnTo>
                <a:lnTo>
                  <a:pt x="115" y="38"/>
                </a:lnTo>
                <a:lnTo>
                  <a:pt x="115" y="32"/>
                </a:lnTo>
                <a:lnTo>
                  <a:pt x="115" y="38"/>
                </a:lnTo>
                <a:lnTo>
                  <a:pt x="126" y="38"/>
                </a:lnTo>
                <a:lnTo>
                  <a:pt x="126" y="32"/>
                </a:lnTo>
                <a:lnTo>
                  <a:pt x="126" y="27"/>
                </a:lnTo>
                <a:lnTo>
                  <a:pt x="131" y="27"/>
                </a:lnTo>
                <a:lnTo>
                  <a:pt x="126" y="27"/>
                </a:lnTo>
                <a:lnTo>
                  <a:pt x="131" y="22"/>
                </a:lnTo>
                <a:lnTo>
                  <a:pt x="142" y="22"/>
                </a:lnTo>
                <a:lnTo>
                  <a:pt x="148" y="16"/>
                </a:lnTo>
                <a:lnTo>
                  <a:pt x="142" y="22"/>
                </a:lnTo>
                <a:lnTo>
                  <a:pt x="142" y="27"/>
                </a:lnTo>
                <a:lnTo>
                  <a:pt x="164" y="27"/>
                </a:lnTo>
                <a:lnTo>
                  <a:pt x="164" y="32"/>
                </a:lnTo>
                <a:lnTo>
                  <a:pt x="164" y="38"/>
                </a:lnTo>
                <a:lnTo>
                  <a:pt x="164" y="43"/>
                </a:lnTo>
                <a:lnTo>
                  <a:pt x="164" y="49"/>
                </a:lnTo>
                <a:lnTo>
                  <a:pt x="164" y="54"/>
                </a:lnTo>
                <a:lnTo>
                  <a:pt x="164" y="60"/>
                </a:lnTo>
                <a:lnTo>
                  <a:pt x="169" y="65"/>
                </a:lnTo>
                <a:lnTo>
                  <a:pt x="169" y="71"/>
                </a:lnTo>
                <a:lnTo>
                  <a:pt x="169" y="76"/>
                </a:lnTo>
                <a:lnTo>
                  <a:pt x="169" y="82"/>
                </a:lnTo>
                <a:lnTo>
                  <a:pt x="169" y="87"/>
                </a:lnTo>
                <a:lnTo>
                  <a:pt x="175" y="82"/>
                </a:lnTo>
                <a:lnTo>
                  <a:pt x="180" y="87"/>
                </a:lnTo>
                <a:lnTo>
                  <a:pt x="186" y="87"/>
                </a:lnTo>
                <a:lnTo>
                  <a:pt x="186" y="82"/>
                </a:lnTo>
                <a:lnTo>
                  <a:pt x="191" y="82"/>
                </a:lnTo>
                <a:lnTo>
                  <a:pt x="197" y="82"/>
                </a:lnTo>
                <a:lnTo>
                  <a:pt x="197" y="87"/>
                </a:lnTo>
                <a:lnTo>
                  <a:pt x="197" y="92"/>
                </a:lnTo>
                <a:lnTo>
                  <a:pt x="197" y="98"/>
                </a:lnTo>
                <a:lnTo>
                  <a:pt x="197" y="103"/>
                </a:lnTo>
                <a:lnTo>
                  <a:pt x="197" y="109"/>
                </a:lnTo>
                <a:lnTo>
                  <a:pt x="197" y="114"/>
                </a:lnTo>
                <a:lnTo>
                  <a:pt x="164" y="114"/>
                </a:lnTo>
                <a:lnTo>
                  <a:pt x="164" y="163"/>
                </a:lnTo>
                <a:lnTo>
                  <a:pt x="164" y="169"/>
                </a:lnTo>
                <a:lnTo>
                  <a:pt x="164" y="174"/>
                </a:lnTo>
                <a:lnTo>
                  <a:pt x="175" y="180"/>
                </a:lnTo>
                <a:lnTo>
                  <a:pt x="175" y="185"/>
                </a:lnTo>
                <a:lnTo>
                  <a:pt x="180" y="185"/>
                </a:lnTo>
                <a:lnTo>
                  <a:pt x="180" y="191"/>
                </a:lnTo>
                <a:lnTo>
                  <a:pt x="153" y="196"/>
                </a:lnTo>
                <a:lnTo>
                  <a:pt x="148" y="196"/>
                </a:lnTo>
                <a:lnTo>
                  <a:pt x="142" y="196"/>
                </a:lnTo>
                <a:lnTo>
                  <a:pt x="137" y="196"/>
                </a:lnTo>
                <a:lnTo>
                  <a:pt x="137" y="191"/>
                </a:lnTo>
                <a:lnTo>
                  <a:pt x="131" y="191"/>
                </a:lnTo>
                <a:lnTo>
                  <a:pt x="126" y="191"/>
                </a:lnTo>
                <a:lnTo>
                  <a:pt x="120" y="191"/>
                </a:lnTo>
                <a:lnTo>
                  <a:pt x="115" y="191"/>
                </a:lnTo>
                <a:lnTo>
                  <a:pt x="109" y="191"/>
                </a:lnTo>
                <a:lnTo>
                  <a:pt x="104" y="185"/>
                </a:lnTo>
                <a:lnTo>
                  <a:pt x="39" y="185"/>
                </a:lnTo>
                <a:lnTo>
                  <a:pt x="33" y="185"/>
                </a:lnTo>
                <a:lnTo>
                  <a:pt x="28" y="180"/>
                </a:lnTo>
                <a:lnTo>
                  <a:pt x="22" y="180"/>
                </a:lnTo>
                <a:lnTo>
                  <a:pt x="17" y="180"/>
                </a:lnTo>
                <a:lnTo>
                  <a:pt x="11" y="185"/>
                </a:lnTo>
                <a:lnTo>
                  <a:pt x="11" y="180"/>
                </a:lnTo>
                <a:lnTo>
                  <a:pt x="6" y="180"/>
                </a:lnTo>
                <a:lnTo>
                  <a:pt x="0" y="185"/>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7" name="Freeform 265">
            <a:extLst>
              <a:ext uri="{FF2B5EF4-FFF2-40B4-BE49-F238E27FC236}">
                <a16:creationId xmlns:a16="http://schemas.microsoft.com/office/drawing/2014/main" id="{60DCEB89-218F-6AFF-7A13-67B338723C07}"/>
              </a:ext>
            </a:extLst>
          </p:cNvPr>
          <p:cNvSpPr>
            <a:spLocks/>
          </p:cNvSpPr>
          <p:nvPr/>
        </p:nvSpPr>
        <p:spPr bwMode="auto">
          <a:xfrm>
            <a:off x="2960688" y="2065338"/>
            <a:ext cx="269875" cy="152400"/>
          </a:xfrm>
          <a:custGeom>
            <a:avLst/>
            <a:gdLst>
              <a:gd name="T0" fmla="*/ 6 w 240"/>
              <a:gd name="T1" fmla="*/ 54 h 125"/>
              <a:gd name="T2" fmla="*/ 11 w 240"/>
              <a:gd name="T3" fmla="*/ 49 h 125"/>
              <a:gd name="T4" fmla="*/ 17 w 240"/>
              <a:gd name="T5" fmla="*/ 33 h 125"/>
              <a:gd name="T6" fmla="*/ 17 w 240"/>
              <a:gd name="T7" fmla="*/ 16 h 125"/>
              <a:gd name="T8" fmla="*/ 22 w 240"/>
              <a:gd name="T9" fmla="*/ 5 h 125"/>
              <a:gd name="T10" fmla="*/ 39 w 240"/>
              <a:gd name="T11" fmla="*/ 5 h 125"/>
              <a:gd name="T12" fmla="*/ 55 w 240"/>
              <a:gd name="T13" fmla="*/ 11 h 125"/>
              <a:gd name="T14" fmla="*/ 71 w 240"/>
              <a:gd name="T15" fmla="*/ 11 h 125"/>
              <a:gd name="T16" fmla="*/ 88 w 240"/>
              <a:gd name="T17" fmla="*/ 11 h 125"/>
              <a:gd name="T18" fmla="*/ 99 w 240"/>
              <a:gd name="T19" fmla="*/ 11 h 125"/>
              <a:gd name="T20" fmla="*/ 104 w 240"/>
              <a:gd name="T21" fmla="*/ 5 h 125"/>
              <a:gd name="T22" fmla="*/ 120 w 240"/>
              <a:gd name="T23" fmla="*/ 5 h 125"/>
              <a:gd name="T24" fmla="*/ 131 w 240"/>
              <a:gd name="T25" fmla="*/ 0 h 125"/>
              <a:gd name="T26" fmla="*/ 148 w 240"/>
              <a:gd name="T27" fmla="*/ 5 h 125"/>
              <a:gd name="T28" fmla="*/ 148 w 240"/>
              <a:gd name="T29" fmla="*/ 11 h 125"/>
              <a:gd name="T30" fmla="*/ 159 w 240"/>
              <a:gd name="T31" fmla="*/ 16 h 125"/>
              <a:gd name="T32" fmla="*/ 169 w 240"/>
              <a:gd name="T33" fmla="*/ 27 h 125"/>
              <a:gd name="T34" fmla="*/ 186 w 240"/>
              <a:gd name="T35" fmla="*/ 33 h 125"/>
              <a:gd name="T36" fmla="*/ 202 w 240"/>
              <a:gd name="T37" fmla="*/ 33 h 125"/>
              <a:gd name="T38" fmla="*/ 219 w 240"/>
              <a:gd name="T39" fmla="*/ 38 h 125"/>
              <a:gd name="T40" fmla="*/ 235 w 240"/>
              <a:gd name="T41" fmla="*/ 44 h 125"/>
              <a:gd name="T42" fmla="*/ 229 w 240"/>
              <a:gd name="T43" fmla="*/ 54 h 125"/>
              <a:gd name="T44" fmla="*/ 240 w 240"/>
              <a:gd name="T45" fmla="*/ 65 h 125"/>
              <a:gd name="T46" fmla="*/ 224 w 240"/>
              <a:gd name="T47" fmla="*/ 71 h 125"/>
              <a:gd name="T48" fmla="*/ 219 w 240"/>
              <a:gd name="T49" fmla="*/ 82 h 125"/>
              <a:gd name="T50" fmla="*/ 202 w 240"/>
              <a:gd name="T51" fmla="*/ 87 h 125"/>
              <a:gd name="T52" fmla="*/ 197 w 240"/>
              <a:gd name="T53" fmla="*/ 87 h 125"/>
              <a:gd name="T54" fmla="*/ 186 w 240"/>
              <a:gd name="T55" fmla="*/ 93 h 125"/>
              <a:gd name="T56" fmla="*/ 180 w 240"/>
              <a:gd name="T57" fmla="*/ 93 h 125"/>
              <a:gd name="T58" fmla="*/ 186 w 240"/>
              <a:gd name="T59" fmla="*/ 109 h 125"/>
              <a:gd name="T60" fmla="*/ 202 w 240"/>
              <a:gd name="T61" fmla="*/ 109 h 125"/>
              <a:gd name="T62" fmla="*/ 202 w 240"/>
              <a:gd name="T63" fmla="*/ 114 h 125"/>
              <a:gd name="T64" fmla="*/ 186 w 240"/>
              <a:gd name="T65" fmla="*/ 120 h 125"/>
              <a:gd name="T66" fmla="*/ 169 w 240"/>
              <a:gd name="T67" fmla="*/ 125 h 125"/>
              <a:gd name="T68" fmla="*/ 164 w 240"/>
              <a:gd name="T69" fmla="*/ 114 h 125"/>
              <a:gd name="T70" fmla="*/ 148 w 240"/>
              <a:gd name="T71" fmla="*/ 109 h 125"/>
              <a:gd name="T72" fmla="*/ 164 w 240"/>
              <a:gd name="T73" fmla="*/ 104 h 125"/>
              <a:gd name="T74" fmla="*/ 153 w 240"/>
              <a:gd name="T75" fmla="*/ 98 h 125"/>
              <a:gd name="T76" fmla="*/ 137 w 240"/>
              <a:gd name="T77" fmla="*/ 98 h 125"/>
              <a:gd name="T78" fmla="*/ 131 w 240"/>
              <a:gd name="T79" fmla="*/ 93 h 125"/>
              <a:gd name="T80" fmla="*/ 120 w 240"/>
              <a:gd name="T81" fmla="*/ 98 h 125"/>
              <a:gd name="T82" fmla="*/ 110 w 240"/>
              <a:gd name="T83" fmla="*/ 114 h 125"/>
              <a:gd name="T84" fmla="*/ 99 w 240"/>
              <a:gd name="T85" fmla="*/ 109 h 125"/>
              <a:gd name="T86" fmla="*/ 93 w 240"/>
              <a:gd name="T87" fmla="*/ 104 h 125"/>
              <a:gd name="T88" fmla="*/ 99 w 240"/>
              <a:gd name="T89" fmla="*/ 93 h 125"/>
              <a:gd name="T90" fmla="*/ 115 w 240"/>
              <a:gd name="T91" fmla="*/ 93 h 125"/>
              <a:gd name="T92" fmla="*/ 104 w 240"/>
              <a:gd name="T93" fmla="*/ 87 h 125"/>
              <a:gd name="T94" fmla="*/ 99 w 240"/>
              <a:gd name="T95" fmla="*/ 76 h 125"/>
              <a:gd name="T96" fmla="*/ 88 w 240"/>
              <a:gd name="T97" fmla="*/ 65 h 125"/>
              <a:gd name="T98" fmla="*/ 71 w 240"/>
              <a:gd name="T99" fmla="*/ 60 h 125"/>
              <a:gd name="T100" fmla="*/ 55 w 240"/>
              <a:gd name="T101" fmla="*/ 71 h 125"/>
              <a:gd name="T102" fmla="*/ 39 w 240"/>
              <a:gd name="T103" fmla="*/ 71 h 125"/>
              <a:gd name="T104" fmla="*/ 22 w 240"/>
              <a:gd name="T105" fmla="*/ 71 h 125"/>
              <a:gd name="T106" fmla="*/ 11 w 240"/>
              <a:gd name="T107" fmla="*/ 6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0" h="125">
                <a:moveTo>
                  <a:pt x="0" y="60"/>
                </a:moveTo>
                <a:lnTo>
                  <a:pt x="6" y="60"/>
                </a:lnTo>
                <a:lnTo>
                  <a:pt x="6" y="54"/>
                </a:lnTo>
                <a:lnTo>
                  <a:pt x="6" y="49"/>
                </a:lnTo>
                <a:lnTo>
                  <a:pt x="11" y="54"/>
                </a:lnTo>
                <a:lnTo>
                  <a:pt x="11" y="49"/>
                </a:lnTo>
                <a:lnTo>
                  <a:pt x="6" y="44"/>
                </a:lnTo>
                <a:lnTo>
                  <a:pt x="11" y="38"/>
                </a:lnTo>
                <a:lnTo>
                  <a:pt x="17" y="33"/>
                </a:lnTo>
                <a:lnTo>
                  <a:pt x="22" y="27"/>
                </a:lnTo>
                <a:lnTo>
                  <a:pt x="22" y="22"/>
                </a:lnTo>
                <a:lnTo>
                  <a:pt x="17" y="16"/>
                </a:lnTo>
                <a:lnTo>
                  <a:pt x="17" y="11"/>
                </a:lnTo>
                <a:lnTo>
                  <a:pt x="22" y="11"/>
                </a:lnTo>
                <a:lnTo>
                  <a:pt x="22" y="5"/>
                </a:lnTo>
                <a:lnTo>
                  <a:pt x="28" y="5"/>
                </a:lnTo>
                <a:lnTo>
                  <a:pt x="33" y="5"/>
                </a:lnTo>
                <a:lnTo>
                  <a:pt x="39" y="5"/>
                </a:lnTo>
                <a:lnTo>
                  <a:pt x="44" y="5"/>
                </a:lnTo>
                <a:lnTo>
                  <a:pt x="50" y="5"/>
                </a:lnTo>
                <a:lnTo>
                  <a:pt x="55" y="11"/>
                </a:lnTo>
                <a:lnTo>
                  <a:pt x="60" y="11"/>
                </a:lnTo>
                <a:lnTo>
                  <a:pt x="66" y="11"/>
                </a:lnTo>
                <a:lnTo>
                  <a:pt x="71" y="11"/>
                </a:lnTo>
                <a:lnTo>
                  <a:pt x="82" y="11"/>
                </a:lnTo>
                <a:lnTo>
                  <a:pt x="82" y="16"/>
                </a:lnTo>
                <a:lnTo>
                  <a:pt x="88" y="11"/>
                </a:lnTo>
                <a:lnTo>
                  <a:pt x="88" y="16"/>
                </a:lnTo>
                <a:lnTo>
                  <a:pt x="93" y="11"/>
                </a:lnTo>
                <a:lnTo>
                  <a:pt x="99" y="11"/>
                </a:lnTo>
                <a:lnTo>
                  <a:pt x="104" y="16"/>
                </a:lnTo>
                <a:lnTo>
                  <a:pt x="104" y="11"/>
                </a:lnTo>
                <a:lnTo>
                  <a:pt x="104" y="5"/>
                </a:lnTo>
                <a:lnTo>
                  <a:pt x="110" y="5"/>
                </a:lnTo>
                <a:lnTo>
                  <a:pt x="115" y="5"/>
                </a:lnTo>
                <a:lnTo>
                  <a:pt x="120" y="5"/>
                </a:lnTo>
                <a:lnTo>
                  <a:pt x="126" y="5"/>
                </a:lnTo>
                <a:lnTo>
                  <a:pt x="126" y="0"/>
                </a:lnTo>
                <a:lnTo>
                  <a:pt x="131" y="0"/>
                </a:lnTo>
                <a:lnTo>
                  <a:pt x="137" y="0"/>
                </a:lnTo>
                <a:lnTo>
                  <a:pt x="142" y="0"/>
                </a:lnTo>
                <a:lnTo>
                  <a:pt x="148" y="5"/>
                </a:lnTo>
                <a:lnTo>
                  <a:pt x="153" y="5"/>
                </a:lnTo>
                <a:lnTo>
                  <a:pt x="153" y="11"/>
                </a:lnTo>
                <a:lnTo>
                  <a:pt x="148" y="11"/>
                </a:lnTo>
                <a:lnTo>
                  <a:pt x="153" y="11"/>
                </a:lnTo>
                <a:lnTo>
                  <a:pt x="153" y="16"/>
                </a:lnTo>
                <a:lnTo>
                  <a:pt x="159" y="16"/>
                </a:lnTo>
                <a:lnTo>
                  <a:pt x="164" y="16"/>
                </a:lnTo>
                <a:lnTo>
                  <a:pt x="169" y="22"/>
                </a:lnTo>
                <a:lnTo>
                  <a:pt x="169" y="27"/>
                </a:lnTo>
                <a:lnTo>
                  <a:pt x="175" y="33"/>
                </a:lnTo>
                <a:lnTo>
                  <a:pt x="180" y="27"/>
                </a:lnTo>
                <a:lnTo>
                  <a:pt x="186" y="33"/>
                </a:lnTo>
                <a:lnTo>
                  <a:pt x="191" y="33"/>
                </a:lnTo>
                <a:lnTo>
                  <a:pt x="197" y="27"/>
                </a:lnTo>
                <a:lnTo>
                  <a:pt x="202" y="33"/>
                </a:lnTo>
                <a:lnTo>
                  <a:pt x="208" y="38"/>
                </a:lnTo>
                <a:lnTo>
                  <a:pt x="213" y="38"/>
                </a:lnTo>
                <a:lnTo>
                  <a:pt x="219" y="38"/>
                </a:lnTo>
                <a:lnTo>
                  <a:pt x="224" y="38"/>
                </a:lnTo>
                <a:lnTo>
                  <a:pt x="229" y="44"/>
                </a:lnTo>
                <a:lnTo>
                  <a:pt x="235" y="44"/>
                </a:lnTo>
                <a:lnTo>
                  <a:pt x="240" y="49"/>
                </a:lnTo>
                <a:lnTo>
                  <a:pt x="235" y="54"/>
                </a:lnTo>
                <a:lnTo>
                  <a:pt x="229" y="54"/>
                </a:lnTo>
                <a:lnTo>
                  <a:pt x="235" y="54"/>
                </a:lnTo>
                <a:lnTo>
                  <a:pt x="235" y="60"/>
                </a:lnTo>
                <a:lnTo>
                  <a:pt x="240" y="65"/>
                </a:lnTo>
                <a:lnTo>
                  <a:pt x="240" y="71"/>
                </a:lnTo>
                <a:lnTo>
                  <a:pt x="235" y="71"/>
                </a:lnTo>
                <a:lnTo>
                  <a:pt x="224" y="71"/>
                </a:lnTo>
                <a:lnTo>
                  <a:pt x="219" y="76"/>
                </a:lnTo>
                <a:lnTo>
                  <a:pt x="224" y="82"/>
                </a:lnTo>
                <a:lnTo>
                  <a:pt x="219" y="82"/>
                </a:lnTo>
                <a:lnTo>
                  <a:pt x="213" y="82"/>
                </a:lnTo>
                <a:lnTo>
                  <a:pt x="208" y="87"/>
                </a:lnTo>
                <a:lnTo>
                  <a:pt x="202" y="87"/>
                </a:lnTo>
                <a:lnTo>
                  <a:pt x="202" y="93"/>
                </a:lnTo>
                <a:lnTo>
                  <a:pt x="202" y="87"/>
                </a:lnTo>
                <a:lnTo>
                  <a:pt x="197" y="87"/>
                </a:lnTo>
                <a:lnTo>
                  <a:pt x="197" y="93"/>
                </a:lnTo>
                <a:lnTo>
                  <a:pt x="191" y="93"/>
                </a:lnTo>
                <a:lnTo>
                  <a:pt x="186" y="93"/>
                </a:lnTo>
                <a:lnTo>
                  <a:pt x="186" y="98"/>
                </a:lnTo>
                <a:lnTo>
                  <a:pt x="180" y="98"/>
                </a:lnTo>
                <a:lnTo>
                  <a:pt x="180" y="93"/>
                </a:lnTo>
                <a:lnTo>
                  <a:pt x="180" y="98"/>
                </a:lnTo>
                <a:lnTo>
                  <a:pt x="180" y="104"/>
                </a:lnTo>
                <a:lnTo>
                  <a:pt x="186" y="109"/>
                </a:lnTo>
                <a:lnTo>
                  <a:pt x="191" y="109"/>
                </a:lnTo>
                <a:lnTo>
                  <a:pt x="197" y="109"/>
                </a:lnTo>
                <a:lnTo>
                  <a:pt x="202" y="109"/>
                </a:lnTo>
                <a:lnTo>
                  <a:pt x="208" y="109"/>
                </a:lnTo>
                <a:lnTo>
                  <a:pt x="202" y="109"/>
                </a:lnTo>
                <a:lnTo>
                  <a:pt x="202" y="114"/>
                </a:lnTo>
                <a:lnTo>
                  <a:pt x="197" y="114"/>
                </a:lnTo>
                <a:lnTo>
                  <a:pt x="191" y="114"/>
                </a:lnTo>
                <a:lnTo>
                  <a:pt x="186" y="120"/>
                </a:lnTo>
                <a:lnTo>
                  <a:pt x="180" y="120"/>
                </a:lnTo>
                <a:lnTo>
                  <a:pt x="175" y="125"/>
                </a:lnTo>
                <a:lnTo>
                  <a:pt x="169" y="125"/>
                </a:lnTo>
                <a:lnTo>
                  <a:pt x="164" y="125"/>
                </a:lnTo>
                <a:lnTo>
                  <a:pt x="164" y="120"/>
                </a:lnTo>
                <a:lnTo>
                  <a:pt x="164" y="114"/>
                </a:lnTo>
                <a:lnTo>
                  <a:pt x="159" y="114"/>
                </a:lnTo>
                <a:lnTo>
                  <a:pt x="153" y="109"/>
                </a:lnTo>
                <a:lnTo>
                  <a:pt x="148" y="109"/>
                </a:lnTo>
                <a:lnTo>
                  <a:pt x="153" y="109"/>
                </a:lnTo>
                <a:lnTo>
                  <a:pt x="159" y="104"/>
                </a:lnTo>
                <a:lnTo>
                  <a:pt x="164" y="104"/>
                </a:lnTo>
                <a:lnTo>
                  <a:pt x="164" y="98"/>
                </a:lnTo>
                <a:lnTo>
                  <a:pt x="159" y="98"/>
                </a:lnTo>
                <a:lnTo>
                  <a:pt x="153" y="98"/>
                </a:lnTo>
                <a:lnTo>
                  <a:pt x="148" y="98"/>
                </a:lnTo>
                <a:lnTo>
                  <a:pt x="142" y="98"/>
                </a:lnTo>
                <a:lnTo>
                  <a:pt x="137" y="98"/>
                </a:lnTo>
                <a:lnTo>
                  <a:pt x="142" y="93"/>
                </a:lnTo>
                <a:lnTo>
                  <a:pt x="137" y="93"/>
                </a:lnTo>
                <a:lnTo>
                  <a:pt x="131" y="93"/>
                </a:lnTo>
                <a:lnTo>
                  <a:pt x="126" y="93"/>
                </a:lnTo>
                <a:lnTo>
                  <a:pt x="120" y="93"/>
                </a:lnTo>
                <a:lnTo>
                  <a:pt x="120" y="98"/>
                </a:lnTo>
                <a:lnTo>
                  <a:pt x="115" y="104"/>
                </a:lnTo>
                <a:lnTo>
                  <a:pt x="110" y="109"/>
                </a:lnTo>
                <a:lnTo>
                  <a:pt x="110" y="114"/>
                </a:lnTo>
                <a:lnTo>
                  <a:pt x="110" y="109"/>
                </a:lnTo>
                <a:lnTo>
                  <a:pt x="104" y="109"/>
                </a:lnTo>
                <a:lnTo>
                  <a:pt x="99" y="109"/>
                </a:lnTo>
                <a:lnTo>
                  <a:pt x="99" y="114"/>
                </a:lnTo>
                <a:lnTo>
                  <a:pt x="93" y="109"/>
                </a:lnTo>
                <a:lnTo>
                  <a:pt x="93" y="104"/>
                </a:lnTo>
                <a:lnTo>
                  <a:pt x="99" y="104"/>
                </a:lnTo>
                <a:lnTo>
                  <a:pt x="99" y="98"/>
                </a:lnTo>
                <a:lnTo>
                  <a:pt x="99" y="93"/>
                </a:lnTo>
                <a:lnTo>
                  <a:pt x="104" y="93"/>
                </a:lnTo>
                <a:lnTo>
                  <a:pt x="110" y="93"/>
                </a:lnTo>
                <a:lnTo>
                  <a:pt x="115" y="93"/>
                </a:lnTo>
                <a:lnTo>
                  <a:pt x="110" y="93"/>
                </a:lnTo>
                <a:lnTo>
                  <a:pt x="110" y="87"/>
                </a:lnTo>
                <a:lnTo>
                  <a:pt x="104" y="87"/>
                </a:lnTo>
                <a:lnTo>
                  <a:pt x="104" y="82"/>
                </a:lnTo>
                <a:lnTo>
                  <a:pt x="104" y="76"/>
                </a:lnTo>
                <a:lnTo>
                  <a:pt x="99" y="76"/>
                </a:lnTo>
                <a:lnTo>
                  <a:pt x="99" y="71"/>
                </a:lnTo>
                <a:lnTo>
                  <a:pt x="93" y="71"/>
                </a:lnTo>
                <a:lnTo>
                  <a:pt x="88" y="65"/>
                </a:lnTo>
                <a:lnTo>
                  <a:pt x="82" y="65"/>
                </a:lnTo>
                <a:lnTo>
                  <a:pt x="77" y="60"/>
                </a:lnTo>
                <a:lnTo>
                  <a:pt x="71" y="60"/>
                </a:lnTo>
                <a:lnTo>
                  <a:pt x="66" y="60"/>
                </a:lnTo>
                <a:lnTo>
                  <a:pt x="60" y="65"/>
                </a:lnTo>
                <a:lnTo>
                  <a:pt x="55" y="71"/>
                </a:lnTo>
                <a:lnTo>
                  <a:pt x="50" y="71"/>
                </a:lnTo>
                <a:lnTo>
                  <a:pt x="44" y="71"/>
                </a:lnTo>
                <a:lnTo>
                  <a:pt x="39" y="71"/>
                </a:lnTo>
                <a:lnTo>
                  <a:pt x="33" y="71"/>
                </a:lnTo>
                <a:lnTo>
                  <a:pt x="28" y="71"/>
                </a:lnTo>
                <a:lnTo>
                  <a:pt x="22" y="71"/>
                </a:lnTo>
                <a:lnTo>
                  <a:pt x="17" y="65"/>
                </a:lnTo>
                <a:lnTo>
                  <a:pt x="17" y="71"/>
                </a:lnTo>
                <a:lnTo>
                  <a:pt x="11" y="65"/>
                </a:lnTo>
                <a:lnTo>
                  <a:pt x="6" y="60"/>
                </a:lnTo>
                <a:lnTo>
                  <a:pt x="0" y="6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8" name="Freeform 129">
            <a:extLst>
              <a:ext uri="{FF2B5EF4-FFF2-40B4-BE49-F238E27FC236}">
                <a16:creationId xmlns:a16="http://schemas.microsoft.com/office/drawing/2014/main" id="{0F7A0DD5-8F83-60F1-E81F-04196C162213}"/>
              </a:ext>
            </a:extLst>
          </p:cNvPr>
          <p:cNvSpPr>
            <a:spLocks/>
          </p:cNvSpPr>
          <p:nvPr/>
        </p:nvSpPr>
        <p:spPr bwMode="auto">
          <a:xfrm>
            <a:off x="2324100" y="1792288"/>
            <a:ext cx="141288" cy="60325"/>
          </a:xfrm>
          <a:custGeom>
            <a:avLst/>
            <a:gdLst>
              <a:gd name="T0" fmla="*/ 6 w 126"/>
              <a:gd name="T1" fmla="*/ 11 h 49"/>
              <a:gd name="T2" fmla="*/ 11 w 126"/>
              <a:gd name="T3" fmla="*/ 11 h 49"/>
              <a:gd name="T4" fmla="*/ 22 w 126"/>
              <a:gd name="T5" fmla="*/ 6 h 49"/>
              <a:gd name="T6" fmla="*/ 28 w 126"/>
              <a:gd name="T7" fmla="*/ 0 h 49"/>
              <a:gd name="T8" fmla="*/ 28 w 126"/>
              <a:gd name="T9" fmla="*/ 0 h 49"/>
              <a:gd name="T10" fmla="*/ 33 w 126"/>
              <a:gd name="T11" fmla="*/ 6 h 49"/>
              <a:gd name="T12" fmla="*/ 33 w 126"/>
              <a:gd name="T13" fmla="*/ 11 h 49"/>
              <a:gd name="T14" fmla="*/ 39 w 126"/>
              <a:gd name="T15" fmla="*/ 17 h 49"/>
              <a:gd name="T16" fmla="*/ 44 w 126"/>
              <a:gd name="T17" fmla="*/ 11 h 49"/>
              <a:gd name="T18" fmla="*/ 50 w 126"/>
              <a:gd name="T19" fmla="*/ 6 h 49"/>
              <a:gd name="T20" fmla="*/ 55 w 126"/>
              <a:gd name="T21" fmla="*/ 11 h 49"/>
              <a:gd name="T22" fmla="*/ 60 w 126"/>
              <a:gd name="T23" fmla="*/ 6 h 49"/>
              <a:gd name="T24" fmla="*/ 71 w 126"/>
              <a:gd name="T25" fmla="*/ 6 h 49"/>
              <a:gd name="T26" fmla="*/ 71 w 126"/>
              <a:gd name="T27" fmla="*/ 6 h 49"/>
              <a:gd name="T28" fmla="*/ 82 w 126"/>
              <a:gd name="T29" fmla="*/ 6 h 49"/>
              <a:gd name="T30" fmla="*/ 93 w 126"/>
              <a:gd name="T31" fmla="*/ 6 h 49"/>
              <a:gd name="T32" fmla="*/ 99 w 126"/>
              <a:gd name="T33" fmla="*/ 0 h 49"/>
              <a:gd name="T34" fmla="*/ 104 w 126"/>
              <a:gd name="T35" fmla="*/ 6 h 49"/>
              <a:gd name="T36" fmla="*/ 115 w 126"/>
              <a:gd name="T37" fmla="*/ 0 h 49"/>
              <a:gd name="T38" fmla="*/ 109 w 126"/>
              <a:gd name="T39" fmla="*/ 6 h 49"/>
              <a:gd name="T40" fmla="*/ 109 w 126"/>
              <a:gd name="T41" fmla="*/ 11 h 49"/>
              <a:gd name="T42" fmla="*/ 120 w 126"/>
              <a:gd name="T43" fmla="*/ 11 h 49"/>
              <a:gd name="T44" fmla="*/ 126 w 126"/>
              <a:gd name="T45" fmla="*/ 22 h 49"/>
              <a:gd name="T46" fmla="*/ 120 w 126"/>
              <a:gd name="T47" fmla="*/ 28 h 49"/>
              <a:gd name="T48" fmla="*/ 115 w 126"/>
              <a:gd name="T49" fmla="*/ 33 h 49"/>
              <a:gd name="T50" fmla="*/ 104 w 126"/>
              <a:gd name="T51" fmla="*/ 33 h 49"/>
              <a:gd name="T52" fmla="*/ 93 w 126"/>
              <a:gd name="T53" fmla="*/ 38 h 49"/>
              <a:gd name="T54" fmla="*/ 88 w 126"/>
              <a:gd name="T55" fmla="*/ 44 h 49"/>
              <a:gd name="T56" fmla="*/ 71 w 126"/>
              <a:gd name="T57" fmla="*/ 44 h 49"/>
              <a:gd name="T58" fmla="*/ 60 w 126"/>
              <a:gd name="T59" fmla="*/ 49 h 49"/>
              <a:gd name="T60" fmla="*/ 44 w 126"/>
              <a:gd name="T61" fmla="*/ 44 h 49"/>
              <a:gd name="T62" fmla="*/ 33 w 126"/>
              <a:gd name="T63" fmla="*/ 38 h 49"/>
              <a:gd name="T64" fmla="*/ 22 w 126"/>
              <a:gd name="T65" fmla="*/ 38 h 49"/>
              <a:gd name="T66" fmla="*/ 17 w 126"/>
              <a:gd name="T67" fmla="*/ 38 h 49"/>
              <a:gd name="T68" fmla="*/ 33 w 126"/>
              <a:gd name="T69" fmla="*/ 33 h 49"/>
              <a:gd name="T70" fmla="*/ 28 w 126"/>
              <a:gd name="T71" fmla="*/ 28 h 49"/>
              <a:gd name="T72" fmla="*/ 22 w 126"/>
              <a:gd name="T73" fmla="*/ 28 h 49"/>
              <a:gd name="T74" fmla="*/ 6 w 126"/>
              <a:gd name="T75" fmla="*/ 28 h 49"/>
              <a:gd name="T76" fmla="*/ 17 w 126"/>
              <a:gd name="T77" fmla="*/ 22 h 49"/>
              <a:gd name="T78" fmla="*/ 33 w 126"/>
              <a:gd name="T79" fmla="*/ 22 h 49"/>
              <a:gd name="T80" fmla="*/ 28 w 126"/>
              <a:gd name="T81" fmla="*/ 17 h 49"/>
              <a:gd name="T82" fmla="*/ 22 w 126"/>
              <a:gd name="T83" fmla="*/ 17 h 49"/>
              <a:gd name="T84" fmla="*/ 22 w 126"/>
              <a:gd name="T85" fmla="*/ 17 h 49"/>
              <a:gd name="T86" fmla="*/ 11 w 126"/>
              <a:gd name="T87" fmla="*/ 1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6" h="49">
                <a:moveTo>
                  <a:pt x="0" y="17"/>
                </a:moveTo>
                <a:lnTo>
                  <a:pt x="6" y="11"/>
                </a:lnTo>
                <a:lnTo>
                  <a:pt x="17" y="11"/>
                </a:lnTo>
                <a:lnTo>
                  <a:pt x="11" y="11"/>
                </a:lnTo>
                <a:lnTo>
                  <a:pt x="17" y="6"/>
                </a:lnTo>
                <a:lnTo>
                  <a:pt x="22" y="6"/>
                </a:lnTo>
                <a:lnTo>
                  <a:pt x="28" y="6"/>
                </a:lnTo>
                <a:lnTo>
                  <a:pt x="28" y="0"/>
                </a:lnTo>
                <a:lnTo>
                  <a:pt x="22" y="0"/>
                </a:lnTo>
                <a:lnTo>
                  <a:pt x="28" y="0"/>
                </a:lnTo>
                <a:lnTo>
                  <a:pt x="33" y="0"/>
                </a:lnTo>
                <a:lnTo>
                  <a:pt x="33" y="6"/>
                </a:lnTo>
                <a:lnTo>
                  <a:pt x="39" y="6"/>
                </a:lnTo>
                <a:lnTo>
                  <a:pt x="33" y="11"/>
                </a:lnTo>
                <a:lnTo>
                  <a:pt x="39" y="11"/>
                </a:lnTo>
                <a:lnTo>
                  <a:pt x="39" y="17"/>
                </a:lnTo>
                <a:lnTo>
                  <a:pt x="44" y="17"/>
                </a:lnTo>
                <a:lnTo>
                  <a:pt x="44" y="11"/>
                </a:lnTo>
                <a:lnTo>
                  <a:pt x="50" y="11"/>
                </a:lnTo>
                <a:lnTo>
                  <a:pt x="50" y="6"/>
                </a:lnTo>
                <a:lnTo>
                  <a:pt x="55" y="6"/>
                </a:lnTo>
                <a:lnTo>
                  <a:pt x="55" y="11"/>
                </a:lnTo>
                <a:lnTo>
                  <a:pt x="60" y="11"/>
                </a:lnTo>
                <a:lnTo>
                  <a:pt x="60" y="6"/>
                </a:lnTo>
                <a:lnTo>
                  <a:pt x="66" y="6"/>
                </a:lnTo>
                <a:lnTo>
                  <a:pt x="71" y="6"/>
                </a:lnTo>
                <a:lnTo>
                  <a:pt x="77" y="11"/>
                </a:lnTo>
                <a:lnTo>
                  <a:pt x="71" y="6"/>
                </a:lnTo>
                <a:lnTo>
                  <a:pt x="77" y="6"/>
                </a:lnTo>
                <a:lnTo>
                  <a:pt x="82" y="6"/>
                </a:lnTo>
                <a:lnTo>
                  <a:pt x="88" y="6"/>
                </a:lnTo>
                <a:lnTo>
                  <a:pt x="93" y="6"/>
                </a:lnTo>
                <a:lnTo>
                  <a:pt x="93" y="0"/>
                </a:lnTo>
                <a:lnTo>
                  <a:pt x="99" y="0"/>
                </a:lnTo>
                <a:lnTo>
                  <a:pt x="104" y="0"/>
                </a:lnTo>
                <a:lnTo>
                  <a:pt x="104" y="6"/>
                </a:lnTo>
                <a:lnTo>
                  <a:pt x="109" y="0"/>
                </a:lnTo>
                <a:lnTo>
                  <a:pt x="115" y="0"/>
                </a:lnTo>
                <a:lnTo>
                  <a:pt x="109" y="0"/>
                </a:lnTo>
                <a:lnTo>
                  <a:pt x="109" y="6"/>
                </a:lnTo>
                <a:lnTo>
                  <a:pt x="115" y="6"/>
                </a:lnTo>
                <a:lnTo>
                  <a:pt x="109" y="11"/>
                </a:lnTo>
                <a:lnTo>
                  <a:pt x="115" y="11"/>
                </a:lnTo>
                <a:lnTo>
                  <a:pt x="120" y="11"/>
                </a:lnTo>
                <a:lnTo>
                  <a:pt x="126" y="17"/>
                </a:lnTo>
                <a:lnTo>
                  <a:pt x="126" y="22"/>
                </a:lnTo>
                <a:lnTo>
                  <a:pt x="120" y="22"/>
                </a:lnTo>
                <a:lnTo>
                  <a:pt x="120" y="28"/>
                </a:lnTo>
                <a:lnTo>
                  <a:pt x="115" y="28"/>
                </a:lnTo>
                <a:lnTo>
                  <a:pt x="115" y="33"/>
                </a:lnTo>
                <a:lnTo>
                  <a:pt x="109" y="33"/>
                </a:lnTo>
                <a:lnTo>
                  <a:pt x="104" y="33"/>
                </a:lnTo>
                <a:lnTo>
                  <a:pt x="99" y="38"/>
                </a:lnTo>
                <a:lnTo>
                  <a:pt x="93" y="38"/>
                </a:lnTo>
                <a:lnTo>
                  <a:pt x="88" y="38"/>
                </a:lnTo>
                <a:lnTo>
                  <a:pt x="88" y="44"/>
                </a:lnTo>
                <a:lnTo>
                  <a:pt x="77" y="44"/>
                </a:lnTo>
                <a:lnTo>
                  <a:pt x="71" y="44"/>
                </a:lnTo>
                <a:lnTo>
                  <a:pt x="71" y="49"/>
                </a:lnTo>
                <a:lnTo>
                  <a:pt x="60" y="49"/>
                </a:lnTo>
                <a:lnTo>
                  <a:pt x="50" y="44"/>
                </a:lnTo>
                <a:lnTo>
                  <a:pt x="44" y="44"/>
                </a:lnTo>
                <a:lnTo>
                  <a:pt x="39" y="44"/>
                </a:lnTo>
                <a:lnTo>
                  <a:pt x="33" y="38"/>
                </a:lnTo>
                <a:lnTo>
                  <a:pt x="28" y="44"/>
                </a:lnTo>
                <a:lnTo>
                  <a:pt x="22" y="38"/>
                </a:lnTo>
                <a:lnTo>
                  <a:pt x="17" y="44"/>
                </a:lnTo>
                <a:lnTo>
                  <a:pt x="17" y="38"/>
                </a:lnTo>
                <a:lnTo>
                  <a:pt x="28" y="38"/>
                </a:lnTo>
                <a:lnTo>
                  <a:pt x="33" y="33"/>
                </a:lnTo>
                <a:lnTo>
                  <a:pt x="28" y="33"/>
                </a:lnTo>
                <a:lnTo>
                  <a:pt x="28" y="28"/>
                </a:lnTo>
                <a:lnTo>
                  <a:pt x="28" y="33"/>
                </a:lnTo>
                <a:lnTo>
                  <a:pt x="22" y="28"/>
                </a:lnTo>
                <a:lnTo>
                  <a:pt x="11" y="28"/>
                </a:lnTo>
                <a:lnTo>
                  <a:pt x="6" y="28"/>
                </a:lnTo>
                <a:lnTo>
                  <a:pt x="6" y="22"/>
                </a:lnTo>
                <a:lnTo>
                  <a:pt x="17" y="22"/>
                </a:lnTo>
                <a:lnTo>
                  <a:pt x="22" y="22"/>
                </a:lnTo>
                <a:lnTo>
                  <a:pt x="33" y="22"/>
                </a:lnTo>
                <a:lnTo>
                  <a:pt x="22" y="22"/>
                </a:lnTo>
                <a:lnTo>
                  <a:pt x="28" y="17"/>
                </a:lnTo>
                <a:lnTo>
                  <a:pt x="33" y="17"/>
                </a:lnTo>
                <a:lnTo>
                  <a:pt x="22" y="17"/>
                </a:lnTo>
                <a:lnTo>
                  <a:pt x="22" y="11"/>
                </a:lnTo>
                <a:lnTo>
                  <a:pt x="22" y="17"/>
                </a:lnTo>
                <a:lnTo>
                  <a:pt x="17" y="11"/>
                </a:lnTo>
                <a:lnTo>
                  <a:pt x="11" y="17"/>
                </a:lnTo>
                <a:lnTo>
                  <a:pt x="0" y="17"/>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9" name="Freeform 220">
            <a:extLst>
              <a:ext uri="{FF2B5EF4-FFF2-40B4-BE49-F238E27FC236}">
                <a16:creationId xmlns:a16="http://schemas.microsoft.com/office/drawing/2014/main" id="{9647EC57-773F-200E-2871-049DD9A9398B}"/>
              </a:ext>
            </a:extLst>
          </p:cNvPr>
          <p:cNvSpPr>
            <a:spLocks/>
          </p:cNvSpPr>
          <p:nvPr/>
        </p:nvSpPr>
        <p:spPr bwMode="auto">
          <a:xfrm>
            <a:off x="2979738" y="2225675"/>
            <a:ext cx="98425" cy="52388"/>
          </a:xfrm>
          <a:custGeom>
            <a:avLst/>
            <a:gdLst>
              <a:gd name="T0" fmla="*/ 0 w 87"/>
              <a:gd name="T1" fmla="*/ 27 h 43"/>
              <a:gd name="T2" fmla="*/ 5 w 87"/>
              <a:gd name="T3" fmla="*/ 27 h 43"/>
              <a:gd name="T4" fmla="*/ 0 w 87"/>
              <a:gd name="T5" fmla="*/ 22 h 43"/>
              <a:gd name="T6" fmla="*/ 5 w 87"/>
              <a:gd name="T7" fmla="*/ 16 h 43"/>
              <a:gd name="T8" fmla="*/ 11 w 87"/>
              <a:gd name="T9" fmla="*/ 16 h 43"/>
              <a:gd name="T10" fmla="*/ 5 w 87"/>
              <a:gd name="T11" fmla="*/ 11 h 43"/>
              <a:gd name="T12" fmla="*/ 0 w 87"/>
              <a:gd name="T13" fmla="*/ 5 h 43"/>
              <a:gd name="T14" fmla="*/ 0 w 87"/>
              <a:gd name="T15" fmla="*/ 0 h 43"/>
              <a:gd name="T16" fmla="*/ 5 w 87"/>
              <a:gd name="T17" fmla="*/ 0 h 43"/>
              <a:gd name="T18" fmla="*/ 5 w 87"/>
              <a:gd name="T19" fmla="*/ 5 h 43"/>
              <a:gd name="T20" fmla="*/ 11 w 87"/>
              <a:gd name="T21" fmla="*/ 5 h 43"/>
              <a:gd name="T22" fmla="*/ 16 w 87"/>
              <a:gd name="T23" fmla="*/ 5 h 43"/>
              <a:gd name="T24" fmla="*/ 22 w 87"/>
              <a:gd name="T25" fmla="*/ 5 h 43"/>
              <a:gd name="T26" fmla="*/ 27 w 87"/>
              <a:gd name="T27" fmla="*/ 5 h 43"/>
              <a:gd name="T28" fmla="*/ 33 w 87"/>
              <a:gd name="T29" fmla="*/ 5 h 43"/>
              <a:gd name="T30" fmla="*/ 38 w 87"/>
              <a:gd name="T31" fmla="*/ 5 h 43"/>
              <a:gd name="T32" fmla="*/ 43 w 87"/>
              <a:gd name="T33" fmla="*/ 5 h 43"/>
              <a:gd name="T34" fmla="*/ 49 w 87"/>
              <a:gd name="T35" fmla="*/ 5 h 43"/>
              <a:gd name="T36" fmla="*/ 49 w 87"/>
              <a:gd name="T37" fmla="*/ 0 h 43"/>
              <a:gd name="T38" fmla="*/ 54 w 87"/>
              <a:gd name="T39" fmla="*/ 0 h 43"/>
              <a:gd name="T40" fmla="*/ 60 w 87"/>
              <a:gd name="T41" fmla="*/ 0 h 43"/>
              <a:gd name="T42" fmla="*/ 65 w 87"/>
              <a:gd name="T43" fmla="*/ 0 h 43"/>
              <a:gd name="T44" fmla="*/ 71 w 87"/>
              <a:gd name="T45" fmla="*/ 0 h 43"/>
              <a:gd name="T46" fmla="*/ 76 w 87"/>
              <a:gd name="T47" fmla="*/ 0 h 43"/>
              <a:gd name="T48" fmla="*/ 76 w 87"/>
              <a:gd name="T49" fmla="*/ 5 h 43"/>
              <a:gd name="T50" fmla="*/ 87 w 87"/>
              <a:gd name="T51" fmla="*/ 5 h 43"/>
              <a:gd name="T52" fmla="*/ 87 w 87"/>
              <a:gd name="T53" fmla="*/ 11 h 43"/>
              <a:gd name="T54" fmla="*/ 82 w 87"/>
              <a:gd name="T55" fmla="*/ 11 h 43"/>
              <a:gd name="T56" fmla="*/ 76 w 87"/>
              <a:gd name="T57" fmla="*/ 16 h 43"/>
              <a:gd name="T58" fmla="*/ 76 w 87"/>
              <a:gd name="T59" fmla="*/ 22 h 43"/>
              <a:gd name="T60" fmla="*/ 71 w 87"/>
              <a:gd name="T61" fmla="*/ 27 h 43"/>
              <a:gd name="T62" fmla="*/ 76 w 87"/>
              <a:gd name="T63" fmla="*/ 27 h 43"/>
              <a:gd name="T64" fmla="*/ 82 w 87"/>
              <a:gd name="T65" fmla="*/ 33 h 43"/>
              <a:gd name="T66" fmla="*/ 76 w 87"/>
              <a:gd name="T67" fmla="*/ 33 h 43"/>
              <a:gd name="T68" fmla="*/ 71 w 87"/>
              <a:gd name="T69" fmla="*/ 33 h 43"/>
              <a:gd name="T70" fmla="*/ 65 w 87"/>
              <a:gd name="T71" fmla="*/ 33 h 43"/>
              <a:gd name="T72" fmla="*/ 60 w 87"/>
              <a:gd name="T73" fmla="*/ 33 h 43"/>
              <a:gd name="T74" fmla="*/ 60 w 87"/>
              <a:gd name="T75" fmla="*/ 38 h 43"/>
              <a:gd name="T76" fmla="*/ 54 w 87"/>
              <a:gd name="T77" fmla="*/ 38 h 43"/>
              <a:gd name="T78" fmla="*/ 54 w 87"/>
              <a:gd name="T79" fmla="*/ 43 h 43"/>
              <a:gd name="T80" fmla="*/ 49 w 87"/>
              <a:gd name="T81" fmla="*/ 43 h 43"/>
              <a:gd name="T82" fmla="*/ 43 w 87"/>
              <a:gd name="T83" fmla="*/ 43 h 43"/>
              <a:gd name="T84" fmla="*/ 38 w 87"/>
              <a:gd name="T85" fmla="*/ 43 h 43"/>
              <a:gd name="T86" fmla="*/ 33 w 87"/>
              <a:gd name="T87" fmla="*/ 38 h 43"/>
              <a:gd name="T88" fmla="*/ 27 w 87"/>
              <a:gd name="T89" fmla="*/ 43 h 43"/>
              <a:gd name="T90" fmla="*/ 22 w 87"/>
              <a:gd name="T91" fmla="*/ 43 h 43"/>
              <a:gd name="T92" fmla="*/ 16 w 87"/>
              <a:gd name="T93" fmla="*/ 43 h 43"/>
              <a:gd name="T94" fmla="*/ 11 w 87"/>
              <a:gd name="T95" fmla="*/ 43 h 43"/>
              <a:gd name="T96" fmla="*/ 11 w 87"/>
              <a:gd name="T97" fmla="*/ 38 h 43"/>
              <a:gd name="T98" fmla="*/ 11 w 87"/>
              <a:gd name="T99" fmla="*/ 33 h 43"/>
              <a:gd name="T100" fmla="*/ 5 w 87"/>
              <a:gd name="T101" fmla="*/ 33 h 43"/>
              <a:gd name="T102" fmla="*/ 0 w 87"/>
              <a:gd name="T103" fmla="*/ 2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7" h="43">
                <a:moveTo>
                  <a:pt x="0" y="27"/>
                </a:moveTo>
                <a:lnTo>
                  <a:pt x="5" y="27"/>
                </a:lnTo>
                <a:lnTo>
                  <a:pt x="0" y="22"/>
                </a:lnTo>
                <a:lnTo>
                  <a:pt x="5" y="16"/>
                </a:lnTo>
                <a:lnTo>
                  <a:pt x="11" y="16"/>
                </a:lnTo>
                <a:lnTo>
                  <a:pt x="5" y="11"/>
                </a:lnTo>
                <a:lnTo>
                  <a:pt x="0" y="5"/>
                </a:lnTo>
                <a:lnTo>
                  <a:pt x="0" y="0"/>
                </a:lnTo>
                <a:lnTo>
                  <a:pt x="5" y="0"/>
                </a:lnTo>
                <a:lnTo>
                  <a:pt x="5" y="5"/>
                </a:lnTo>
                <a:lnTo>
                  <a:pt x="11" y="5"/>
                </a:lnTo>
                <a:lnTo>
                  <a:pt x="16" y="5"/>
                </a:lnTo>
                <a:lnTo>
                  <a:pt x="22" y="5"/>
                </a:lnTo>
                <a:lnTo>
                  <a:pt x="27" y="5"/>
                </a:lnTo>
                <a:lnTo>
                  <a:pt x="33" y="5"/>
                </a:lnTo>
                <a:lnTo>
                  <a:pt x="38" y="5"/>
                </a:lnTo>
                <a:lnTo>
                  <a:pt x="43" y="5"/>
                </a:lnTo>
                <a:lnTo>
                  <a:pt x="49" y="5"/>
                </a:lnTo>
                <a:lnTo>
                  <a:pt x="49" y="0"/>
                </a:lnTo>
                <a:lnTo>
                  <a:pt x="54" y="0"/>
                </a:lnTo>
                <a:lnTo>
                  <a:pt x="60" y="0"/>
                </a:lnTo>
                <a:lnTo>
                  <a:pt x="65" y="0"/>
                </a:lnTo>
                <a:lnTo>
                  <a:pt x="71" y="0"/>
                </a:lnTo>
                <a:lnTo>
                  <a:pt x="76" y="0"/>
                </a:lnTo>
                <a:lnTo>
                  <a:pt x="76" y="5"/>
                </a:lnTo>
                <a:lnTo>
                  <a:pt x="87" y="5"/>
                </a:lnTo>
                <a:lnTo>
                  <a:pt x="87" y="11"/>
                </a:lnTo>
                <a:lnTo>
                  <a:pt x="82" y="11"/>
                </a:lnTo>
                <a:lnTo>
                  <a:pt x="76" y="16"/>
                </a:lnTo>
                <a:lnTo>
                  <a:pt x="76" y="22"/>
                </a:lnTo>
                <a:lnTo>
                  <a:pt x="71" y="27"/>
                </a:lnTo>
                <a:lnTo>
                  <a:pt x="76" y="27"/>
                </a:lnTo>
                <a:lnTo>
                  <a:pt x="82" y="33"/>
                </a:lnTo>
                <a:lnTo>
                  <a:pt x="76" y="33"/>
                </a:lnTo>
                <a:lnTo>
                  <a:pt x="71" y="33"/>
                </a:lnTo>
                <a:lnTo>
                  <a:pt x="65" y="33"/>
                </a:lnTo>
                <a:lnTo>
                  <a:pt x="60" y="33"/>
                </a:lnTo>
                <a:lnTo>
                  <a:pt x="60" y="38"/>
                </a:lnTo>
                <a:lnTo>
                  <a:pt x="54" y="38"/>
                </a:lnTo>
                <a:lnTo>
                  <a:pt x="54" y="43"/>
                </a:lnTo>
                <a:lnTo>
                  <a:pt x="49" y="43"/>
                </a:lnTo>
                <a:lnTo>
                  <a:pt x="43" y="43"/>
                </a:lnTo>
                <a:lnTo>
                  <a:pt x="38" y="43"/>
                </a:lnTo>
                <a:lnTo>
                  <a:pt x="33" y="38"/>
                </a:lnTo>
                <a:lnTo>
                  <a:pt x="27" y="43"/>
                </a:lnTo>
                <a:lnTo>
                  <a:pt x="22" y="43"/>
                </a:lnTo>
                <a:lnTo>
                  <a:pt x="16" y="43"/>
                </a:lnTo>
                <a:lnTo>
                  <a:pt x="11" y="43"/>
                </a:lnTo>
                <a:lnTo>
                  <a:pt x="11" y="38"/>
                </a:lnTo>
                <a:lnTo>
                  <a:pt x="11" y="33"/>
                </a:lnTo>
                <a:lnTo>
                  <a:pt x="5" y="33"/>
                </a:lnTo>
                <a:lnTo>
                  <a:pt x="0" y="27"/>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20" name="Freeform 221">
            <a:extLst>
              <a:ext uri="{FF2B5EF4-FFF2-40B4-BE49-F238E27FC236}">
                <a16:creationId xmlns:a16="http://schemas.microsoft.com/office/drawing/2014/main" id="{0C6DAC76-AC48-A561-BE62-ED6DCFDB8C76}"/>
              </a:ext>
            </a:extLst>
          </p:cNvPr>
          <p:cNvSpPr>
            <a:spLocks/>
          </p:cNvSpPr>
          <p:nvPr/>
        </p:nvSpPr>
        <p:spPr bwMode="auto">
          <a:xfrm>
            <a:off x="2943224" y="2312987"/>
            <a:ext cx="12700" cy="6350"/>
          </a:xfrm>
          <a:custGeom>
            <a:avLst/>
            <a:gdLst>
              <a:gd name="T0" fmla="*/ 0 w 11"/>
              <a:gd name="T1" fmla="*/ 0 h 5"/>
              <a:gd name="T2" fmla="*/ 11 w 11"/>
              <a:gd name="T3" fmla="*/ 0 h 5"/>
              <a:gd name="T4" fmla="*/ 11 w 11"/>
              <a:gd name="T5" fmla="*/ 5 h 5"/>
              <a:gd name="T6" fmla="*/ 6 w 11"/>
              <a:gd name="T7" fmla="*/ 5 h 5"/>
              <a:gd name="T8" fmla="*/ 0 w 11"/>
              <a:gd name="T9" fmla="*/ 0 h 5"/>
            </a:gdLst>
            <a:ahLst/>
            <a:cxnLst>
              <a:cxn ang="0">
                <a:pos x="T0" y="T1"/>
              </a:cxn>
              <a:cxn ang="0">
                <a:pos x="T2" y="T3"/>
              </a:cxn>
              <a:cxn ang="0">
                <a:pos x="T4" y="T5"/>
              </a:cxn>
              <a:cxn ang="0">
                <a:pos x="T6" y="T7"/>
              </a:cxn>
              <a:cxn ang="0">
                <a:pos x="T8" y="T9"/>
              </a:cxn>
            </a:cxnLst>
            <a:rect l="0" t="0" r="r" b="b"/>
            <a:pathLst>
              <a:path w="11" h="5">
                <a:moveTo>
                  <a:pt x="0" y="0"/>
                </a:moveTo>
                <a:lnTo>
                  <a:pt x="11" y="0"/>
                </a:lnTo>
                <a:lnTo>
                  <a:pt x="11" y="5"/>
                </a:lnTo>
                <a:lnTo>
                  <a:pt x="6" y="5"/>
                </a:lnTo>
                <a:lnTo>
                  <a:pt x="0" y="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21" name="Rectangle 222">
            <a:extLst>
              <a:ext uri="{FF2B5EF4-FFF2-40B4-BE49-F238E27FC236}">
                <a16:creationId xmlns:a16="http://schemas.microsoft.com/office/drawing/2014/main" id="{BCF2CEA1-EF4E-EA94-1045-43EC524E0AF0}"/>
              </a:ext>
            </a:extLst>
          </p:cNvPr>
          <p:cNvSpPr>
            <a:spLocks noChangeArrowheads="1"/>
          </p:cNvSpPr>
          <p:nvPr/>
        </p:nvSpPr>
        <p:spPr bwMode="auto">
          <a:xfrm>
            <a:off x="2960687" y="2332037"/>
            <a:ext cx="7938" cy="7938"/>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222" name="Rectangle 223">
            <a:extLst>
              <a:ext uri="{FF2B5EF4-FFF2-40B4-BE49-F238E27FC236}">
                <a16:creationId xmlns:a16="http://schemas.microsoft.com/office/drawing/2014/main" id="{A600B31D-51E4-E850-36FE-0BB03F2C275F}"/>
              </a:ext>
            </a:extLst>
          </p:cNvPr>
          <p:cNvSpPr>
            <a:spLocks noChangeArrowheads="1"/>
          </p:cNvSpPr>
          <p:nvPr/>
        </p:nvSpPr>
        <p:spPr bwMode="auto">
          <a:xfrm>
            <a:off x="2960687" y="2325687"/>
            <a:ext cx="7938" cy="6350"/>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223" name="Rectangle 224">
            <a:extLst>
              <a:ext uri="{FF2B5EF4-FFF2-40B4-BE49-F238E27FC236}">
                <a16:creationId xmlns:a16="http://schemas.microsoft.com/office/drawing/2014/main" id="{F5633258-9C0C-708F-7DA8-1E6E4F0EE496}"/>
              </a:ext>
            </a:extLst>
          </p:cNvPr>
          <p:cNvSpPr>
            <a:spLocks noChangeArrowheads="1"/>
          </p:cNvSpPr>
          <p:nvPr/>
        </p:nvSpPr>
        <p:spPr bwMode="auto">
          <a:xfrm>
            <a:off x="2960687" y="2332037"/>
            <a:ext cx="7938" cy="7938"/>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224" name="Rectangle 225">
            <a:extLst>
              <a:ext uri="{FF2B5EF4-FFF2-40B4-BE49-F238E27FC236}">
                <a16:creationId xmlns:a16="http://schemas.microsoft.com/office/drawing/2014/main" id="{15008B9A-9416-2A40-20C6-6085E06B328C}"/>
              </a:ext>
            </a:extLst>
          </p:cNvPr>
          <p:cNvSpPr>
            <a:spLocks noChangeArrowheads="1"/>
          </p:cNvSpPr>
          <p:nvPr/>
        </p:nvSpPr>
        <p:spPr bwMode="auto">
          <a:xfrm>
            <a:off x="2968626" y="2344737"/>
            <a:ext cx="4763" cy="6350"/>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225" name="Freeform 226">
            <a:extLst>
              <a:ext uri="{FF2B5EF4-FFF2-40B4-BE49-F238E27FC236}">
                <a16:creationId xmlns:a16="http://schemas.microsoft.com/office/drawing/2014/main" id="{92306236-4753-C60F-3099-4BB7CD27AF01}"/>
              </a:ext>
            </a:extLst>
          </p:cNvPr>
          <p:cNvSpPr>
            <a:spLocks/>
          </p:cNvSpPr>
          <p:nvPr/>
        </p:nvSpPr>
        <p:spPr bwMode="auto">
          <a:xfrm>
            <a:off x="2949575" y="2271713"/>
            <a:ext cx="103188" cy="100013"/>
          </a:xfrm>
          <a:custGeom>
            <a:avLst/>
            <a:gdLst>
              <a:gd name="T0" fmla="*/ 5 w 92"/>
              <a:gd name="T1" fmla="*/ 33 h 82"/>
              <a:gd name="T2" fmla="*/ 10 w 92"/>
              <a:gd name="T3" fmla="*/ 27 h 82"/>
              <a:gd name="T4" fmla="*/ 16 w 92"/>
              <a:gd name="T5" fmla="*/ 16 h 82"/>
              <a:gd name="T6" fmla="*/ 21 w 92"/>
              <a:gd name="T7" fmla="*/ 11 h 82"/>
              <a:gd name="T8" fmla="*/ 27 w 92"/>
              <a:gd name="T9" fmla="*/ 5 h 82"/>
              <a:gd name="T10" fmla="*/ 32 w 92"/>
              <a:gd name="T11" fmla="*/ 11 h 82"/>
              <a:gd name="T12" fmla="*/ 38 w 92"/>
              <a:gd name="T13" fmla="*/ 11 h 82"/>
              <a:gd name="T14" fmla="*/ 43 w 92"/>
              <a:gd name="T15" fmla="*/ 5 h 82"/>
              <a:gd name="T16" fmla="*/ 54 w 92"/>
              <a:gd name="T17" fmla="*/ 5 h 82"/>
              <a:gd name="T18" fmla="*/ 65 w 92"/>
              <a:gd name="T19" fmla="*/ 5 h 82"/>
              <a:gd name="T20" fmla="*/ 76 w 92"/>
              <a:gd name="T21" fmla="*/ 5 h 82"/>
              <a:gd name="T22" fmla="*/ 81 w 92"/>
              <a:gd name="T23" fmla="*/ 0 h 82"/>
              <a:gd name="T24" fmla="*/ 92 w 92"/>
              <a:gd name="T25" fmla="*/ 0 h 82"/>
              <a:gd name="T26" fmla="*/ 87 w 92"/>
              <a:gd name="T27" fmla="*/ 5 h 82"/>
              <a:gd name="T28" fmla="*/ 81 w 92"/>
              <a:gd name="T29" fmla="*/ 16 h 82"/>
              <a:gd name="T30" fmla="*/ 76 w 92"/>
              <a:gd name="T31" fmla="*/ 11 h 82"/>
              <a:gd name="T32" fmla="*/ 65 w 92"/>
              <a:gd name="T33" fmla="*/ 11 h 82"/>
              <a:gd name="T34" fmla="*/ 60 w 92"/>
              <a:gd name="T35" fmla="*/ 16 h 82"/>
              <a:gd name="T36" fmla="*/ 54 w 92"/>
              <a:gd name="T37" fmla="*/ 22 h 82"/>
              <a:gd name="T38" fmla="*/ 65 w 92"/>
              <a:gd name="T39" fmla="*/ 22 h 82"/>
              <a:gd name="T40" fmla="*/ 54 w 92"/>
              <a:gd name="T41" fmla="*/ 22 h 82"/>
              <a:gd name="T42" fmla="*/ 54 w 92"/>
              <a:gd name="T43" fmla="*/ 22 h 82"/>
              <a:gd name="T44" fmla="*/ 49 w 92"/>
              <a:gd name="T45" fmla="*/ 27 h 82"/>
              <a:gd name="T46" fmla="*/ 43 w 92"/>
              <a:gd name="T47" fmla="*/ 22 h 82"/>
              <a:gd name="T48" fmla="*/ 43 w 92"/>
              <a:gd name="T49" fmla="*/ 16 h 82"/>
              <a:gd name="T50" fmla="*/ 38 w 92"/>
              <a:gd name="T51" fmla="*/ 22 h 82"/>
              <a:gd name="T52" fmla="*/ 43 w 92"/>
              <a:gd name="T53" fmla="*/ 27 h 82"/>
              <a:gd name="T54" fmla="*/ 49 w 92"/>
              <a:gd name="T55" fmla="*/ 38 h 82"/>
              <a:gd name="T56" fmla="*/ 43 w 92"/>
              <a:gd name="T57" fmla="*/ 44 h 82"/>
              <a:gd name="T58" fmla="*/ 43 w 92"/>
              <a:gd name="T59" fmla="*/ 44 h 82"/>
              <a:gd name="T60" fmla="*/ 49 w 92"/>
              <a:gd name="T61" fmla="*/ 49 h 82"/>
              <a:gd name="T62" fmla="*/ 49 w 92"/>
              <a:gd name="T63" fmla="*/ 44 h 82"/>
              <a:gd name="T64" fmla="*/ 49 w 92"/>
              <a:gd name="T65" fmla="*/ 44 h 82"/>
              <a:gd name="T66" fmla="*/ 60 w 92"/>
              <a:gd name="T67" fmla="*/ 49 h 82"/>
              <a:gd name="T68" fmla="*/ 65 w 92"/>
              <a:gd name="T69" fmla="*/ 55 h 82"/>
              <a:gd name="T70" fmla="*/ 65 w 92"/>
              <a:gd name="T71" fmla="*/ 60 h 82"/>
              <a:gd name="T72" fmla="*/ 60 w 92"/>
              <a:gd name="T73" fmla="*/ 55 h 82"/>
              <a:gd name="T74" fmla="*/ 54 w 92"/>
              <a:gd name="T75" fmla="*/ 49 h 82"/>
              <a:gd name="T76" fmla="*/ 60 w 92"/>
              <a:gd name="T77" fmla="*/ 55 h 82"/>
              <a:gd name="T78" fmla="*/ 65 w 92"/>
              <a:gd name="T79" fmla="*/ 65 h 82"/>
              <a:gd name="T80" fmla="*/ 60 w 92"/>
              <a:gd name="T81" fmla="*/ 60 h 82"/>
              <a:gd name="T82" fmla="*/ 49 w 92"/>
              <a:gd name="T83" fmla="*/ 65 h 82"/>
              <a:gd name="T84" fmla="*/ 49 w 92"/>
              <a:gd name="T85" fmla="*/ 71 h 82"/>
              <a:gd name="T86" fmla="*/ 43 w 92"/>
              <a:gd name="T87" fmla="*/ 65 h 82"/>
              <a:gd name="T88" fmla="*/ 49 w 92"/>
              <a:gd name="T89" fmla="*/ 76 h 82"/>
              <a:gd name="T90" fmla="*/ 54 w 92"/>
              <a:gd name="T91" fmla="*/ 82 h 82"/>
              <a:gd name="T92" fmla="*/ 49 w 92"/>
              <a:gd name="T93" fmla="*/ 76 h 82"/>
              <a:gd name="T94" fmla="*/ 43 w 92"/>
              <a:gd name="T95" fmla="*/ 82 h 82"/>
              <a:gd name="T96" fmla="*/ 38 w 92"/>
              <a:gd name="T97" fmla="*/ 76 h 82"/>
              <a:gd name="T98" fmla="*/ 27 w 92"/>
              <a:gd name="T99" fmla="*/ 71 h 82"/>
              <a:gd name="T100" fmla="*/ 27 w 92"/>
              <a:gd name="T101" fmla="*/ 65 h 82"/>
              <a:gd name="T102" fmla="*/ 21 w 92"/>
              <a:gd name="T103" fmla="*/ 60 h 82"/>
              <a:gd name="T104" fmla="*/ 27 w 92"/>
              <a:gd name="T105" fmla="*/ 55 h 82"/>
              <a:gd name="T106" fmla="*/ 38 w 92"/>
              <a:gd name="T107" fmla="*/ 55 h 82"/>
              <a:gd name="T108" fmla="*/ 49 w 92"/>
              <a:gd name="T109" fmla="*/ 55 h 82"/>
              <a:gd name="T110" fmla="*/ 38 w 92"/>
              <a:gd name="T111" fmla="*/ 55 h 82"/>
              <a:gd name="T112" fmla="*/ 38 w 92"/>
              <a:gd name="T113" fmla="*/ 55 h 82"/>
              <a:gd name="T114" fmla="*/ 27 w 92"/>
              <a:gd name="T115" fmla="*/ 55 h 82"/>
              <a:gd name="T116" fmla="*/ 21 w 92"/>
              <a:gd name="T117" fmla="*/ 55 h 82"/>
              <a:gd name="T118" fmla="*/ 16 w 92"/>
              <a:gd name="T119" fmla="*/ 49 h 82"/>
              <a:gd name="T120" fmla="*/ 10 w 92"/>
              <a:gd name="T121" fmla="*/ 44 h 82"/>
              <a:gd name="T122" fmla="*/ 5 w 92"/>
              <a:gd name="T123" fmla="*/ 38 h 82"/>
              <a:gd name="T124" fmla="*/ 0 w 92"/>
              <a:gd name="T125" fmla="*/ 3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 h="82">
                <a:moveTo>
                  <a:pt x="0" y="33"/>
                </a:moveTo>
                <a:lnTo>
                  <a:pt x="5" y="33"/>
                </a:lnTo>
                <a:lnTo>
                  <a:pt x="5" y="27"/>
                </a:lnTo>
                <a:lnTo>
                  <a:pt x="10" y="27"/>
                </a:lnTo>
                <a:lnTo>
                  <a:pt x="10" y="22"/>
                </a:lnTo>
                <a:lnTo>
                  <a:pt x="16" y="16"/>
                </a:lnTo>
                <a:lnTo>
                  <a:pt x="16" y="11"/>
                </a:lnTo>
                <a:lnTo>
                  <a:pt x="21" y="11"/>
                </a:lnTo>
                <a:lnTo>
                  <a:pt x="27" y="11"/>
                </a:lnTo>
                <a:lnTo>
                  <a:pt x="27" y="5"/>
                </a:lnTo>
                <a:lnTo>
                  <a:pt x="27" y="11"/>
                </a:lnTo>
                <a:lnTo>
                  <a:pt x="32" y="11"/>
                </a:lnTo>
                <a:lnTo>
                  <a:pt x="38" y="5"/>
                </a:lnTo>
                <a:lnTo>
                  <a:pt x="38" y="11"/>
                </a:lnTo>
                <a:lnTo>
                  <a:pt x="38" y="5"/>
                </a:lnTo>
                <a:lnTo>
                  <a:pt x="43" y="5"/>
                </a:lnTo>
                <a:lnTo>
                  <a:pt x="49" y="5"/>
                </a:lnTo>
                <a:lnTo>
                  <a:pt x="54" y="5"/>
                </a:lnTo>
                <a:lnTo>
                  <a:pt x="60" y="0"/>
                </a:lnTo>
                <a:lnTo>
                  <a:pt x="65" y="5"/>
                </a:lnTo>
                <a:lnTo>
                  <a:pt x="70" y="5"/>
                </a:lnTo>
                <a:lnTo>
                  <a:pt x="76" y="5"/>
                </a:lnTo>
                <a:lnTo>
                  <a:pt x="81" y="5"/>
                </a:lnTo>
                <a:lnTo>
                  <a:pt x="81" y="0"/>
                </a:lnTo>
                <a:lnTo>
                  <a:pt x="87" y="0"/>
                </a:lnTo>
                <a:lnTo>
                  <a:pt x="92" y="0"/>
                </a:lnTo>
                <a:lnTo>
                  <a:pt x="92" y="5"/>
                </a:lnTo>
                <a:lnTo>
                  <a:pt x="87" y="5"/>
                </a:lnTo>
                <a:lnTo>
                  <a:pt x="87" y="11"/>
                </a:lnTo>
                <a:lnTo>
                  <a:pt x="81" y="16"/>
                </a:lnTo>
                <a:lnTo>
                  <a:pt x="81" y="11"/>
                </a:lnTo>
                <a:lnTo>
                  <a:pt x="76" y="11"/>
                </a:lnTo>
                <a:lnTo>
                  <a:pt x="70" y="11"/>
                </a:lnTo>
                <a:lnTo>
                  <a:pt x="65" y="11"/>
                </a:lnTo>
                <a:lnTo>
                  <a:pt x="60" y="11"/>
                </a:lnTo>
                <a:lnTo>
                  <a:pt x="60" y="16"/>
                </a:lnTo>
                <a:lnTo>
                  <a:pt x="54" y="16"/>
                </a:lnTo>
                <a:lnTo>
                  <a:pt x="54" y="22"/>
                </a:lnTo>
                <a:lnTo>
                  <a:pt x="60" y="22"/>
                </a:lnTo>
                <a:lnTo>
                  <a:pt x="65" y="22"/>
                </a:lnTo>
                <a:lnTo>
                  <a:pt x="60" y="22"/>
                </a:lnTo>
                <a:lnTo>
                  <a:pt x="54" y="22"/>
                </a:lnTo>
                <a:lnTo>
                  <a:pt x="60" y="27"/>
                </a:lnTo>
                <a:lnTo>
                  <a:pt x="54" y="22"/>
                </a:lnTo>
                <a:lnTo>
                  <a:pt x="49" y="22"/>
                </a:lnTo>
                <a:lnTo>
                  <a:pt x="49" y="27"/>
                </a:lnTo>
                <a:lnTo>
                  <a:pt x="49" y="22"/>
                </a:lnTo>
                <a:lnTo>
                  <a:pt x="43" y="22"/>
                </a:lnTo>
                <a:lnTo>
                  <a:pt x="38" y="16"/>
                </a:lnTo>
                <a:lnTo>
                  <a:pt x="43" y="16"/>
                </a:lnTo>
                <a:lnTo>
                  <a:pt x="38" y="16"/>
                </a:lnTo>
                <a:lnTo>
                  <a:pt x="38" y="22"/>
                </a:lnTo>
                <a:lnTo>
                  <a:pt x="38" y="27"/>
                </a:lnTo>
                <a:lnTo>
                  <a:pt x="43" y="27"/>
                </a:lnTo>
                <a:lnTo>
                  <a:pt x="43" y="33"/>
                </a:lnTo>
                <a:lnTo>
                  <a:pt x="49" y="38"/>
                </a:lnTo>
                <a:lnTo>
                  <a:pt x="43" y="38"/>
                </a:lnTo>
                <a:lnTo>
                  <a:pt x="43" y="44"/>
                </a:lnTo>
                <a:lnTo>
                  <a:pt x="38" y="44"/>
                </a:lnTo>
                <a:lnTo>
                  <a:pt x="43" y="44"/>
                </a:lnTo>
                <a:lnTo>
                  <a:pt x="49" y="44"/>
                </a:lnTo>
                <a:lnTo>
                  <a:pt x="49" y="49"/>
                </a:lnTo>
                <a:lnTo>
                  <a:pt x="54" y="49"/>
                </a:lnTo>
                <a:lnTo>
                  <a:pt x="49" y="44"/>
                </a:lnTo>
                <a:lnTo>
                  <a:pt x="43" y="44"/>
                </a:lnTo>
                <a:lnTo>
                  <a:pt x="49" y="44"/>
                </a:lnTo>
                <a:lnTo>
                  <a:pt x="54" y="44"/>
                </a:lnTo>
                <a:lnTo>
                  <a:pt x="60" y="49"/>
                </a:lnTo>
                <a:lnTo>
                  <a:pt x="65" y="49"/>
                </a:lnTo>
                <a:lnTo>
                  <a:pt x="65" y="55"/>
                </a:lnTo>
                <a:lnTo>
                  <a:pt x="70" y="55"/>
                </a:lnTo>
                <a:lnTo>
                  <a:pt x="65" y="60"/>
                </a:lnTo>
                <a:lnTo>
                  <a:pt x="65" y="55"/>
                </a:lnTo>
                <a:lnTo>
                  <a:pt x="60" y="55"/>
                </a:lnTo>
                <a:lnTo>
                  <a:pt x="54" y="55"/>
                </a:lnTo>
                <a:lnTo>
                  <a:pt x="54" y="49"/>
                </a:lnTo>
                <a:lnTo>
                  <a:pt x="54" y="55"/>
                </a:lnTo>
                <a:lnTo>
                  <a:pt x="60" y="55"/>
                </a:lnTo>
                <a:lnTo>
                  <a:pt x="65" y="60"/>
                </a:lnTo>
                <a:lnTo>
                  <a:pt x="65" y="65"/>
                </a:lnTo>
                <a:lnTo>
                  <a:pt x="60" y="65"/>
                </a:lnTo>
                <a:lnTo>
                  <a:pt x="60" y="60"/>
                </a:lnTo>
                <a:lnTo>
                  <a:pt x="49" y="60"/>
                </a:lnTo>
                <a:lnTo>
                  <a:pt x="49" y="65"/>
                </a:lnTo>
                <a:lnTo>
                  <a:pt x="54" y="65"/>
                </a:lnTo>
                <a:lnTo>
                  <a:pt x="49" y="71"/>
                </a:lnTo>
                <a:lnTo>
                  <a:pt x="49" y="65"/>
                </a:lnTo>
                <a:lnTo>
                  <a:pt x="43" y="65"/>
                </a:lnTo>
                <a:lnTo>
                  <a:pt x="49" y="71"/>
                </a:lnTo>
                <a:lnTo>
                  <a:pt x="49" y="76"/>
                </a:lnTo>
                <a:lnTo>
                  <a:pt x="49" y="82"/>
                </a:lnTo>
                <a:lnTo>
                  <a:pt x="54" y="82"/>
                </a:lnTo>
                <a:lnTo>
                  <a:pt x="49" y="82"/>
                </a:lnTo>
                <a:lnTo>
                  <a:pt x="49" y="76"/>
                </a:lnTo>
                <a:lnTo>
                  <a:pt x="43" y="76"/>
                </a:lnTo>
                <a:lnTo>
                  <a:pt x="43" y="82"/>
                </a:lnTo>
                <a:lnTo>
                  <a:pt x="43" y="76"/>
                </a:lnTo>
                <a:lnTo>
                  <a:pt x="38" y="76"/>
                </a:lnTo>
                <a:lnTo>
                  <a:pt x="32" y="76"/>
                </a:lnTo>
                <a:lnTo>
                  <a:pt x="27" y="71"/>
                </a:lnTo>
                <a:lnTo>
                  <a:pt x="32" y="71"/>
                </a:lnTo>
                <a:lnTo>
                  <a:pt x="27" y="65"/>
                </a:lnTo>
                <a:lnTo>
                  <a:pt x="21" y="65"/>
                </a:lnTo>
                <a:lnTo>
                  <a:pt x="21" y="60"/>
                </a:lnTo>
                <a:lnTo>
                  <a:pt x="21" y="55"/>
                </a:lnTo>
                <a:lnTo>
                  <a:pt x="27" y="55"/>
                </a:lnTo>
                <a:lnTo>
                  <a:pt x="32" y="55"/>
                </a:lnTo>
                <a:lnTo>
                  <a:pt x="38" y="55"/>
                </a:lnTo>
                <a:lnTo>
                  <a:pt x="43" y="60"/>
                </a:lnTo>
                <a:lnTo>
                  <a:pt x="49" y="55"/>
                </a:lnTo>
                <a:lnTo>
                  <a:pt x="43" y="55"/>
                </a:lnTo>
                <a:lnTo>
                  <a:pt x="38" y="55"/>
                </a:lnTo>
                <a:lnTo>
                  <a:pt x="38" y="49"/>
                </a:lnTo>
                <a:lnTo>
                  <a:pt x="38" y="55"/>
                </a:lnTo>
                <a:lnTo>
                  <a:pt x="32" y="55"/>
                </a:lnTo>
                <a:lnTo>
                  <a:pt x="27" y="55"/>
                </a:lnTo>
                <a:lnTo>
                  <a:pt x="21" y="49"/>
                </a:lnTo>
                <a:lnTo>
                  <a:pt x="21" y="55"/>
                </a:lnTo>
                <a:lnTo>
                  <a:pt x="21" y="49"/>
                </a:lnTo>
                <a:lnTo>
                  <a:pt x="16" y="49"/>
                </a:lnTo>
                <a:lnTo>
                  <a:pt x="16" y="44"/>
                </a:lnTo>
                <a:lnTo>
                  <a:pt x="10" y="44"/>
                </a:lnTo>
                <a:lnTo>
                  <a:pt x="10" y="38"/>
                </a:lnTo>
                <a:lnTo>
                  <a:pt x="5" y="38"/>
                </a:lnTo>
                <a:lnTo>
                  <a:pt x="5" y="33"/>
                </a:lnTo>
                <a:lnTo>
                  <a:pt x="0" y="33"/>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26" name="Rectangle 227">
            <a:extLst>
              <a:ext uri="{FF2B5EF4-FFF2-40B4-BE49-F238E27FC236}">
                <a16:creationId xmlns:a16="http://schemas.microsoft.com/office/drawing/2014/main" id="{D373927A-12CF-0231-C6AB-A9833EB7629D}"/>
              </a:ext>
            </a:extLst>
          </p:cNvPr>
          <p:cNvSpPr>
            <a:spLocks noChangeArrowheads="1"/>
          </p:cNvSpPr>
          <p:nvPr/>
        </p:nvSpPr>
        <p:spPr bwMode="auto">
          <a:xfrm>
            <a:off x="3028950" y="2344737"/>
            <a:ext cx="6350" cy="6350"/>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227" name="Freeform 228">
            <a:extLst>
              <a:ext uri="{FF2B5EF4-FFF2-40B4-BE49-F238E27FC236}">
                <a16:creationId xmlns:a16="http://schemas.microsoft.com/office/drawing/2014/main" id="{6368FADB-34E6-BD39-AFE7-9D871B831211}"/>
              </a:ext>
            </a:extLst>
          </p:cNvPr>
          <p:cNvSpPr>
            <a:spLocks/>
          </p:cNvSpPr>
          <p:nvPr/>
        </p:nvSpPr>
        <p:spPr bwMode="auto">
          <a:xfrm>
            <a:off x="3157537" y="2386012"/>
            <a:ext cx="38100" cy="26988"/>
          </a:xfrm>
          <a:custGeom>
            <a:avLst/>
            <a:gdLst>
              <a:gd name="T0" fmla="*/ 0 w 33"/>
              <a:gd name="T1" fmla="*/ 11 h 22"/>
              <a:gd name="T2" fmla="*/ 5 w 33"/>
              <a:gd name="T3" fmla="*/ 11 h 22"/>
              <a:gd name="T4" fmla="*/ 11 w 33"/>
              <a:gd name="T5" fmla="*/ 11 h 22"/>
              <a:gd name="T6" fmla="*/ 11 w 33"/>
              <a:gd name="T7" fmla="*/ 5 h 22"/>
              <a:gd name="T8" fmla="*/ 16 w 33"/>
              <a:gd name="T9" fmla="*/ 5 h 22"/>
              <a:gd name="T10" fmla="*/ 22 w 33"/>
              <a:gd name="T11" fmla="*/ 5 h 22"/>
              <a:gd name="T12" fmla="*/ 27 w 33"/>
              <a:gd name="T13" fmla="*/ 5 h 22"/>
              <a:gd name="T14" fmla="*/ 33 w 33"/>
              <a:gd name="T15" fmla="*/ 0 h 22"/>
              <a:gd name="T16" fmla="*/ 33 w 33"/>
              <a:gd name="T17" fmla="*/ 5 h 22"/>
              <a:gd name="T18" fmla="*/ 27 w 33"/>
              <a:gd name="T19" fmla="*/ 5 h 22"/>
              <a:gd name="T20" fmla="*/ 27 w 33"/>
              <a:gd name="T21" fmla="*/ 11 h 22"/>
              <a:gd name="T22" fmla="*/ 27 w 33"/>
              <a:gd name="T23" fmla="*/ 16 h 22"/>
              <a:gd name="T24" fmla="*/ 22 w 33"/>
              <a:gd name="T25" fmla="*/ 16 h 22"/>
              <a:gd name="T26" fmla="*/ 16 w 33"/>
              <a:gd name="T27" fmla="*/ 16 h 22"/>
              <a:gd name="T28" fmla="*/ 16 w 33"/>
              <a:gd name="T29" fmla="*/ 22 h 22"/>
              <a:gd name="T30" fmla="*/ 11 w 33"/>
              <a:gd name="T31" fmla="*/ 16 h 22"/>
              <a:gd name="T32" fmla="*/ 5 w 33"/>
              <a:gd name="T33" fmla="*/ 16 h 22"/>
              <a:gd name="T34" fmla="*/ 0 w 33"/>
              <a:gd name="T35"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22">
                <a:moveTo>
                  <a:pt x="0" y="11"/>
                </a:moveTo>
                <a:lnTo>
                  <a:pt x="5" y="11"/>
                </a:lnTo>
                <a:lnTo>
                  <a:pt x="11" y="11"/>
                </a:lnTo>
                <a:lnTo>
                  <a:pt x="11" y="5"/>
                </a:lnTo>
                <a:lnTo>
                  <a:pt x="16" y="5"/>
                </a:lnTo>
                <a:lnTo>
                  <a:pt x="22" y="5"/>
                </a:lnTo>
                <a:lnTo>
                  <a:pt x="27" y="5"/>
                </a:lnTo>
                <a:lnTo>
                  <a:pt x="33" y="0"/>
                </a:lnTo>
                <a:lnTo>
                  <a:pt x="33" y="5"/>
                </a:lnTo>
                <a:lnTo>
                  <a:pt x="27" y="5"/>
                </a:lnTo>
                <a:lnTo>
                  <a:pt x="27" y="11"/>
                </a:lnTo>
                <a:lnTo>
                  <a:pt x="27" y="16"/>
                </a:lnTo>
                <a:lnTo>
                  <a:pt x="22" y="16"/>
                </a:lnTo>
                <a:lnTo>
                  <a:pt x="16" y="16"/>
                </a:lnTo>
                <a:lnTo>
                  <a:pt x="16" y="22"/>
                </a:lnTo>
                <a:lnTo>
                  <a:pt x="11" y="16"/>
                </a:lnTo>
                <a:lnTo>
                  <a:pt x="5" y="16"/>
                </a:lnTo>
                <a:lnTo>
                  <a:pt x="0" y="11"/>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28" name="Freeform 231">
            <a:extLst>
              <a:ext uri="{FF2B5EF4-FFF2-40B4-BE49-F238E27FC236}">
                <a16:creationId xmlns:a16="http://schemas.microsoft.com/office/drawing/2014/main" id="{AC96E5F6-7CCF-8F3D-4AC2-7D33C8CE5511}"/>
              </a:ext>
            </a:extLst>
          </p:cNvPr>
          <p:cNvSpPr>
            <a:spLocks/>
          </p:cNvSpPr>
          <p:nvPr/>
        </p:nvSpPr>
        <p:spPr bwMode="auto">
          <a:xfrm>
            <a:off x="3041650" y="2265363"/>
            <a:ext cx="49213" cy="39688"/>
          </a:xfrm>
          <a:custGeom>
            <a:avLst/>
            <a:gdLst>
              <a:gd name="T0" fmla="*/ 0 w 44"/>
              <a:gd name="T1" fmla="*/ 21 h 32"/>
              <a:gd name="T2" fmla="*/ 6 w 44"/>
              <a:gd name="T3" fmla="*/ 16 h 32"/>
              <a:gd name="T4" fmla="*/ 6 w 44"/>
              <a:gd name="T5" fmla="*/ 10 h 32"/>
              <a:gd name="T6" fmla="*/ 11 w 44"/>
              <a:gd name="T7" fmla="*/ 10 h 32"/>
              <a:gd name="T8" fmla="*/ 11 w 44"/>
              <a:gd name="T9" fmla="*/ 5 h 32"/>
              <a:gd name="T10" fmla="*/ 6 w 44"/>
              <a:gd name="T11" fmla="*/ 5 h 32"/>
              <a:gd name="T12" fmla="*/ 6 w 44"/>
              <a:gd name="T13" fmla="*/ 0 h 32"/>
              <a:gd name="T14" fmla="*/ 11 w 44"/>
              <a:gd name="T15" fmla="*/ 0 h 32"/>
              <a:gd name="T16" fmla="*/ 17 w 44"/>
              <a:gd name="T17" fmla="*/ 0 h 32"/>
              <a:gd name="T18" fmla="*/ 22 w 44"/>
              <a:gd name="T19" fmla="*/ 0 h 32"/>
              <a:gd name="T20" fmla="*/ 28 w 44"/>
              <a:gd name="T21" fmla="*/ 0 h 32"/>
              <a:gd name="T22" fmla="*/ 28 w 44"/>
              <a:gd name="T23" fmla="*/ 5 h 32"/>
              <a:gd name="T24" fmla="*/ 33 w 44"/>
              <a:gd name="T25" fmla="*/ 5 h 32"/>
              <a:gd name="T26" fmla="*/ 39 w 44"/>
              <a:gd name="T27" fmla="*/ 10 h 32"/>
              <a:gd name="T28" fmla="*/ 44 w 44"/>
              <a:gd name="T29" fmla="*/ 10 h 32"/>
              <a:gd name="T30" fmla="*/ 44 w 44"/>
              <a:gd name="T31" fmla="*/ 16 h 32"/>
              <a:gd name="T32" fmla="*/ 39 w 44"/>
              <a:gd name="T33" fmla="*/ 16 h 32"/>
              <a:gd name="T34" fmla="*/ 33 w 44"/>
              <a:gd name="T35" fmla="*/ 16 h 32"/>
              <a:gd name="T36" fmla="*/ 28 w 44"/>
              <a:gd name="T37" fmla="*/ 16 h 32"/>
              <a:gd name="T38" fmla="*/ 22 w 44"/>
              <a:gd name="T39" fmla="*/ 16 h 32"/>
              <a:gd name="T40" fmla="*/ 22 w 44"/>
              <a:gd name="T41" fmla="*/ 21 h 32"/>
              <a:gd name="T42" fmla="*/ 17 w 44"/>
              <a:gd name="T43" fmla="*/ 21 h 32"/>
              <a:gd name="T44" fmla="*/ 11 w 44"/>
              <a:gd name="T45" fmla="*/ 27 h 32"/>
              <a:gd name="T46" fmla="*/ 6 w 44"/>
              <a:gd name="T47" fmla="*/ 32 h 32"/>
              <a:gd name="T48" fmla="*/ 6 w 44"/>
              <a:gd name="T49" fmla="*/ 27 h 32"/>
              <a:gd name="T50" fmla="*/ 11 w 44"/>
              <a:gd name="T51" fmla="*/ 27 h 32"/>
              <a:gd name="T52" fmla="*/ 11 w 44"/>
              <a:gd name="T53" fmla="*/ 21 h 32"/>
              <a:gd name="T54" fmla="*/ 17 w 44"/>
              <a:gd name="T55" fmla="*/ 21 h 32"/>
              <a:gd name="T56" fmla="*/ 11 w 44"/>
              <a:gd name="T57" fmla="*/ 21 h 32"/>
              <a:gd name="T58" fmla="*/ 6 w 44"/>
              <a:gd name="T59" fmla="*/ 21 h 32"/>
              <a:gd name="T60" fmla="*/ 0 w 44"/>
              <a:gd name="T61"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 h="32">
                <a:moveTo>
                  <a:pt x="0" y="21"/>
                </a:moveTo>
                <a:lnTo>
                  <a:pt x="6" y="16"/>
                </a:lnTo>
                <a:lnTo>
                  <a:pt x="6" y="10"/>
                </a:lnTo>
                <a:lnTo>
                  <a:pt x="11" y="10"/>
                </a:lnTo>
                <a:lnTo>
                  <a:pt x="11" y="5"/>
                </a:lnTo>
                <a:lnTo>
                  <a:pt x="6" y="5"/>
                </a:lnTo>
                <a:lnTo>
                  <a:pt x="6" y="0"/>
                </a:lnTo>
                <a:lnTo>
                  <a:pt x="11" y="0"/>
                </a:lnTo>
                <a:lnTo>
                  <a:pt x="17" y="0"/>
                </a:lnTo>
                <a:lnTo>
                  <a:pt x="22" y="0"/>
                </a:lnTo>
                <a:lnTo>
                  <a:pt x="28" y="0"/>
                </a:lnTo>
                <a:lnTo>
                  <a:pt x="28" y="5"/>
                </a:lnTo>
                <a:lnTo>
                  <a:pt x="33" y="5"/>
                </a:lnTo>
                <a:lnTo>
                  <a:pt x="39" y="10"/>
                </a:lnTo>
                <a:lnTo>
                  <a:pt x="44" y="10"/>
                </a:lnTo>
                <a:lnTo>
                  <a:pt x="44" y="16"/>
                </a:lnTo>
                <a:lnTo>
                  <a:pt x="39" y="16"/>
                </a:lnTo>
                <a:lnTo>
                  <a:pt x="33" y="16"/>
                </a:lnTo>
                <a:lnTo>
                  <a:pt x="28" y="16"/>
                </a:lnTo>
                <a:lnTo>
                  <a:pt x="22" y="16"/>
                </a:lnTo>
                <a:lnTo>
                  <a:pt x="22" y="21"/>
                </a:lnTo>
                <a:lnTo>
                  <a:pt x="17" y="21"/>
                </a:lnTo>
                <a:lnTo>
                  <a:pt x="11" y="27"/>
                </a:lnTo>
                <a:lnTo>
                  <a:pt x="6" y="32"/>
                </a:lnTo>
                <a:lnTo>
                  <a:pt x="6" y="27"/>
                </a:lnTo>
                <a:lnTo>
                  <a:pt x="11" y="27"/>
                </a:lnTo>
                <a:lnTo>
                  <a:pt x="11" y="21"/>
                </a:lnTo>
                <a:lnTo>
                  <a:pt x="17" y="21"/>
                </a:lnTo>
                <a:lnTo>
                  <a:pt x="11" y="21"/>
                </a:lnTo>
                <a:lnTo>
                  <a:pt x="6" y="21"/>
                </a:lnTo>
                <a:lnTo>
                  <a:pt x="0" y="21"/>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29" name="Freeform 240">
            <a:extLst>
              <a:ext uri="{FF2B5EF4-FFF2-40B4-BE49-F238E27FC236}">
                <a16:creationId xmlns:a16="http://schemas.microsoft.com/office/drawing/2014/main" id="{BEE3DA8B-DE19-3483-95BB-5ECA9CF049D3}"/>
              </a:ext>
            </a:extLst>
          </p:cNvPr>
          <p:cNvSpPr>
            <a:spLocks/>
          </p:cNvSpPr>
          <p:nvPr/>
        </p:nvSpPr>
        <p:spPr bwMode="auto">
          <a:xfrm>
            <a:off x="2938464" y="2252663"/>
            <a:ext cx="30163" cy="60325"/>
          </a:xfrm>
          <a:custGeom>
            <a:avLst/>
            <a:gdLst>
              <a:gd name="T0" fmla="*/ 0 w 27"/>
              <a:gd name="T1" fmla="*/ 11 h 49"/>
              <a:gd name="T2" fmla="*/ 0 w 27"/>
              <a:gd name="T3" fmla="*/ 5 h 49"/>
              <a:gd name="T4" fmla="*/ 0 w 27"/>
              <a:gd name="T5" fmla="*/ 0 h 49"/>
              <a:gd name="T6" fmla="*/ 11 w 27"/>
              <a:gd name="T7" fmla="*/ 0 h 49"/>
              <a:gd name="T8" fmla="*/ 11 w 27"/>
              <a:gd name="T9" fmla="*/ 5 h 49"/>
              <a:gd name="T10" fmla="*/ 16 w 27"/>
              <a:gd name="T11" fmla="*/ 5 h 49"/>
              <a:gd name="T12" fmla="*/ 16 w 27"/>
              <a:gd name="T13" fmla="*/ 11 h 49"/>
              <a:gd name="T14" fmla="*/ 16 w 27"/>
              <a:gd name="T15" fmla="*/ 16 h 49"/>
              <a:gd name="T16" fmla="*/ 16 w 27"/>
              <a:gd name="T17" fmla="*/ 21 h 49"/>
              <a:gd name="T18" fmla="*/ 21 w 27"/>
              <a:gd name="T19" fmla="*/ 27 h 49"/>
              <a:gd name="T20" fmla="*/ 27 w 27"/>
              <a:gd name="T21" fmla="*/ 27 h 49"/>
              <a:gd name="T22" fmla="*/ 27 w 27"/>
              <a:gd name="T23" fmla="*/ 32 h 49"/>
              <a:gd name="T24" fmla="*/ 21 w 27"/>
              <a:gd name="T25" fmla="*/ 38 h 49"/>
              <a:gd name="T26" fmla="*/ 21 w 27"/>
              <a:gd name="T27" fmla="*/ 43 h 49"/>
              <a:gd name="T28" fmla="*/ 16 w 27"/>
              <a:gd name="T29" fmla="*/ 43 h 49"/>
              <a:gd name="T30" fmla="*/ 16 w 27"/>
              <a:gd name="T31" fmla="*/ 49 h 49"/>
              <a:gd name="T32" fmla="*/ 11 w 27"/>
              <a:gd name="T33" fmla="*/ 49 h 49"/>
              <a:gd name="T34" fmla="*/ 11 w 27"/>
              <a:gd name="T35" fmla="*/ 43 h 49"/>
              <a:gd name="T36" fmla="*/ 5 w 27"/>
              <a:gd name="T37" fmla="*/ 38 h 49"/>
              <a:gd name="T38" fmla="*/ 0 w 27"/>
              <a:gd name="T39" fmla="*/ 38 h 49"/>
              <a:gd name="T40" fmla="*/ 5 w 27"/>
              <a:gd name="T41" fmla="*/ 38 h 49"/>
              <a:gd name="T42" fmla="*/ 0 w 27"/>
              <a:gd name="T43" fmla="*/ 32 h 49"/>
              <a:gd name="T44" fmla="*/ 5 w 27"/>
              <a:gd name="T45" fmla="*/ 27 h 49"/>
              <a:gd name="T46" fmla="*/ 5 w 27"/>
              <a:gd name="T47" fmla="*/ 21 h 49"/>
              <a:gd name="T48" fmla="*/ 0 w 27"/>
              <a:gd name="T49" fmla="*/ 21 h 49"/>
              <a:gd name="T50" fmla="*/ 5 w 27"/>
              <a:gd name="T51" fmla="*/ 16 h 49"/>
              <a:gd name="T52" fmla="*/ 0 w 27"/>
              <a:gd name="T53"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9">
                <a:moveTo>
                  <a:pt x="0" y="11"/>
                </a:moveTo>
                <a:lnTo>
                  <a:pt x="0" y="5"/>
                </a:lnTo>
                <a:lnTo>
                  <a:pt x="0" y="0"/>
                </a:lnTo>
                <a:lnTo>
                  <a:pt x="11" y="0"/>
                </a:lnTo>
                <a:lnTo>
                  <a:pt x="11" y="5"/>
                </a:lnTo>
                <a:lnTo>
                  <a:pt x="16" y="5"/>
                </a:lnTo>
                <a:lnTo>
                  <a:pt x="16" y="11"/>
                </a:lnTo>
                <a:lnTo>
                  <a:pt x="16" y="16"/>
                </a:lnTo>
                <a:lnTo>
                  <a:pt x="16" y="21"/>
                </a:lnTo>
                <a:lnTo>
                  <a:pt x="21" y="27"/>
                </a:lnTo>
                <a:lnTo>
                  <a:pt x="27" y="27"/>
                </a:lnTo>
                <a:lnTo>
                  <a:pt x="27" y="32"/>
                </a:lnTo>
                <a:lnTo>
                  <a:pt x="21" y="38"/>
                </a:lnTo>
                <a:lnTo>
                  <a:pt x="21" y="43"/>
                </a:lnTo>
                <a:lnTo>
                  <a:pt x="16" y="43"/>
                </a:lnTo>
                <a:lnTo>
                  <a:pt x="16" y="49"/>
                </a:lnTo>
                <a:lnTo>
                  <a:pt x="11" y="49"/>
                </a:lnTo>
                <a:lnTo>
                  <a:pt x="11" y="43"/>
                </a:lnTo>
                <a:lnTo>
                  <a:pt x="5" y="38"/>
                </a:lnTo>
                <a:lnTo>
                  <a:pt x="0" y="38"/>
                </a:lnTo>
                <a:lnTo>
                  <a:pt x="5" y="38"/>
                </a:lnTo>
                <a:lnTo>
                  <a:pt x="0" y="32"/>
                </a:lnTo>
                <a:lnTo>
                  <a:pt x="5" y="27"/>
                </a:lnTo>
                <a:lnTo>
                  <a:pt x="5" y="21"/>
                </a:lnTo>
                <a:lnTo>
                  <a:pt x="0" y="21"/>
                </a:lnTo>
                <a:lnTo>
                  <a:pt x="5" y="16"/>
                </a:lnTo>
                <a:lnTo>
                  <a:pt x="0" y="11"/>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30" name="Freeform 241">
            <a:extLst>
              <a:ext uri="{FF2B5EF4-FFF2-40B4-BE49-F238E27FC236}">
                <a16:creationId xmlns:a16="http://schemas.microsoft.com/office/drawing/2014/main" id="{303727FD-75C9-9A77-1593-BC7B195F7B62}"/>
              </a:ext>
            </a:extLst>
          </p:cNvPr>
          <p:cNvSpPr>
            <a:spLocks/>
          </p:cNvSpPr>
          <p:nvPr/>
        </p:nvSpPr>
        <p:spPr bwMode="auto">
          <a:xfrm>
            <a:off x="2955925" y="2259012"/>
            <a:ext cx="36513" cy="26988"/>
          </a:xfrm>
          <a:custGeom>
            <a:avLst/>
            <a:gdLst>
              <a:gd name="T0" fmla="*/ 11 w 33"/>
              <a:gd name="T1" fmla="*/ 22 h 22"/>
              <a:gd name="T2" fmla="*/ 5 w 33"/>
              <a:gd name="T3" fmla="*/ 22 h 22"/>
              <a:gd name="T4" fmla="*/ 0 w 33"/>
              <a:gd name="T5" fmla="*/ 16 h 22"/>
              <a:gd name="T6" fmla="*/ 0 w 33"/>
              <a:gd name="T7" fmla="*/ 11 h 22"/>
              <a:gd name="T8" fmla="*/ 0 w 33"/>
              <a:gd name="T9" fmla="*/ 6 h 22"/>
              <a:gd name="T10" fmla="*/ 5 w 33"/>
              <a:gd name="T11" fmla="*/ 6 h 22"/>
              <a:gd name="T12" fmla="*/ 5 w 33"/>
              <a:gd name="T13" fmla="*/ 0 h 22"/>
              <a:gd name="T14" fmla="*/ 11 w 33"/>
              <a:gd name="T15" fmla="*/ 6 h 22"/>
              <a:gd name="T16" fmla="*/ 11 w 33"/>
              <a:gd name="T17" fmla="*/ 0 h 22"/>
              <a:gd name="T18" fmla="*/ 16 w 33"/>
              <a:gd name="T19" fmla="*/ 0 h 22"/>
              <a:gd name="T20" fmla="*/ 22 w 33"/>
              <a:gd name="T21" fmla="*/ 0 h 22"/>
              <a:gd name="T22" fmla="*/ 27 w 33"/>
              <a:gd name="T23" fmla="*/ 6 h 22"/>
              <a:gd name="T24" fmla="*/ 33 w 33"/>
              <a:gd name="T25" fmla="*/ 6 h 22"/>
              <a:gd name="T26" fmla="*/ 33 w 33"/>
              <a:gd name="T27" fmla="*/ 11 h 22"/>
              <a:gd name="T28" fmla="*/ 33 w 33"/>
              <a:gd name="T29" fmla="*/ 16 h 22"/>
              <a:gd name="T30" fmla="*/ 33 w 33"/>
              <a:gd name="T31" fmla="*/ 22 h 22"/>
              <a:gd name="T32" fmla="*/ 33 w 33"/>
              <a:gd name="T33" fmla="*/ 16 h 22"/>
              <a:gd name="T34" fmla="*/ 27 w 33"/>
              <a:gd name="T35" fmla="*/ 22 h 22"/>
              <a:gd name="T36" fmla="*/ 22 w 33"/>
              <a:gd name="T37" fmla="*/ 22 h 22"/>
              <a:gd name="T38" fmla="*/ 22 w 33"/>
              <a:gd name="T39" fmla="*/ 16 h 22"/>
              <a:gd name="T40" fmla="*/ 22 w 33"/>
              <a:gd name="T41" fmla="*/ 22 h 22"/>
              <a:gd name="T42" fmla="*/ 16 w 33"/>
              <a:gd name="T43" fmla="*/ 22 h 22"/>
              <a:gd name="T44" fmla="*/ 11 w 33"/>
              <a:gd name="T4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 h="22">
                <a:moveTo>
                  <a:pt x="11" y="22"/>
                </a:moveTo>
                <a:lnTo>
                  <a:pt x="5" y="22"/>
                </a:lnTo>
                <a:lnTo>
                  <a:pt x="0" y="16"/>
                </a:lnTo>
                <a:lnTo>
                  <a:pt x="0" y="11"/>
                </a:lnTo>
                <a:lnTo>
                  <a:pt x="0" y="6"/>
                </a:lnTo>
                <a:lnTo>
                  <a:pt x="5" y="6"/>
                </a:lnTo>
                <a:lnTo>
                  <a:pt x="5" y="0"/>
                </a:lnTo>
                <a:lnTo>
                  <a:pt x="11" y="6"/>
                </a:lnTo>
                <a:lnTo>
                  <a:pt x="11" y="0"/>
                </a:lnTo>
                <a:lnTo>
                  <a:pt x="16" y="0"/>
                </a:lnTo>
                <a:lnTo>
                  <a:pt x="22" y="0"/>
                </a:lnTo>
                <a:lnTo>
                  <a:pt x="27" y="6"/>
                </a:lnTo>
                <a:lnTo>
                  <a:pt x="33" y="6"/>
                </a:lnTo>
                <a:lnTo>
                  <a:pt x="33" y="11"/>
                </a:lnTo>
                <a:lnTo>
                  <a:pt x="33" y="16"/>
                </a:lnTo>
                <a:lnTo>
                  <a:pt x="33" y="22"/>
                </a:lnTo>
                <a:lnTo>
                  <a:pt x="33" y="16"/>
                </a:lnTo>
                <a:lnTo>
                  <a:pt x="27" y="22"/>
                </a:lnTo>
                <a:lnTo>
                  <a:pt x="22" y="22"/>
                </a:lnTo>
                <a:lnTo>
                  <a:pt x="22" y="16"/>
                </a:lnTo>
                <a:lnTo>
                  <a:pt x="22" y="22"/>
                </a:lnTo>
                <a:lnTo>
                  <a:pt x="16" y="22"/>
                </a:lnTo>
                <a:lnTo>
                  <a:pt x="11" y="22"/>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31" name="Freeform 242">
            <a:extLst>
              <a:ext uri="{FF2B5EF4-FFF2-40B4-BE49-F238E27FC236}">
                <a16:creationId xmlns:a16="http://schemas.microsoft.com/office/drawing/2014/main" id="{23C1A8FA-2393-E414-0750-05ADBC4A95FD}"/>
              </a:ext>
            </a:extLst>
          </p:cNvPr>
          <p:cNvSpPr>
            <a:spLocks/>
          </p:cNvSpPr>
          <p:nvPr/>
        </p:nvSpPr>
        <p:spPr bwMode="auto">
          <a:xfrm>
            <a:off x="2917824" y="2239963"/>
            <a:ext cx="31750" cy="25400"/>
          </a:xfrm>
          <a:custGeom>
            <a:avLst/>
            <a:gdLst>
              <a:gd name="T0" fmla="*/ 28 w 28"/>
              <a:gd name="T1" fmla="*/ 11 h 22"/>
              <a:gd name="T2" fmla="*/ 17 w 28"/>
              <a:gd name="T3" fmla="*/ 11 h 22"/>
              <a:gd name="T4" fmla="*/ 17 w 28"/>
              <a:gd name="T5" fmla="*/ 16 h 22"/>
              <a:gd name="T6" fmla="*/ 17 w 28"/>
              <a:gd name="T7" fmla="*/ 22 h 22"/>
              <a:gd name="T8" fmla="*/ 11 w 28"/>
              <a:gd name="T9" fmla="*/ 22 h 22"/>
              <a:gd name="T10" fmla="*/ 11 w 28"/>
              <a:gd name="T11" fmla="*/ 16 h 22"/>
              <a:gd name="T12" fmla="*/ 6 w 28"/>
              <a:gd name="T13" fmla="*/ 16 h 22"/>
              <a:gd name="T14" fmla="*/ 6 w 28"/>
              <a:gd name="T15" fmla="*/ 11 h 22"/>
              <a:gd name="T16" fmla="*/ 0 w 28"/>
              <a:gd name="T17" fmla="*/ 5 h 22"/>
              <a:gd name="T18" fmla="*/ 6 w 28"/>
              <a:gd name="T19" fmla="*/ 0 h 22"/>
              <a:gd name="T20" fmla="*/ 11 w 28"/>
              <a:gd name="T21" fmla="*/ 0 h 22"/>
              <a:gd name="T22" fmla="*/ 6 w 28"/>
              <a:gd name="T23" fmla="*/ 0 h 22"/>
              <a:gd name="T24" fmla="*/ 11 w 28"/>
              <a:gd name="T25" fmla="*/ 0 h 22"/>
              <a:gd name="T26" fmla="*/ 17 w 28"/>
              <a:gd name="T27" fmla="*/ 0 h 22"/>
              <a:gd name="T28" fmla="*/ 17 w 28"/>
              <a:gd name="T29" fmla="*/ 5 h 22"/>
              <a:gd name="T30" fmla="*/ 22 w 28"/>
              <a:gd name="T31" fmla="*/ 5 h 22"/>
              <a:gd name="T32" fmla="*/ 28 w 28"/>
              <a:gd name="T33" fmla="*/ 5 h 22"/>
              <a:gd name="T34" fmla="*/ 28 w 28"/>
              <a:gd name="T35"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22">
                <a:moveTo>
                  <a:pt x="28" y="11"/>
                </a:moveTo>
                <a:lnTo>
                  <a:pt x="17" y="11"/>
                </a:lnTo>
                <a:lnTo>
                  <a:pt x="17" y="16"/>
                </a:lnTo>
                <a:lnTo>
                  <a:pt x="17" y="22"/>
                </a:lnTo>
                <a:lnTo>
                  <a:pt x="11" y="22"/>
                </a:lnTo>
                <a:lnTo>
                  <a:pt x="11" y="16"/>
                </a:lnTo>
                <a:lnTo>
                  <a:pt x="6" y="16"/>
                </a:lnTo>
                <a:lnTo>
                  <a:pt x="6" y="11"/>
                </a:lnTo>
                <a:lnTo>
                  <a:pt x="0" y="5"/>
                </a:lnTo>
                <a:lnTo>
                  <a:pt x="6" y="0"/>
                </a:lnTo>
                <a:lnTo>
                  <a:pt x="11" y="0"/>
                </a:lnTo>
                <a:lnTo>
                  <a:pt x="6" y="0"/>
                </a:lnTo>
                <a:lnTo>
                  <a:pt x="11" y="0"/>
                </a:lnTo>
                <a:lnTo>
                  <a:pt x="17" y="0"/>
                </a:lnTo>
                <a:lnTo>
                  <a:pt x="17" y="5"/>
                </a:lnTo>
                <a:lnTo>
                  <a:pt x="22" y="5"/>
                </a:lnTo>
                <a:lnTo>
                  <a:pt x="28" y="5"/>
                </a:lnTo>
                <a:lnTo>
                  <a:pt x="28" y="11"/>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32" name="Freeform 243">
            <a:extLst>
              <a:ext uri="{FF2B5EF4-FFF2-40B4-BE49-F238E27FC236}">
                <a16:creationId xmlns:a16="http://schemas.microsoft.com/office/drawing/2014/main" id="{9DD3904C-51C4-A932-FFA9-8840C6597296}"/>
              </a:ext>
            </a:extLst>
          </p:cNvPr>
          <p:cNvSpPr>
            <a:spLocks/>
          </p:cNvSpPr>
          <p:nvPr/>
        </p:nvSpPr>
        <p:spPr bwMode="auto">
          <a:xfrm>
            <a:off x="2949575" y="2239963"/>
            <a:ext cx="23813" cy="25400"/>
          </a:xfrm>
          <a:custGeom>
            <a:avLst/>
            <a:gdLst>
              <a:gd name="T0" fmla="*/ 21 w 21"/>
              <a:gd name="T1" fmla="*/ 16 h 22"/>
              <a:gd name="T2" fmla="*/ 16 w 21"/>
              <a:gd name="T3" fmla="*/ 16 h 22"/>
              <a:gd name="T4" fmla="*/ 16 w 21"/>
              <a:gd name="T5" fmla="*/ 22 h 22"/>
              <a:gd name="T6" fmla="*/ 10 w 21"/>
              <a:gd name="T7" fmla="*/ 16 h 22"/>
              <a:gd name="T8" fmla="*/ 10 w 21"/>
              <a:gd name="T9" fmla="*/ 22 h 22"/>
              <a:gd name="T10" fmla="*/ 5 w 21"/>
              <a:gd name="T11" fmla="*/ 22 h 22"/>
              <a:gd name="T12" fmla="*/ 5 w 21"/>
              <a:gd name="T13" fmla="*/ 16 h 22"/>
              <a:gd name="T14" fmla="*/ 0 w 21"/>
              <a:gd name="T15" fmla="*/ 16 h 22"/>
              <a:gd name="T16" fmla="*/ 0 w 21"/>
              <a:gd name="T17" fmla="*/ 11 h 22"/>
              <a:gd name="T18" fmla="*/ 5 w 21"/>
              <a:gd name="T19" fmla="*/ 5 h 22"/>
              <a:gd name="T20" fmla="*/ 5 w 21"/>
              <a:gd name="T21" fmla="*/ 0 h 22"/>
              <a:gd name="T22" fmla="*/ 5 w 21"/>
              <a:gd name="T23" fmla="*/ 5 h 22"/>
              <a:gd name="T24" fmla="*/ 10 w 21"/>
              <a:gd name="T25" fmla="*/ 5 h 22"/>
              <a:gd name="T26" fmla="*/ 16 w 21"/>
              <a:gd name="T27" fmla="*/ 11 h 22"/>
              <a:gd name="T28" fmla="*/ 21 w 21"/>
              <a:gd name="T29" fmla="*/ 11 h 22"/>
              <a:gd name="T30" fmla="*/ 21 w 21"/>
              <a:gd name="T31" fmla="*/ 16 h 22"/>
              <a:gd name="T32" fmla="*/ 16 w 21"/>
              <a:gd name="T33" fmla="*/ 16 h 22"/>
              <a:gd name="T34" fmla="*/ 21 w 21"/>
              <a:gd name="T35"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 h="22">
                <a:moveTo>
                  <a:pt x="21" y="16"/>
                </a:moveTo>
                <a:lnTo>
                  <a:pt x="16" y="16"/>
                </a:lnTo>
                <a:lnTo>
                  <a:pt x="16" y="22"/>
                </a:lnTo>
                <a:lnTo>
                  <a:pt x="10" y="16"/>
                </a:lnTo>
                <a:lnTo>
                  <a:pt x="10" y="22"/>
                </a:lnTo>
                <a:lnTo>
                  <a:pt x="5" y="22"/>
                </a:lnTo>
                <a:lnTo>
                  <a:pt x="5" y="16"/>
                </a:lnTo>
                <a:lnTo>
                  <a:pt x="0" y="16"/>
                </a:lnTo>
                <a:lnTo>
                  <a:pt x="0" y="11"/>
                </a:lnTo>
                <a:lnTo>
                  <a:pt x="5" y="5"/>
                </a:lnTo>
                <a:lnTo>
                  <a:pt x="5" y="0"/>
                </a:lnTo>
                <a:lnTo>
                  <a:pt x="5" y="5"/>
                </a:lnTo>
                <a:lnTo>
                  <a:pt x="10" y="5"/>
                </a:lnTo>
                <a:lnTo>
                  <a:pt x="16" y="11"/>
                </a:lnTo>
                <a:lnTo>
                  <a:pt x="21" y="11"/>
                </a:lnTo>
                <a:lnTo>
                  <a:pt x="21" y="16"/>
                </a:lnTo>
                <a:lnTo>
                  <a:pt x="16" y="16"/>
                </a:lnTo>
                <a:lnTo>
                  <a:pt x="21" y="16"/>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33" name="Freeform 244">
            <a:extLst>
              <a:ext uri="{FF2B5EF4-FFF2-40B4-BE49-F238E27FC236}">
                <a16:creationId xmlns:a16="http://schemas.microsoft.com/office/drawing/2014/main" id="{17D7AB6A-E7B4-04E3-F7AD-D2BA4D7373AD}"/>
              </a:ext>
            </a:extLst>
          </p:cNvPr>
          <p:cNvSpPr>
            <a:spLocks/>
          </p:cNvSpPr>
          <p:nvPr/>
        </p:nvSpPr>
        <p:spPr bwMode="auto">
          <a:xfrm>
            <a:off x="2917825" y="2185989"/>
            <a:ext cx="74613" cy="73025"/>
          </a:xfrm>
          <a:custGeom>
            <a:avLst/>
            <a:gdLst>
              <a:gd name="T0" fmla="*/ 28 w 66"/>
              <a:gd name="T1" fmla="*/ 55 h 60"/>
              <a:gd name="T2" fmla="*/ 28 w 66"/>
              <a:gd name="T3" fmla="*/ 49 h 60"/>
              <a:gd name="T4" fmla="*/ 22 w 66"/>
              <a:gd name="T5" fmla="*/ 49 h 60"/>
              <a:gd name="T6" fmla="*/ 17 w 66"/>
              <a:gd name="T7" fmla="*/ 49 h 60"/>
              <a:gd name="T8" fmla="*/ 17 w 66"/>
              <a:gd name="T9" fmla="*/ 44 h 60"/>
              <a:gd name="T10" fmla="*/ 11 w 66"/>
              <a:gd name="T11" fmla="*/ 44 h 60"/>
              <a:gd name="T12" fmla="*/ 17 w 66"/>
              <a:gd name="T13" fmla="*/ 38 h 60"/>
              <a:gd name="T14" fmla="*/ 11 w 66"/>
              <a:gd name="T15" fmla="*/ 33 h 60"/>
              <a:gd name="T16" fmla="*/ 17 w 66"/>
              <a:gd name="T17" fmla="*/ 33 h 60"/>
              <a:gd name="T18" fmla="*/ 11 w 66"/>
              <a:gd name="T19" fmla="*/ 27 h 60"/>
              <a:gd name="T20" fmla="*/ 11 w 66"/>
              <a:gd name="T21" fmla="*/ 22 h 60"/>
              <a:gd name="T22" fmla="*/ 6 w 66"/>
              <a:gd name="T23" fmla="*/ 22 h 60"/>
              <a:gd name="T24" fmla="*/ 6 w 66"/>
              <a:gd name="T25" fmla="*/ 16 h 60"/>
              <a:gd name="T26" fmla="*/ 11 w 66"/>
              <a:gd name="T27" fmla="*/ 16 h 60"/>
              <a:gd name="T28" fmla="*/ 6 w 66"/>
              <a:gd name="T29" fmla="*/ 11 h 60"/>
              <a:gd name="T30" fmla="*/ 0 w 66"/>
              <a:gd name="T31" fmla="*/ 6 h 60"/>
              <a:gd name="T32" fmla="*/ 6 w 66"/>
              <a:gd name="T33" fmla="*/ 0 h 60"/>
              <a:gd name="T34" fmla="*/ 11 w 66"/>
              <a:gd name="T35" fmla="*/ 0 h 60"/>
              <a:gd name="T36" fmla="*/ 17 w 66"/>
              <a:gd name="T37" fmla="*/ 0 h 60"/>
              <a:gd name="T38" fmla="*/ 22 w 66"/>
              <a:gd name="T39" fmla="*/ 0 h 60"/>
              <a:gd name="T40" fmla="*/ 28 w 66"/>
              <a:gd name="T41" fmla="*/ 6 h 60"/>
              <a:gd name="T42" fmla="*/ 28 w 66"/>
              <a:gd name="T43" fmla="*/ 11 h 60"/>
              <a:gd name="T44" fmla="*/ 33 w 66"/>
              <a:gd name="T45" fmla="*/ 11 h 60"/>
              <a:gd name="T46" fmla="*/ 38 w 66"/>
              <a:gd name="T47" fmla="*/ 16 h 60"/>
              <a:gd name="T48" fmla="*/ 38 w 66"/>
              <a:gd name="T49" fmla="*/ 22 h 60"/>
              <a:gd name="T50" fmla="*/ 44 w 66"/>
              <a:gd name="T51" fmla="*/ 22 h 60"/>
              <a:gd name="T52" fmla="*/ 49 w 66"/>
              <a:gd name="T53" fmla="*/ 22 h 60"/>
              <a:gd name="T54" fmla="*/ 49 w 66"/>
              <a:gd name="T55" fmla="*/ 27 h 60"/>
              <a:gd name="T56" fmla="*/ 55 w 66"/>
              <a:gd name="T57" fmla="*/ 22 h 60"/>
              <a:gd name="T58" fmla="*/ 60 w 66"/>
              <a:gd name="T59" fmla="*/ 27 h 60"/>
              <a:gd name="T60" fmla="*/ 55 w 66"/>
              <a:gd name="T61" fmla="*/ 27 h 60"/>
              <a:gd name="T62" fmla="*/ 60 w 66"/>
              <a:gd name="T63" fmla="*/ 33 h 60"/>
              <a:gd name="T64" fmla="*/ 55 w 66"/>
              <a:gd name="T65" fmla="*/ 33 h 60"/>
              <a:gd name="T66" fmla="*/ 55 w 66"/>
              <a:gd name="T67" fmla="*/ 38 h 60"/>
              <a:gd name="T68" fmla="*/ 60 w 66"/>
              <a:gd name="T69" fmla="*/ 44 h 60"/>
              <a:gd name="T70" fmla="*/ 66 w 66"/>
              <a:gd name="T71" fmla="*/ 49 h 60"/>
              <a:gd name="T72" fmla="*/ 60 w 66"/>
              <a:gd name="T73" fmla="*/ 49 h 60"/>
              <a:gd name="T74" fmla="*/ 55 w 66"/>
              <a:gd name="T75" fmla="*/ 55 h 60"/>
              <a:gd name="T76" fmla="*/ 60 w 66"/>
              <a:gd name="T77" fmla="*/ 60 h 60"/>
              <a:gd name="T78" fmla="*/ 55 w 66"/>
              <a:gd name="T79" fmla="*/ 60 h 60"/>
              <a:gd name="T80" fmla="*/ 49 w 66"/>
              <a:gd name="T81" fmla="*/ 60 h 60"/>
              <a:gd name="T82" fmla="*/ 44 w 66"/>
              <a:gd name="T83" fmla="*/ 60 h 60"/>
              <a:gd name="T84" fmla="*/ 49 w 66"/>
              <a:gd name="T85" fmla="*/ 60 h 60"/>
              <a:gd name="T86" fmla="*/ 49 w 66"/>
              <a:gd name="T87" fmla="*/ 55 h 60"/>
              <a:gd name="T88" fmla="*/ 44 w 66"/>
              <a:gd name="T89" fmla="*/ 55 h 60"/>
              <a:gd name="T90" fmla="*/ 38 w 66"/>
              <a:gd name="T91" fmla="*/ 49 h 60"/>
              <a:gd name="T92" fmla="*/ 33 w 66"/>
              <a:gd name="T93" fmla="*/ 49 h 60"/>
              <a:gd name="T94" fmla="*/ 33 w 66"/>
              <a:gd name="T95" fmla="*/ 44 h 60"/>
              <a:gd name="T96" fmla="*/ 33 w 66"/>
              <a:gd name="T97" fmla="*/ 49 h 60"/>
              <a:gd name="T98" fmla="*/ 28 w 66"/>
              <a:gd name="T99" fmla="*/ 5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 h="60">
                <a:moveTo>
                  <a:pt x="28" y="55"/>
                </a:moveTo>
                <a:lnTo>
                  <a:pt x="28" y="49"/>
                </a:lnTo>
                <a:lnTo>
                  <a:pt x="22" y="49"/>
                </a:lnTo>
                <a:lnTo>
                  <a:pt x="17" y="49"/>
                </a:lnTo>
                <a:lnTo>
                  <a:pt x="17" y="44"/>
                </a:lnTo>
                <a:lnTo>
                  <a:pt x="11" y="44"/>
                </a:lnTo>
                <a:lnTo>
                  <a:pt x="17" y="38"/>
                </a:lnTo>
                <a:lnTo>
                  <a:pt x="11" y="33"/>
                </a:lnTo>
                <a:lnTo>
                  <a:pt x="17" y="33"/>
                </a:lnTo>
                <a:lnTo>
                  <a:pt x="11" y="27"/>
                </a:lnTo>
                <a:lnTo>
                  <a:pt x="11" y="22"/>
                </a:lnTo>
                <a:lnTo>
                  <a:pt x="6" y="22"/>
                </a:lnTo>
                <a:lnTo>
                  <a:pt x="6" y="16"/>
                </a:lnTo>
                <a:lnTo>
                  <a:pt x="11" y="16"/>
                </a:lnTo>
                <a:lnTo>
                  <a:pt x="6" y="11"/>
                </a:lnTo>
                <a:lnTo>
                  <a:pt x="0" y="6"/>
                </a:lnTo>
                <a:lnTo>
                  <a:pt x="6" y="0"/>
                </a:lnTo>
                <a:lnTo>
                  <a:pt x="11" y="0"/>
                </a:lnTo>
                <a:lnTo>
                  <a:pt x="17" y="0"/>
                </a:lnTo>
                <a:lnTo>
                  <a:pt x="22" y="0"/>
                </a:lnTo>
                <a:lnTo>
                  <a:pt x="28" y="6"/>
                </a:lnTo>
                <a:lnTo>
                  <a:pt x="28" y="11"/>
                </a:lnTo>
                <a:lnTo>
                  <a:pt x="33" y="11"/>
                </a:lnTo>
                <a:lnTo>
                  <a:pt x="38" y="16"/>
                </a:lnTo>
                <a:lnTo>
                  <a:pt x="38" y="22"/>
                </a:lnTo>
                <a:lnTo>
                  <a:pt x="44" y="22"/>
                </a:lnTo>
                <a:lnTo>
                  <a:pt x="49" y="22"/>
                </a:lnTo>
                <a:lnTo>
                  <a:pt x="49" y="27"/>
                </a:lnTo>
                <a:lnTo>
                  <a:pt x="55" y="22"/>
                </a:lnTo>
                <a:lnTo>
                  <a:pt x="60" y="27"/>
                </a:lnTo>
                <a:lnTo>
                  <a:pt x="55" y="27"/>
                </a:lnTo>
                <a:lnTo>
                  <a:pt x="60" y="33"/>
                </a:lnTo>
                <a:lnTo>
                  <a:pt x="55" y="33"/>
                </a:lnTo>
                <a:lnTo>
                  <a:pt x="55" y="38"/>
                </a:lnTo>
                <a:lnTo>
                  <a:pt x="60" y="44"/>
                </a:lnTo>
                <a:lnTo>
                  <a:pt x="66" y="49"/>
                </a:lnTo>
                <a:lnTo>
                  <a:pt x="60" y="49"/>
                </a:lnTo>
                <a:lnTo>
                  <a:pt x="55" y="55"/>
                </a:lnTo>
                <a:lnTo>
                  <a:pt x="60" y="60"/>
                </a:lnTo>
                <a:lnTo>
                  <a:pt x="55" y="60"/>
                </a:lnTo>
                <a:lnTo>
                  <a:pt x="49" y="60"/>
                </a:lnTo>
                <a:lnTo>
                  <a:pt x="44" y="60"/>
                </a:lnTo>
                <a:lnTo>
                  <a:pt x="49" y="60"/>
                </a:lnTo>
                <a:lnTo>
                  <a:pt x="49" y="55"/>
                </a:lnTo>
                <a:lnTo>
                  <a:pt x="44" y="55"/>
                </a:lnTo>
                <a:lnTo>
                  <a:pt x="38" y="49"/>
                </a:lnTo>
                <a:lnTo>
                  <a:pt x="33" y="49"/>
                </a:lnTo>
                <a:lnTo>
                  <a:pt x="33" y="44"/>
                </a:lnTo>
                <a:lnTo>
                  <a:pt x="33" y="49"/>
                </a:lnTo>
                <a:lnTo>
                  <a:pt x="28" y="55"/>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34" name="Freeform 245">
            <a:extLst>
              <a:ext uri="{FF2B5EF4-FFF2-40B4-BE49-F238E27FC236}">
                <a16:creationId xmlns:a16="http://schemas.microsoft.com/office/drawing/2014/main" id="{E6CB4C8A-C3CF-5836-0391-05F1B389228E}"/>
              </a:ext>
            </a:extLst>
          </p:cNvPr>
          <p:cNvSpPr>
            <a:spLocks/>
          </p:cNvSpPr>
          <p:nvPr/>
        </p:nvSpPr>
        <p:spPr bwMode="auto">
          <a:xfrm>
            <a:off x="2876550" y="2205038"/>
            <a:ext cx="61913" cy="47625"/>
          </a:xfrm>
          <a:custGeom>
            <a:avLst/>
            <a:gdLst>
              <a:gd name="T0" fmla="*/ 27 w 55"/>
              <a:gd name="T1" fmla="*/ 33 h 39"/>
              <a:gd name="T2" fmla="*/ 22 w 55"/>
              <a:gd name="T3" fmla="*/ 28 h 39"/>
              <a:gd name="T4" fmla="*/ 16 w 55"/>
              <a:gd name="T5" fmla="*/ 22 h 39"/>
              <a:gd name="T6" fmla="*/ 11 w 55"/>
              <a:gd name="T7" fmla="*/ 17 h 39"/>
              <a:gd name="T8" fmla="*/ 6 w 55"/>
              <a:gd name="T9" fmla="*/ 17 h 39"/>
              <a:gd name="T10" fmla="*/ 6 w 55"/>
              <a:gd name="T11" fmla="*/ 11 h 39"/>
              <a:gd name="T12" fmla="*/ 0 w 55"/>
              <a:gd name="T13" fmla="*/ 6 h 39"/>
              <a:gd name="T14" fmla="*/ 0 w 55"/>
              <a:gd name="T15" fmla="*/ 0 h 39"/>
              <a:gd name="T16" fmla="*/ 6 w 55"/>
              <a:gd name="T17" fmla="*/ 0 h 39"/>
              <a:gd name="T18" fmla="*/ 11 w 55"/>
              <a:gd name="T19" fmla="*/ 0 h 39"/>
              <a:gd name="T20" fmla="*/ 16 w 55"/>
              <a:gd name="T21" fmla="*/ 0 h 39"/>
              <a:gd name="T22" fmla="*/ 22 w 55"/>
              <a:gd name="T23" fmla="*/ 0 h 39"/>
              <a:gd name="T24" fmla="*/ 27 w 55"/>
              <a:gd name="T25" fmla="*/ 0 h 39"/>
              <a:gd name="T26" fmla="*/ 33 w 55"/>
              <a:gd name="T27" fmla="*/ 0 h 39"/>
              <a:gd name="T28" fmla="*/ 38 w 55"/>
              <a:gd name="T29" fmla="*/ 0 h 39"/>
              <a:gd name="T30" fmla="*/ 44 w 55"/>
              <a:gd name="T31" fmla="*/ 6 h 39"/>
              <a:gd name="T32" fmla="*/ 49 w 55"/>
              <a:gd name="T33" fmla="*/ 6 h 39"/>
              <a:gd name="T34" fmla="*/ 49 w 55"/>
              <a:gd name="T35" fmla="*/ 11 h 39"/>
              <a:gd name="T36" fmla="*/ 55 w 55"/>
              <a:gd name="T37" fmla="*/ 17 h 39"/>
              <a:gd name="T38" fmla="*/ 49 w 55"/>
              <a:gd name="T39" fmla="*/ 17 h 39"/>
              <a:gd name="T40" fmla="*/ 55 w 55"/>
              <a:gd name="T41" fmla="*/ 22 h 39"/>
              <a:gd name="T42" fmla="*/ 49 w 55"/>
              <a:gd name="T43" fmla="*/ 28 h 39"/>
              <a:gd name="T44" fmla="*/ 44 w 55"/>
              <a:gd name="T45" fmla="*/ 28 h 39"/>
              <a:gd name="T46" fmla="*/ 49 w 55"/>
              <a:gd name="T47" fmla="*/ 28 h 39"/>
              <a:gd name="T48" fmla="*/ 44 w 55"/>
              <a:gd name="T49" fmla="*/ 28 h 39"/>
              <a:gd name="T50" fmla="*/ 38 w 55"/>
              <a:gd name="T51" fmla="*/ 33 h 39"/>
              <a:gd name="T52" fmla="*/ 44 w 55"/>
              <a:gd name="T53" fmla="*/ 39 h 39"/>
              <a:gd name="T54" fmla="*/ 38 w 55"/>
              <a:gd name="T55" fmla="*/ 39 h 39"/>
              <a:gd name="T56" fmla="*/ 33 w 55"/>
              <a:gd name="T57" fmla="*/ 39 h 39"/>
              <a:gd name="T58" fmla="*/ 33 w 55"/>
              <a:gd name="T59" fmla="*/ 33 h 39"/>
              <a:gd name="T60" fmla="*/ 27 w 55"/>
              <a:gd name="T61"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39">
                <a:moveTo>
                  <a:pt x="27" y="33"/>
                </a:moveTo>
                <a:lnTo>
                  <a:pt x="22" y="28"/>
                </a:lnTo>
                <a:lnTo>
                  <a:pt x="16" y="22"/>
                </a:lnTo>
                <a:lnTo>
                  <a:pt x="11" y="17"/>
                </a:lnTo>
                <a:lnTo>
                  <a:pt x="6" y="17"/>
                </a:lnTo>
                <a:lnTo>
                  <a:pt x="6" y="11"/>
                </a:lnTo>
                <a:lnTo>
                  <a:pt x="0" y="6"/>
                </a:lnTo>
                <a:lnTo>
                  <a:pt x="0" y="0"/>
                </a:lnTo>
                <a:lnTo>
                  <a:pt x="6" y="0"/>
                </a:lnTo>
                <a:lnTo>
                  <a:pt x="11" y="0"/>
                </a:lnTo>
                <a:lnTo>
                  <a:pt x="16" y="0"/>
                </a:lnTo>
                <a:lnTo>
                  <a:pt x="22" y="0"/>
                </a:lnTo>
                <a:lnTo>
                  <a:pt x="27" y="0"/>
                </a:lnTo>
                <a:lnTo>
                  <a:pt x="33" y="0"/>
                </a:lnTo>
                <a:lnTo>
                  <a:pt x="38" y="0"/>
                </a:lnTo>
                <a:lnTo>
                  <a:pt x="44" y="6"/>
                </a:lnTo>
                <a:lnTo>
                  <a:pt x="49" y="6"/>
                </a:lnTo>
                <a:lnTo>
                  <a:pt x="49" y="11"/>
                </a:lnTo>
                <a:lnTo>
                  <a:pt x="55" y="17"/>
                </a:lnTo>
                <a:lnTo>
                  <a:pt x="49" y="17"/>
                </a:lnTo>
                <a:lnTo>
                  <a:pt x="55" y="22"/>
                </a:lnTo>
                <a:lnTo>
                  <a:pt x="49" y="28"/>
                </a:lnTo>
                <a:lnTo>
                  <a:pt x="44" y="28"/>
                </a:lnTo>
                <a:lnTo>
                  <a:pt x="49" y="28"/>
                </a:lnTo>
                <a:lnTo>
                  <a:pt x="44" y="28"/>
                </a:lnTo>
                <a:lnTo>
                  <a:pt x="38" y="33"/>
                </a:lnTo>
                <a:lnTo>
                  <a:pt x="44" y="39"/>
                </a:lnTo>
                <a:lnTo>
                  <a:pt x="38" y="39"/>
                </a:lnTo>
                <a:lnTo>
                  <a:pt x="33" y="39"/>
                </a:lnTo>
                <a:lnTo>
                  <a:pt x="33" y="33"/>
                </a:lnTo>
                <a:lnTo>
                  <a:pt x="27" y="33"/>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35" name="Rectangle 246">
            <a:extLst>
              <a:ext uri="{FF2B5EF4-FFF2-40B4-BE49-F238E27FC236}">
                <a16:creationId xmlns:a16="http://schemas.microsoft.com/office/drawing/2014/main" id="{936F2EAD-E33F-CEA1-1C90-95F02D105302}"/>
              </a:ext>
            </a:extLst>
          </p:cNvPr>
          <p:cNvSpPr>
            <a:spLocks noChangeArrowheads="1"/>
          </p:cNvSpPr>
          <p:nvPr/>
        </p:nvSpPr>
        <p:spPr bwMode="auto">
          <a:xfrm>
            <a:off x="2851150" y="2205037"/>
            <a:ext cx="6350" cy="7938"/>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236" name="Rectangle 247">
            <a:extLst>
              <a:ext uri="{FF2B5EF4-FFF2-40B4-BE49-F238E27FC236}">
                <a16:creationId xmlns:a16="http://schemas.microsoft.com/office/drawing/2014/main" id="{0E61F6A1-EED4-8961-5222-232F76AFC45B}"/>
              </a:ext>
            </a:extLst>
          </p:cNvPr>
          <p:cNvSpPr>
            <a:spLocks noChangeArrowheads="1"/>
          </p:cNvSpPr>
          <p:nvPr/>
        </p:nvSpPr>
        <p:spPr bwMode="auto">
          <a:xfrm>
            <a:off x="2863850" y="2212975"/>
            <a:ext cx="6350" cy="4763"/>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237" name="Rectangle 248">
            <a:extLst>
              <a:ext uri="{FF2B5EF4-FFF2-40B4-BE49-F238E27FC236}">
                <a16:creationId xmlns:a16="http://schemas.microsoft.com/office/drawing/2014/main" id="{8512D9ED-A681-D941-D679-C0C92CDB634A}"/>
              </a:ext>
            </a:extLst>
          </p:cNvPr>
          <p:cNvSpPr>
            <a:spLocks noChangeArrowheads="1"/>
          </p:cNvSpPr>
          <p:nvPr/>
        </p:nvSpPr>
        <p:spPr bwMode="auto">
          <a:xfrm>
            <a:off x="2863850" y="2225674"/>
            <a:ext cx="6350" cy="6350"/>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238" name="Rectangle 249">
            <a:extLst>
              <a:ext uri="{FF2B5EF4-FFF2-40B4-BE49-F238E27FC236}">
                <a16:creationId xmlns:a16="http://schemas.microsoft.com/office/drawing/2014/main" id="{2868E65F-9E07-A2F9-E4DB-00A9286D763F}"/>
              </a:ext>
            </a:extLst>
          </p:cNvPr>
          <p:cNvSpPr>
            <a:spLocks noChangeArrowheads="1"/>
          </p:cNvSpPr>
          <p:nvPr/>
        </p:nvSpPr>
        <p:spPr bwMode="auto">
          <a:xfrm>
            <a:off x="2655889" y="2252662"/>
            <a:ext cx="4763" cy="6350"/>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239" name="Rectangle 250">
            <a:extLst>
              <a:ext uri="{FF2B5EF4-FFF2-40B4-BE49-F238E27FC236}">
                <a16:creationId xmlns:a16="http://schemas.microsoft.com/office/drawing/2014/main" id="{A659260E-92DB-0154-7639-E6E28D08580F}"/>
              </a:ext>
            </a:extLst>
          </p:cNvPr>
          <p:cNvSpPr>
            <a:spLocks noChangeArrowheads="1"/>
          </p:cNvSpPr>
          <p:nvPr/>
        </p:nvSpPr>
        <p:spPr bwMode="auto">
          <a:xfrm>
            <a:off x="2613025" y="2185988"/>
            <a:ext cx="6350" cy="6350"/>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240" name="Freeform 251">
            <a:extLst>
              <a:ext uri="{FF2B5EF4-FFF2-40B4-BE49-F238E27FC236}">
                <a16:creationId xmlns:a16="http://schemas.microsoft.com/office/drawing/2014/main" id="{1C22EF0B-496A-C062-4F59-E00407B60911}"/>
              </a:ext>
            </a:extLst>
          </p:cNvPr>
          <p:cNvSpPr>
            <a:spLocks/>
          </p:cNvSpPr>
          <p:nvPr/>
        </p:nvSpPr>
        <p:spPr bwMode="auto">
          <a:xfrm>
            <a:off x="2728913" y="2152650"/>
            <a:ext cx="66675" cy="39688"/>
          </a:xfrm>
          <a:custGeom>
            <a:avLst/>
            <a:gdLst>
              <a:gd name="T0" fmla="*/ 11 w 60"/>
              <a:gd name="T1" fmla="*/ 33 h 33"/>
              <a:gd name="T2" fmla="*/ 11 w 60"/>
              <a:gd name="T3" fmla="*/ 27 h 33"/>
              <a:gd name="T4" fmla="*/ 6 w 60"/>
              <a:gd name="T5" fmla="*/ 22 h 33"/>
              <a:gd name="T6" fmla="*/ 0 w 60"/>
              <a:gd name="T7" fmla="*/ 22 h 33"/>
              <a:gd name="T8" fmla="*/ 0 w 60"/>
              <a:gd name="T9" fmla="*/ 27 h 33"/>
              <a:gd name="T10" fmla="*/ 0 w 60"/>
              <a:gd name="T11" fmla="*/ 22 h 33"/>
              <a:gd name="T12" fmla="*/ 6 w 60"/>
              <a:gd name="T13" fmla="*/ 16 h 33"/>
              <a:gd name="T14" fmla="*/ 6 w 60"/>
              <a:gd name="T15" fmla="*/ 11 h 33"/>
              <a:gd name="T16" fmla="*/ 11 w 60"/>
              <a:gd name="T17" fmla="*/ 11 h 33"/>
              <a:gd name="T18" fmla="*/ 11 w 60"/>
              <a:gd name="T19" fmla="*/ 5 h 33"/>
              <a:gd name="T20" fmla="*/ 17 w 60"/>
              <a:gd name="T21" fmla="*/ 5 h 33"/>
              <a:gd name="T22" fmla="*/ 22 w 60"/>
              <a:gd name="T23" fmla="*/ 5 h 33"/>
              <a:gd name="T24" fmla="*/ 28 w 60"/>
              <a:gd name="T25" fmla="*/ 5 h 33"/>
              <a:gd name="T26" fmla="*/ 33 w 60"/>
              <a:gd name="T27" fmla="*/ 5 h 33"/>
              <a:gd name="T28" fmla="*/ 33 w 60"/>
              <a:gd name="T29" fmla="*/ 0 h 33"/>
              <a:gd name="T30" fmla="*/ 33 w 60"/>
              <a:gd name="T31" fmla="*/ 5 h 33"/>
              <a:gd name="T32" fmla="*/ 38 w 60"/>
              <a:gd name="T33" fmla="*/ 5 h 33"/>
              <a:gd name="T34" fmla="*/ 44 w 60"/>
              <a:gd name="T35" fmla="*/ 5 h 33"/>
              <a:gd name="T36" fmla="*/ 44 w 60"/>
              <a:gd name="T37" fmla="*/ 11 h 33"/>
              <a:gd name="T38" fmla="*/ 49 w 60"/>
              <a:gd name="T39" fmla="*/ 11 h 33"/>
              <a:gd name="T40" fmla="*/ 55 w 60"/>
              <a:gd name="T41" fmla="*/ 16 h 33"/>
              <a:gd name="T42" fmla="*/ 55 w 60"/>
              <a:gd name="T43" fmla="*/ 11 h 33"/>
              <a:gd name="T44" fmla="*/ 60 w 60"/>
              <a:gd name="T45" fmla="*/ 16 h 33"/>
              <a:gd name="T46" fmla="*/ 60 w 60"/>
              <a:gd name="T47" fmla="*/ 22 h 33"/>
              <a:gd name="T48" fmla="*/ 55 w 60"/>
              <a:gd name="T49" fmla="*/ 22 h 33"/>
              <a:gd name="T50" fmla="*/ 55 w 60"/>
              <a:gd name="T51" fmla="*/ 27 h 33"/>
              <a:gd name="T52" fmla="*/ 49 w 60"/>
              <a:gd name="T53" fmla="*/ 22 h 33"/>
              <a:gd name="T54" fmla="*/ 44 w 60"/>
              <a:gd name="T55" fmla="*/ 27 h 33"/>
              <a:gd name="T56" fmla="*/ 44 w 60"/>
              <a:gd name="T57" fmla="*/ 22 h 33"/>
              <a:gd name="T58" fmla="*/ 38 w 60"/>
              <a:gd name="T59" fmla="*/ 27 h 33"/>
              <a:gd name="T60" fmla="*/ 38 w 60"/>
              <a:gd name="T61" fmla="*/ 33 h 33"/>
              <a:gd name="T62" fmla="*/ 38 w 60"/>
              <a:gd name="T63" fmla="*/ 27 h 33"/>
              <a:gd name="T64" fmla="*/ 33 w 60"/>
              <a:gd name="T65" fmla="*/ 27 h 33"/>
              <a:gd name="T66" fmla="*/ 33 w 60"/>
              <a:gd name="T67" fmla="*/ 22 h 33"/>
              <a:gd name="T68" fmla="*/ 28 w 60"/>
              <a:gd name="T69" fmla="*/ 27 h 33"/>
              <a:gd name="T70" fmla="*/ 22 w 60"/>
              <a:gd name="T71" fmla="*/ 33 h 33"/>
              <a:gd name="T72" fmla="*/ 17 w 60"/>
              <a:gd name="T73" fmla="*/ 27 h 33"/>
              <a:gd name="T74" fmla="*/ 17 w 60"/>
              <a:gd name="T75" fmla="*/ 33 h 33"/>
              <a:gd name="T76" fmla="*/ 11 w 60"/>
              <a:gd name="T7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 h="33">
                <a:moveTo>
                  <a:pt x="11" y="33"/>
                </a:moveTo>
                <a:lnTo>
                  <a:pt x="11" y="27"/>
                </a:lnTo>
                <a:lnTo>
                  <a:pt x="6" y="22"/>
                </a:lnTo>
                <a:lnTo>
                  <a:pt x="0" y="22"/>
                </a:lnTo>
                <a:lnTo>
                  <a:pt x="0" y="27"/>
                </a:lnTo>
                <a:lnTo>
                  <a:pt x="0" y="22"/>
                </a:lnTo>
                <a:lnTo>
                  <a:pt x="6" y="16"/>
                </a:lnTo>
                <a:lnTo>
                  <a:pt x="6" y="11"/>
                </a:lnTo>
                <a:lnTo>
                  <a:pt x="11" y="11"/>
                </a:lnTo>
                <a:lnTo>
                  <a:pt x="11" y="5"/>
                </a:lnTo>
                <a:lnTo>
                  <a:pt x="17" y="5"/>
                </a:lnTo>
                <a:lnTo>
                  <a:pt x="22" y="5"/>
                </a:lnTo>
                <a:lnTo>
                  <a:pt x="28" y="5"/>
                </a:lnTo>
                <a:lnTo>
                  <a:pt x="33" y="5"/>
                </a:lnTo>
                <a:lnTo>
                  <a:pt x="33" y="0"/>
                </a:lnTo>
                <a:lnTo>
                  <a:pt x="33" y="5"/>
                </a:lnTo>
                <a:lnTo>
                  <a:pt x="38" y="5"/>
                </a:lnTo>
                <a:lnTo>
                  <a:pt x="44" y="5"/>
                </a:lnTo>
                <a:lnTo>
                  <a:pt x="44" y="11"/>
                </a:lnTo>
                <a:lnTo>
                  <a:pt x="49" y="11"/>
                </a:lnTo>
                <a:lnTo>
                  <a:pt x="55" y="16"/>
                </a:lnTo>
                <a:lnTo>
                  <a:pt x="55" y="11"/>
                </a:lnTo>
                <a:lnTo>
                  <a:pt x="60" y="16"/>
                </a:lnTo>
                <a:lnTo>
                  <a:pt x="60" y="22"/>
                </a:lnTo>
                <a:lnTo>
                  <a:pt x="55" y="22"/>
                </a:lnTo>
                <a:lnTo>
                  <a:pt x="55" y="27"/>
                </a:lnTo>
                <a:lnTo>
                  <a:pt x="49" y="22"/>
                </a:lnTo>
                <a:lnTo>
                  <a:pt x="44" y="27"/>
                </a:lnTo>
                <a:lnTo>
                  <a:pt x="44" y="22"/>
                </a:lnTo>
                <a:lnTo>
                  <a:pt x="38" y="27"/>
                </a:lnTo>
                <a:lnTo>
                  <a:pt x="38" y="33"/>
                </a:lnTo>
                <a:lnTo>
                  <a:pt x="38" y="27"/>
                </a:lnTo>
                <a:lnTo>
                  <a:pt x="33" y="27"/>
                </a:lnTo>
                <a:lnTo>
                  <a:pt x="33" y="22"/>
                </a:lnTo>
                <a:lnTo>
                  <a:pt x="28" y="27"/>
                </a:lnTo>
                <a:lnTo>
                  <a:pt x="22" y="33"/>
                </a:lnTo>
                <a:lnTo>
                  <a:pt x="17" y="27"/>
                </a:lnTo>
                <a:lnTo>
                  <a:pt x="17" y="33"/>
                </a:lnTo>
                <a:lnTo>
                  <a:pt x="11" y="33"/>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41" name="Freeform 252">
            <a:extLst>
              <a:ext uri="{FF2B5EF4-FFF2-40B4-BE49-F238E27FC236}">
                <a16:creationId xmlns:a16="http://schemas.microsoft.com/office/drawing/2014/main" id="{A5210B6F-F22D-4ED9-9FEC-D64DDF9A1E07}"/>
              </a:ext>
            </a:extLst>
          </p:cNvPr>
          <p:cNvSpPr>
            <a:spLocks/>
          </p:cNvSpPr>
          <p:nvPr/>
        </p:nvSpPr>
        <p:spPr bwMode="auto">
          <a:xfrm>
            <a:off x="2722563" y="2106613"/>
            <a:ext cx="6350" cy="12700"/>
          </a:xfrm>
          <a:custGeom>
            <a:avLst/>
            <a:gdLst>
              <a:gd name="T0" fmla="*/ 0 w 5"/>
              <a:gd name="T1" fmla="*/ 11 h 11"/>
              <a:gd name="T2" fmla="*/ 0 w 5"/>
              <a:gd name="T3" fmla="*/ 5 h 11"/>
              <a:gd name="T4" fmla="*/ 5 w 5"/>
              <a:gd name="T5" fmla="*/ 0 h 11"/>
              <a:gd name="T6" fmla="*/ 5 w 5"/>
              <a:gd name="T7" fmla="*/ 5 h 11"/>
              <a:gd name="T8" fmla="*/ 5 w 5"/>
              <a:gd name="T9" fmla="*/ 11 h 11"/>
              <a:gd name="T10" fmla="*/ 0 w 5"/>
              <a:gd name="T11" fmla="*/ 11 h 11"/>
            </a:gdLst>
            <a:ahLst/>
            <a:cxnLst>
              <a:cxn ang="0">
                <a:pos x="T0" y="T1"/>
              </a:cxn>
              <a:cxn ang="0">
                <a:pos x="T2" y="T3"/>
              </a:cxn>
              <a:cxn ang="0">
                <a:pos x="T4" y="T5"/>
              </a:cxn>
              <a:cxn ang="0">
                <a:pos x="T6" y="T7"/>
              </a:cxn>
              <a:cxn ang="0">
                <a:pos x="T8" y="T9"/>
              </a:cxn>
              <a:cxn ang="0">
                <a:pos x="T10" y="T11"/>
              </a:cxn>
            </a:cxnLst>
            <a:rect l="0" t="0" r="r" b="b"/>
            <a:pathLst>
              <a:path w="5" h="11">
                <a:moveTo>
                  <a:pt x="0" y="11"/>
                </a:moveTo>
                <a:lnTo>
                  <a:pt x="0" y="5"/>
                </a:lnTo>
                <a:lnTo>
                  <a:pt x="5" y="0"/>
                </a:lnTo>
                <a:lnTo>
                  <a:pt x="5" y="5"/>
                </a:lnTo>
                <a:lnTo>
                  <a:pt x="5" y="11"/>
                </a:lnTo>
                <a:lnTo>
                  <a:pt x="0" y="11"/>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42" name="Freeform 253">
            <a:extLst>
              <a:ext uri="{FF2B5EF4-FFF2-40B4-BE49-F238E27FC236}">
                <a16:creationId xmlns:a16="http://schemas.microsoft.com/office/drawing/2014/main" id="{6C6A5E4C-7A0B-DADB-BA50-2F214BD98A3F}"/>
              </a:ext>
            </a:extLst>
          </p:cNvPr>
          <p:cNvSpPr>
            <a:spLocks/>
          </p:cNvSpPr>
          <p:nvPr/>
        </p:nvSpPr>
        <p:spPr bwMode="auto">
          <a:xfrm>
            <a:off x="2673350" y="2079625"/>
            <a:ext cx="55563" cy="39688"/>
          </a:xfrm>
          <a:custGeom>
            <a:avLst/>
            <a:gdLst>
              <a:gd name="T0" fmla="*/ 0 w 49"/>
              <a:gd name="T1" fmla="*/ 11 h 33"/>
              <a:gd name="T2" fmla="*/ 0 w 49"/>
              <a:gd name="T3" fmla="*/ 5 h 33"/>
              <a:gd name="T4" fmla="*/ 6 w 49"/>
              <a:gd name="T5" fmla="*/ 5 h 33"/>
              <a:gd name="T6" fmla="*/ 11 w 49"/>
              <a:gd name="T7" fmla="*/ 5 h 33"/>
              <a:gd name="T8" fmla="*/ 17 w 49"/>
              <a:gd name="T9" fmla="*/ 5 h 33"/>
              <a:gd name="T10" fmla="*/ 22 w 49"/>
              <a:gd name="T11" fmla="*/ 5 h 33"/>
              <a:gd name="T12" fmla="*/ 27 w 49"/>
              <a:gd name="T13" fmla="*/ 0 h 33"/>
              <a:gd name="T14" fmla="*/ 27 w 49"/>
              <a:gd name="T15" fmla="*/ 5 h 33"/>
              <a:gd name="T16" fmla="*/ 33 w 49"/>
              <a:gd name="T17" fmla="*/ 0 h 33"/>
              <a:gd name="T18" fmla="*/ 33 w 49"/>
              <a:gd name="T19" fmla="*/ 5 h 33"/>
              <a:gd name="T20" fmla="*/ 38 w 49"/>
              <a:gd name="T21" fmla="*/ 5 h 33"/>
              <a:gd name="T22" fmla="*/ 44 w 49"/>
              <a:gd name="T23" fmla="*/ 5 h 33"/>
              <a:gd name="T24" fmla="*/ 38 w 49"/>
              <a:gd name="T25" fmla="*/ 11 h 33"/>
              <a:gd name="T26" fmla="*/ 38 w 49"/>
              <a:gd name="T27" fmla="*/ 16 h 33"/>
              <a:gd name="T28" fmla="*/ 44 w 49"/>
              <a:gd name="T29" fmla="*/ 16 h 33"/>
              <a:gd name="T30" fmla="*/ 49 w 49"/>
              <a:gd name="T31" fmla="*/ 16 h 33"/>
              <a:gd name="T32" fmla="*/ 49 w 49"/>
              <a:gd name="T33" fmla="*/ 22 h 33"/>
              <a:gd name="T34" fmla="*/ 44 w 49"/>
              <a:gd name="T35" fmla="*/ 27 h 33"/>
              <a:gd name="T36" fmla="*/ 44 w 49"/>
              <a:gd name="T37" fmla="*/ 33 h 33"/>
              <a:gd name="T38" fmla="*/ 38 w 49"/>
              <a:gd name="T39" fmla="*/ 33 h 33"/>
              <a:gd name="T40" fmla="*/ 27 w 49"/>
              <a:gd name="T41" fmla="*/ 27 h 33"/>
              <a:gd name="T42" fmla="*/ 33 w 49"/>
              <a:gd name="T43" fmla="*/ 22 h 33"/>
              <a:gd name="T44" fmla="*/ 27 w 49"/>
              <a:gd name="T45" fmla="*/ 22 h 33"/>
              <a:gd name="T46" fmla="*/ 27 w 49"/>
              <a:gd name="T47" fmla="*/ 27 h 33"/>
              <a:gd name="T48" fmla="*/ 22 w 49"/>
              <a:gd name="T49" fmla="*/ 27 h 33"/>
              <a:gd name="T50" fmla="*/ 22 w 49"/>
              <a:gd name="T51" fmla="*/ 22 h 33"/>
              <a:gd name="T52" fmla="*/ 17 w 49"/>
              <a:gd name="T53" fmla="*/ 22 h 33"/>
              <a:gd name="T54" fmla="*/ 11 w 49"/>
              <a:gd name="T55" fmla="*/ 16 h 33"/>
              <a:gd name="T56" fmla="*/ 6 w 49"/>
              <a:gd name="T57" fmla="*/ 11 h 33"/>
              <a:gd name="T58" fmla="*/ 6 w 49"/>
              <a:gd name="T59" fmla="*/ 16 h 33"/>
              <a:gd name="T60" fmla="*/ 0 w 49"/>
              <a:gd name="T61"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9" h="33">
                <a:moveTo>
                  <a:pt x="0" y="11"/>
                </a:moveTo>
                <a:lnTo>
                  <a:pt x="0" y="5"/>
                </a:lnTo>
                <a:lnTo>
                  <a:pt x="6" y="5"/>
                </a:lnTo>
                <a:lnTo>
                  <a:pt x="11" y="5"/>
                </a:lnTo>
                <a:lnTo>
                  <a:pt x="17" y="5"/>
                </a:lnTo>
                <a:lnTo>
                  <a:pt x="22" y="5"/>
                </a:lnTo>
                <a:lnTo>
                  <a:pt x="27" y="0"/>
                </a:lnTo>
                <a:lnTo>
                  <a:pt x="27" y="5"/>
                </a:lnTo>
                <a:lnTo>
                  <a:pt x="33" y="0"/>
                </a:lnTo>
                <a:lnTo>
                  <a:pt x="33" y="5"/>
                </a:lnTo>
                <a:lnTo>
                  <a:pt x="38" y="5"/>
                </a:lnTo>
                <a:lnTo>
                  <a:pt x="44" y="5"/>
                </a:lnTo>
                <a:lnTo>
                  <a:pt x="38" y="11"/>
                </a:lnTo>
                <a:lnTo>
                  <a:pt x="38" y="16"/>
                </a:lnTo>
                <a:lnTo>
                  <a:pt x="44" y="16"/>
                </a:lnTo>
                <a:lnTo>
                  <a:pt x="49" y="16"/>
                </a:lnTo>
                <a:lnTo>
                  <a:pt x="49" y="22"/>
                </a:lnTo>
                <a:lnTo>
                  <a:pt x="44" y="27"/>
                </a:lnTo>
                <a:lnTo>
                  <a:pt x="44" y="33"/>
                </a:lnTo>
                <a:lnTo>
                  <a:pt x="38" y="33"/>
                </a:lnTo>
                <a:lnTo>
                  <a:pt x="27" y="27"/>
                </a:lnTo>
                <a:lnTo>
                  <a:pt x="33" y="22"/>
                </a:lnTo>
                <a:lnTo>
                  <a:pt x="27" y="22"/>
                </a:lnTo>
                <a:lnTo>
                  <a:pt x="27" y="27"/>
                </a:lnTo>
                <a:lnTo>
                  <a:pt x="22" y="27"/>
                </a:lnTo>
                <a:lnTo>
                  <a:pt x="22" y="22"/>
                </a:lnTo>
                <a:lnTo>
                  <a:pt x="17" y="22"/>
                </a:lnTo>
                <a:lnTo>
                  <a:pt x="11" y="16"/>
                </a:lnTo>
                <a:lnTo>
                  <a:pt x="6" y="11"/>
                </a:lnTo>
                <a:lnTo>
                  <a:pt x="6" y="16"/>
                </a:lnTo>
                <a:lnTo>
                  <a:pt x="0" y="11"/>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43" name="Freeform 258">
            <a:extLst>
              <a:ext uri="{FF2B5EF4-FFF2-40B4-BE49-F238E27FC236}">
                <a16:creationId xmlns:a16="http://schemas.microsoft.com/office/drawing/2014/main" id="{78255F21-CC06-1A01-450B-DC1B1A0C585A}"/>
              </a:ext>
            </a:extLst>
          </p:cNvPr>
          <p:cNvSpPr>
            <a:spLocks/>
          </p:cNvSpPr>
          <p:nvPr/>
        </p:nvSpPr>
        <p:spPr bwMode="auto">
          <a:xfrm>
            <a:off x="2838450" y="2019300"/>
            <a:ext cx="147638" cy="112713"/>
          </a:xfrm>
          <a:custGeom>
            <a:avLst/>
            <a:gdLst>
              <a:gd name="T0" fmla="*/ 11 w 131"/>
              <a:gd name="T1" fmla="*/ 54 h 92"/>
              <a:gd name="T2" fmla="*/ 6 w 131"/>
              <a:gd name="T3" fmla="*/ 43 h 92"/>
              <a:gd name="T4" fmla="*/ 6 w 131"/>
              <a:gd name="T5" fmla="*/ 38 h 92"/>
              <a:gd name="T6" fmla="*/ 0 w 131"/>
              <a:gd name="T7" fmla="*/ 32 h 92"/>
              <a:gd name="T8" fmla="*/ 0 w 131"/>
              <a:gd name="T9" fmla="*/ 22 h 92"/>
              <a:gd name="T10" fmla="*/ 6 w 131"/>
              <a:gd name="T11" fmla="*/ 16 h 92"/>
              <a:gd name="T12" fmla="*/ 0 w 131"/>
              <a:gd name="T13" fmla="*/ 11 h 92"/>
              <a:gd name="T14" fmla="*/ 11 w 131"/>
              <a:gd name="T15" fmla="*/ 11 h 92"/>
              <a:gd name="T16" fmla="*/ 17 w 131"/>
              <a:gd name="T17" fmla="*/ 5 h 92"/>
              <a:gd name="T18" fmla="*/ 28 w 131"/>
              <a:gd name="T19" fmla="*/ 5 h 92"/>
              <a:gd name="T20" fmla="*/ 39 w 131"/>
              <a:gd name="T21" fmla="*/ 0 h 92"/>
              <a:gd name="T22" fmla="*/ 49 w 131"/>
              <a:gd name="T23" fmla="*/ 0 h 92"/>
              <a:gd name="T24" fmla="*/ 49 w 131"/>
              <a:gd name="T25" fmla="*/ 0 h 92"/>
              <a:gd name="T26" fmla="*/ 60 w 131"/>
              <a:gd name="T27" fmla="*/ 5 h 92"/>
              <a:gd name="T28" fmla="*/ 60 w 131"/>
              <a:gd name="T29" fmla="*/ 5 h 92"/>
              <a:gd name="T30" fmla="*/ 88 w 131"/>
              <a:gd name="T31" fmla="*/ 5 h 92"/>
              <a:gd name="T32" fmla="*/ 104 w 131"/>
              <a:gd name="T33" fmla="*/ 5 h 92"/>
              <a:gd name="T34" fmla="*/ 115 w 131"/>
              <a:gd name="T35" fmla="*/ 11 h 92"/>
              <a:gd name="T36" fmla="*/ 120 w 131"/>
              <a:gd name="T37" fmla="*/ 22 h 92"/>
              <a:gd name="T38" fmla="*/ 120 w 131"/>
              <a:gd name="T39" fmla="*/ 27 h 92"/>
              <a:gd name="T40" fmla="*/ 126 w 131"/>
              <a:gd name="T41" fmla="*/ 32 h 92"/>
              <a:gd name="T42" fmla="*/ 115 w 131"/>
              <a:gd name="T43" fmla="*/ 38 h 92"/>
              <a:gd name="T44" fmla="*/ 120 w 131"/>
              <a:gd name="T45" fmla="*/ 49 h 92"/>
              <a:gd name="T46" fmla="*/ 126 w 131"/>
              <a:gd name="T47" fmla="*/ 54 h 92"/>
              <a:gd name="T48" fmla="*/ 131 w 131"/>
              <a:gd name="T49" fmla="*/ 65 h 92"/>
              <a:gd name="T50" fmla="*/ 120 w 131"/>
              <a:gd name="T51" fmla="*/ 76 h 92"/>
              <a:gd name="T52" fmla="*/ 120 w 131"/>
              <a:gd name="T53" fmla="*/ 87 h 92"/>
              <a:gd name="T54" fmla="*/ 115 w 131"/>
              <a:gd name="T55" fmla="*/ 87 h 92"/>
              <a:gd name="T56" fmla="*/ 104 w 131"/>
              <a:gd name="T57" fmla="*/ 82 h 92"/>
              <a:gd name="T58" fmla="*/ 93 w 131"/>
              <a:gd name="T59" fmla="*/ 82 h 92"/>
              <a:gd name="T60" fmla="*/ 93 w 131"/>
              <a:gd name="T61" fmla="*/ 82 h 92"/>
              <a:gd name="T62" fmla="*/ 82 w 131"/>
              <a:gd name="T63" fmla="*/ 87 h 92"/>
              <a:gd name="T64" fmla="*/ 77 w 131"/>
              <a:gd name="T65" fmla="*/ 82 h 92"/>
              <a:gd name="T66" fmla="*/ 66 w 131"/>
              <a:gd name="T67" fmla="*/ 82 h 92"/>
              <a:gd name="T68" fmla="*/ 60 w 131"/>
              <a:gd name="T69" fmla="*/ 76 h 92"/>
              <a:gd name="T70" fmla="*/ 49 w 131"/>
              <a:gd name="T71" fmla="*/ 76 h 92"/>
              <a:gd name="T72" fmla="*/ 44 w 131"/>
              <a:gd name="T73" fmla="*/ 71 h 92"/>
              <a:gd name="T74" fmla="*/ 39 w 131"/>
              <a:gd name="T75" fmla="*/ 71 h 92"/>
              <a:gd name="T76" fmla="*/ 28 w 131"/>
              <a:gd name="T77" fmla="*/ 71 h 92"/>
              <a:gd name="T78" fmla="*/ 28 w 131"/>
              <a:gd name="T79" fmla="*/ 65 h 92"/>
              <a:gd name="T80" fmla="*/ 17 w 131"/>
              <a:gd name="T81" fmla="*/ 6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1" h="92">
                <a:moveTo>
                  <a:pt x="11" y="60"/>
                </a:moveTo>
                <a:lnTo>
                  <a:pt x="11" y="54"/>
                </a:lnTo>
                <a:lnTo>
                  <a:pt x="11" y="49"/>
                </a:lnTo>
                <a:lnTo>
                  <a:pt x="6" y="43"/>
                </a:lnTo>
                <a:lnTo>
                  <a:pt x="11" y="43"/>
                </a:lnTo>
                <a:lnTo>
                  <a:pt x="6" y="38"/>
                </a:lnTo>
                <a:lnTo>
                  <a:pt x="6" y="32"/>
                </a:lnTo>
                <a:lnTo>
                  <a:pt x="0" y="32"/>
                </a:lnTo>
                <a:lnTo>
                  <a:pt x="0" y="27"/>
                </a:lnTo>
                <a:lnTo>
                  <a:pt x="0" y="22"/>
                </a:lnTo>
                <a:lnTo>
                  <a:pt x="0" y="16"/>
                </a:lnTo>
                <a:lnTo>
                  <a:pt x="6" y="16"/>
                </a:lnTo>
                <a:lnTo>
                  <a:pt x="0" y="16"/>
                </a:lnTo>
                <a:lnTo>
                  <a:pt x="0" y="11"/>
                </a:lnTo>
                <a:lnTo>
                  <a:pt x="6" y="11"/>
                </a:lnTo>
                <a:lnTo>
                  <a:pt x="11" y="11"/>
                </a:lnTo>
                <a:lnTo>
                  <a:pt x="17" y="11"/>
                </a:lnTo>
                <a:lnTo>
                  <a:pt x="17" y="5"/>
                </a:lnTo>
                <a:lnTo>
                  <a:pt x="22" y="5"/>
                </a:lnTo>
                <a:lnTo>
                  <a:pt x="28" y="5"/>
                </a:lnTo>
                <a:lnTo>
                  <a:pt x="33" y="0"/>
                </a:lnTo>
                <a:lnTo>
                  <a:pt x="39" y="0"/>
                </a:lnTo>
                <a:lnTo>
                  <a:pt x="44" y="0"/>
                </a:lnTo>
                <a:lnTo>
                  <a:pt x="49" y="0"/>
                </a:lnTo>
                <a:lnTo>
                  <a:pt x="55" y="0"/>
                </a:lnTo>
                <a:lnTo>
                  <a:pt x="49" y="0"/>
                </a:lnTo>
                <a:lnTo>
                  <a:pt x="55" y="5"/>
                </a:lnTo>
                <a:lnTo>
                  <a:pt x="60" y="5"/>
                </a:lnTo>
                <a:lnTo>
                  <a:pt x="66" y="5"/>
                </a:lnTo>
                <a:lnTo>
                  <a:pt x="60" y="5"/>
                </a:lnTo>
                <a:lnTo>
                  <a:pt x="66" y="5"/>
                </a:lnTo>
                <a:lnTo>
                  <a:pt x="88" y="5"/>
                </a:lnTo>
                <a:lnTo>
                  <a:pt x="93" y="5"/>
                </a:lnTo>
                <a:lnTo>
                  <a:pt x="104" y="5"/>
                </a:lnTo>
                <a:lnTo>
                  <a:pt x="109" y="5"/>
                </a:lnTo>
                <a:lnTo>
                  <a:pt x="115" y="11"/>
                </a:lnTo>
                <a:lnTo>
                  <a:pt x="120" y="16"/>
                </a:lnTo>
                <a:lnTo>
                  <a:pt x="120" y="22"/>
                </a:lnTo>
                <a:lnTo>
                  <a:pt x="126" y="27"/>
                </a:lnTo>
                <a:lnTo>
                  <a:pt x="120" y="27"/>
                </a:lnTo>
                <a:lnTo>
                  <a:pt x="126" y="27"/>
                </a:lnTo>
                <a:lnTo>
                  <a:pt x="126" y="32"/>
                </a:lnTo>
                <a:lnTo>
                  <a:pt x="120" y="32"/>
                </a:lnTo>
                <a:lnTo>
                  <a:pt x="115" y="38"/>
                </a:lnTo>
                <a:lnTo>
                  <a:pt x="120" y="43"/>
                </a:lnTo>
                <a:lnTo>
                  <a:pt x="120" y="49"/>
                </a:lnTo>
                <a:lnTo>
                  <a:pt x="126" y="49"/>
                </a:lnTo>
                <a:lnTo>
                  <a:pt x="126" y="54"/>
                </a:lnTo>
                <a:lnTo>
                  <a:pt x="131" y="60"/>
                </a:lnTo>
                <a:lnTo>
                  <a:pt x="131" y="65"/>
                </a:lnTo>
                <a:lnTo>
                  <a:pt x="126" y="71"/>
                </a:lnTo>
                <a:lnTo>
                  <a:pt x="120" y="76"/>
                </a:lnTo>
                <a:lnTo>
                  <a:pt x="115" y="82"/>
                </a:lnTo>
                <a:lnTo>
                  <a:pt x="120" y="87"/>
                </a:lnTo>
                <a:lnTo>
                  <a:pt x="120" y="92"/>
                </a:lnTo>
                <a:lnTo>
                  <a:pt x="115" y="87"/>
                </a:lnTo>
                <a:lnTo>
                  <a:pt x="109" y="87"/>
                </a:lnTo>
                <a:lnTo>
                  <a:pt x="104" y="82"/>
                </a:lnTo>
                <a:lnTo>
                  <a:pt x="99" y="82"/>
                </a:lnTo>
                <a:lnTo>
                  <a:pt x="93" y="82"/>
                </a:lnTo>
                <a:lnTo>
                  <a:pt x="93" y="87"/>
                </a:lnTo>
                <a:lnTo>
                  <a:pt x="93" y="82"/>
                </a:lnTo>
                <a:lnTo>
                  <a:pt x="88" y="82"/>
                </a:lnTo>
                <a:lnTo>
                  <a:pt x="82" y="87"/>
                </a:lnTo>
                <a:lnTo>
                  <a:pt x="77" y="87"/>
                </a:lnTo>
                <a:lnTo>
                  <a:pt x="77" y="82"/>
                </a:lnTo>
                <a:lnTo>
                  <a:pt x="71" y="82"/>
                </a:lnTo>
                <a:lnTo>
                  <a:pt x="66" y="82"/>
                </a:lnTo>
                <a:lnTo>
                  <a:pt x="60" y="82"/>
                </a:lnTo>
                <a:lnTo>
                  <a:pt x="60" y="76"/>
                </a:lnTo>
                <a:lnTo>
                  <a:pt x="55" y="76"/>
                </a:lnTo>
                <a:lnTo>
                  <a:pt x="49" y="76"/>
                </a:lnTo>
                <a:lnTo>
                  <a:pt x="49" y="71"/>
                </a:lnTo>
                <a:lnTo>
                  <a:pt x="44" y="71"/>
                </a:lnTo>
                <a:lnTo>
                  <a:pt x="39" y="65"/>
                </a:lnTo>
                <a:lnTo>
                  <a:pt x="39" y="71"/>
                </a:lnTo>
                <a:lnTo>
                  <a:pt x="33" y="71"/>
                </a:lnTo>
                <a:lnTo>
                  <a:pt x="28" y="71"/>
                </a:lnTo>
                <a:lnTo>
                  <a:pt x="33" y="65"/>
                </a:lnTo>
                <a:lnTo>
                  <a:pt x="28" y="65"/>
                </a:lnTo>
                <a:lnTo>
                  <a:pt x="22" y="65"/>
                </a:lnTo>
                <a:lnTo>
                  <a:pt x="17" y="60"/>
                </a:lnTo>
                <a:lnTo>
                  <a:pt x="11" y="6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44" name="Freeform 259">
            <a:extLst>
              <a:ext uri="{FF2B5EF4-FFF2-40B4-BE49-F238E27FC236}">
                <a16:creationId xmlns:a16="http://schemas.microsoft.com/office/drawing/2014/main" id="{679E3AEA-6A6B-5A27-99B2-ADBDCD8823C7}"/>
              </a:ext>
            </a:extLst>
          </p:cNvPr>
          <p:cNvSpPr>
            <a:spLocks/>
          </p:cNvSpPr>
          <p:nvPr/>
        </p:nvSpPr>
        <p:spPr bwMode="auto">
          <a:xfrm>
            <a:off x="2887663" y="2119313"/>
            <a:ext cx="80963" cy="33338"/>
          </a:xfrm>
          <a:custGeom>
            <a:avLst/>
            <a:gdLst>
              <a:gd name="T0" fmla="*/ 5 w 71"/>
              <a:gd name="T1" fmla="*/ 27 h 27"/>
              <a:gd name="T2" fmla="*/ 0 w 71"/>
              <a:gd name="T3" fmla="*/ 21 h 27"/>
              <a:gd name="T4" fmla="*/ 0 w 71"/>
              <a:gd name="T5" fmla="*/ 16 h 27"/>
              <a:gd name="T6" fmla="*/ 0 w 71"/>
              <a:gd name="T7" fmla="*/ 10 h 27"/>
              <a:gd name="T8" fmla="*/ 11 w 71"/>
              <a:gd name="T9" fmla="*/ 10 h 27"/>
              <a:gd name="T10" fmla="*/ 16 w 71"/>
              <a:gd name="T11" fmla="*/ 5 h 27"/>
              <a:gd name="T12" fmla="*/ 16 w 71"/>
              <a:gd name="T13" fmla="*/ 0 h 27"/>
              <a:gd name="T14" fmla="*/ 22 w 71"/>
              <a:gd name="T15" fmla="*/ 0 h 27"/>
              <a:gd name="T16" fmla="*/ 27 w 71"/>
              <a:gd name="T17" fmla="*/ 0 h 27"/>
              <a:gd name="T18" fmla="*/ 33 w 71"/>
              <a:gd name="T19" fmla="*/ 0 h 27"/>
              <a:gd name="T20" fmla="*/ 33 w 71"/>
              <a:gd name="T21" fmla="*/ 5 h 27"/>
              <a:gd name="T22" fmla="*/ 38 w 71"/>
              <a:gd name="T23" fmla="*/ 5 h 27"/>
              <a:gd name="T24" fmla="*/ 44 w 71"/>
              <a:gd name="T25" fmla="*/ 0 h 27"/>
              <a:gd name="T26" fmla="*/ 49 w 71"/>
              <a:gd name="T27" fmla="*/ 0 h 27"/>
              <a:gd name="T28" fmla="*/ 49 w 71"/>
              <a:gd name="T29" fmla="*/ 5 h 27"/>
              <a:gd name="T30" fmla="*/ 49 w 71"/>
              <a:gd name="T31" fmla="*/ 0 h 27"/>
              <a:gd name="T32" fmla="*/ 55 w 71"/>
              <a:gd name="T33" fmla="*/ 0 h 27"/>
              <a:gd name="T34" fmla="*/ 60 w 71"/>
              <a:gd name="T35" fmla="*/ 0 h 27"/>
              <a:gd name="T36" fmla="*/ 65 w 71"/>
              <a:gd name="T37" fmla="*/ 5 h 27"/>
              <a:gd name="T38" fmla="*/ 71 w 71"/>
              <a:gd name="T39" fmla="*/ 5 h 27"/>
              <a:gd name="T40" fmla="*/ 71 w 71"/>
              <a:gd name="T41" fmla="*/ 10 h 27"/>
              <a:gd name="T42" fmla="*/ 71 w 71"/>
              <a:gd name="T43" fmla="*/ 16 h 27"/>
              <a:gd name="T44" fmla="*/ 65 w 71"/>
              <a:gd name="T45" fmla="*/ 16 h 27"/>
              <a:gd name="T46" fmla="*/ 60 w 71"/>
              <a:gd name="T47" fmla="*/ 21 h 27"/>
              <a:gd name="T48" fmla="*/ 60 w 71"/>
              <a:gd name="T49" fmla="*/ 16 h 27"/>
              <a:gd name="T50" fmla="*/ 55 w 71"/>
              <a:gd name="T51" fmla="*/ 16 h 27"/>
              <a:gd name="T52" fmla="*/ 49 w 71"/>
              <a:gd name="T53" fmla="*/ 16 h 27"/>
              <a:gd name="T54" fmla="*/ 44 w 71"/>
              <a:gd name="T55" fmla="*/ 16 h 27"/>
              <a:gd name="T56" fmla="*/ 44 w 71"/>
              <a:gd name="T57" fmla="*/ 21 h 27"/>
              <a:gd name="T58" fmla="*/ 38 w 71"/>
              <a:gd name="T59" fmla="*/ 21 h 27"/>
              <a:gd name="T60" fmla="*/ 33 w 71"/>
              <a:gd name="T61" fmla="*/ 21 h 27"/>
              <a:gd name="T62" fmla="*/ 27 w 71"/>
              <a:gd name="T63" fmla="*/ 21 h 27"/>
              <a:gd name="T64" fmla="*/ 22 w 71"/>
              <a:gd name="T65" fmla="*/ 27 h 27"/>
              <a:gd name="T66" fmla="*/ 16 w 71"/>
              <a:gd name="T67" fmla="*/ 27 h 27"/>
              <a:gd name="T68" fmla="*/ 11 w 71"/>
              <a:gd name="T69" fmla="*/ 27 h 27"/>
              <a:gd name="T70" fmla="*/ 5 w 71"/>
              <a:gd name="T7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 h="27">
                <a:moveTo>
                  <a:pt x="5" y="27"/>
                </a:moveTo>
                <a:lnTo>
                  <a:pt x="0" y="21"/>
                </a:lnTo>
                <a:lnTo>
                  <a:pt x="0" y="16"/>
                </a:lnTo>
                <a:lnTo>
                  <a:pt x="0" y="10"/>
                </a:lnTo>
                <a:lnTo>
                  <a:pt x="11" y="10"/>
                </a:lnTo>
                <a:lnTo>
                  <a:pt x="16" y="5"/>
                </a:lnTo>
                <a:lnTo>
                  <a:pt x="16" y="0"/>
                </a:lnTo>
                <a:lnTo>
                  <a:pt x="22" y="0"/>
                </a:lnTo>
                <a:lnTo>
                  <a:pt x="27" y="0"/>
                </a:lnTo>
                <a:lnTo>
                  <a:pt x="33" y="0"/>
                </a:lnTo>
                <a:lnTo>
                  <a:pt x="33" y="5"/>
                </a:lnTo>
                <a:lnTo>
                  <a:pt x="38" y="5"/>
                </a:lnTo>
                <a:lnTo>
                  <a:pt x="44" y="0"/>
                </a:lnTo>
                <a:lnTo>
                  <a:pt x="49" y="0"/>
                </a:lnTo>
                <a:lnTo>
                  <a:pt x="49" y="5"/>
                </a:lnTo>
                <a:lnTo>
                  <a:pt x="49" y="0"/>
                </a:lnTo>
                <a:lnTo>
                  <a:pt x="55" y="0"/>
                </a:lnTo>
                <a:lnTo>
                  <a:pt x="60" y="0"/>
                </a:lnTo>
                <a:lnTo>
                  <a:pt x="65" y="5"/>
                </a:lnTo>
                <a:lnTo>
                  <a:pt x="71" y="5"/>
                </a:lnTo>
                <a:lnTo>
                  <a:pt x="71" y="10"/>
                </a:lnTo>
                <a:lnTo>
                  <a:pt x="71" y="16"/>
                </a:lnTo>
                <a:lnTo>
                  <a:pt x="65" y="16"/>
                </a:lnTo>
                <a:lnTo>
                  <a:pt x="60" y="21"/>
                </a:lnTo>
                <a:lnTo>
                  <a:pt x="60" y="16"/>
                </a:lnTo>
                <a:lnTo>
                  <a:pt x="55" y="16"/>
                </a:lnTo>
                <a:lnTo>
                  <a:pt x="49" y="16"/>
                </a:lnTo>
                <a:lnTo>
                  <a:pt x="44" y="16"/>
                </a:lnTo>
                <a:lnTo>
                  <a:pt x="44" y="21"/>
                </a:lnTo>
                <a:lnTo>
                  <a:pt x="38" y="21"/>
                </a:lnTo>
                <a:lnTo>
                  <a:pt x="33" y="21"/>
                </a:lnTo>
                <a:lnTo>
                  <a:pt x="27" y="21"/>
                </a:lnTo>
                <a:lnTo>
                  <a:pt x="22" y="27"/>
                </a:lnTo>
                <a:lnTo>
                  <a:pt x="16" y="27"/>
                </a:lnTo>
                <a:lnTo>
                  <a:pt x="11" y="27"/>
                </a:lnTo>
                <a:lnTo>
                  <a:pt x="5" y="27"/>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45" name="Freeform 260">
            <a:extLst>
              <a:ext uri="{FF2B5EF4-FFF2-40B4-BE49-F238E27FC236}">
                <a16:creationId xmlns:a16="http://schemas.microsoft.com/office/drawing/2014/main" id="{F5812995-2BF8-DD43-6D14-65DBC1D5181C}"/>
              </a:ext>
            </a:extLst>
          </p:cNvPr>
          <p:cNvSpPr>
            <a:spLocks/>
          </p:cNvSpPr>
          <p:nvPr/>
        </p:nvSpPr>
        <p:spPr bwMode="auto">
          <a:xfrm>
            <a:off x="2814638" y="2092325"/>
            <a:ext cx="98425" cy="46038"/>
          </a:xfrm>
          <a:custGeom>
            <a:avLst/>
            <a:gdLst>
              <a:gd name="T0" fmla="*/ 21 w 87"/>
              <a:gd name="T1" fmla="*/ 32 h 38"/>
              <a:gd name="T2" fmla="*/ 16 w 87"/>
              <a:gd name="T3" fmla="*/ 32 h 38"/>
              <a:gd name="T4" fmla="*/ 16 w 87"/>
              <a:gd name="T5" fmla="*/ 27 h 38"/>
              <a:gd name="T6" fmla="*/ 11 w 87"/>
              <a:gd name="T7" fmla="*/ 27 h 38"/>
              <a:gd name="T8" fmla="*/ 5 w 87"/>
              <a:gd name="T9" fmla="*/ 22 h 38"/>
              <a:gd name="T10" fmla="*/ 5 w 87"/>
              <a:gd name="T11" fmla="*/ 16 h 38"/>
              <a:gd name="T12" fmla="*/ 0 w 87"/>
              <a:gd name="T13" fmla="*/ 11 h 38"/>
              <a:gd name="T14" fmla="*/ 5 w 87"/>
              <a:gd name="T15" fmla="*/ 11 h 38"/>
              <a:gd name="T16" fmla="*/ 11 w 87"/>
              <a:gd name="T17" fmla="*/ 11 h 38"/>
              <a:gd name="T18" fmla="*/ 11 w 87"/>
              <a:gd name="T19" fmla="*/ 5 h 38"/>
              <a:gd name="T20" fmla="*/ 16 w 87"/>
              <a:gd name="T21" fmla="*/ 5 h 38"/>
              <a:gd name="T22" fmla="*/ 21 w 87"/>
              <a:gd name="T23" fmla="*/ 5 h 38"/>
              <a:gd name="T24" fmla="*/ 27 w 87"/>
              <a:gd name="T25" fmla="*/ 0 h 38"/>
              <a:gd name="T26" fmla="*/ 32 w 87"/>
              <a:gd name="T27" fmla="*/ 0 h 38"/>
              <a:gd name="T28" fmla="*/ 38 w 87"/>
              <a:gd name="T29" fmla="*/ 0 h 38"/>
              <a:gd name="T30" fmla="*/ 43 w 87"/>
              <a:gd name="T31" fmla="*/ 5 h 38"/>
              <a:gd name="T32" fmla="*/ 49 w 87"/>
              <a:gd name="T33" fmla="*/ 5 h 38"/>
              <a:gd name="T34" fmla="*/ 54 w 87"/>
              <a:gd name="T35" fmla="*/ 5 h 38"/>
              <a:gd name="T36" fmla="*/ 49 w 87"/>
              <a:gd name="T37" fmla="*/ 11 h 38"/>
              <a:gd name="T38" fmla="*/ 54 w 87"/>
              <a:gd name="T39" fmla="*/ 11 h 38"/>
              <a:gd name="T40" fmla="*/ 60 w 87"/>
              <a:gd name="T41" fmla="*/ 11 h 38"/>
              <a:gd name="T42" fmla="*/ 60 w 87"/>
              <a:gd name="T43" fmla="*/ 5 h 38"/>
              <a:gd name="T44" fmla="*/ 65 w 87"/>
              <a:gd name="T45" fmla="*/ 11 h 38"/>
              <a:gd name="T46" fmla="*/ 70 w 87"/>
              <a:gd name="T47" fmla="*/ 11 h 38"/>
              <a:gd name="T48" fmla="*/ 70 w 87"/>
              <a:gd name="T49" fmla="*/ 16 h 38"/>
              <a:gd name="T50" fmla="*/ 76 w 87"/>
              <a:gd name="T51" fmla="*/ 16 h 38"/>
              <a:gd name="T52" fmla="*/ 81 w 87"/>
              <a:gd name="T53" fmla="*/ 16 h 38"/>
              <a:gd name="T54" fmla="*/ 81 w 87"/>
              <a:gd name="T55" fmla="*/ 22 h 38"/>
              <a:gd name="T56" fmla="*/ 87 w 87"/>
              <a:gd name="T57" fmla="*/ 22 h 38"/>
              <a:gd name="T58" fmla="*/ 81 w 87"/>
              <a:gd name="T59" fmla="*/ 22 h 38"/>
              <a:gd name="T60" fmla="*/ 81 w 87"/>
              <a:gd name="T61" fmla="*/ 27 h 38"/>
              <a:gd name="T62" fmla="*/ 76 w 87"/>
              <a:gd name="T63" fmla="*/ 32 h 38"/>
              <a:gd name="T64" fmla="*/ 65 w 87"/>
              <a:gd name="T65" fmla="*/ 32 h 38"/>
              <a:gd name="T66" fmla="*/ 65 w 87"/>
              <a:gd name="T67" fmla="*/ 38 h 38"/>
              <a:gd name="T68" fmla="*/ 60 w 87"/>
              <a:gd name="T69" fmla="*/ 32 h 38"/>
              <a:gd name="T70" fmla="*/ 54 w 87"/>
              <a:gd name="T71" fmla="*/ 32 h 38"/>
              <a:gd name="T72" fmla="*/ 49 w 87"/>
              <a:gd name="T73" fmla="*/ 32 h 38"/>
              <a:gd name="T74" fmla="*/ 43 w 87"/>
              <a:gd name="T75" fmla="*/ 32 h 38"/>
              <a:gd name="T76" fmla="*/ 38 w 87"/>
              <a:gd name="T77" fmla="*/ 32 h 38"/>
              <a:gd name="T78" fmla="*/ 32 w 87"/>
              <a:gd name="T79" fmla="*/ 38 h 38"/>
              <a:gd name="T80" fmla="*/ 27 w 87"/>
              <a:gd name="T81" fmla="*/ 38 h 38"/>
              <a:gd name="T82" fmla="*/ 21 w 87"/>
              <a:gd name="T83" fmla="*/ 3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 h="38">
                <a:moveTo>
                  <a:pt x="21" y="32"/>
                </a:moveTo>
                <a:lnTo>
                  <a:pt x="16" y="32"/>
                </a:lnTo>
                <a:lnTo>
                  <a:pt x="16" y="27"/>
                </a:lnTo>
                <a:lnTo>
                  <a:pt x="11" y="27"/>
                </a:lnTo>
                <a:lnTo>
                  <a:pt x="5" y="22"/>
                </a:lnTo>
                <a:lnTo>
                  <a:pt x="5" y="16"/>
                </a:lnTo>
                <a:lnTo>
                  <a:pt x="0" y="11"/>
                </a:lnTo>
                <a:lnTo>
                  <a:pt x="5" y="11"/>
                </a:lnTo>
                <a:lnTo>
                  <a:pt x="11" y="11"/>
                </a:lnTo>
                <a:lnTo>
                  <a:pt x="11" y="5"/>
                </a:lnTo>
                <a:lnTo>
                  <a:pt x="16" y="5"/>
                </a:lnTo>
                <a:lnTo>
                  <a:pt x="21" y="5"/>
                </a:lnTo>
                <a:lnTo>
                  <a:pt x="27" y="0"/>
                </a:lnTo>
                <a:lnTo>
                  <a:pt x="32" y="0"/>
                </a:lnTo>
                <a:lnTo>
                  <a:pt x="38" y="0"/>
                </a:lnTo>
                <a:lnTo>
                  <a:pt x="43" y="5"/>
                </a:lnTo>
                <a:lnTo>
                  <a:pt x="49" y="5"/>
                </a:lnTo>
                <a:lnTo>
                  <a:pt x="54" y="5"/>
                </a:lnTo>
                <a:lnTo>
                  <a:pt x="49" y="11"/>
                </a:lnTo>
                <a:lnTo>
                  <a:pt x="54" y="11"/>
                </a:lnTo>
                <a:lnTo>
                  <a:pt x="60" y="11"/>
                </a:lnTo>
                <a:lnTo>
                  <a:pt x="60" y="5"/>
                </a:lnTo>
                <a:lnTo>
                  <a:pt x="65" y="11"/>
                </a:lnTo>
                <a:lnTo>
                  <a:pt x="70" y="11"/>
                </a:lnTo>
                <a:lnTo>
                  <a:pt x="70" y="16"/>
                </a:lnTo>
                <a:lnTo>
                  <a:pt x="76" y="16"/>
                </a:lnTo>
                <a:lnTo>
                  <a:pt x="81" y="16"/>
                </a:lnTo>
                <a:lnTo>
                  <a:pt x="81" y="22"/>
                </a:lnTo>
                <a:lnTo>
                  <a:pt x="87" y="22"/>
                </a:lnTo>
                <a:lnTo>
                  <a:pt x="81" y="22"/>
                </a:lnTo>
                <a:lnTo>
                  <a:pt x="81" y="27"/>
                </a:lnTo>
                <a:lnTo>
                  <a:pt x="76" y="32"/>
                </a:lnTo>
                <a:lnTo>
                  <a:pt x="65" y="32"/>
                </a:lnTo>
                <a:lnTo>
                  <a:pt x="65" y="38"/>
                </a:lnTo>
                <a:lnTo>
                  <a:pt x="60" y="32"/>
                </a:lnTo>
                <a:lnTo>
                  <a:pt x="54" y="32"/>
                </a:lnTo>
                <a:lnTo>
                  <a:pt x="49" y="32"/>
                </a:lnTo>
                <a:lnTo>
                  <a:pt x="43" y="32"/>
                </a:lnTo>
                <a:lnTo>
                  <a:pt x="38" y="32"/>
                </a:lnTo>
                <a:lnTo>
                  <a:pt x="32" y="38"/>
                </a:lnTo>
                <a:lnTo>
                  <a:pt x="27" y="38"/>
                </a:lnTo>
                <a:lnTo>
                  <a:pt x="21" y="32"/>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46" name="Freeform 261">
            <a:extLst>
              <a:ext uri="{FF2B5EF4-FFF2-40B4-BE49-F238E27FC236}">
                <a16:creationId xmlns:a16="http://schemas.microsoft.com/office/drawing/2014/main" id="{0002467F-6C87-4A74-F8D5-32E6E1C0F6AE}"/>
              </a:ext>
            </a:extLst>
          </p:cNvPr>
          <p:cNvSpPr>
            <a:spLocks/>
          </p:cNvSpPr>
          <p:nvPr/>
        </p:nvSpPr>
        <p:spPr bwMode="auto">
          <a:xfrm>
            <a:off x="2778125" y="2132013"/>
            <a:ext cx="115888" cy="47625"/>
          </a:xfrm>
          <a:custGeom>
            <a:avLst/>
            <a:gdLst>
              <a:gd name="T0" fmla="*/ 0 w 103"/>
              <a:gd name="T1" fmla="*/ 22 h 39"/>
              <a:gd name="T2" fmla="*/ 5 w 103"/>
              <a:gd name="T3" fmla="*/ 22 h 39"/>
              <a:gd name="T4" fmla="*/ 11 w 103"/>
              <a:gd name="T5" fmla="*/ 28 h 39"/>
              <a:gd name="T6" fmla="*/ 11 w 103"/>
              <a:gd name="T7" fmla="*/ 22 h 39"/>
              <a:gd name="T8" fmla="*/ 16 w 103"/>
              <a:gd name="T9" fmla="*/ 22 h 39"/>
              <a:gd name="T10" fmla="*/ 22 w 103"/>
              <a:gd name="T11" fmla="*/ 22 h 39"/>
              <a:gd name="T12" fmla="*/ 27 w 103"/>
              <a:gd name="T13" fmla="*/ 22 h 39"/>
              <a:gd name="T14" fmla="*/ 33 w 103"/>
              <a:gd name="T15" fmla="*/ 22 h 39"/>
              <a:gd name="T16" fmla="*/ 38 w 103"/>
              <a:gd name="T17" fmla="*/ 22 h 39"/>
              <a:gd name="T18" fmla="*/ 38 w 103"/>
              <a:gd name="T19" fmla="*/ 17 h 39"/>
              <a:gd name="T20" fmla="*/ 38 w 103"/>
              <a:gd name="T21" fmla="*/ 22 h 39"/>
              <a:gd name="T22" fmla="*/ 44 w 103"/>
              <a:gd name="T23" fmla="*/ 22 h 39"/>
              <a:gd name="T24" fmla="*/ 49 w 103"/>
              <a:gd name="T25" fmla="*/ 22 h 39"/>
              <a:gd name="T26" fmla="*/ 44 w 103"/>
              <a:gd name="T27" fmla="*/ 17 h 39"/>
              <a:gd name="T28" fmla="*/ 44 w 103"/>
              <a:gd name="T29" fmla="*/ 11 h 39"/>
              <a:gd name="T30" fmla="*/ 49 w 103"/>
              <a:gd name="T31" fmla="*/ 11 h 39"/>
              <a:gd name="T32" fmla="*/ 49 w 103"/>
              <a:gd name="T33" fmla="*/ 6 h 39"/>
              <a:gd name="T34" fmla="*/ 54 w 103"/>
              <a:gd name="T35" fmla="*/ 6 h 39"/>
              <a:gd name="T36" fmla="*/ 54 w 103"/>
              <a:gd name="T37" fmla="*/ 0 h 39"/>
              <a:gd name="T38" fmla="*/ 60 w 103"/>
              <a:gd name="T39" fmla="*/ 6 h 39"/>
              <a:gd name="T40" fmla="*/ 65 w 103"/>
              <a:gd name="T41" fmla="*/ 6 h 39"/>
              <a:gd name="T42" fmla="*/ 71 w 103"/>
              <a:gd name="T43" fmla="*/ 0 h 39"/>
              <a:gd name="T44" fmla="*/ 76 w 103"/>
              <a:gd name="T45" fmla="*/ 0 h 39"/>
              <a:gd name="T46" fmla="*/ 82 w 103"/>
              <a:gd name="T47" fmla="*/ 0 h 39"/>
              <a:gd name="T48" fmla="*/ 87 w 103"/>
              <a:gd name="T49" fmla="*/ 0 h 39"/>
              <a:gd name="T50" fmla="*/ 93 w 103"/>
              <a:gd name="T51" fmla="*/ 0 h 39"/>
              <a:gd name="T52" fmla="*/ 98 w 103"/>
              <a:gd name="T53" fmla="*/ 6 h 39"/>
              <a:gd name="T54" fmla="*/ 98 w 103"/>
              <a:gd name="T55" fmla="*/ 11 h 39"/>
              <a:gd name="T56" fmla="*/ 103 w 103"/>
              <a:gd name="T57" fmla="*/ 17 h 39"/>
              <a:gd name="T58" fmla="*/ 98 w 103"/>
              <a:gd name="T59" fmla="*/ 17 h 39"/>
              <a:gd name="T60" fmla="*/ 93 w 103"/>
              <a:gd name="T61" fmla="*/ 17 h 39"/>
              <a:gd name="T62" fmla="*/ 98 w 103"/>
              <a:gd name="T63" fmla="*/ 22 h 39"/>
              <a:gd name="T64" fmla="*/ 93 w 103"/>
              <a:gd name="T65" fmla="*/ 22 h 39"/>
              <a:gd name="T66" fmla="*/ 93 w 103"/>
              <a:gd name="T67" fmla="*/ 28 h 39"/>
              <a:gd name="T68" fmla="*/ 87 w 103"/>
              <a:gd name="T69" fmla="*/ 33 h 39"/>
              <a:gd name="T70" fmla="*/ 82 w 103"/>
              <a:gd name="T71" fmla="*/ 39 h 39"/>
              <a:gd name="T72" fmla="*/ 76 w 103"/>
              <a:gd name="T73" fmla="*/ 39 h 39"/>
              <a:gd name="T74" fmla="*/ 71 w 103"/>
              <a:gd name="T75" fmla="*/ 39 h 39"/>
              <a:gd name="T76" fmla="*/ 65 w 103"/>
              <a:gd name="T77" fmla="*/ 39 h 39"/>
              <a:gd name="T78" fmla="*/ 60 w 103"/>
              <a:gd name="T79" fmla="*/ 39 h 39"/>
              <a:gd name="T80" fmla="*/ 49 w 103"/>
              <a:gd name="T81" fmla="*/ 39 h 39"/>
              <a:gd name="T82" fmla="*/ 44 w 103"/>
              <a:gd name="T83" fmla="*/ 39 h 39"/>
              <a:gd name="T84" fmla="*/ 38 w 103"/>
              <a:gd name="T85" fmla="*/ 33 h 39"/>
              <a:gd name="T86" fmla="*/ 38 w 103"/>
              <a:gd name="T87" fmla="*/ 28 h 39"/>
              <a:gd name="T88" fmla="*/ 33 w 103"/>
              <a:gd name="T89" fmla="*/ 33 h 39"/>
              <a:gd name="T90" fmla="*/ 27 w 103"/>
              <a:gd name="T91" fmla="*/ 28 h 39"/>
              <a:gd name="T92" fmla="*/ 22 w 103"/>
              <a:gd name="T93" fmla="*/ 33 h 39"/>
              <a:gd name="T94" fmla="*/ 16 w 103"/>
              <a:gd name="T95" fmla="*/ 33 h 39"/>
              <a:gd name="T96" fmla="*/ 11 w 103"/>
              <a:gd name="T97" fmla="*/ 28 h 39"/>
              <a:gd name="T98" fmla="*/ 11 w 103"/>
              <a:gd name="T99" fmla="*/ 33 h 39"/>
              <a:gd name="T100" fmla="*/ 5 w 103"/>
              <a:gd name="T101" fmla="*/ 28 h 39"/>
              <a:gd name="T102" fmla="*/ 0 w 103"/>
              <a:gd name="T103" fmla="*/ 28 h 39"/>
              <a:gd name="T104" fmla="*/ 0 w 103"/>
              <a:gd name="T105"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3" h="39">
                <a:moveTo>
                  <a:pt x="0" y="22"/>
                </a:moveTo>
                <a:lnTo>
                  <a:pt x="5" y="22"/>
                </a:lnTo>
                <a:lnTo>
                  <a:pt x="11" y="28"/>
                </a:lnTo>
                <a:lnTo>
                  <a:pt x="11" y="22"/>
                </a:lnTo>
                <a:lnTo>
                  <a:pt x="16" y="22"/>
                </a:lnTo>
                <a:lnTo>
                  <a:pt x="22" y="22"/>
                </a:lnTo>
                <a:lnTo>
                  <a:pt x="27" y="22"/>
                </a:lnTo>
                <a:lnTo>
                  <a:pt x="33" y="22"/>
                </a:lnTo>
                <a:lnTo>
                  <a:pt x="38" y="22"/>
                </a:lnTo>
                <a:lnTo>
                  <a:pt x="38" y="17"/>
                </a:lnTo>
                <a:lnTo>
                  <a:pt x="38" y="22"/>
                </a:lnTo>
                <a:lnTo>
                  <a:pt x="44" y="22"/>
                </a:lnTo>
                <a:lnTo>
                  <a:pt x="49" y="22"/>
                </a:lnTo>
                <a:lnTo>
                  <a:pt x="44" y="17"/>
                </a:lnTo>
                <a:lnTo>
                  <a:pt x="44" y="11"/>
                </a:lnTo>
                <a:lnTo>
                  <a:pt x="49" y="11"/>
                </a:lnTo>
                <a:lnTo>
                  <a:pt x="49" y="6"/>
                </a:lnTo>
                <a:lnTo>
                  <a:pt x="54" y="6"/>
                </a:lnTo>
                <a:lnTo>
                  <a:pt x="54" y="0"/>
                </a:lnTo>
                <a:lnTo>
                  <a:pt x="60" y="6"/>
                </a:lnTo>
                <a:lnTo>
                  <a:pt x="65" y="6"/>
                </a:lnTo>
                <a:lnTo>
                  <a:pt x="71" y="0"/>
                </a:lnTo>
                <a:lnTo>
                  <a:pt x="76" y="0"/>
                </a:lnTo>
                <a:lnTo>
                  <a:pt x="82" y="0"/>
                </a:lnTo>
                <a:lnTo>
                  <a:pt x="87" y="0"/>
                </a:lnTo>
                <a:lnTo>
                  <a:pt x="93" y="0"/>
                </a:lnTo>
                <a:lnTo>
                  <a:pt x="98" y="6"/>
                </a:lnTo>
                <a:lnTo>
                  <a:pt x="98" y="11"/>
                </a:lnTo>
                <a:lnTo>
                  <a:pt x="103" y="17"/>
                </a:lnTo>
                <a:lnTo>
                  <a:pt x="98" y="17"/>
                </a:lnTo>
                <a:lnTo>
                  <a:pt x="93" y="17"/>
                </a:lnTo>
                <a:lnTo>
                  <a:pt x="98" y="22"/>
                </a:lnTo>
                <a:lnTo>
                  <a:pt x="93" y="22"/>
                </a:lnTo>
                <a:lnTo>
                  <a:pt x="93" y="28"/>
                </a:lnTo>
                <a:lnTo>
                  <a:pt x="87" y="33"/>
                </a:lnTo>
                <a:lnTo>
                  <a:pt x="82" y="39"/>
                </a:lnTo>
                <a:lnTo>
                  <a:pt x="76" y="39"/>
                </a:lnTo>
                <a:lnTo>
                  <a:pt x="71" y="39"/>
                </a:lnTo>
                <a:lnTo>
                  <a:pt x="65" y="39"/>
                </a:lnTo>
                <a:lnTo>
                  <a:pt x="60" y="39"/>
                </a:lnTo>
                <a:lnTo>
                  <a:pt x="49" y="39"/>
                </a:lnTo>
                <a:lnTo>
                  <a:pt x="44" y="39"/>
                </a:lnTo>
                <a:lnTo>
                  <a:pt x="38" y="33"/>
                </a:lnTo>
                <a:lnTo>
                  <a:pt x="38" y="28"/>
                </a:lnTo>
                <a:lnTo>
                  <a:pt x="33" y="33"/>
                </a:lnTo>
                <a:lnTo>
                  <a:pt x="27" y="28"/>
                </a:lnTo>
                <a:lnTo>
                  <a:pt x="22" y="33"/>
                </a:lnTo>
                <a:lnTo>
                  <a:pt x="16" y="33"/>
                </a:lnTo>
                <a:lnTo>
                  <a:pt x="11" y="28"/>
                </a:lnTo>
                <a:lnTo>
                  <a:pt x="11" y="33"/>
                </a:lnTo>
                <a:lnTo>
                  <a:pt x="5" y="28"/>
                </a:lnTo>
                <a:lnTo>
                  <a:pt x="0" y="28"/>
                </a:lnTo>
                <a:lnTo>
                  <a:pt x="0" y="22"/>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47" name="Freeform 262">
            <a:extLst>
              <a:ext uri="{FF2B5EF4-FFF2-40B4-BE49-F238E27FC236}">
                <a16:creationId xmlns:a16="http://schemas.microsoft.com/office/drawing/2014/main" id="{0921216C-927F-85BA-7663-DA7CF10DA316}"/>
              </a:ext>
            </a:extLst>
          </p:cNvPr>
          <p:cNvSpPr>
            <a:spLocks/>
          </p:cNvSpPr>
          <p:nvPr/>
        </p:nvSpPr>
        <p:spPr bwMode="auto">
          <a:xfrm>
            <a:off x="2838450" y="2171699"/>
            <a:ext cx="49213" cy="26988"/>
          </a:xfrm>
          <a:custGeom>
            <a:avLst/>
            <a:gdLst>
              <a:gd name="T0" fmla="*/ 6 w 44"/>
              <a:gd name="T1" fmla="*/ 22 h 22"/>
              <a:gd name="T2" fmla="*/ 6 w 44"/>
              <a:gd name="T3" fmla="*/ 17 h 22"/>
              <a:gd name="T4" fmla="*/ 0 w 44"/>
              <a:gd name="T5" fmla="*/ 17 h 22"/>
              <a:gd name="T6" fmla="*/ 0 w 44"/>
              <a:gd name="T7" fmla="*/ 11 h 22"/>
              <a:gd name="T8" fmla="*/ 6 w 44"/>
              <a:gd name="T9" fmla="*/ 11 h 22"/>
              <a:gd name="T10" fmla="*/ 0 w 44"/>
              <a:gd name="T11" fmla="*/ 11 h 22"/>
              <a:gd name="T12" fmla="*/ 6 w 44"/>
              <a:gd name="T13" fmla="*/ 6 h 22"/>
              <a:gd name="T14" fmla="*/ 11 w 44"/>
              <a:gd name="T15" fmla="*/ 6 h 22"/>
              <a:gd name="T16" fmla="*/ 17 w 44"/>
              <a:gd name="T17" fmla="*/ 6 h 22"/>
              <a:gd name="T18" fmla="*/ 22 w 44"/>
              <a:gd name="T19" fmla="*/ 6 h 22"/>
              <a:gd name="T20" fmla="*/ 28 w 44"/>
              <a:gd name="T21" fmla="*/ 6 h 22"/>
              <a:gd name="T22" fmla="*/ 33 w 44"/>
              <a:gd name="T23" fmla="*/ 0 h 22"/>
              <a:gd name="T24" fmla="*/ 39 w 44"/>
              <a:gd name="T25" fmla="*/ 0 h 22"/>
              <a:gd name="T26" fmla="*/ 39 w 44"/>
              <a:gd name="T27" fmla="*/ 6 h 22"/>
              <a:gd name="T28" fmla="*/ 44 w 44"/>
              <a:gd name="T29" fmla="*/ 6 h 22"/>
              <a:gd name="T30" fmla="*/ 39 w 44"/>
              <a:gd name="T31" fmla="*/ 6 h 22"/>
              <a:gd name="T32" fmla="*/ 33 w 44"/>
              <a:gd name="T33" fmla="*/ 6 h 22"/>
              <a:gd name="T34" fmla="*/ 33 w 44"/>
              <a:gd name="T35" fmla="*/ 11 h 22"/>
              <a:gd name="T36" fmla="*/ 28 w 44"/>
              <a:gd name="T37" fmla="*/ 11 h 22"/>
              <a:gd name="T38" fmla="*/ 33 w 44"/>
              <a:gd name="T39" fmla="*/ 17 h 22"/>
              <a:gd name="T40" fmla="*/ 28 w 44"/>
              <a:gd name="T41" fmla="*/ 17 h 22"/>
              <a:gd name="T42" fmla="*/ 28 w 44"/>
              <a:gd name="T43" fmla="*/ 22 h 22"/>
              <a:gd name="T44" fmla="*/ 22 w 44"/>
              <a:gd name="T45" fmla="*/ 22 h 22"/>
              <a:gd name="T46" fmla="*/ 17 w 44"/>
              <a:gd name="T47" fmla="*/ 17 h 22"/>
              <a:gd name="T48" fmla="*/ 17 w 44"/>
              <a:gd name="T49" fmla="*/ 22 h 22"/>
              <a:gd name="T50" fmla="*/ 11 w 44"/>
              <a:gd name="T51" fmla="*/ 22 h 22"/>
              <a:gd name="T52" fmla="*/ 6 w 44"/>
              <a:gd name="T5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22">
                <a:moveTo>
                  <a:pt x="6" y="22"/>
                </a:moveTo>
                <a:lnTo>
                  <a:pt x="6" y="17"/>
                </a:lnTo>
                <a:lnTo>
                  <a:pt x="0" y="17"/>
                </a:lnTo>
                <a:lnTo>
                  <a:pt x="0" y="11"/>
                </a:lnTo>
                <a:lnTo>
                  <a:pt x="6" y="11"/>
                </a:lnTo>
                <a:lnTo>
                  <a:pt x="0" y="11"/>
                </a:lnTo>
                <a:lnTo>
                  <a:pt x="6" y="6"/>
                </a:lnTo>
                <a:lnTo>
                  <a:pt x="11" y="6"/>
                </a:lnTo>
                <a:lnTo>
                  <a:pt x="17" y="6"/>
                </a:lnTo>
                <a:lnTo>
                  <a:pt x="22" y="6"/>
                </a:lnTo>
                <a:lnTo>
                  <a:pt x="28" y="6"/>
                </a:lnTo>
                <a:lnTo>
                  <a:pt x="33" y="0"/>
                </a:lnTo>
                <a:lnTo>
                  <a:pt x="39" y="0"/>
                </a:lnTo>
                <a:lnTo>
                  <a:pt x="39" y="6"/>
                </a:lnTo>
                <a:lnTo>
                  <a:pt x="44" y="6"/>
                </a:lnTo>
                <a:lnTo>
                  <a:pt x="39" y="6"/>
                </a:lnTo>
                <a:lnTo>
                  <a:pt x="33" y="6"/>
                </a:lnTo>
                <a:lnTo>
                  <a:pt x="33" y="11"/>
                </a:lnTo>
                <a:lnTo>
                  <a:pt x="28" y="11"/>
                </a:lnTo>
                <a:lnTo>
                  <a:pt x="33" y="17"/>
                </a:lnTo>
                <a:lnTo>
                  <a:pt x="28" y="17"/>
                </a:lnTo>
                <a:lnTo>
                  <a:pt x="28" y="22"/>
                </a:lnTo>
                <a:lnTo>
                  <a:pt x="22" y="22"/>
                </a:lnTo>
                <a:lnTo>
                  <a:pt x="17" y="17"/>
                </a:lnTo>
                <a:lnTo>
                  <a:pt x="17" y="22"/>
                </a:lnTo>
                <a:lnTo>
                  <a:pt x="11" y="22"/>
                </a:lnTo>
                <a:lnTo>
                  <a:pt x="6" y="22"/>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48" name="Freeform 263">
            <a:extLst>
              <a:ext uri="{FF2B5EF4-FFF2-40B4-BE49-F238E27FC236}">
                <a16:creationId xmlns:a16="http://schemas.microsoft.com/office/drawing/2014/main" id="{0A9842EE-4903-EDCD-6359-1651715F5BB3}"/>
              </a:ext>
            </a:extLst>
          </p:cNvPr>
          <p:cNvSpPr>
            <a:spLocks/>
          </p:cNvSpPr>
          <p:nvPr/>
        </p:nvSpPr>
        <p:spPr bwMode="auto">
          <a:xfrm>
            <a:off x="2876550" y="2138363"/>
            <a:ext cx="103188" cy="53975"/>
          </a:xfrm>
          <a:custGeom>
            <a:avLst/>
            <a:gdLst>
              <a:gd name="T0" fmla="*/ 0 w 93"/>
              <a:gd name="T1" fmla="*/ 27 h 44"/>
              <a:gd name="T2" fmla="*/ 6 w 93"/>
              <a:gd name="T3" fmla="*/ 22 h 44"/>
              <a:gd name="T4" fmla="*/ 6 w 93"/>
              <a:gd name="T5" fmla="*/ 16 h 44"/>
              <a:gd name="T6" fmla="*/ 11 w 93"/>
              <a:gd name="T7" fmla="*/ 16 h 44"/>
              <a:gd name="T8" fmla="*/ 6 w 93"/>
              <a:gd name="T9" fmla="*/ 11 h 44"/>
              <a:gd name="T10" fmla="*/ 11 w 93"/>
              <a:gd name="T11" fmla="*/ 11 h 44"/>
              <a:gd name="T12" fmla="*/ 16 w 93"/>
              <a:gd name="T13" fmla="*/ 11 h 44"/>
              <a:gd name="T14" fmla="*/ 22 w 93"/>
              <a:gd name="T15" fmla="*/ 11 h 44"/>
              <a:gd name="T16" fmla="*/ 27 w 93"/>
              <a:gd name="T17" fmla="*/ 11 h 44"/>
              <a:gd name="T18" fmla="*/ 33 w 93"/>
              <a:gd name="T19" fmla="*/ 11 h 44"/>
              <a:gd name="T20" fmla="*/ 38 w 93"/>
              <a:gd name="T21" fmla="*/ 5 h 44"/>
              <a:gd name="T22" fmla="*/ 44 w 93"/>
              <a:gd name="T23" fmla="*/ 5 h 44"/>
              <a:gd name="T24" fmla="*/ 49 w 93"/>
              <a:gd name="T25" fmla="*/ 5 h 44"/>
              <a:gd name="T26" fmla="*/ 55 w 93"/>
              <a:gd name="T27" fmla="*/ 5 h 44"/>
              <a:gd name="T28" fmla="*/ 55 w 93"/>
              <a:gd name="T29" fmla="*/ 0 h 44"/>
              <a:gd name="T30" fmla="*/ 60 w 93"/>
              <a:gd name="T31" fmla="*/ 0 h 44"/>
              <a:gd name="T32" fmla="*/ 66 w 93"/>
              <a:gd name="T33" fmla="*/ 0 h 44"/>
              <a:gd name="T34" fmla="*/ 71 w 93"/>
              <a:gd name="T35" fmla="*/ 0 h 44"/>
              <a:gd name="T36" fmla="*/ 71 w 93"/>
              <a:gd name="T37" fmla="*/ 5 h 44"/>
              <a:gd name="T38" fmla="*/ 76 w 93"/>
              <a:gd name="T39" fmla="*/ 0 h 44"/>
              <a:gd name="T40" fmla="*/ 82 w 93"/>
              <a:gd name="T41" fmla="*/ 0 h 44"/>
              <a:gd name="T42" fmla="*/ 87 w 93"/>
              <a:gd name="T43" fmla="*/ 5 h 44"/>
              <a:gd name="T44" fmla="*/ 93 w 93"/>
              <a:gd name="T45" fmla="*/ 11 h 44"/>
              <a:gd name="T46" fmla="*/ 87 w 93"/>
              <a:gd name="T47" fmla="*/ 11 h 44"/>
              <a:gd name="T48" fmla="*/ 82 w 93"/>
              <a:gd name="T49" fmla="*/ 11 h 44"/>
              <a:gd name="T50" fmla="*/ 82 w 93"/>
              <a:gd name="T51" fmla="*/ 16 h 44"/>
              <a:gd name="T52" fmla="*/ 76 w 93"/>
              <a:gd name="T53" fmla="*/ 22 h 44"/>
              <a:gd name="T54" fmla="*/ 76 w 93"/>
              <a:gd name="T55" fmla="*/ 27 h 44"/>
              <a:gd name="T56" fmla="*/ 71 w 93"/>
              <a:gd name="T57" fmla="*/ 33 h 44"/>
              <a:gd name="T58" fmla="*/ 71 w 93"/>
              <a:gd name="T59" fmla="*/ 38 h 44"/>
              <a:gd name="T60" fmla="*/ 66 w 93"/>
              <a:gd name="T61" fmla="*/ 38 h 44"/>
              <a:gd name="T62" fmla="*/ 60 w 93"/>
              <a:gd name="T63" fmla="*/ 38 h 44"/>
              <a:gd name="T64" fmla="*/ 55 w 93"/>
              <a:gd name="T65" fmla="*/ 38 h 44"/>
              <a:gd name="T66" fmla="*/ 49 w 93"/>
              <a:gd name="T67" fmla="*/ 38 h 44"/>
              <a:gd name="T68" fmla="*/ 44 w 93"/>
              <a:gd name="T69" fmla="*/ 38 h 44"/>
              <a:gd name="T70" fmla="*/ 38 w 93"/>
              <a:gd name="T71" fmla="*/ 44 h 44"/>
              <a:gd name="T72" fmla="*/ 33 w 93"/>
              <a:gd name="T73" fmla="*/ 44 h 44"/>
              <a:gd name="T74" fmla="*/ 27 w 93"/>
              <a:gd name="T75" fmla="*/ 44 h 44"/>
              <a:gd name="T76" fmla="*/ 22 w 93"/>
              <a:gd name="T77" fmla="*/ 44 h 44"/>
              <a:gd name="T78" fmla="*/ 16 w 93"/>
              <a:gd name="T79" fmla="*/ 38 h 44"/>
              <a:gd name="T80" fmla="*/ 11 w 93"/>
              <a:gd name="T81" fmla="*/ 33 h 44"/>
              <a:gd name="T82" fmla="*/ 6 w 93"/>
              <a:gd name="T83" fmla="*/ 33 h 44"/>
              <a:gd name="T84" fmla="*/ 6 w 93"/>
              <a:gd name="T85" fmla="*/ 27 h 44"/>
              <a:gd name="T86" fmla="*/ 0 w 93"/>
              <a:gd name="T87"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44">
                <a:moveTo>
                  <a:pt x="0" y="27"/>
                </a:moveTo>
                <a:lnTo>
                  <a:pt x="6" y="22"/>
                </a:lnTo>
                <a:lnTo>
                  <a:pt x="6" y="16"/>
                </a:lnTo>
                <a:lnTo>
                  <a:pt x="11" y="16"/>
                </a:lnTo>
                <a:lnTo>
                  <a:pt x="6" y="11"/>
                </a:lnTo>
                <a:lnTo>
                  <a:pt x="11" y="11"/>
                </a:lnTo>
                <a:lnTo>
                  <a:pt x="16" y="11"/>
                </a:lnTo>
                <a:lnTo>
                  <a:pt x="22" y="11"/>
                </a:lnTo>
                <a:lnTo>
                  <a:pt x="27" y="11"/>
                </a:lnTo>
                <a:lnTo>
                  <a:pt x="33" y="11"/>
                </a:lnTo>
                <a:lnTo>
                  <a:pt x="38" y="5"/>
                </a:lnTo>
                <a:lnTo>
                  <a:pt x="44" y="5"/>
                </a:lnTo>
                <a:lnTo>
                  <a:pt x="49" y="5"/>
                </a:lnTo>
                <a:lnTo>
                  <a:pt x="55" y="5"/>
                </a:lnTo>
                <a:lnTo>
                  <a:pt x="55" y="0"/>
                </a:lnTo>
                <a:lnTo>
                  <a:pt x="60" y="0"/>
                </a:lnTo>
                <a:lnTo>
                  <a:pt x="66" y="0"/>
                </a:lnTo>
                <a:lnTo>
                  <a:pt x="71" y="0"/>
                </a:lnTo>
                <a:lnTo>
                  <a:pt x="71" y="5"/>
                </a:lnTo>
                <a:lnTo>
                  <a:pt x="76" y="0"/>
                </a:lnTo>
                <a:lnTo>
                  <a:pt x="82" y="0"/>
                </a:lnTo>
                <a:lnTo>
                  <a:pt x="87" y="5"/>
                </a:lnTo>
                <a:lnTo>
                  <a:pt x="93" y="11"/>
                </a:lnTo>
                <a:lnTo>
                  <a:pt x="87" y="11"/>
                </a:lnTo>
                <a:lnTo>
                  <a:pt x="82" y="11"/>
                </a:lnTo>
                <a:lnTo>
                  <a:pt x="82" y="16"/>
                </a:lnTo>
                <a:lnTo>
                  <a:pt x="76" y="22"/>
                </a:lnTo>
                <a:lnTo>
                  <a:pt x="76" y="27"/>
                </a:lnTo>
                <a:lnTo>
                  <a:pt x="71" y="33"/>
                </a:lnTo>
                <a:lnTo>
                  <a:pt x="71" y="38"/>
                </a:lnTo>
                <a:lnTo>
                  <a:pt x="66" y="38"/>
                </a:lnTo>
                <a:lnTo>
                  <a:pt x="60" y="38"/>
                </a:lnTo>
                <a:lnTo>
                  <a:pt x="55" y="38"/>
                </a:lnTo>
                <a:lnTo>
                  <a:pt x="49" y="38"/>
                </a:lnTo>
                <a:lnTo>
                  <a:pt x="44" y="38"/>
                </a:lnTo>
                <a:lnTo>
                  <a:pt x="38" y="44"/>
                </a:lnTo>
                <a:lnTo>
                  <a:pt x="33" y="44"/>
                </a:lnTo>
                <a:lnTo>
                  <a:pt x="27" y="44"/>
                </a:lnTo>
                <a:lnTo>
                  <a:pt x="22" y="44"/>
                </a:lnTo>
                <a:lnTo>
                  <a:pt x="16" y="38"/>
                </a:lnTo>
                <a:lnTo>
                  <a:pt x="11" y="33"/>
                </a:lnTo>
                <a:lnTo>
                  <a:pt x="6" y="33"/>
                </a:lnTo>
                <a:lnTo>
                  <a:pt x="6" y="27"/>
                </a:lnTo>
                <a:lnTo>
                  <a:pt x="0" y="27"/>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49" name="Freeform 264">
            <a:extLst>
              <a:ext uri="{FF2B5EF4-FFF2-40B4-BE49-F238E27FC236}">
                <a16:creationId xmlns:a16="http://schemas.microsoft.com/office/drawing/2014/main" id="{585B0DDB-8F06-2FBE-28BA-59EBAEEA545D}"/>
              </a:ext>
            </a:extLst>
          </p:cNvPr>
          <p:cNvSpPr>
            <a:spLocks/>
          </p:cNvSpPr>
          <p:nvPr/>
        </p:nvSpPr>
        <p:spPr bwMode="auto">
          <a:xfrm>
            <a:off x="2943225" y="2144713"/>
            <a:ext cx="147638" cy="87313"/>
          </a:xfrm>
          <a:custGeom>
            <a:avLst/>
            <a:gdLst>
              <a:gd name="T0" fmla="*/ 6 w 131"/>
              <a:gd name="T1" fmla="*/ 33 h 71"/>
              <a:gd name="T2" fmla="*/ 11 w 131"/>
              <a:gd name="T3" fmla="*/ 28 h 71"/>
              <a:gd name="T4" fmla="*/ 16 w 131"/>
              <a:gd name="T5" fmla="*/ 17 h 71"/>
              <a:gd name="T6" fmla="*/ 22 w 131"/>
              <a:gd name="T7" fmla="*/ 6 h 71"/>
              <a:gd name="T8" fmla="*/ 33 w 131"/>
              <a:gd name="T9" fmla="*/ 6 h 71"/>
              <a:gd name="T10" fmla="*/ 38 w 131"/>
              <a:gd name="T11" fmla="*/ 6 h 71"/>
              <a:gd name="T12" fmla="*/ 49 w 131"/>
              <a:gd name="T13" fmla="*/ 6 h 71"/>
              <a:gd name="T14" fmla="*/ 60 w 131"/>
              <a:gd name="T15" fmla="*/ 6 h 71"/>
              <a:gd name="T16" fmla="*/ 71 w 131"/>
              <a:gd name="T17" fmla="*/ 6 h 71"/>
              <a:gd name="T18" fmla="*/ 87 w 131"/>
              <a:gd name="T19" fmla="*/ 0 h 71"/>
              <a:gd name="T20" fmla="*/ 87 w 131"/>
              <a:gd name="T21" fmla="*/ 11 h 71"/>
              <a:gd name="T22" fmla="*/ 98 w 131"/>
              <a:gd name="T23" fmla="*/ 17 h 71"/>
              <a:gd name="T24" fmla="*/ 104 w 131"/>
              <a:gd name="T25" fmla="*/ 28 h 71"/>
              <a:gd name="T26" fmla="*/ 104 w 131"/>
              <a:gd name="T27" fmla="*/ 39 h 71"/>
              <a:gd name="T28" fmla="*/ 104 w 131"/>
              <a:gd name="T29" fmla="*/ 44 h 71"/>
              <a:gd name="T30" fmla="*/ 115 w 131"/>
              <a:gd name="T31" fmla="*/ 49 h 71"/>
              <a:gd name="T32" fmla="*/ 120 w 131"/>
              <a:gd name="T33" fmla="*/ 44 h 71"/>
              <a:gd name="T34" fmla="*/ 126 w 131"/>
              <a:gd name="T35" fmla="*/ 49 h 71"/>
              <a:gd name="T36" fmla="*/ 126 w 131"/>
              <a:gd name="T37" fmla="*/ 55 h 71"/>
              <a:gd name="T38" fmla="*/ 120 w 131"/>
              <a:gd name="T39" fmla="*/ 60 h 71"/>
              <a:gd name="T40" fmla="*/ 120 w 131"/>
              <a:gd name="T41" fmla="*/ 66 h 71"/>
              <a:gd name="T42" fmla="*/ 109 w 131"/>
              <a:gd name="T43" fmla="*/ 71 h 71"/>
              <a:gd name="T44" fmla="*/ 104 w 131"/>
              <a:gd name="T45" fmla="*/ 66 h 71"/>
              <a:gd name="T46" fmla="*/ 93 w 131"/>
              <a:gd name="T47" fmla="*/ 66 h 71"/>
              <a:gd name="T48" fmla="*/ 82 w 131"/>
              <a:gd name="T49" fmla="*/ 66 h 71"/>
              <a:gd name="T50" fmla="*/ 76 w 131"/>
              <a:gd name="T51" fmla="*/ 71 h 71"/>
              <a:gd name="T52" fmla="*/ 66 w 131"/>
              <a:gd name="T53" fmla="*/ 71 h 71"/>
              <a:gd name="T54" fmla="*/ 55 w 131"/>
              <a:gd name="T55" fmla="*/ 71 h 71"/>
              <a:gd name="T56" fmla="*/ 44 w 131"/>
              <a:gd name="T57" fmla="*/ 71 h 71"/>
              <a:gd name="T58" fmla="*/ 38 w 131"/>
              <a:gd name="T59" fmla="*/ 66 h 71"/>
              <a:gd name="T60" fmla="*/ 38 w 131"/>
              <a:gd name="T61" fmla="*/ 60 h 71"/>
              <a:gd name="T62" fmla="*/ 27 w 131"/>
              <a:gd name="T63" fmla="*/ 60 h 71"/>
              <a:gd name="T64" fmla="*/ 22 w 131"/>
              <a:gd name="T65" fmla="*/ 55 h 71"/>
              <a:gd name="T66" fmla="*/ 16 w 131"/>
              <a:gd name="T67" fmla="*/ 49 h 71"/>
              <a:gd name="T68" fmla="*/ 6 w 131"/>
              <a:gd name="T69" fmla="*/ 44 h 71"/>
              <a:gd name="T70" fmla="*/ 0 w 131"/>
              <a:gd name="T71" fmla="*/ 3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1" h="71">
                <a:moveTo>
                  <a:pt x="0" y="33"/>
                </a:moveTo>
                <a:lnTo>
                  <a:pt x="6" y="33"/>
                </a:lnTo>
                <a:lnTo>
                  <a:pt x="11" y="33"/>
                </a:lnTo>
                <a:lnTo>
                  <a:pt x="11" y="28"/>
                </a:lnTo>
                <a:lnTo>
                  <a:pt x="16" y="22"/>
                </a:lnTo>
                <a:lnTo>
                  <a:pt x="16" y="17"/>
                </a:lnTo>
                <a:lnTo>
                  <a:pt x="22" y="11"/>
                </a:lnTo>
                <a:lnTo>
                  <a:pt x="22" y="6"/>
                </a:lnTo>
                <a:lnTo>
                  <a:pt x="27" y="6"/>
                </a:lnTo>
                <a:lnTo>
                  <a:pt x="33" y="6"/>
                </a:lnTo>
                <a:lnTo>
                  <a:pt x="33" y="0"/>
                </a:lnTo>
                <a:lnTo>
                  <a:pt x="38" y="6"/>
                </a:lnTo>
                <a:lnTo>
                  <a:pt x="44" y="6"/>
                </a:lnTo>
                <a:lnTo>
                  <a:pt x="49" y="6"/>
                </a:lnTo>
                <a:lnTo>
                  <a:pt x="55" y="6"/>
                </a:lnTo>
                <a:lnTo>
                  <a:pt x="60" y="6"/>
                </a:lnTo>
                <a:lnTo>
                  <a:pt x="66" y="6"/>
                </a:lnTo>
                <a:lnTo>
                  <a:pt x="71" y="6"/>
                </a:lnTo>
                <a:lnTo>
                  <a:pt x="76" y="0"/>
                </a:lnTo>
                <a:lnTo>
                  <a:pt x="87" y="0"/>
                </a:lnTo>
                <a:lnTo>
                  <a:pt x="87" y="6"/>
                </a:lnTo>
                <a:lnTo>
                  <a:pt x="87" y="11"/>
                </a:lnTo>
                <a:lnTo>
                  <a:pt x="93" y="11"/>
                </a:lnTo>
                <a:lnTo>
                  <a:pt x="98" y="17"/>
                </a:lnTo>
                <a:lnTo>
                  <a:pt x="104" y="22"/>
                </a:lnTo>
                <a:lnTo>
                  <a:pt x="104" y="28"/>
                </a:lnTo>
                <a:lnTo>
                  <a:pt x="104" y="33"/>
                </a:lnTo>
                <a:lnTo>
                  <a:pt x="104" y="39"/>
                </a:lnTo>
                <a:lnTo>
                  <a:pt x="109" y="39"/>
                </a:lnTo>
                <a:lnTo>
                  <a:pt x="104" y="44"/>
                </a:lnTo>
                <a:lnTo>
                  <a:pt x="109" y="44"/>
                </a:lnTo>
                <a:lnTo>
                  <a:pt x="115" y="49"/>
                </a:lnTo>
                <a:lnTo>
                  <a:pt x="115" y="44"/>
                </a:lnTo>
                <a:lnTo>
                  <a:pt x="120" y="44"/>
                </a:lnTo>
                <a:lnTo>
                  <a:pt x="126" y="44"/>
                </a:lnTo>
                <a:lnTo>
                  <a:pt x="126" y="49"/>
                </a:lnTo>
                <a:lnTo>
                  <a:pt x="131" y="49"/>
                </a:lnTo>
                <a:lnTo>
                  <a:pt x="126" y="55"/>
                </a:lnTo>
                <a:lnTo>
                  <a:pt x="120" y="55"/>
                </a:lnTo>
                <a:lnTo>
                  <a:pt x="120" y="60"/>
                </a:lnTo>
                <a:lnTo>
                  <a:pt x="115" y="60"/>
                </a:lnTo>
                <a:lnTo>
                  <a:pt x="120" y="66"/>
                </a:lnTo>
                <a:lnTo>
                  <a:pt x="120" y="71"/>
                </a:lnTo>
                <a:lnTo>
                  <a:pt x="109" y="71"/>
                </a:lnTo>
                <a:lnTo>
                  <a:pt x="109" y="66"/>
                </a:lnTo>
                <a:lnTo>
                  <a:pt x="104" y="66"/>
                </a:lnTo>
                <a:lnTo>
                  <a:pt x="98" y="66"/>
                </a:lnTo>
                <a:lnTo>
                  <a:pt x="93" y="66"/>
                </a:lnTo>
                <a:lnTo>
                  <a:pt x="87" y="66"/>
                </a:lnTo>
                <a:lnTo>
                  <a:pt x="82" y="66"/>
                </a:lnTo>
                <a:lnTo>
                  <a:pt x="82" y="71"/>
                </a:lnTo>
                <a:lnTo>
                  <a:pt x="76" y="71"/>
                </a:lnTo>
                <a:lnTo>
                  <a:pt x="71" y="71"/>
                </a:lnTo>
                <a:lnTo>
                  <a:pt x="66" y="71"/>
                </a:lnTo>
                <a:lnTo>
                  <a:pt x="60" y="71"/>
                </a:lnTo>
                <a:lnTo>
                  <a:pt x="55" y="71"/>
                </a:lnTo>
                <a:lnTo>
                  <a:pt x="49" y="71"/>
                </a:lnTo>
                <a:lnTo>
                  <a:pt x="44" y="71"/>
                </a:lnTo>
                <a:lnTo>
                  <a:pt x="38" y="71"/>
                </a:lnTo>
                <a:lnTo>
                  <a:pt x="38" y="66"/>
                </a:lnTo>
                <a:lnTo>
                  <a:pt x="33" y="60"/>
                </a:lnTo>
                <a:lnTo>
                  <a:pt x="38" y="60"/>
                </a:lnTo>
                <a:lnTo>
                  <a:pt x="33" y="55"/>
                </a:lnTo>
                <a:lnTo>
                  <a:pt x="27" y="60"/>
                </a:lnTo>
                <a:lnTo>
                  <a:pt x="27" y="55"/>
                </a:lnTo>
                <a:lnTo>
                  <a:pt x="22" y="55"/>
                </a:lnTo>
                <a:lnTo>
                  <a:pt x="16" y="55"/>
                </a:lnTo>
                <a:lnTo>
                  <a:pt x="16" y="49"/>
                </a:lnTo>
                <a:lnTo>
                  <a:pt x="11" y="44"/>
                </a:lnTo>
                <a:lnTo>
                  <a:pt x="6" y="44"/>
                </a:lnTo>
                <a:lnTo>
                  <a:pt x="6" y="39"/>
                </a:lnTo>
                <a:lnTo>
                  <a:pt x="0" y="33"/>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50" name="Freeform 266">
            <a:extLst>
              <a:ext uri="{FF2B5EF4-FFF2-40B4-BE49-F238E27FC236}">
                <a16:creationId xmlns:a16="http://schemas.microsoft.com/office/drawing/2014/main" id="{7BC1EB54-0AC9-E68C-7D30-952587BDEE60}"/>
              </a:ext>
            </a:extLst>
          </p:cNvPr>
          <p:cNvSpPr>
            <a:spLocks/>
          </p:cNvSpPr>
          <p:nvPr/>
        </p:nvSpPr>
        <p:spPr bwMode="auto">
          <a:xfrm>
            <a:off x="3028950" y="2138363"/>
            <a:ext cx="61913" cy="60325"/>
          </a:xfrm>
          <a:custGeom>
            <a:avLst/>
            <a:gdLst>
              <a:gd name="T0" fmla="*/ 0 w 55"/>
              <a:gd name="T1" fmla="*/ 5 h 49"/>
              <a:gd name="T2" fmla="*/ 6 w 55"/>
              <a:gd name="T3" fmla="*/ 0 h 49"/>
              <a:gd name="T4" fmla="*/ 11 w 55"/>
              <a:gd name="T5" fmla="*/ 0 h 49"/>
              <a:gd name="T6" fmla="*/ 17 w 55"/>
              <a:gd name="T7" fmla="*/ 0 h 49"/>
              <a:gd name="T8" fmla="*/ 22 w 55"/>
              <a:gd name="T9" fmla="*/ 5 h 49"/>
              <a:gd name="T10" fmla="*/ 28 w 55"/>
              <a:gd name="T11" fmla="*/ 5 h 49"/>
              <a:gd name="T12" fmla="*/ 33 w 55"/>
              <a:gd name="T13" fmla="*/ 11 h 49"/>
              <a:gd name="T14" fmla="*/ 39 w 55"/>
              <a:gd name="T15" fmla="*/ 11 h 49"/>
              <a:gd name="T16" fmla="*/ 39 w 55"/>
              <a:gd name="T17" fmla="*/ 16 h 49"/>
              <a:gd name="T18" fmla="*/ 44 w 55"/>
              <a:gd name="T19" fmla="*/ 16 h 49"/>
              <a:gd name="T20" fmla="*/ 44 w 55"/>
              <a:gd name="T21" fmla="*/ 22 h 49"/>
              <a:gd name="T22" fmla="*/ 44 w 55"/>
              <a:gd name="T23" fmla="*/ 27 h 49"/>
              <a:gd name="T24" fmla="*/ 50 w 55"/>
              <a:gd name="T25" fmla="*/ 27 h 49"/>
              <a:gd name="T26" fmla="*/ 50 w 55"/>
              <a:gd name="T27" fmla="*/ 33 h 49"/>
              <a:gd name="T28" fmla="*/ 55 w 55"/>
              <a:gd name="T29" fmla="*/ 33 h 49"/>
              <a:gd name="T30" fmla="*/ 50 w 55"/>
              <a:gd name="T31" fmla="*/ 33 h 49"/>
              <a:gd name="T32" fmla="*/ 44 w 55"/>
              <a:gd name="T33" fmla="*/ 33 h 49"/>
              <a:gd name="T34" fmla="*/ 39 w 55"/>
              <a:gd name="T35" fmla="*/ 33 h 49"/>
              <a:gd name="T36" fmla="*/ 39 w 55"/>
              <a:gd name="T37" fmla="*/ 38 h 49"/>
              <a:gd name="T38" fmla="*/ 39 w 55"/>
              <a:gd name="T39" fmla="*/ 44 h 49"/>
              <a:gd name="T40" fmla="*/ 33 w 55"/>
              <a:gd name="T41" fmla="*/ 44 h 49"/>
              <a:gd name="T42" fmla="*/ 33 w 55"/>
              <a:gd name="T43" fmla="*/ 49 h 49"/>
              <a:gd name="T44" fmla="*/ 28 w 55"/>
              <a:gd name="T45" fmla="*/ 49 h 49"/>
              <a:gd name="T46" fmla="*/ 33 w 55"/>
              <a:gd name="T47" fmla="*/ 44 h 49"/>
              <a:gd name="T48" fmla="*/ 28 w 55"/>
              <a:gd name="T49" fmla="*/ 44 h 49"/>
              <a:gd name="T50" fmla="*/ 28 w 55"/>
              <a:gd name="T51" fmla="*/ 38 h 49"/>
              <a:gd name="T52" fmla="*/ 28 w 55"/>
              <a:gd name="T53" fmla="*/ 33 h 49"/>
              <a:gd name="T54" fmla="*/ 28 w 55"/>
              <a:gd name="T55" fmla="*/ 27 h 49"/>
              <a:gd name="T56" fmla="*/ 22 w 55"/>
              <a:gd name="T57" fmla="*/ 22 h 49"/>
              <a:gd name="T58" fmla="*/ 17 w 55"/>
              <a:gd name="T59" fmla="*/ 16 h 49"/>
              <a:gd name="T60" fmla="*/ 11 w 55"/>
              <a:gd name="T61" fmla="*/ 16 h 49"/>
              <a:gd name="T62" fmla="*/ 11 w 55"/>
              <a:gd name="T63" fmla="*/ 11 h 49"/>
              <a:gd name="T64" fmla="*/ 11 w 55"/>
              <a:gd name="T65" fmla="*/ 5 h 49"/>
              <a:gd name="T66" fmla="*/ 0 w 55"/>
              <a:gd name="T67" fmla="*/ 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49">
                <a:moveTo>
                  <a:pt x="0" y="5"/>
                </a:moveTo>
                <a:lnTo>
                  <a:pt x="6" y="0"/>
                </a:lnTo>
                <a:lnTo>
                  <a:pt x="11" y="0"/>
                </a:lnTo>
                <a:lnTo>
                  <a:pt x="17" y="0"/>
                </a:lnTo>
                <a:lnTo>
                  <a:pt x="22" y="5"/>
                </a:lnTo>
                <a:lnTo>
                  <a:pt x="28" y="5"/>
                </a:lnTo>
                <a:lnTo>
                  <a:pt x="33" y="11"/>
                </a:lnTo>
                <a:lnTo>
                  <a:pt x="39" y="11"/>
                </a:lnTo>
                <a:lnTo>
                  <a:pt x="39" y="16"/>
                </a:lnTo>
                <a:lnTo>
                  <a:pt x="44" y="16"/>
                </a:lnTo>
                <a:lnTo>
                  <a:pt x="44" y="22"/>
                </a:lnTo>
                <a:lnTo>
                  <a:pt x="44" y="27"/>
                </a:lnTo>
                <a:lnTo>
                  <a:pt x="50" y="27"/>
                </a:lnTo>
                <a:lnTo>
                  <a:pt x="50" y="33"/>
                </a:lnTo>
                <a:lnTo>
                  <a:pt x="55" y="33"/>
                </a:lnTo>
                <a:lnTo>
                  <a:pt x="50" y="33"/>
                </a:lnTo>
                <a:lnTo>
                  <a:pt x="44" y="33"/>
                </a:lnTo>
                <a:lnTo>
                  <a:pt x="39" y="33"/>
                </a:lnTo>
                <a:lnTo>
                  <a:pt x="39" y="38"/>
                </a:lnTo>
                <a:lnTo>
                  <a:pt x="39" y="44"/>
                </a:lnTo>
                <a:lnTo>
                  <a:pt x="33" y="44"/>
                </a:lnTo>
                <a:lnTo>
                  <a:pt x="33" y="49"/>
                </a:lnTo>
                <a:lnTo>
                  <a:pt x="28" y="49"/>
                </a:lnTo>
                <a:lnTo>
                  <a:pt x="33" y="44"/>
                </a:lnTo>
                <a:lnTo>
                  <a:pt x="28" y="44"/>
                </a:lnTo>
                <a:lnTo>
                  <a:pt x="28" y="38"/>
                </a:lnTo>
                <a:lnTo>
                  <a:pt x="28" y="33"/>
                </a:lnTo>
                <a:lnTo>
                  <a:pt x="28" y="27"/>
                </a:lnTo>
                <a:lnTo>
                  <a:pt x="22" y="22"/>
                </a:lnTo>
                <a:lnTo>
                  <a:pt x="17" y="16"/>
                </a:lnTo>
                <a:lnTo>
                  <a:pt x="11" y="16"/>
                </a:lnTo>
                <a:lnTo>
                  <a:pt x="11" y="11"/>
                </a:lnTo>
                <a:lnTo>
                  <a:pt x="11" y="5"/>
                </a:lnTo>
                <a:lnTo>
                  <a:pt x="0" y="5"/>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51" name="Freeform 267">
            <a:extLst>
              <a:ext uri="{FF2B5EF4-FFF2-40B4-BE49-F238E27FC236}">
                <a16:creationId xmlns:a16="http://schemas.microsoft.com/office/drawing/2014/main" id="{66279F2B-526D-8317-0BE8-E191AFC06885}"/>
              </a:ext>
            </a:extLst>
          </p:cNvPr>
          <p:cNvSpPr>
            <a:spLocks/>
          </p:cNvSpPr>
          <p:nvPr/>
        </p:nvSpPr>
        <p:spPr bwMode="auto">
          <a:xfrm>
            <a:off x="2968625" y="1992313"/>
            <a:ext cx="134938" cy="93663"/>
          </a:xfrm>
          <a:custGeom>
            <a:avLst/>
            <a:gdLst>
              <a:gd name="T0" fmla="*/ 5 w 120"/>
              <a:gd name="T1" fmla="*/ 71 h 76"/>
              <a:gd name="T2" fmla="*/ 0 w 120"/>
              <a:gd name="T3" fmla="*/ 60 h 76"/>
              <a:gd name="T4" fmla="*/ 11 w 120"/>
              <a:gd name="T5" fmla="*/ 54 h 76"/>
              <a:gd name="T6" fmla="*/ 5 w 120"/>
              <a:gd name="T7" fmla="*/ 49 h 76"/>
              <a:gd name="T8" fmla="*/ 5 w 120"/>
              <a:gd name="T9" fmla="*/ 44 h 76"/>
              <a:gd name="T10" fmla="*/ 0 w 120"/>
              <a:gd name="T11" fmla="*/ 33 h 76"/>
              <a:gd name="T12" fmla="*/ 11 w 120"/>
              <a:gd name="T13" fmla="*/ 33 h 76"/>
              <a:gd name="T14" fmla="*/ 22 w 120"/>
              <a:gd name="T15" fmla="*/ 33 h 76"/>
              <a:gd name="T16" fmla="*/ 27 w 120"/>
              <a:gd name="T17" fmla="*/ 33 h 76"/>
              <a:gd name="T18" fmla="*/ 27 w 120"/>
              <a:gd name="T19" fmla="*/ 22 h 76"/>
              <a:gd name="T20" fmla="*/ 38 w 120"/>
              <a:gd name="T21" fmla="*/ 16 h 76"/>
              <a:gd name="T22" fmla="*/ 33 w 120"/>
              <a:gd name="T23" fmla="*/ 11 h 76"/>
              <a:gd name="T24" fmla="*/ 44 w 120"/>
              <a:gd name="T25" fmla="*/ 5 h 76"/>
              <a:gd name="T26" fmla="*/ 49 w 120"/>
              <a:gd name="T27" fmla="*/ 0 h 76"/>
              <a:gd name="T28" fmla="*/ 60 w 120"/>
              <a:gd name="T29" fmla="*/ 0 h 76"/>
              <a:gd name="T30" fmla="*/ 71 w 120"/>
              <a:gd name="T31" fmla="*/ 0 h 76"/>
              <a:gd name="T32" fmla="*/ 76 w 120"/>
              <a:gd name="T33" fmla="*/ 5 h 76"/>
              <a:gd name="T34" fmla="*/ 87 w 120"/>
              <a:gd name="T35" fmla="*/ 5 h 76"/>
              <a:gd name="T36" fmla="*/ 93 w 120"/>
              <a:gd name="T37" fmla="*/ 16 h 76"/>
              <a:gd name="T38" fmla="*/ 98 w 120"/>
              <a:gd name="T39" fmla="*/ 22 h 76"/>
              <a:gd name="T40" fmla="*/ 98 w 120"/>
              <a:gd name="T41" fmla="*/ 27 h 76"/>
              <a:gd name="T42" fmla="*/ 109 w 120"/>
              <a:gd name="T43" fmla="*/ 33 h 76"/>
              <a:gd name="T44" fmla="*/ 109 w 120"/>
              <a:gd name="T45" fmla="*/ 38 h 76"/>
              <a:gd name="T46" fmla="*/ 120 w 120"/>
              <a:gd name="T47" fmla="*/ 44 h 76"/>
              <a:gd name="T48" fmla="*/ 114 w 120"/>
              <a:gd name="T49" fmla="*/ 49 h 76"/>
              <a:gd name="T50" fmla="*/ 104 w 120"/>
              <a:gd name="T51" fmla="*/ 44 h 76"/>
              <a:gd name="T52" fmla="*/ 109 w 120"/>
              <a:gd name="T53" fmla="*/ 54 h 76"/>
              <a:gd name="T54" fmla="*/ 114 w 120"/>
              <a:gd name="T55" fmla="*/ 65 h 76"/>
              <a:gd name="T56" fmla="*/ 104 w 120"/>
              <a:gd name="T57" fmla="*/ 65 h 76"/>
              <a:gd name="T58" fmla="*/ 98 w 120"/>
              <a:gd name="T59" fmla="*/ 71 h 76"/>
              <a:gd name="T60" fmla="*/ 93 w 120"/>
              <a:gd name="T61" fmla="*/ 71 h 76"/>
              <a:gd name="T62" fmla="*/ 82 w 120"/>
              <a:gd name="T63" fmla="*/ 76 h 76"/>
              <a:gd name="T64" fmla="*/ 76 w 120"/>
              <a:gd name="T65" fmla="*/ 76 h 76"/>
              <a:gd name="T66" fmla="*/ 65 w 120"/>
              <a:gd name="T67" fmla="*/ 71 h 76"/>
              <a:gd name="T68" fmla="*/ 54 w 120"/>
              <a:gd name="T69" fmla="*/ 71 h 76"/>
              <a:gd name="T70" fmla="*/ 44 w 120"/>
              <a:gd name="T71" fmla="*/ 65 h 76"/>
              <a:gd name="T72" fmla="*/ 33 w 120"/>
              <a:gd name="T73" fmla="*/ 65 h 76"/>
              <a:gd name="T74" fmla="*/ 22 w 120"/>
              <a:gd name="T75" fmla="*/ 65 h 76"/>
              <a:gd name="T76" fmla="*/ 16 w 120"/>
              <a:gd name="T77" fmla="*/ 7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76">
                <a:moveTo>
                  <a:pt x="11" y="71"/>
                </a:moveTo>
                <a:lnTo>
                  <a:pt x="5" y="71"/>
                </a:lnTo>
                <a:lnTo>
                  <a:pt x="5" y="65"/>
                </a:lnTo>
                <a:lnTo>
                  <a:pt x="0" y="60"/>
                </a:lnTo>
                <a:lnTo>
                  <a:pt x="5" y="54"/>
                </a:lnTo>
                <a:lnTo>
                  <a:pt x="11" y="54"/>
                </a:lnTo>
                <a:lnTo>
                  <a:pt x="11" y="49"/>
                </a:lnTo>
                <a:lnTo>
                  <a:pt x="5" y="49"/>
                </a:lnTo>
                <a:lnTo>
                  <a:pt x="11" y="49"/>
                </a:lnTo>
                <a:lnTo>
                  <a:pt x="5" y="44"/>
                </a:lnTo>
                <a:lnTo>
                  <a:pt x="5" y="38"/>
                </a:lnTo>
                <a:lnTo>
                  <a:pt x="0" y="33"/>
                </a:lnTo>
                <a:lnTo>
                  <a:pt x="5" y="33"/>
                </a:lnTo>
                <a:lnTo>
                  <a:pt x="11" y="33"/>
                </a:lnTo>
                <a:lnTo>
                  <a:pt x="16" y="33"/>
                </a:lnTo>
                <a:lnTo>
                  <a:pt x="22" y="33"/>
                </a:lnTo>
                <a:lnTo>
                  <a:pt x="27" y="27"/>
                </a:lnTo>
                <a:lnTo>
                  <a:pt x="27" y="33"/>
                </a:lnTo>
                <a:lnTo>
                  <a:pt x="27" y="27"/>
                </a:lnTo>
                <a:lnTo>
                  <a:pt x="27" y="22"/>
                </a:lnTo>
                <a:lnTo>
                  <a:pt x="33" y="16"/>
                </a:lnTo>
                <a:lnTo>
                  <a:pt x="38" y="16"/>
                </a:lnTo>
                <a:lnTo>
                  <a:pt x="38" y="11"/>
                </a:lnTo>
                <a:lnTo>
                  <a:pt x="33" y="11"/>
                </a:lnTo>
                <a:lnTo>
                  <a:pt x="33" y="5"/>
                </a:lnTo>
                <a:lnTo>
                  <a:pt x="44" y="5"/>
                </a:lnTo>
                <a:lnTo>
                  <a:pt x="49" y="5"/>
                </a:lnTo>
                <a:lnTo>
                  <a:pt x="49" y="0"/>
                </a:lnTo>
                <a:lnTo>
                  <a:pt x="54" y="0"/>
                </a:lnTo>
                <a:lnTo>
                  <a:pt x="60" y="0"/>
                </a:lnTo>
                <a:lnTo>
                  <a:pt x="65" y="0"/>
                </a:lnTo>
                <a:lnTo>
                  <a:pt x="71" y="0"/>
                </a:lnTo>
                <a:lnTo>
                  <a:pt x="71" y="5"/>
                </a:lnTo>
                <a:lnTo>
                  <a:pt x="76" y="5"/>
                </a:lnTo>
                <a:lnTo>
                  <a:pt x="82" y="5"/>
                </a:lnTo>
                <a:lnTo>
                  <a:pt x="87" y="5"/>
                </a:lnTo>
                <a:lnTo>
                  <a:pt x="87" y="11"/>
                </a:lnTo>
                <a:lnTo>
                  <a:pt x="93" y="16"/>
                </a:lnTo>
                <a:lnTo>
                  <a:pt x="87" y="22"/>
                </a:lnTo>
                <a:lnTo>
                  <a:pt x="98" y="22"/>
                </a:lnTo>
                <a:lnTo>
                  <a:pt x="93" y="27"/>
                </a:lnTo>
                <a:lnTo>
                  <a:pt x="98" y="27"/>
                </a:lnTo>
                <a:lnTo>
                  <a:pt x="104" y="33"/>
                </a:lnTo>
                <a:lnTo>
                  <a:pt x="109" y="33"/>
                </a:lnTo>
                <a:lnTo>
                  <a:pt x="104" y="38"/>
                </a:lnTo>
                <a:lnTo>
                  <a:pt x="109" y="38"/>
                </a:lnTo>
                <a:lnTo>
                  <a:pt x="114" y="38"/>
                </a:lnTo>
                <a:lnTo>
                  <a:pt x="120" y="44"/>
                </a:lnTo>
                <a:lnTo>
                  <a:pt x="114" y="44"/>
                </a:lnTo>
                <a:lnTo>
                  <a:pt x="114" y="49"/>
                </a:lnTo>
                <a:lnTo>
                  <a:pt x="109" y="49"/>
                </a:lnTo>
                <a:lnTo>
                  <a:pt x="104" y="44"/>
                </a:lnTo>
                <a:lnTo>
                  <a:pt x="104" y="49"/>
                </a:lnTo>
                <a:lnTo>
                  <a:pt x="109" y="54"/>
                </a:lnTo>
                <a:lnTo>
                  <a:pt x="109" y="60"/>
                </a:lnTo>
                <a:lnTo>
                  <a:pt x="114" y="65"/>
                </a:lnTo>
                <a:lnTo>
                  <a:pt x="109" y="65"/>
                </a:lnTo>
                <a:lnTo>
                  <a:pt x="104" y="65"/>
                </a:lnTo>
                <a:lnTo>
                  <a:pt x="98" y="65"/>
                </a:lnTo>
                <a:lnTo>
                  <a:pt x="98" y="71"/>
                </a:lnTo>
                <a:lnTo>
                  <a:pt x="98" y="76"/>
                </a:lnTo>
                <a:lnTo>
                  <a:pt x="93" y="71"/>
                </a:lnTo>
                <a:lnTo>
                  <a:pt x="87" y="71"/>
                </a:lnTo>
                <a:lnTo>
                  <a:pt x="82" y="76"/>
                </a:lnTo>
                <a:lnTo>
                  <a:pt x="82" y="71"/>
                </a:lnTo>
                <a:lnTo>
                  <a:pt x="76" y="76"/>
                </a:lnTo>
                <a:lnTo>
                  <a:pt x="76" y="71"/>
                </a:lnTo>
                <a:lnTo>
                  <a:pt x="65" y="71"/>
                </a:lnTo>
                <a:lnTo>
                  <a:pt x="60" y="71"/>
                </a:lnTo>
                <a:lnTo>
                  <a:pt x="54" y="71"/>
                </a:lnTo>
                <a:lnTo>
                  <a:pt x="49" y="71"/>
                </a:lnTo>
                <a:lnTo>
                  <a:pt x="44" y="65"/>
                </a:lnTo>
                <a:lnTo>
                  <a:pt x="38" y="65"/>
                </a:lnTo>
                <a:lnTo>
                  <a:pt x="33" y="65"/>
                </a:lnTo>
                <a:lnTo>
                  <a:pt x="27" y="65"/>
                </a:lnTo>
                <a:lnTo>
                  <a:pt x="22" y="65"/>
                </a:lnTo>
                <a:lnTo>
                  <a:pt x="16" y="65"/>
                </a:lnTo>
                <a:lnTo>
                  <a:pt x="16" y="71"/>
                </a:lnTo>
                <a:lnTo>
                  <a:pt x="11" y="71"/>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52" name="Freeform 268">
            <a:extLst>
              <a:ext uri="{FF2B5EF4-FFF2-40B4-BE49-F238E27FC236}">
                <a16:creationId xmlns:a16="http://schemas.microsoft.com/office/drawing/2014/main" id="{A17F51ED-210B-5893-8314-CB606F5BEAB3}"/>
              </a:ext>
            </a:extLst>
          </p:cNvPr>
          <p:cNvSpPr>
            <a:spLocks/>
          </p:cNvSpPr>
          <p:nvPr/>
        </p:nvSpPr>
        <p:spPr bwMode="auto">
          <a:xfrm>
            <a:off x="2930525" y="1985963"/>
            <a:ext cx="80963" cy="47625"/>
          </a:xfrm>
          <a:custGeom>
            <a:avLst/>
            <a:gdLst>
              <a:gd name="T0" fmla="*/ 0 w 71"/>
              <a:gd name="T1" fmla="*/ 17 h 39"/>
              <a:gd name="T2" fmla="*/ 0 w 71"/>
              <a:gd name="T3" fmla="*/ 11 h 39"/>
              <a:gd name="T4" fmla="*/ 0 w 71"/>
              <a:gd name="T5" fmla="*/ 6 h 39"/>
              <a:gd name="T6" fmla="*/ 6 w 71"/>
              <a:gd name="T7" fmla="*/ 0 h 39"/>
              <a:gd name="T8" fmla="*/ 11 w 71"/>
              <a:gd name="T9" fmla="*/ 0 h 39"/>
              <a:gd name="T10" fmla="*/ 17 w 71"/>
              <a:gd name="T11" fmla="*/ 0 h 39"/>
              <a:gd name="T12" fmla="*/ 22 w 71"/>
              <a:gd name="T13" fmla="*/ 0 h 39"/>
              <a:gd name="T14" fmla="*/ 27 w 71"/>
              <a:gd name="T15" fmla="*/ 0 h 39"/>
              <a:gd name="T16" fmla="*/ 33 w 71"/>
              <a:gd name="T17" fmla="*/ 0 h 39"/>
              <a:gd name="T18" fmla="*/ 33 w 71"/>
              <a:gd name="T19" fmla="*/ 6 h 39"/>
              <a:gd name="T20" fmla="*/ 38 w 71"/>
              <a:gd name="T21" fmla="*/ 0 h 39"/>
              <a:gd name="T22" fmla="*/ 44 w 71"/>
              <a:gd name="T23" fmla="*/ 0 h 39"/>
              <a:gd name="T24" fmla="*/ 49 w 71"/>
              <a:gd name="T25" fmla="*/ 6 h 39"/>
              <a:gd name="T26" fmla="*/ 55 w 71"/>
              <a:gd name="T27" fmla="*/ 6 h 39"/>
              <a:gd name="T28" fmla="*/ 60 w 71"/>
              <a:gd name="T29" fmla="*/ 6 h 39"/>
              <a:gd name="T30" fmla="*/ 66 w 71"/>
              <a:gd name="T31" fmla="*/ 11 h 39"/>
              <a:gd name="T32" fmla="*/ 66 w 71"/>
              <a:gd name="T33" fmla="*/ 17 h 39"/>
              <a:gd name="T34" fmla="*/ 71 w 71"/>
              <a:gd name="T35" fmla="*/ 17 h 39"/>
              <a:gd name="T36" fmla="*/ 71 w 71"/>
              <a:gd name="T37" fmla="*/ 22 h 39"/>
              <a:gd name="T38" fmla="*/ 66 w 71"/>
              <a:gd name="T39" fmla="*/ 22 h 39"/>
              <a:gd name="T40" fmla="*/ 60 w 71"/>
              <a:gd name="T41" fmla="*/ 28 h 39"/>
              <a:gd name="T42" fmla="*/ 60 w 71"/>
              <a:gd name="T43" fmla="*/ 33 h 39"/>
              <a:gd name="T44" fmla="*/ 60 w 71"/>
              <a:gd name="T45" fmla="*/ 39 h 39"/>
              <a:gd name="T46" fmla="*/ 60 w 71"/>
              <a:gd name="T47" fmla="*/ 33 h 39"/>
              <a:gd name="T48" fmla="*/ 55 w 71"/>
              <a:gd name="T49" fmla="*/ 39 h 39"/>
              <a:gd name="T50" fmla="*/ 49 w 71"/>
              <a:gd name="T51" fmla="*/ 39 h 39"/>
              <a:gd name="T52" fmla="*/ 44 w 71"/>
              <a:gd name="T53" fmla="*/ 39 h 39"/>
              <a:gd name="T54" fmla="*/ 38 w 71"/>
              <a:gd name="T55" fmla="*/ 39 h 39"/>
              <a:gd name="T56" fmla="*/ 33 w 71"/>
              <a:gd name="T57" fmla="*/ 39 h 39"/>
              <a:gd name="T58" fmla="*/ 27 w 71"/>
              <a:gd name="T59" fmla="*/ 33 h 39"/>
              <a:gd name="T60" fmla="*/ 22 w 71"/>
              <a:gd name="T61" fmla="*/ 33 h 39"/>
              <a:gd name="T62" fmla="*/ 22 w 71"/>
              <a:gd name="T63" fmla="*/ 28 h 39"/>
              <a:gd name="T64" fmla="*/ 22 w 71"/>
              <a:gd name="T65" fmla="*/ 22 h 39"/>
              <a:gd name="T66" fmla="*/ 11 w 71"/>
              <a:gd name="T67" fmla="*/ 22 h 39"/>
              <a:gd name="T68" fmla="*/ 6 w 71"/>
              <a:gd name="T69" fmla="*/ 22 h 39"/>
              <a:gd name="T70" fmla="*/ 6 w 71"/>
              <a:gd name="T71" fmla="*/ 17 h 39"/>
              <a:gd name="T72" fmla="*/ 0 w 71"/>
              <a:gd name="T73"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1" h="39">
                <a:moveTo>
                  <a:pt x="0" y="17"/>
                </a:moveTo>
                <a:lnTo>
                  <a:pt x="0" y="11"/>
                </a:lnTo>
                <a:lnTo>
                  <a:pt x="0" y="6"/>
                </a:lnTo>
                <a:lnTo>
                  <a:pt x="6" y="0"/>
                </a:lnTo>
                <a:lnTo>
                  <a:pt x="11" y="0"/>
                </a:lnTo>
                <a:lnTo>
                  <a:pt x="17" y="0"/>
                </a:lnTo>
                <a:lnTo>
                  <a:pt x="22" y="0"/>
                </a:lnTo>
                <a:lnTo>
                  <a:pt x="27" y="0"/>
                </a:lnTo>
                <a:lnTo>
                  <a:pt x="33" y="0"/>
                </a:lnTo>
                <a:lnTo>
                  <a:pt x="33" y="6"/>
                </a:lnTo>
                <a:lnTo>
                  <a:pt x="38" y="0"/>
                </a:lnTo>
                <a:lnTo>
                  <a:pt x="44" y="0"/>
                </a:lnTo>
                <a:lnTo>
                  <a:pt x="49" y="6"/>
                </a:lnTo>
                <a:lnTo>
                  <a:pt x="55" y="6"/>
                </a:lnTo>
                <a:lnTo>
                  <a:pt x="60" y="6"/>
                </a:lnTo>
                <a:lnTo>
                  <a:pt x="66" y="11"/>
                </a:lnTo>
                <a:lnTo>
                  <a:pt x="66" y="17"/>
                </a:lnTo>
                <a:lnTo>
                  <a:pt x="71" y="17"/>
                </a:lnTo>
                <a:lnTo>
                  <a:pt x="71" y="22"/>
                </a:lnTo>
                <a:lnTo>
                  <a:pt x="66" y="22"/>
                </a:lnTo>
                <a:lnTo>
                  <a:pt x="60" y="28"/>
                </a:lnTo>
                <a:lnTo>
                  <a:pt x="60" y="33"/>
                </a:lnTo>
                <a:lnTo>
                  <a:pt x="60" y="39"/>
                </a:lnTo>
                <a:lnTo>
                  <a:pt x="60" y="33"/>
                </a:lnTo>
                <a:lnTo>
                  <a:pt x="55" y="39"/>
                </a:lnTo>
                <a:lnTo>
                  <a:pt x="49" y="39"/>
                </a:lnTo>
                <a:lnTo>
                  <a:pt x="44" y="39"/>
                </a:lnTo>
                <a:lnTo>
                  <a:pt x="38" y="39"/>
                </a:lnTo>
                <a:lnTo>
                  <a:pt x="33" y="39"/>
                </a:lnTo>
                <a:lnTo>
                  <a:pt x="27" y="33"/>
                </a:lnTo>
                <a:lnTo>
                  <a:pt x="22" y="33"/>
                </a:lnTo>
                <a:lnTo>
                  <a:pt x="22" y="28"/>
                </a:lnTo>
                <a:lnTo>
                  <a:pt x="22" y="22"/>
                </a:lnTo>
                <a:lnTo>
                  <a:pt x="11" y="22"/>
                </a:lnTo>
                <a:lnTo>
                  <a:pt x="6" y="22"/>
                </a:lnTo>
                <a:lnTo>
                  <a:pt x="6" y="17"/>
                </a:lnTo>
                <a:lnTo>
                  <a:pt x="0" y="17"/>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53" name="Freeform 269">
            <a:extLst>
              <a:ext uri="{FF2B5EF4-FFF2-40B4-BE49-F238E27FC236}">
                <a16:creationId xmlns:a16="http://schemas.microsoft.com/office/drawing/2014/main" id="{FC75610E-B451-4BA4-8901-46EB12348D65}"/>
              </a:ext>
            </a:extLst>
          </p:cNvPr>
          <p:cNvSpPr>
            <a:spLocks/>
          </p:cNvSpPr>
          <p:nvPr/>
        </p:nvSpPr>
        <p:spPr bwMode="auto">
          <a:xfrm>
            <a:off x="2925763" y="1952625"/>
            <a:ext cx="103188" cy="46038"/>
          </a:xfrm>
          <a:custGeom>
            <a:avLst/>
            <a:gdLst>
              <a:gd name="T0" fmla="*/ 5 w 92"/>
              <a:gd name="T1" fmla="*/ 33 h 38"/>
              <a:gd name="T2" fmla="*/ 0 w 92"/>
              <a:gd name="T3" fmla="*/ 27 h 38"/>
              <a:gd name="T4" fmla="*/ 0 w 92"/>
              <a:gd name="T5" fmla="*/ 22 h 38"/>
              <a:gd name="T6" fmla="*/ 5 w 92"/>
              <a:gd name="T7" fmla="*/ 17 h 38"/>
              <a:gd name="T8" fmla="*/ 5 w 92"/>
              <a:gd name="T9" fmla="*/ 11 h 38"/>
              <a:gd name="T10" fmla="*/ 11 w 92"/>
              <a:gd name="T11" fmla="*/ 11 h 38"/>
              <a:gd name="T12" fmla="*/ 16 w 92"/>
              <a:gd name="T13" fmla="*/ 6 h 38"/>
              <a:gd name="T14" fmla="*/ 16 w 92"/>
              <a:gd name="T15" fmla="*/ 11 h 38"/>
              <a:gd name="T16" fmla="*/ 22 w 92"/>
              <a:gd name="T17" fmla="*/ 11 h 38"/>
              <a:gd name="T18" fmla="*/ 27 w 92"/>
              <a:gd name="T19" fmla="*/ 11 h 38"/>
              <a:gd name="T20" fmla="*/ 27 w 92"/>
              <a:gd name="T21" fmla="*/ 17 h 38"/>
              <a:gd name="T22" fmla="*/ 32 w 92"/>
              <a:gd name="T23" fmla="*/ 17 h 38"/>
              <a:gd name="T24" fmla="*/ 38 w 92"/>
              <a:gd name="T25" fmla="*/ 17 h 38"/>
              <a:gd name="T26" fmla="*/ 43 w 92"/>
              <a:gd name="T27" fmla="*/ 17 h 38"/>
              <a:gd name="T28" fmla="*/ 38 w 92"/>
              <a:gd name="T29" fmla="*/ 11 h 38"/>
              <a:gd name="T30" fmla="*/ 38 w 92"/>
              <a:gd name="T31" fmla="*/ 6 h 38"/>
              <a:gd name="T32" fmla="*/ 43 w 92"/>
              <a:gd name="T33" fmla="*/ 6 h 38"/>
              <a:gd name="T34" fmla="*/ 49 w 92"/>
              <a:gd name="T35" fmla="*/ 0 h 38"/>
              <a:gd name="T36" fmla="*/ 54 w 92"/>
              <a:gd name="T37" fmla="*/ 6 h 38"/>
              <a:gd name="T38" fmla="*/ 60 w 92"/>
              <a:gd name="T39" fmla="*/ 6 h 38"/>
              <a:gd name="T40" fmla="*/ 65 w 92"/>
              <a:gd name="T41" fmla="*/ 11 h 38"/>
              <a:gd name="T42" fmla="*/ 71 w 92"/>
              <a:gd name="T43" fmla="*/ 11 h 38"/>
              <a:gd name="T44" fmla="*/ 76 w 92"/>
              <a:gd name="T45" fmla="*/ 11 h 38"/>
              <a:gd name="T46" fmla="*/ 82 w 92"/>
              <a:gd name="T47" fmla="*/ 17 h 38"/>
              <a:gd name="T48" fmla="*/ 82 w 92"/>
              <a:gd name="T49" fmla="*/ 22 h 38"/>
              <a:gd name="T50" fmla="*/ 87 w 92"/>
              <a:gd name="T51" fmla="*/ 22 h 38"/>
              <a:gd name="T52" fmla="*/ 92 w 92"/>
              <a:gd name="T53" fmla="*/ 27 h 38"/>
              <a:gd name="T54" fmla="*/ 92 w 92"/>
              <a:gd name="T55" fmla="*/ 33 h 38"/>
              <a:gd name="T56" fmla="*/ 87 w 92"/>
              <a:gd name="T57" fmla="*/ 33 h 38"/>
              <a:gd name="T58" fmla="*/ 87 w 92"/>
              <a:gd name="T59" fmla="*/ 38 h 38"/>
              <a:gd name="T60" fmla="*/ 82 w 92"/>
              <a:gd name="T61" fmla="*/ 38 h 38"/>
              <a:gd name="T62" fmla="*/ 71 w 92"/>
              <a:gd name="T63" fmla="*/ 38 h 38"/>
              <a:gd name="T64" fmla="*/ 65 w 92"/>
              <a:gd name="T65" fmla="*/ 33 h 38"/>
              <a:gd name="T66" fmla="*/ 60 w 92"/>
              <a:gd name="T67" fmla="*/ 33 h 38"/>
              <a:gd name="T68" fmla="*/ 54 w 92"/>
              <a:gd name="T69" fmla="*/ 33 h 38"/>
              <a:gd name="T70" fmla="*/ 49 w 92"/>
              <a:gd name="T71" fmla="*/ 27 h 38"/>
              <a:gd name="T72" fmla="*/ 43 w 92"/>
              <a:gd name="T73" fmla="*/ 27 h 38"/>
              <a:gd name="T74" fmla="*/ 38 w 92"/>
              <a:gd name="T75" fmla="*/ 33 h 38"/>
              <a:gd name="T76" fmla="*/ 38 w 92"/>
              <a:gd name="T77" fmla="*/ 27 h 38"/>
              <a:gd name="T78" fmla="*/ 32 w 92"/>
              <a:gd name="T79" fmla="*/ 27 h 38"/>
              <a:gd name="T80" fmla="*/ 27 w 92"/>
              <a:gd name="T81" fmla="*/ 27 h 38"/>
              <a:gd name="T82" fmla="*/ 22 w 92"/>
              <a:gd name="T83" fmla="*/ 27 h 38"/>
              <a:gd name="T84" fmla="*/ 16 w 92"/>
              <a:gd name="T85" fmla="*/ 27 h 38"/>
              <a:gd name="T86" fmla="*/ 11 w 92"/>
              <a:gd name="T87" fmla="*/ 27 h 38"/>
              <a:gd name="T88" fmla="*/ 5 w 92"/>
              <a:gd name="T89"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2" h="38">
                <a:moveTo>
                  <a:pt x="5" y="33"/>
                </a:moveTo>
                <a:lnTo>
                  <a:pt x="0" y="27"/>
                </a:lnTo>
                <a:lnTo>
                  <a:pt x="0" y="22"/>
                </a:lnTo>
                <a:lnTo>
                  <a:pt x="5" y="17"/>
                </a:lnTo>
                <a:lnTo>
                  <a:pt x="5" y="11"/>
                </a:lnTo>
                <a:lnTo>
                  <a:pt x="11" y="11"/>
                </a:lnTo>
                <a:lnTo>
                  <a:pt x="16" y="6"/>
                </a:lnTo>
                <a:lnTo>
                  <a:pt x="16" y="11"/>
                </a:lnTo>
                <a:lnTo>
                  <a:pt x="22" y="11"/>
                </a:lnTo>
                <a:lnTo>
                  <a:pt x="27" y="11"/>
                </a:lnTo>
                <a:lnTo>
                  <a:pt x="27" y="17"/>
                </a:lnTo>
                <a:lnTo>
                  <a:pt x="32" y="17"/>
                </a:lnTo>
                <a:lnTo>
                  <a:pt x="38" y="17"/>
                </a:lnTo>
                <a:lnTo>
                  <a:pt x="43" y="17"/>
                </a:lnTo>
                <a:lnTo>
                  <a:pt x="38" y="11"/>
                </a:lnTo>
                <a:lnTo>
                  <a:pt x="38" y="6"/>
                </a:lnTo>
                <a:lnTo>
                  <a:pt x="43" y="6"/>
                </a:lnTo>
                <a:lnTo>
                  <a:pt x="49" y="0"/>
                </a:lnTo>
                <a:lnTo>
                  <a:pt x="54" y="6"/>
                </a:lnTo>
                <a:lnTo>
                  <a:pt x="60" y="6"/>
                </a:lnTo>
                <a:lnTo>
                  <a:pt x="65" y="11"/>
                </a:lnTo>
                <a:lnTo>
                  <a:pt x="71" y="11"/>
                </a:lnTo>
                <a:lnTo>
                  <a:pt x="76" y="11"/>
                </a:lnTo>
                <a:lnTo>
                  <a:pt x="82" y="17"/>
                </a:lnTo>
                <a:lnTo>
                  <a:pt x="82" y="22"/>
                </a:lnTo>
                <a:lnTo>
                  <a:pt x="87" y="22"/>
                </a:lnTo>
                <a:lnTo>
                  <a:pt x="92" y="27"/>
                </a:lnTo>
                <a:lnTo>
                  <a:pt x="92" y="33"/>
                </a:lnTo>
                <a:lnTo>
                  <a:pt x="87" y="33"/>
                </a:lnTo>
                <a:lnTo>
                  <a:pt x="87" y="38"/>
                </a:lnTo>
                <a:lnTo>
                  <a:pt x="82" y="38"/>
                </a:lnTo>
                <a:lnTo>
                  <a:pt x="71" y="38"/>
                </a:lnTo>
                <a:lnTo>
                  <a:pt x="65" y="33"/>
                </a:lnTo>
                <a:lnTo>
                  <a:pt x="60" y="33"/>
                </a:lnTo>
                <a:lnTo>
                  <a:pt x="54" y="33"/>
                </a:lnTo>
                <a:lnTo>
                  <a:pt x="49" y="27"/>
                </a:lnTo>
                <a:lnTo>
                  <a:pt x="43" y="27"/>
                </a:lnTo>
                <a:lnTo>
                  <a:pt x="38" y="33"/>
                </a:lnTo>
                <a:lnTo>
                  <a:pt x="38" y="27"/>
                </a:lnTo>
                <a:lnTo>
                  <a:pt x="32" y="27"/>
                </a:lnTo>
                <a:lnTo>
                  <a:pt x="27" y="27"/>
                </a:lnTo>
                <a:lnTo>
                  <a:pt x="22" y="27"/>
                </a:lnTo>
                <a:lnTo>
                  <a:pt x="16" y="27"/>
                </a:lnTo>
                <a:lnTo>
                  <a:pt x="11" y="27"/>
                </a:lnTo>
                <a:lnTo>
                  <a:pt x="5" y="33"/>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54" name="Freeform 274">
            <a:extLst>
              <a:ext uri="{FF2B5EF4-FFF2-40B4-BE49-F238E27FC236}">
                <a16:creationId xmlns:a16="http://schemas.microsoft.com/office/drawing/2014/main" id="{EF820E34-B743-8B5C-2744-01D1E339A7D3}"/>
              </a:ext>
            </a:extLst>
          </p:cNvPr>
          <p:cNvSpPr>
            <a:spLocks/>
          </p:cNvSpPr>
          <p:nvPr/>
        </p:nvSpPr>
        <p:spPr bwMode="auto">
          <a:xfrm>
            <a:off x="2784475" y="1739900"/>
            <a:ext cx="153988" cy="266700"/>
          </a:xfrm>
          <a:custGeom>
            <a:avLst/>
            <a:gdLst>
              <a:gd name="T0" fmla="*/ 126 w 137"/>
              <a:gd name="T1" fmla="*/ 54 h 218"/>
              <a:gd name="T2" fmla="*/ 115 w 137"/>
              <a:gd name="T3" fmla="*/ 54 h 218"/>
              <a:gd name="T4" fmla="*/ 115 w 137"/>
              <a:gd name="T5" fmla="*/ 65 h 218"/>
              <a:gd name="T6" fmla="*/ 109 w 137"/>
              <a:gd name="T7" fmla="*/ 71 h 218"/>
              <a:gd name="T8" fmla="*/ 109 w 137"/>
              <a:gd name="T9" fmla="*/ 81 h 218"/>
              <a:gd name="T10" fmla="*/ 104 w 137"/>
              <a:gd name="T11" fmla="*/ 87 h 218"/>
              <a:gd name="T12" fmla="*/ 93 w 137"/>
              <a:gd name="T13" fmla="*/ 87 h 218"/>
              <a:gd name="T14" fmla="*/ 82 w 137"/>
              <a:gd name="T15" fmla="*/ 98 h 218"/>
              <a:gd name="T16" fmla="*/ 77 w 137"/>
              <a:gd name="T17" fmla="*/ 109 h 218"/>
              <a:gd name="T18" fmla="*/ 71 w 137"/>
              <a:gd name="T19" fmla="*/ 114 h 218"/>
              <a:gd name="T20" fmla="*/ 71 w 137"/>
              <a:gd name="T21" fmla="*/ 131 h 218"/>
              <a:gd name="T22" fmla="*/ 82 w 137"/>
              <a:gd name="T23" fmla="*/ 136 h 218"/>
              <a:gd name="T24" fmla="*/ 98 w 137"/>
              <a:gd name="T25" fmla="*/ 147 h 218"/>
              <a:gd name="T26" fmla="*/ 88 w 137"/>
              <a:gd name="T27" fmla="*/ 158 h 218"/>
              <a:gd name="T28" fmla="*/ 93 w 137"/>
              <a:gd name="T29" fmla="*/ 158 h 218"/>
              <a:gd name="T30" fmla="*/ 82 w 137"/>
              <a:gd name="T31" fmla="*/ 158 h 218"/>
              <a:gd name="T32" fmla="*/ 71 w 137"/>
              <a:gd name="T33" fmla="*/ 174 h 218"/>
              <a:gd name="T34" fmla="*/ 71 w 137"/>
              <a:gd name="T35" fmla="*/ 191 h 218"/>
              <a:gd name="T36" fmla="*/ 66 w 137"/>
              <a:gd name="T37" fmla="*/ 207 h 218"/>
              <a:gd name="T38" fmla="*/ 49 w 137"/>
              <a:gd name="T39" fmla="*/ 207 h 218"/>
              <a:gd name="T40" fmla="*/ 44 w 137"/>
              <a:gd name="T41" fmla="*/ 218 h 218"/>
              <a:gd name="T42" fmla="*/ 33 w 137"/>
              <a:gd name="T43" fmla="*/ 212 h 218"/>
              <a:gd name="T44" fmla="*/ 22 w 137"/>
              <a:gd name="T45" fmla="*/ 201 h 218"/>
              <a:gd name="T46" fmla="*/ 28 w 137"/>
              <a:gd name="T47" fmla="*/ 201 h 218"/>
              <a:gd name="T48" fmla="*/ 17 w 137"/>
              <a:gd name="T49" fmla="*/ 191 h 218"/>
              <a:gd name="T50" fmla="*/ 11 w 137"/>
              <a:gd name="T51" fmla="*/ 174 h 218"/>
              <a:gd name="T52" fmla="*/ 6 w 137"/>
              <a:gd name="T53" fmla="*/ 169 h 218"/>
              <a:gd name="T54" fmla="*/ 6 w 137"/>
              <a:gd name="T55" fmla="*/ 158 h 218"/>
              <a:gd name="T56" fmla="*/ 11 w 137"/>
              <a:gd name="T57" fmla="*/ 152 h 218"/>
              <a:gd name="T58" fmla="*/ 17 w 137"/>
              <a:gd name="T59" fmla="*/ 141 h 218"/>
              <a:gd name="T60" fmla="*/ 11 w 137"/>
              <a:gd name="T61" fmla="*/ 131 h 218"/>
              <a:gd name="T62" fmla="*/ 17 w 137"/>
              <a:gd name="T63" fmla="*/ 120 h 218"/>
              <a:gd name="T64" fmla="*/ 6 w 137"/>
              <a:gd name="T65" fmla="*/ 103 h 218"/>
              <a:gd name="T66" fmla="*/ 6 w 137"/>
              <a:gd name="T67" fmla="*/ 92 h 218"/>
              <a:gd name="T68" fmla="*/ 11 w 137"/>
              <a:gd name="T69" fmla="*/ 81 h 218"/>
              <a:gd name="T70" fmla="*/ 28 w 137"/>
              <a:gd name="T71" fmla="*/ 76 h 218"/>
              <a:gd name="T72" fmla="*/ 33 w 137"/>
              <a:gd name="T73" fmla="*/ 60 h 218"/>
              <a:gd name="T74" fmla="*/ 39 w 137"/>
              <a:gd name="T75" fmla="*/ 49 h 218"/>
              <a:gd name="T76" fmla="*/ 49 w 137"/>
              <a:gd name="T77" fmla="*/ 32 h 218"/>
              <a:gd name="T78" fmla="*/ 49 w 137"/>
              <a:gd name="T79" fmla="*/ 21 h 218"/>
              <a:gd name="T80" fmla="*/ 66 w 137"/>
              <a:gd name="T81" fmla="*/ 11 h 218"/>
              <a:gd name="T82" fmla="*/ 88 w 137"/>
              <a:gd name="T83" fmla="*/ 11 h 218"/>
              <a:gd name="T84" fmla="*/ 88 w 137"/>
              <a:gd name="T85" fmla="*/ 0 h 218"/>
              <a:gd name="T86" fmla="*/ 98 w 137"/>
              <a:gd name="T87" fmla="*/ 5 h 218"/>
              <a:gd name="T88" fmla="*/ 120 w 137"/>
              <a:gd name="T89" fmla="*/ 11 h 218"/>
              <a:gd name="T90" fmla="*/ 126 w 137"/>
              <a:gd name="T91" fmla="*/ 21 h 218"/>
              <a:gd name="T92" fmla="*/ 126 w 137"/>
              <a:gd name="T93" fmla="*/ 32 h 218"/>
              <a:gd name="T94" fmla="*/ 131 w 137"/>
              <a:gd name="T95" fmla="*/ 4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7" h="218">
                <a:moveTo>
                  <a:pt x="137" y="54"/>
                </a:moveTo>
                <a:lnTo>
                  <a:pt x="131" y="54"/>
                </a:lnTo>
                <a:lnTo>
                  <a:pt x="126" y="54"/>
                </a:lnTo>
                <a:lnTo>
                  <a:pt x="120" y="49"/>
                </a:lnTo>
                <a:lnTo>
                  <a:pt x="120" y="54"/>
                </a:lnTo>
                <a:lnTo>
                  <a:pt x="115" y="54"/>
                </a:lnTo>
                <a:lnTo>
                  <a:pt x="120" y="60"/>
                </a:lnTo>
                <a:lnTo>
                  <a:pt x="109" y="60"/>
                </a:lnTo>
                <a:lnTo>
                  <a:pt x="115" y="65"/>
                </a:lnTo>
                <a:lnTo>
                  <a:pt x="109" y="60"/>
                </a:lnTo>
                <a:lnTo>
                  <a:pt x="109" y="65"/>
                </a:lnTo>
                <a:lnTo>
                  <a:pt x="109" y="71"/>
                </a:lnTo>
                <a:lnTo>
                  <a:pt x="115" y="76"/>
                </a:lnTo>
                <a:lnTo>
                  <a:pt x="109" y="76"/>
                </a:lnTo>
                <a:lnTo>
                  <a:pt x="109" y="81"/>
                </a:lnTo>
                <a:lnTo>
                  <a:pt x="104" y="87"/>
                </a:lnTo>
                <a:lnTo>
                  <a:pt x="98" y="87"/>
                </a:lnTo>
                <a:lnTo>
                  <a:pt x="104" y="87"/>
                </a:lnTo>
                <a:lnTo>
                  <a:pt x="98" y="87"/>
                </a:lnTo>
                <a:lnTo>
                  <a:pt x="93" y="92"/>
                </a:lnTo>
                <a:lnTo>
                  <a:pt x="93" y="87"/>
                </a:lnTo>
                <a:lnTo>
                  <a:pt x="88" y="92"/>
                </a:lnTo>
                <a:lnTo>
                  <a:pt x="82" y="92"/>
                </a:lnTo>
                <a:lnTo>
                  <a:pt x="82" y="98"/>
                </a:lnTo>
                <a:lnTo>
                  <a:pt x="77" y="98"/>
                </a:lnTo>
                <a:lnTo>
                  <a:pt x="77" y="103"/>
                </a:lnTo>
                <a:lnTo>
                  <a:pt x="77" y="109"/>
                </a:lnTo>
                <a:lnTo>
                  <a:pt x="71" y="103"/>
                </a:lnTo>
                <a:lnTo>
                  <a:pt x="77" y="109"/>
                </a:lnTo>
                <a:lnTo>
                  <a:pt x="71" y="114"/>
                </a:lnTo>
                <a:lnTo>
                  <a:pt x="71" y="120"/>
                </a:lnTo>
                <a:lnTo>
                  <a:pt x="71" y="125"/>
                </a:lnTo>
                <a:lnTo>
                  <a:pt x="71" y="131"/>
                </a:lnTo>
                <a:lnTo>
                  <a:pt x="71" y="136"/>
                </a:lnTo>
                <a:lnTo>
                  <a:pt x="77" y="136"/>
                </a:lnTo>
                <a:lnTo>
                  <a:pt x="82" y="136"/>
                </a:lnTo>
                <a:lnTo>
                  <a:pt x="88" y="141"/>
                </a:lnTo>
                <a:lnTo>
                  <a:pt x="93" y="141"/>
                </a:lnTo>
                <a:lnTo>
                  <a:pt x="98" y="147"/>
                </a:lnTo>
                <a:lnTo>
                  <a:pt x="93" y="152"/>
                </a:lnTo>
                <a:lnTo>
                  <a:pt x="88" y="152"/>
                </a:lnTo>
                <a:lnTo>
                  <a:pt x="88" y="158"/>
                </a:lnTo>
                <a:lnTo>
                  <a:pt x="93" y="158"/>
                </a:lnTo>
                <a:lnTo>
                  <a:pt x="88" y="158"/>
                </a:lnTo>
                <a:lnTo>
                  <a:pt x="93" y="158"/>
                </a:lnTo>
                <a:lnTo>
                  <a:pt x="88" y="158"/>
                </a:lnTo>
                <a:lnTo>
                  <a:pt x="82" y="163"/>
                </a:lnTo>
                <a:lnTo>
                  <a:pt x="82" y="158"/>
                </a:lnTo>
                <a:lnTo>
                  <a:pt x="82" y="163"/>
                </a:lnTo>
                <a:lnTo>
                  <a:pt x="71" y="169"/>
                </a:lnTo>
                <a:lnTo>
                  <a:pt x="71" y="174"/>
                </a:lnTo>
                <a:lnTo>
                  <a:pt x="71" y="180"/>
                </a:lnTo>
                <a:lnTo>
                  <a:pt x="71" y="185"/>
                </a:lnTo>
                <a:lnTo>
                  <a:pt x="71" y="191"/>
                </a:lnTo>
                <a:lnTo>
                  <a:pt x="71" y="196"/>
                </a:lnTo>
                <a:lnTo>
                  <a:pt x="66" y="201"/>
                </a:lnTo>
                <a:lnTo>
                  <a:pt x="66" y="207"/>
                </a:lnTo>
                <a:lnTo>
                  <a:pt x="60" y="207"/>
                </a:lnTo>
                <a:lnTo>
                  <a:pt x="55" y="207"/>
                </a:lnTo>
                <a:lnTo>
                  <a:pt x="49" y="207"/>
                </a:lnTo>
                <a:lnTo>
                  <a:pt x="44" y="212"/>
                </a:lnTo>
                <a:lnTo>
                  <a:pt x="49" y="218"/>
                </a:lnTo>
                <a:lnTo>
                  <a:pt x="44" y="218"/>
                </a:lnTo>
                <a:lnTo>
                  <a:pt x="33" y="218"/>
                </a:lnTo>
                <a:lnTo>
                  <a:pt x="28" y="218"/>
                </a:lnTo>
                <a:lnTo>
                  <a:pt x="33" y="212"/>
                </a:lnTo>
                <a:lnTo>
                  <a:pt x="28" y="212"/>
                </a:lnTo>
                <a:lnTo>
                  <a:pt x="28" y="207"/>
                </a:lnTo>
                <a:lnTo>
                  <a:pt x="22" y="201"/>
                </a:lnTo>
                <a:lnTo>
                  <a:pt x="28" y="207"/>
                </a:lnTo>
                <a:lnTo>
                  <a:pt x="22" y="201"/>
                </a:lnTo>
                <a:lnTo>
                  <a:pt x="28" y="201"/>
                </a:lnTo>
                <a:lnTo>
                  <a:pt x="28" y="196"/>
                </a:lnTo>
                <a:lnTo>
                  <a:pt x="22" y="196"/>
                </a:lnTo>
                <a:lnTo>
                  <a:pt x="17" y="191"/>
                </a:lnTo>
                <a:lnTo>
                  <a:pt x="17" y="185"/>
                </a:lnTo>
                <a:lnTo>
                  <a:pt x="11" y="180"/>
                </a:lnTo>
                <a:lnTo>
                  <a:pt x="11" y="174"/>
                </a:lnTo>
                <a:lnTo>
                  <a:pt x="11" y="180"/>
                </a:lnTo>
                <a:lnTo>
                  <a:pt x="6" y="174"/>
                </a:lnTo>
                <a:lnTo>
                  <a:pt x="6" y="169"/>
                </a:lnTo>
                <a:lnTo>
                  <a:pt x="6" y="163"/>
                </a:lnTo>
                <a:lnTo>
                  <a:pt x="0" y="163"/>
                </a:lnTo>
                <a:lnTo>
                  <a:pt x="6" y="158"/>
                </a:lnTo>
                <a:lnTo>
                  <a:pt x="11" y="163"/>
                </a:lnTo>
                <a:lnTo>
                  <a:pt x="11" y="158"/>
                </a:lnTo>
                <a:lnTo>
                  <a:pt x="11" y="152"/>
                </a:lnTo>
                <a:lnTo>
                  <a:pt x="11" y="147"/>
                </a:lnTo>
                <a:lnTo>
                  <a:pt x="17" y="147"/>
                </a:lnTo>
                <a:lnTo>
                  <a:pt x="17" y="141"/>
                </a:lnTo>
                <a:lnTo>
                  <a:pt x="17" y="136"/>
                </a:lnTo>
                <a:lnTo>
                  <a:pt x="17" y="131"/>
                </a:lnTo>
                <a:lnTo>
                  <a:pt x="11" y="131"/>
                </a:lnTo>
                <a:lnTo>
                  <a:pt x="17" y="131"/>
                </a:lnTo>
                <a:lnTo>
                  <a:pt x="22" y="125"/>
                </a:lnTo>
                <a:lnTo>
                  <a:pt x="17" y="120"/>
                </a:lnTo>
                <a:lnTo>
                  <a:pt x="11" y="120"/>
                </a:lnTo>
                <a:lnTo>
                  <a:pt x="11" y="109"/>
                </a:lnTo>
                <a:lnTo>
                  <a:pt x="6" y="103"/>
                </a:lnTo>
                <a:lnTo>
                  <a:pt x="6" y="98"/>
                </a:lnTo>
                <a:lnTo>
                  <a:pt x="11" y="98"/>
                </a:lnTo>
                <a:lnTo>
                  <a:pt x="6" y="92"/>
                </a:lnTo>
                <a:lnTo>
                  <a:pt x="6" y="87"/>
                </a:lnTo>
                <a:lnTo>
                  <a:pt x="11" y="87"/>
                </a:lnTo>
                <a:lnTo>
                  <a:pt x="11" y="81"/>
                </a:lnTo>
                <a:lnTo>
                  <a:pt x="17" y="81"/>
                </a:lnTo>
                <a:lnTo>
                  <a:pt x="28" y="81"/>
                </a:lnTo>
                <a:lnTo>
                  <a:pt x="28" y="76"/>
                </a:lnTo>
                <a:lnTo>
                  <a:pt x="22" y="71"/>
                </a:lnTo>
                <a:lnTo>
                  <a:pt x="33" y="65"/>
                </a:lnTo>
                <a:lnTo>
                  <a:pt x="33" y="60"/>
                </a:lnTo>
                <a:lnTo>
                  <a:pt x="33" y="54"/>
                </a:lnTo>
                <a:lnTo>
                  <a:pt x="33" y="49"/>
                </a:lnTo>
                <a:lnTo>
                  <a:pt x="39" y="49"/>
                </a:lnTo>
                <a:lnTo>
                  <a:pt x="39" y="43"/>
                </a:lnTo>
                <a:lnTo>
                  <a:pt x="44" y="38"/>
                </a:lnTo>
                <a:lnTo>
                  <a:pt x="49" y="32"/>
                </a:lnTo>
                <a:lnTo>
                  <a:pt x="44" y="27"/>
                </a:lnTo>
                <a:lnTo>
                  <a:pt x="49" y="27"/>
                </a:lnTo>
                <a:lnTo>
                  <a:pt x="49" y="21"/>
                </a:lnTo>
                <a:lnTo>
                  <a:pt x="55" y="16"/>
                </a:lnTo>
                <a:lnTo>
                  <a:pt x="66" y="16"/>
                </a:lnTo>
                <a:lnTo>
                  <a:pt x="66" y="11"/>
                </a:lnTo>
                <a:lnTo>
                  <a:pt x="71" y="11"/>
                </a:lnTo>
                <a:lnTo>
                  <a:pt x="77" y="11"/>
                </a:lnTo>
                <a:lnTo>
                  <a:pt x="88" y="11"/>
                </a:lnTo>
                <a:lnTo>
                  <a:pt x="88" y="5"/>
                </a:lnTo>
                <a:lnTo>
                  <a:pt x="82" y="0"/>
                </a:lnTo>
                <a:lnTo>
                  <a:pt x="88" y="0"/>
                </a:lnTo>
                <a:lnTo>
                  <a:pt x="93" y="0"/>
                </a:lnTo>
                <a:lnTo>
                  <a:pt x="93" y="5"/>
                </a:lnTo>
                <a:lnTo>
                  <a:pt x="98" y="5"/>
                </a:lnTo>
                <a:lnTo>
                  <a:pt x="104" y="11"/>
                </a:lnTo>
                <a:lnTo>
                  <a:pt x="109" y="11"/>
                </a:lnTo>
                <a:lnTo>
                  <a:pt x="120" y="11"/>
                </a:lnTo>
                <a:lnTo>
                  <a:pt x="120" y="16"/>
                </a:lnTo>
                <a:lnTo>
                  <a:pt x="126" y="16"/>
                </a:lnTo>
                <a:lnTo>
                  <a:pt x="126" y="21"/>
                </a:lnTo>
                <a:lnTo>
                  <a:pt x="126" y="27"/>
                </a:lnTo>
                <a:lnTo>
                  <a:pt x="131" y="27"/>
                </a:lnTo>
                <a:lnTo>
                  <a:pt x="126" y="32"/>
                </a:lnTo>
                <a:lnTo>
                  <a:pt x="131" y="32"/>
                </a:lnTo>
                <a:lnTo>
                  <a:pt x="137" y="38"/>
                </a:lnTo>
                <a:lnTo>
                  <a:pt x="131" y="43"/>
                </a:lnTo>
                <a:lnTo>
                  <a:pt x="137" y="49"/>
                </a:lnTo>
                <a:lnTo>
                  <a:pt x="137" y="54"/>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55" name="Freeform 588">
            <a:extLst>
              <a:ext uri="{FF2B5EF4-FFF2-40B4-BE49-F238E27FC236}">
                <a16:creationId xmlns:a16="http://schemas.microsoft.com/office/drawing/2014/main" id="{316CA160-1BE0-9FAC-EEE4-F30C086A653A}"/>
              </a:ext>
            </a:extLst>
          </p:cNvPr>
          <p:cNvSpPr>
            <a:spLocks/>
          </p:cNvSpPr>
          <p:nvPr/>
        </p:nvSpPr>
        <p:spPr bwMode="auto">
          <a:xfrm>
            <a:off x="2484438" y="2006600"/>
            <a:ext cx="66675" cy="79375"/>
          </a:xfrm>
          <a:custGeom>
            <a:avLst/>
            <a:gdLst>
              <a:gd name="T0" fmla="*/ 55 w 60"/>
              <a:gd name="T1" fmla="*/ 27 h 65"/>
              <a:gd name="T2" fmla="*/ 55 w 60"/>
              <a:gd name="T3" fmla="*/ 33 h 65"/>
              <a:gd name="T4" fmla="*/ 60 w 60"/>
              <a:gd name="T5" fmla="*/ 38 h 65"/>
              <a:gd name="T6" fmla="*/ 55 w 60"/>
              <a:gd name="T7" fmla="*/ 49 h 65"/>
              <a:gd name="T8" fmla="*/ 49 w 60"/>
              <a:gd name="T9" fmla="*/ 49 h 65"/>
              <a:gd name="T10" fmla="*/ 38 w 60"/>
              <a:gd name="T11" fmla="*/ 54 h 65"/>
              <a:gd name="T12" fmla="*/ 27 w 60"/>
              <a:gd name="T13" fmla="*/ 54 h 65"/>
              <a:gd name="T14" fmla="*/ 22 w 60"/>
              <a:gd name="T15" fmla="*/ 60 h 65"/>
              <a:gd name="T16" fmla="*/ 11 w 60"/>
              <a:gd name="T17" fmla="*/ 65 h 65"/>
              <a:gd name="T18" fmla="*/ 6 w 60"/>
              <a:gd name="T19" fmla="*/ 60 h 65"/>
              <a:gd name="T20" fmla="*/ 6 w 60"/>
              <a:gd name="T21" fmla="*/ 60 h 65"/>
              <a:gd name="T22" fmla="*/ 0 w 60"/>
              <a:gd name="T23" fmla="*/ 54 h 65"/>
              <a:gd name="T24" fmla="*/ 0 w 60"/>
              <a:gd name="T25" fmla="*/ 49 h 65"/>
              <a:gd name="T26" fmla="*/ 11 w 60"/>
              <a:gd name="T27" fmla="*/ 49 h 65"/>
              <a:gd name="T28" fmla="*/ 17 w 60"/>
              <a:gd name="T29" fmla="*/ 43 h 65"/>
              <a:gd name="T30" fmla="*/ 17 w 60"/>
              <a:gd name="T31" fmla="*/ 43 h 65"/>
              <a:gd name="T32" fmla="*/ 22 w 60"/>
              <a:gd name="T33" fmla="*/ 33 h 65"/>
              <a:gd name="T34" fmla="*/ 11 w 60"/>
              <a:gd name="T35" fmla="*/ 33 h 65"/>
              <a:gd name="T36" fmla="*/ 11 w 60"/>
              <a:gd name="T37" fmla="*/ 27 h 65"/>
              <a:gd name="T38" fmla="*/ 17 w 60"/>
              <a:gd name="T39" fmla="*/ 22 h 65"/>
              <a:gd name="T40" fmla="*/ 6 w 60"/>
              <a:gd name="T41" fmla="*/ 22 h 65"/>
              <a:gd name="T42" fmla="*/ 6 w 60"/>
              <a:gd name="T43" fmla="*/ 22 h 65"/>
              <a:gd name="T44" fmla="*/ 22 w 60"/>
              <a:gd name="T45" fmla="*/ 16 h 65"/>
              <a:gd name="T46" fmla="*/ 27 w 60"/>
              <a:gd name="T47" fmla="*/ 16 h 65"/>
              <a:gd name="T48" fmla="*/ 33 w 60"/>
              <a:gd name="T49" fmla="*/ 11 h 65"/>
              <a:gd name="T50" fmla="*/ 33 w 60"/>
              <a:gd name="T51" fmla="*/ 11 h 65"/>
              <a:gd name="T52" fmla="*/ 38 w 60"/>
              <a:gd name="T53" fmla="*/ 5 h 65"/>
              <a:gd name="T54" fmla="*/ 38 w 60"/>
              <a:gd name="T55" fmla="*/ 5 h 65"/>
              <a:gd name="T56" fmla="*/ 49 w 60"/>
              <a:gd name="T57" fmla="*/ 5 h 65"/>
              <a:gd name="T58" fmla="*/ 44 w 60"/>
              <a:gd name="T59" fmla="*/ 11 h 65"/>
              <a:gd name="T60" fmla="*/ 33 w 60"/>
              <a:gd name="T61" fmla="*/ 16 h 65"/>
              <a:gd name="T62" fmla="*/ 44 w 60"/>
              <a:gd name="T63" fmla="*/ 22 h 65"/>
              <a:gd name="T64" fmla="*/ 55 w 60"/>
              <a:gd name="T65" fmla="*/ 22 h 65"/>
              <a:gd name="T66" fmla="*/ 55 w 60"/>
              <a:gd name="T67" fmla="*/ 2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5">
                <a:moveTo>
                  <a:pt x="55" y="22"/>
                </a:moveTo>
                <a:lnTo>
                  <a:pt x="55" y="27"/>
                </a:lnTo>
                <a:lnTo>
                  <a:pt x="60" y="27"/>
                </a:lnTo>
                <a:lnTo>
                  <a:pt x="55" y="33"/>
                </a:lnTo>
                <a:lnTo>
                  <a:pt x="60" y="33"/>
                </a:lnTo>
                <a:lnTo>
                  <a:pt x="60" y="38"/>
                </a:lnTo>
                <a:lnTo>
                  <a:pt x="55" y="43"/>
                </a:lnTo>
                <a:lnTo>
                  <a:pt x="55" y="49"/>
                </a:lnTo>
                <a:lnTo>
                  <a:pt x="49" y="54"/>
                </a:lnTo>
                <a:lnTo>
                  <a:pt x="49" y="49"/>
                </a:lnTo>
                <a:lnTo>
                  <a:pt x="44" y="54"/>
                </a:lnTo>
                <a:lnTo>
                  <a:pt x="38" y="54"/>
                </a:lnTo>
                <a:lnTo>
                  <a:pt x="33" y="54"/>
                </a:lnTo>
                <a:lnTo>
                  <a:pt x="27" y="54"/>
                </a:lnTo>
                <a:lnTo>
                  <a:pt x="27" y="60"/>
                </a:lnTo>
                <a:lnTo>
                  <a:pt x="22" y="60"/>
                </a:lnTo>
                <a:lnTo>
                  <a:pt x="17" y="60"/>
                </a:lnTo>
                <a:lnTo>
                  <a:pt x="11" y="65"/>
                </a:lnTo>
                <a:lnTo>
                  <a:pt x="11" y="60"/>
                </a:lnTo>
                <a:lnTo>
                  <a:pt x="6" y="60"/>
                </a:lnTo>
                <a:lnTo>
                  <a:pt x="11" y="54"/>
                </a:lnTo>
                <a:lnTo>
                  <a:pt x="6" y="60"/>
                </a:lnTo>
                <a:lnTo>
                  <a:pt x="0" y="60"/>
                </a:lnTo>
                <a:lnTo>
                  <a:pt x="0" y="54"/>
                </a:lnTo>
                <a:lnTo>
                  <a:pt x="11" y="54"/>
                </a:lnTo>
                <a:lnTo>
                  <a:pt x="0" y="49"/>
                </a:lnTo>
                <a:lnTo>
                  <a:pt x="6" y="49"/>
                </a:lnTo>
                <a:lnTo>
                  <a:pt x="11" y="49"/>
                </a:lnTo>
                <a:lnTo>
                  <a:pt x="11" y="43"/>
                </a:lnTo>
                <a:lnTo>
                  <a:pt x="17" y="43"/>
                </a:lnTo>
                <a:lnTo>
                  <a:pt x="11" y="43"/>
                </a:lnTo>
                <a:lnTo>
                  <a:pt x="17" y="43"/>
                </a:lnTo>
                <a:lnTo>
                  <a:pt x="17" y="38"/>
                </a:lnTo>
                <a:lnTo>
                  <a:pt x="22" y="33"/>
                </a:lnTo>
                <a:lnTo>
                  <a:pt x="17" y="33"/>
                </a:lnTo>
                <a:lnTo>
                  <a:pt x="11" y="33"/>
                </a:lnTo>
                <a:lnTo>
                  <a:pt x="6" y="33"/>
                </a:lnTo>
                <a:lnTo>
                  <a:pt x="11" y="27"/>
                </a:lnTo>
                <a:lnTo>
                  <a:pt x="17" y="27"/>
                </a:lnTo>
                <a:lnTo>
                  <a:pt x="17" y="22"/>
                </a:lnTo>
                <a:lnTo>
                  <a:pt x="11" y="27"/>
                </a:lnTo>
                <a:lnTo>
                  <a:pt x="6" y="22"/>
                </a:lnTo>
                <a:lnTo>
                  <a:pt x="11" y="22"/>
                </a:lnTo>
                <a:lnTo>
                  <a:pt x="6" y="22"/>
                </a:lnTo>
                <a:lnTo>
                  <a:pt x="11" y="16"/>
                </a:lnTo>
                <a:lnTo>
                  <a:pt x="22" y="16"/>
                </a:lnTo>
                <a:lnTo>
                  <a:pt x="22" y="22"/>
                </a:lnTo>
                <a:lnTo>
                  <a:pt x="27" y="16"/>
                </a:lnTo>
                <a:lnTo>
                  <a:pt x="33" y="16"/>
                </a:lnTo>
                <a:lnTo>
                  <a:pt x="33" y="11"/>
                </a:lnTo>
                <a:lnTo>
                  <a:pt x="27" y="11"/>
                </a:lnTo>
                <a:lnTo>
                  <a:pt x="33" y="11"/>
                </a:lnTo>
                <a:lnTo>
                  <a:pt x="33" y="5"/>
                </a:lnTo>
                <a:lnTo>
                  <a:pt x="38" y="5"/>
                </a:lnTo>
                <a:lnTo>
                  <a:pt x="38" y="0"/>
                </a:lnTo>
                <a:lnTo>
                  <a:pt x="38" y="5"/>
                </a:lnTo>
                <a:lnTo>
                  <a:pt x="44" y="0"/>
                </a:lnTo>
                <a:lnTo>
                  <a:pt x="49" y="5"/>
                </a:lnTo>
                <a:lnTo>
                  <a:pt x="44" y="5"/>
                </a:lnTo>
                <a:lnTo>
                  <a:pt x="44" y="11"/>
                </a:lnTo>
                <a:lnTo>
                  <a:pt x="38" y="11"/>
                </a:lnTo>
                <a:lnTo>
                  <a:pt x="33" y="16"/>
                </a:lnTo>
                <a:lnTo>
                  <a:pt x="38" y="16"/>
                </a:lnTo>
                <a:lnTo>
                  <a:pt x="44" y="22"/>
                </a:lnTo>
                <a:lnTo>
                  <a:pt x="49" y="16"/>
                </a:lnTo>
                <a:lnTo>
                  <a:pt x="55" y="22"/>
                </a:lnTo>
                <a:lnTo>
                  <a:pt x="49" y="22"/>
                </a:lnTo>
                <a:lnTo>
                  <a:pt x="55" y="22"/>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56" name="Freeform 590">
            <a:extLst>
              <a:ext uri="{FF2B5EF4-FFF2-40B4-BE49-F238E27FC236}">
                <a16:creationId xmlns:a16="http://schemas.microsoft.com/office/drawing/2014/main" id="{DF5A541B-544F-1622-61F2-672AF006A708}"/>
              </a:ext>
            </a:extLst>
          </p:cNvPr>
          <p:cNvSpPr>
            <a:spLocks/>
          </p:cNvSpPr>
          <p:nvPr/>
        </p:nvSpPr>
        <p:spPr bwMode="auto">
          <a:xfrm>
            <a:off x="2484438" y="2265363"/>
            <a:ext cx="53975" cy="100013"/>
          </a:xfrm>
          <a:custGeom>
            <a:avLst/>
            <a:gdLst>
              <a:gd name="T0" fmla="*/ 27 w 49"/>
              <a:gd name="T1" fmla="*/ 76 h 81"/>
              <a:gd name="T2" fmla="*/ 22 w 49"/>
              <a:gd name="T3" fmla="*/ 81 h 81"/>
              <a:gd name="T4" fmla="*/ 17 w 49"/>
              <a:gd name="T5" fmla="*/ 76 h 81"/>
              <a:gd name="T6" fmla="*/ 11 w 49"/>
              <a:gd name="T7" fmla="*/ 76 h 81"/>
              <a:gd name="T8" fmla="*/ 6 w 49"/>
              <a:gd name="T9" fmla="*/ 81 h 81"/>
              <a:gd name="T10" fmla="*/ 11 w 49"/>
              <a:gd name="T11" fmla="*/ 76 h 81"/>
              <a:gd name="T12" fmla="*/ 11 w 49"/>
              <a:gd name="T13" fmla="*/ 70 h 81"/>
              <a:gd name="T14" fmla="*/ 11 w 49"/>
              <a:gd name="T15" fmla="*/ 65 h 81"/>
              <a:gd name="T16" fmla="*/ 11 w 49"/>
              <a:gd name="T17" fmla="*/ 60 h 81"/>
              <a:gd name="T18" fmla="*/ 6 w 49"/>
              <a:gd name="T19" fmla="*/ 54 h 81"/>
              <a:gd name="T20" fmla="*/ 0 w 49"/>
              <a:gd name="T21" fmla="*/ 49 h 81"/>
              <a:gd name="T22" fmla="*/ 6 w 49"/>
              <a:gd name="T23" fmla="*/ 43 h 81"/>
              <a:gd name="T24" fmla="*/ 6 w 49"/>
              <a:gd name="T25" fmla="*/ 38 h 81"/>
              <a:gd name="T26" fmla="*/ 11 w 49"/>
              <a:gd name="T27" fmla="*/ 38 h 81"/>
              <a:gd name="T28" fmla="*/ 11 w 49"/>
              <a:gd name="T29" fmla="*/ 32 h 81"/>
              <a:gd name="T30" fmla="*/ 11 w 49"/>
              <a:gd name="T31" fmla="*/ 27 h 81"/>
              <a:gd name="T32" fmla="*/ 11 w 49"/>
              <a:gd name="T33" fmla="*/ 21 h 81"/>
              <a:gd name="T34" fmla="*/ 17 w 49"/>
              <a:gd name="T35" fmla="*/ 21 h 81"/>
              <a:gd name="T36" fmla="*/ 17 w 49"/>
              <a:gd name="T37" fmla="*/ 16 h 81"/>
              <a:gd name="T38" fmla="*/ 17 w 49"/>
              <a:gd name="T39" fmla="*/ 10 h 81"/>
              <a:gd name="T40" fmla="*/ 11 w 49"/>
              <a:gd name="T41" fmla="*/ 5 h 81"/>
              <a:gd name="T42" fmla="*/ 17 w 49"/>
              <a:gd name="T43" fmla="*/ 0 h 81"/>
              <a:gd name="T44" fmla="*/ 22 w 49"/>
              <a:gd name="T45" fmla="*/ 0 h 81"/>
              <a:gd name="T46" fmla="*/ 22 w 49"/>
              <a:gd name="T47" fmla="*/ 5 h 81"/>
              <a:gd name="T48" fmla="*/ 27 w 49"/>
              <a:gd name="T49" fmla="*/ 0 h 81"/>
              <a:gd name="T50" fmla="*/ 33 w 49"/>
              <a:gd name="T51" fmla="*/ 5 h 81"/>
              <a:gd name="T52" fmla="*/ 38 w 49"/>
              <a:gd name="T53" fmla="*/ 0 h 81"/>
              <a:gd name="T54" fmla="*/ 44 w 49"/>
              <a:gd name="T55" fmla="*/ 0 h 81"/>
              <a:gd name="T56" fmla="*/ 44 w 49"/>
              <a:gd name="T57" fmla="*/ 5 h 81"/>
              <a:gd name="T58" fmla="*/ 49 w 49"/>
              <a:gd name="T59" fmla="*/ 5 h 81"/>
              <a:gd name="T60" fmla="*/ 49 w 49"/>
              <a:gd name="T61" fmla="*/ 10 h 81"/>
              <a:gd name="T62" fmla="*/ 44 w 49"/>
              <a:gd name="T63" fmla="*/ 10 h 81"/>
              <a:gd name="T64" fmla="*/ 38 w 49"/>
              <a:gd name="T65" fmla="*/ 16 h 81"/>
              <a:gd name="T66" fmla="*/ 38 w 49"/>
              <a:gd name="T67" fmla="*/ 21 h 81"/>
              <a:gd name="T68" fmla="*/ 38 w 49"/>
              <a:gd name="T69" fmla="*/ 27 h 81"/>
              <a:gd name="T70" fmla="*/ 38 w 49"/>
              <a:gd name="T71" fmla="*/ 32 h 81"/>
              <a:gd name="T72" fmla="*/ 38 w 49"/>
              <a:gd name="T73" fmla="*/ 38 h 81"/>
              <a:gd name="T74" fmla="*/ 33 w 49"/>
              <a:gd name="T75" fmla="*/ 38 h 81"/>
              <a:gd name="T76" fmla="*/ 27 w 49"/>
              <a:gd name="T77" fmla="*/ 38 h 81"/>
              <a:gd name="T78" fmla="*/ 33 w 49"/>
              <a:gd name="T79" fmla="*/ 38 h 81"/>
              <a:gd name="T80" fmla="*/ 33 w 49"/>
              <a:gd name="T81" fmla="*/ 43 h 81"/>
              <a:gd name="T82" fmla="*/ 38 w 49"/>
              <a:gd name="T83" fmla="*/ 49 h 81"/>
              <a:gd name="T84" fmla="*/ 33 w 49"/>
              <a:gd name="T85" fmla="*/ 54 h 81"/>
              <a:gd name="T86" fmla="*/ 33 w 49"/>
              <a:gd name="T87" fmla="*/ 60 h 81"/>
              <a:gd name="T88" fmla="*/ 38 w 49"/>
              <a:gd name="T89" fmla="*/ 60 h 81"/>
              <a:gd name="T90" fmla="*/ 33 w 49"/>
              <a:gd name="T91" fmla="*/ 65 h 81"/>
              <a:gd name="T92" fmla="*/ 27 w 49"/>
              <a:gd name="T93" fmla="*/ 70 h 81"/>
              <a:gd name="T94" fmla="*/ 27 w 49"/>
              <a:gd name="T95" fmla="*/ 7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9" h="81">
                <a:moveTo>
                  <a:pt x="27" y="76"/>
                </a:moveTo>
                <a:lnTo>
                  <a:pt x="22" y="81"/>
                </a:lnTo>
                <a:lnTo>
                  <a:pt x="17" y="76"/>
                </a:lnTo>
                <a:lnTo>
                  <a:pt x="11" y="76"/>
                </a:lnTo>
                <a:lnTo>
                  <a:pt x="6" y="81"/>
                </a:lnTo>
                <a:lnTo>
                  <a:pt x="11" y="76"/>
                </a:lnTo>
                <a:lnTo>
                  <a:pt x="11" y="70"/>
                </a:lnTo>
                <a:lnTo>
                  <a:pt x="11" y="65"/>
                </a:lnTo>
                <a:lnTo>
                  <a:pt x="11" y="60"/>
                </a:lnTo>
                <a:lnTo>
                  <a:pt x="6" y="54"/>
                </a:lnTo>
                <a:lnTo>
                  <a:pt x="0" y="49"/>
                </a:lnTo>
                <a:lnTo>
                  <a:pt x="6" y="43"/>
                </a:lnTo>
                <a:lnTo>
                  <a:pt x="6" y="38"/>
                </a:lnTo>
                <a:lnTo>
                  <a:pt x="11" y="38"/>
                </a:lnTo>
                <a:lnTo>
                  <a:pt x="11" y="32"/>
                </a:lnTo>
                <a:lnTo>
                  <a:pt x="11" y="27"/>
                </a:lnTo>
                <a:lnTo>
                  <a:pt x="11" y="21"/>
                </a:lnTo>
                <a:lnTo>
                  <a:pt x="17" y="21"/>
                </a:lnTo>
                <a:lnTo>
                  <a:pt x="17" y="16"/>
                </a:lnTo>
                <a:lnTo>
                  <a:pt x="17" y="10"/>
                </a:lnTo>
                <a:lnTo>
                  <a:pt x="11" y="5"/>
                </a:lnTo>
                <a:lnTo>
                  <a:pt x="17" y="0"/>
                </a:lnTo>
                <a:lnTo>
                  <a:pt x="22" y="0"/>
                </a:lnTo>
                <a:lnTo>
                  <a:pt x="22" y="5"/>
                </a:lnTo>
                <a:lnTo>
                  <a:pt x="27" y="0"/>
                </a:lnTo>
                <a:lnTo>
                  <a:pt x="33" y="5"/>
                </a:lnTo>
                <a:lnTo>
                  <a:pt x="38" y="0"/>
                </a:lnTo>
                <a:lnTo>
                  <a:pt x="44" y="0"/>
                </a:lnTo>
                <a:lnTo>
                  <a:pt x="44" y="5"/>
                </a:lnTo>
                <a:lnTo>
                  <a:pt x="49" y="5"/>
                </a:lnTo>
                <a:lnTo>
                  <a:pt x="49" y="10"/>
                </a:lnTo>
                <a:lnTo>
                  <a:pt x="44" y="10"/>
                </a:lnTo>
                <a:lnTo>
                  <a:pt x="38" y="16"/>
                </a:lnTo>
                <a:lnTo>
                  <a:pt x="38" y="21"/>
                </a:lnTo>
                <a:lnTo>
                  <a:pt x="38" y="27"/>
                </a:lnTo>
                <a:lnTo>
                  <a:pt x="38" y="32"/>
                </a:lnTo>
                <a:lnTo>
                  <a:pt x="38" y="38"/>
                </a:lnTo>
                <a:lnTo>
                  <a:pt x="33" y="38"/>
                </a:lnTo>
                <a:lnTo>
                  <a:pt x="27" y="38"/>
                </a:lnTo>
                <a:lnTo>
                  <a:pt x="33" y="38"/>
                </a:lnTo>
                <a:lnTo>
                  <a:pt x="33" y="43"/>
                </a:lnTo>
                <a:lnTo>
                  <a:pt x="38" y="49"/>
                </a:lnTo>
                <a:lnTo>
                  <a:pt x="33" y="54"/>
                </a:lnTo>
                <a:lnTo>
                  <a:pt x="33" y="60"/>
                </a:lnTo>
                <a:lnTo>
                  <a:pt x="38" y="60"/>
                </a:lnTo>
                <a:lnTo>
                  <a:pt x="33" y="65"/>
                </a:lnTo>
                <a:lnTo>
                  <a:pt x="27" y="70"/>
                </a:lnTo>
                <a:lnTo>
                  <a:pt x="27" y="76"/>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57" name="Freeform 591">
            <a:extLst>
              <a:ext uri="{FF2B5EF4-FFF2-40B4-BE49-F238E27FC236}">
                <a16:creationId xmlns:a16="http://schemas.microsoft.com/office/drawing/2014/main" id="{4C7EB8EE-2BEA-4E4C-93E1-456CA1387789}"/>
              </a:ext>
            </a:extLst>
          </p:cNvPr>
          <p:cNvSpPr>
            <a:spLocks/>
          </p:cNvSpPr>
          <p:nvPr/>
        </p:nvSpPr>
        <p:spPr bwMode="auto">
          <a:xfrm>
            <a:off x="2490788" y="2232025"/>
            <a:ext cx="195263" cy="146050"/>
          </a:xfrm>
          <a:custGeom>
            <a:avLst/>
            <a:gdLst>
              <a:gd name="T0" fmla="*/ 5 w 174"/>
              <a:gd name="T1" fmla="*/ 28 h 120"/>
              <a:gd name="T2" fmla="*/ 5 w 174"/>
              <a:gd name="T3" fmla="*/ 22 h 120"/>
              <a:gd name="T4" fmla="*/ 5 w 174"/>
              <a:gd name="T5" fmla="*/ 22 h 120"/>
              <a:gd name="T6" fmla="*/ 0 w 174"/>
              <a:gd name="T7" fmla="*/ 11 h 120"/>
              <a:gd name="T8" fmla="*/ 11 w 174"/>
              <a:gd name="T9" fmla="*/ 6 h 120"/>
              <a:gd name="T10" fmla="*/ 16 w 174"/>
              <a:gd name="T11" fmla="*/ 0 h 120"/>
              <a:gd name="T12" fmla="*/ 21 w 174"/>
              <a:gd name="T13" fmla="*/ 0 h 120"/>
              <a:gd name="T14" fmla="*/ 32 w 174"/>
              <a:gd name="T15" fmla="*/ 0 h 120"/>
              <a:gd name="T16" fmla="*/ 38 w 174"/>
              <a:gd name="T17" fmla="*/ 0 h 120"/>
              <a:gd name="T18" fmla="*/ 43 w 174"/>
              <a:gd name="T19" fmla="*/ 0 h 120"/>
              <a:gd name="T20" fmla="*/ 54 w 174"/>
              <a:gd name="T21" fmla="*/ 6 h 120"/>
              <a:gd name="T22" fmla="*/ 65 w 174"/>
              <a:gd name="T23" fmla="*/ 6 h 120"/>
              <a:gd name="T24" fmla="*/ 76 w 174"/>
              <a:gd name="T25" fmla="*/ 6 h 120"/>
              <a:gd name="T26" fmla="*/ 87 w 174"/>
              <a:gd name="T27" fmla="*/ 6 h 120"/>
              <a:gd name="T28" fmla="*/ 98 w 174"/>
              <a:gd name="T29" fmla="*/ 6 h 120"/>
              <a:gd name="T30" fmla="*/ 109 w 174"/>
              <a:gd name="T31" fmla="*/ 6 h 120"/>
              <a:gd name="T32" fmla="*/ 114 w 174"/>
              <a:gd name="T33" fmla="*/ 11 h 120"/>
              <a:gd name="T34" fmla="*/ 120 w 174"/>
              <a:gd name="T35" fmla="*/ 17 h 120"/>
              <a:gd name="T36" fmla="*/ 130 w 174"/>
              <a:gd name="T37" fmla="*/ 17 h 120"/>
              <a:gd name="T38" fmla="*/ 141 w 174"/>
              <a:gd name="T39" fmla="*/ 17 h 120"/>
              <a:gd name="T40" fmla="*/ 152 w 174"/>
              <a:gd name="T41" fmla="*/ 22 h 120"/>
              <a:gd name="T42" fmla="*/ 163 w 174"/>
              <a:gd name="T43" fmla="*/ 22 h 120"/>
              <a:gd name="T44" fmla="*/ 174 w 174"/>
              <a:gd name="T45" fmla="*/ 22 h 120"/>
              <a:gd name="T46" fmla="*/ 169 w 174"/>
              <a:gd name="T47" fmla="*/ 33 h 120"/>
              <a:gd name="T48" fmla="*/ 158 w 174"/>
              <a:gd name="T49" fmla="*/ 38 h 120"/>
              <a:gd name="T50" fmla="*/ 147 w 174"/>
              <a:gd name="T51" fmla="*/ 44 h 120"/>
              <a:gd name="T52" fmla="*/ 141 w 174"/>
              <a:gd name="T53" fmla="*/ 49 h 120"/>
              <a:gd name="T54" fmla="*/ 136 w 174"/>
              <a:gd name="T55" fmla="*/ 55 h 120"/>
              <a:gd name="T56" fmla="*/ 130 w 174"/>
              <a:gd name="T57" fmla="*/ 60 h 120"/>
              <a:gd name="T58" fmla="*/ 125 w 174"/>
              <a:gd name="T59" fmla="*/ 71 h 120"/>
              <a:gd name="T60" fmla="*/ 130 w 174"/>
              <a:gd name="T61" fmla="*/ 77 h 120"/>
              <a:gd name="T62" fmla="*/ 125 w 174"/>
              <a:gd name="T63" fmla="*/ 82 h 120"/>
              <a:gd name="T64" fmla="*/ 120 w 174"/>
              <a:gd name="T65" fmla="*/ 88 h 120"/>
              <a:gd name="T66" fmla="*/ 120 w 174"/>
              <a:gd name="T67" fmla="*/ 98 h 120"/>
              <a:gd name="T68" fmla="*/ 109 w 174"/>
              <a:gd name="T69" fmla="*/ 98 h 120"/>
              <a:gd name="T70" fmla="*/ 103 w 174"/>
              <a:gd name="T71" fmla="*/ 109 h 120"/>
              <a:gd name="T72" fmla="*/ 92 w 174"/>
              <a:gd name="T73" fmla="*/ 115 h 120"/>
              <a:gd name="T74" fmla="*/ 81 w 174"/>
              <a:gd name="T75" fmla="*/ 109 h 120"/>
              <a:gd name="T76" fmla="*/ 71 w 174"/>
              <a:gd name="T77" fmla="*/ 109 h 120"/>
              <a:gd name="T78" fmla="*/ 65 w 174"/>
              <a:gd name="T79" fmla="*/ 115 h 120"/>
              <a:gd name="T80" fmla="*/ 54 w 174"/>
              <a:gd name="T81" fmla="*/ 115 h 120"/>
              <a:gd name="T82" fmla="*/ 49 w 174"/>
              <a:gd name="T83" fmla="*/ 120 h 120"/>
              <a:gd name="T84" fmla="*/ 43 w 174"/>
              <a:gd name="T85" fmla="*/ 115 h 120"/>
              <a:gd name="T86" fmla="*/ 43 w 174"/>
              <a:gd name="T87" fmla="*/ 115 h 120"/>
              <a:gd name="T88" fmla="*/ 38 w 174"/>
              <a:gd name="T89" fmla="*/ 109 h 120"/>
              <a:gd name="T90" fmla="*/ 27 w 174"/>
              <a:gd name="T91" fmla="*/ 104 h 120"/>
              <a:gd name="T92" fmla="*/ 21 w 174"/>
              <a:gd name="T93" fmla="*/ 98 h 120"/>
              <a:gd name="T94" fmla="*/ 32 w 174"/>
              <a:gd name="T95" fmla="*/ 88 h 120"/>
              <a:gd name="T96" fmla="*/ 27 w 174"/>
              <a:gd name="T97" fmla="*/ 82 h 120"/>
              <a:gd name="T98" fmla="*/ 27 w 174"/>
              <a:gd name="T99" fmla="*/ 71 h 120"/>
              <a:gd name="T100" fmla="*/ 21 w 174"/>
              <a:gd name="T101" fmla="*/ 66 h 120"/>
              <a:gd name="T102" fmla="*/ 32 w 174"/>
              <a:gd name="T103" fmla="*/ 66 h 120"/>
              <a:gd name="T104" fmla="*/ 32 w 174"/>
              <a:gd name="T105" fmla="*/ 55 h 120"/>
              <a:gd name="T106" fmla="*/ 32 w 174"/>
              <a:gd name="T107" fmla="*/ 44 h 120"/>
              <a:gd name="T108" fmla="*/ 43 w 174"/>
              <a:gd name="T109" fmla="*/ 38 h 120"/>
              <a:gd name="T110" fmla="*/ 38 w 174"/>
              <a:gd name="T111" fmla="*/ 33 h 120"/>
              <a:gd name="T112" fmla="*/ 32 w 174"/>
              <a:gd name="T113" fmla="*/ 28 h 120"/>
              <a:gd name="T114" fmla="*/ 21 w 174"/>
              <a:gd name="T115" fmla="*/ 28 h 120"/>
              <a:gd name="T116" fmla="*/ 16 w 174"/>
              <a:gd name="T117" fmla="*/ 2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4" h="120">
                <a:moveTo>
                  <a:pt x="11" y="28"/>
                </a:moveTo>
                <a:lnTo>
                  <a:pt x="5" y="28"/>
                </a:lnTo>
                <a:lnTo>
                  <a:pt x="11" y="22"/>
                </a:lnTo>
                <a:lnTo>
                  <a:pt x="5" y="22"/>
                </a:lnTo>
                <a:lnTo>
                  <a:pt x="11" y="17"/>
                </a:lnTo>
                <a:lnTo>
                  <a:pt x="5" y="22"/>
                </a:lnTo>
                <a:lnTo>
                  <a:pt x="5" y="17"/>
                </a:lnTo>
                <a:lnTo>
                  <a:pt x="0" y="11"/>
                </a:lnTo>
                <a:lnTo>
                  <a:pt x="5" y="6"/>
                </a:lnTo>
                <a:lnTo>
                  <a:pt x="11" y="6"/>
                </a:lnTo>
                <a:lnTo>
                  <a:pt x="16" y="6"/>
                </a:lnTo>
                <a:lnTo>
                  <a:pt x="16" y="0"/>
                </a:lnTo>
                <a:lnTo>
                  <a:pt x="16" y="6"/>
                </a:lnTo>
                <a:lnTo>
                  <a:pt x="21" y="0"/>
                </a:lnTo>
                <a:lnTo>
                  <a:pt x="27" y="0"/>
                </a:lnTo>
                <a:lnTo>
                  <a:pt x="32" y="0"/>
                </a:lnTo>
                <a:lnTo>
                  <a:pt x="32" y="6"/>
                </a:lnTo>
                <a:lnTo>
                  <a:pt x="38" y="0"/>
                </a:lnTo>
                <a:lnTo>
                  <a:pt x="43" y="6"/>
                </a:lnTo>
                <a:lnTo>
                  <a:pt x="43" y="0"/>
                </a:lnTo>
                <a:lnTo>
                  <a:pt x="49" y="0"/>
                </a:lnTo>
                <a:lnTo>
                  <a:pt x="54" y="6"/>
                </a:lnTo>
                <a:lnTo>
                  <a:pt x="60" y="6"/>
                </a:lnTo>
                <a:lnTo>
                  <a:pt x="65" y="6"/>
                </a:lnTo>
                <a:lnTo>
                  <a:pt x="71" y="6"/>
                </a:lnTo>
                <a:lnTo>
                  <a:pt x="76" y="6"/>
                </a:lnTo>
                <a:lnTo>
                  <a:pt x="81" y="6"/>
                </a:lnTo>
                <a:lnTo>
                  <a:pt x="87" y="6"/>
                </a:lnTo>
                <a:lnTo>
                  <a:pt x="92" y="6"/>
                </a:lnTo>
                <a:lnTo>
                  <a:pt x="98" y="6"/>
                </a:lnTo>
                <a:lnTo>
                  <a:pt x="103" y="6"/>
                </a:lnTo>
                <a:lnTo>
                  <a:pt x="109" y="6"/>
                </a:lnTo>
                <a:lnTo>
                  <a:pt x="109" y="11"/>
                </a:lnTo>
                <a:lnTo>
                  <a:pt x="114" y="11"/>
                </a:lnTo>
                <a:lnTo>
                  <a:pt x="120" y="11"/>
                </a:lnTo>
                <a:lnTo>
                  <a:pt x="120" y="17"/>
                </a:lnTo>
                <a:lnTo>
                  <a:pt x="125" y="17"/>
                </a:lnTo>
                <a:lnTo>
                  <a:pt x="130" y="17"/>
                </a:lnTo>
                <a:lnTo>
                  <a:pt x="136" y="17"/>
                </a:lnTo>
                <a:lnTo>
                  <a:pt x="141" y="17"/>
                </a:lnTo>
                <a:lnTo>
                  <a:pt x="147" y="17"/>
                </a:lnTo>
                <a:lnTo>
                  <a:pt x="152" y="22"/>
                </a:lnTo>
                <a:lnTo>
                  <a:pt x="158" y="22"/>
                </a:lnTo>
                <a:lnTo>
                  <a:pt x="163" y="22"/>
                </a:lnTo>
                <a:lnTo>
                  <a:pt x="169" y="22"/>
                </a:lnTo>
                <a:lnTo>
                  <a:pt x="174" y="22"/>
                </a:lnTo>
                <a:lnTo>
                  <a:pt x="174" y="28"/>
                </a:lnTo>
                <a:lnTo>
                  <a:pt x="169" y="33"/>
                </a:lnTo>
                <a:lnTo>
                  <a:pt x="163" y="38"/>
                </a:lnTo>
                <a:lnTo>
                  <a:pt x="158" y="38"/>
                </a:lnTo>
                <a:lnTo>
                  <a:pt x="152" y="38"/>
                </a:lnTo>
                <a:lnTo>
                  <a:pt x="147" y="44"/>
                </a:lnTo>
                <a:lnTo>
                  <a:pt x="141" y="44"/>
                </a:lnTo>
                <a:lnTo>
                  <a:pt x="141" y="49"/>
                </a:lnTo>
                <a:lnTo>
                  <a:pt x="136" y="49"/>
                </a:lnTo>
                <a:lnTo>
                  <a:pt x="136" y="55"/>
                </a:lnTo>
                <a:lnTo>
                  <a:pt x="130" y="55"/>
                </a:lnTo>
                <a:lnTo>
                  <a:pt x="130" y="60"/>
                </a:lnTo>
                <a:lnTo>
                  <a:pt x="125" y="66"/>
                </a:lnTo>
                <a:lnTo>
                  <a:pt x="125" y="71"/>
                </a:lnTo>
                <a:lnTo>
                  <a:pt x="125" y="77"/>
                </a:lnTo>
                <a:lnTo>
                  <a:pt x="130" y="77"/>
                </a:lnTo>
                <a:lnTo>
                  <a:pt x="130" y="82"/>
                </a:lnTo>
                <a:lnTo>
                  <a:pt x="125" y="82"/>
                </a:lnTo>
                <a:lnTo>
                  <a:pt x="125" y="88"/>
                </a:lnTo>
                <a:lnTo>
                  <a:pt x="120" y="88"/>
                </a:lnTo>
                <a:lnTo>
                  <a:pt x="120" y="93"/>
                </a:lnTo>
                <a:lnTo>
                  <a:pt x="120" y="98"/>
                </a:lnTo>
                <a:lnTo>
                  <a:pt x="114" y="98"/>
                </a:lnTo>
                <a:lnTo>
                  <a:pt x="109" y="98"/>
                </a:lnTo>
                <a:lnTo>
                  <a:pt x="103" y="104"/>
                </a:lnTo>
                <a:lnTo>
                  <a:pt x="103" y="109"/>
                </a:lnTo>
                <a:lnTo>
                  <a:pt x="98" y="109"/>
                </a:lnTo>
                <a:lnTo>
                  <a:pt x="92" y="115"/>
                </a:lnTo>
                <a:lnTo>
                  <a:pt x="87" y="109"/>
                </a:lnTo>
                <a:lnTo>
                  <a:pt x="81" y="109"/>
                </a:lnTo>
                <a:lnTo>
                  <a:pt x="76" y="109"/>
                </a:lnTo>
                <a:lnTo>
                  <a:pt x="71" y="109"/>
                </a:lnTo>
                <a:lnTo>
                  <a:pt x="65" y="109"/>
                </a:lnTo>
                <a:lnTo>
                  <a:pt x="65" y="115"/>
                </a:lnTo>
                <a:lnTo>
                  <a:pt x="60" y="115"/>
                </a:lnTo>
                <a:lnTo>
                  <a:pt x="54" y="115"/>
                </a:lnTo>
                <a:lnTo>
                  <a:pt x="54" y="120"/>
                </a:lnTo>
                <a:lnTo>
                  <a:pt x="49" y="120"/>
                </a:lnTo>
                <a:lnTo>
                  <a:pt x="43" y="120"/>
                </a:lnTo>
                <a:lnTo>
                  <a:pt x="43" y="115"/>
                </a:lnTo>
                <a:lnTo>
                  <a:pt x="38" y="115"/>
                </a:lnTo>
                <a:lnTo>
                  <a:pt x="43" y="115"/>
                </a:lnTo>
                <a:lnTo>
                  <a:pt x="38" y="115"/>
                </a:lnTo>
                <a:lnTo>
                  <a:pt x="38" y="109"/>
                </a:lnTo>
                <a:lnTo>
                  <a:pt x="32" y="104"/>
                </a:lnTo>
                <a:lnTo>
                  <a:pt x="27" y="104"/>
                </a:lnTo>
                <a:lnTo>
                  <a:pt x="21" y="104"/>
                </a:lnTo>
                <a:lnTo>
                  <a:pt x="21" y="98"/>
                </a:lnTo>
                <a:lnTo>
                  <a:pt x="27" y="93"/>
                </a:lnTo>
                <a:lnTo>
                  <a:pt x="32" y="88"/>
                </a:lnTo>
                <a:lnTo>
                  <a:pt x="27" y="88"/>
                </a:lnTo>
                <a:lnTo>
                  <a:pt x="27" y="82"/>
                </a:lnTo>
                <a:lnTo>
                  <a:pt x="32" y="77"/>
                </a:lnTo>
                <a:lnTo>
                  <a:pt x="27" y="71"/>
                </a:lnTo>
                <a:lnTo>
                  <a:pt x="27" y="66"/>
                </a:lnTo>
                <a:lnTo>
                  <a:pt x="21" y="66"/>
                </a:lnTo>
                <a:lnTo>
                  <a:pt x="27" y="66"/>
                </a:lnTo>
                <a:lnTo>
                  <a:pt x="32" y="66"/>
                </a:lnTo>
                <a:lnTo>
                  <a:pt x="32" y="60"/>
                </a:lnTo>
                <a:lnTo>
                  <a:pt x="32" y="55"/>
                </a:lnTo>
                <a:lnTo>
                  <a:pt x="32" y="49"/>
                </a:lnTo>
                <a:lnTo>
                  <a:pt x="32" y="44"/>
                </a:lnTo>
                <a:lnTo>
                  <a:pt x="38" y="38"/>
                </a:lnTo>
                <a:lnTo>
                  <a:pt x="43" y="38"/>
                </a:lnTo>
                <a:lnTo>
                  <a:pt x="43" y="33"/>
                </a:lnTo>
                <a:lnTo>
                  <a:pt x="38" y="33"/>
                </a:lnTo>
                <a:lnTo>
                  <a:pt x="38" y="28"/>
                </a:lnTo>
                <a:lnTo>
                  <a:pt x="32" y="28"/>
                </a:lnTo>
                <a:lnTo>
                  <a:pt x="27" y="33"/>
                </a:lnTo>
                <a:lnTo>
                  <a:pt x="21" y="28"/>
                </a:lnTo>
                <a:lnTo>
                  <a:pt x="16" y="33"/>
                </a:lnTo>
                <a:lnTo>
                  <a:pt x="16" y="28"/>
                </a:lnTo>
                <a:lnTo>
                  <a:pt x="11" y="28"/>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58" name="Freeform 174">
            <a:extLst>
              <a:ext uri="{FF2B5EF4-FFF2-40B4-BE49-F238E27FC236}">
                <a16:creationId xmlns:a16="http://schemas.microsoft.com/office/drawing/2014/main" id="{ECDEEE94-FC2C-9169-A9FB-5B699E869C72}"/>
              </a:ext>
            </a:extLst>
          </p:cNvPr>
          <p:cNvSpPr>
            <a:spLocks/>
          </p:cNvSpPr>
          <p:nvPr/>
        </p:nvSpPr>
        <p:spPr bwMode="auto">
          <a:xfrm>
            <a:off x="2520950" y="2006599"/>
            <a:ext cx="36513" cy="26988"/>
          </a:xfrm>
          <a:custGeom>
            <a:avLst/>
            <a:gdLst>
              <a:gd name="T0" fmla="*/ 22 w 33"/>
              <a:gd name="T1" fmla="*/ 22 h 22"/>
              <a:gd name="T2" fmla="*/ 16 w 33"/>
              <a:gd name="T3" fmla="*/ 22 h 22"/>
              <a:gd name="T4" fmla="*/ 22 w 33"/>
              <a:gd name="T5" fmla="*/ 22 h 22"/>
              <a:gd name="T6" fmla="*/ 16 w 33"/>
              <a:gd name="T7" fmla="*/ 16 h 22"/>
              <a:gd name="T8" fmla="*/ 11 w 33"/>
              <a:gd name="T9" fmla="*/ 22 h 22"/>
              <a:gd name="T10" fmla="*/ 5 w 33"/>
              <a:gd name="T11" fmla="*/ 16 h 22"/>
              <a:gd name="T12" fmla="*/ 0 w 33"/>
              <a:gd name="T13" fmla="*/ 16 h 22"/>
              <a:gd name="T14" fmla="*/ 5 w 33"/>
              <a:gd name="T15" fmla="*/ 11 h 22"/>
              <a:gd name="T16" fmla="*/ 11 w 33"/>
              <a:gd name="T17" fmla="*/ 11 h 22"/>
              <a:gd name="T18" fmla="*/ 11 w 33"/>
              <a:gd name="T19" fmla="*/ 5 h 22"/>
              <a:gd name="T20" fmla="*/ 16 w 33"/>
              <a:gd name="T21" fmla="*/ 5 h 22"/>
              <a:gd name="T22" fmla="*/ 22 w 33"/>
              <a:gd name="T23" fmla="*/ 0 h 22"/>
              <a:gd name="T24" fmla="*/ 27 w 33"/>
              <a:gd name="T25" fmla="*/ 5 h 22"/>
              <a:gd name="T26" fmla="*/ 33 w 33"/>
              <a:gd name="T27" fmla="*/ 11 h 22"/>
              <a:gd name="T28" fmla="*/ 27 w 33"/>
              <a:gd name="T29" fmla="*/ 11 h 22"/>
              <a:gd name="T30" fmla="*/ 33 w 33"/>
              <a:gd name="T31" fmla="*/ 16 h 22"/>
              <a:gd name="T32" fmla="*/ 27 w 33"/>
              <a:gd name="T33" fmla="*/ 16 h 22"/>
              <a:gd name="T34" fmla="*/ 27 w 33"/>
              <a:gd name="T35" fmla="*/ 22 h 22"/>
              <a:gd name="T36" fmla="*/ 22 w 33"/>
              <a:gd name="T3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22">
                <a:moveTo>
                  <a:pt x="22" y="22"/>
                </a:moveTo>
                <a:lnTo>
                  <a:pt x="16" y="22"/>
                </a:lnTo>
                <a:lnTo>
                  <a:pt x="22" y="22"/>
                </a:lnTo>
                <a:lnTo>
                  <a:pt x="16" y="16"/>
                </a:lnTo>
                <a:lnTo>
                  <a:pt x="11" y="22"/>
                </a:lnTo>
                <a:lnTo>
                  <a:pt x="5" y="16"/>
                </a:lnTo>
                <a:lnTo>
                  <a:pt x="0" y="16"/>
                </a:lnTo>
                <a:lnTo>
                  <a:pt x="5" y="11"/>
                </a:lnTo>
                <a:lnTo>
                  <a:pt x="11" y="11"/>
                </a:lnTo>
                <a:lnTo>
                  <a:pt x="11" y="5"/>
                </a:lnTo>
                <a:lnTo>
                  <a:pt x="16" y="5"/>
                </a:lnTo>
                <a:lnTo>
                  <a:pt x="22" y="0"/>
                </a:lnTo>
                <a:lnTo>
                  <a:pt x="27" y="5"/>
                </a:lnTo>
                <a:lnTo>
                  <a:pt x="33" y="11"/>
                </a:lnTo>
                <a:lnTo>
                  <a:pt x="27" y="11"/>
                </a:lnTo>
                <a:lnTo>
                  <a:pt x="33" y="16"/>
                </a:lnTo>
                <a:lnTo>
                  <a:pt x="27" y="16"/>
                </a:lnTo>
                <a:lnTo>
                  <a:pt x="27" y="22"/>
                </a:lnTo>
                <a:lnTo>
                  <a:pt x="22" y="22"/>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59" name="Freeform 633">
            <a:extLst>
              <a:ext uri="{FF2B5EF4-FFF2-40B4-BE49-F238E27FC236}">
                <a16:creationId xmlns:a16="http://schemas.microsoft.com/office/drawing/2014/main" id="{7A42301C-37B2-77AC-8A52-FAFD34B66B25}"/>
              </a:ext>
            </a:extLst>
          </p:cNvPr>
          <p:cNvSpPr>
            <a:spLocks/>
          </p:cNvSpPr>
          <p:nvPr/>
        </p:nvSpPr>
        <p:spPr bwMode="auto">
          <a:xfrm>
            <a:off x="2551113" y="1946274"/>
            <a:ext cx="109538" cy="166688"/>
          </a:xfrm>
          <a:custGeom>
            <a:avLst/>
            <a:gdLst>
              <a:gd name="T0" fmla="*/ 6 w 98"/>
              <a:gd name="T1" fmla="*/ 22 h 136"/>
              <a:gd name="T2" fmla="*/ 11 w 98"/>
              <a:gd name="T3" fmla="*/ 11 h 136"/>
              <a:gd name="T4" fmla="*/ 17 w 98"/>
              <a:gd name="T5" fmla="*/ 0 h 136"/>
              <a:gd name="T6" fmla="*/ 33 w 98"/>
              <a:gd name="T7" fmla="*/ 0 h 136"/>
              <a:gd name="T8" fmla="*/ 27 w 98"/>
              <a:gd name="T9" fmla="*/ 11 h 136"/>
              <a:gd name="T10" fmla="*/ 38 w 98"/>
              <a:gd name="T11" fmla="*/ 11 h 136"/>
              <a:gd name="T12" fmla="*/ 55 w 98"/>
              <a:gd name="T13" fmla="*/ 16 h 136"/>
              <a:gd name="T14" fmla="*/ 44 w 98"/>
              <a:gd name="T15" fmla="*/ 27 h 136"/>
              <a:gd name="T16" fmla="*/ 44 w 98"/>
              <a:gd name="T17" fmla="*/ 32 h 136"/>
              <a:gd name="T18" fmla="*/ 38 w 98"/>
              <a:gd name="T19" fmla="*/ 38 h 136"/>
              <a:gd name="T20" fmla="*/ 55 w 98"/>
              <a:gd name="T21" fmla="*/ 43 h 136"/>
              <a:gd name="T22" fmla="*/ 60 w 98"/>
              <a:gd name="T23" fmla="*/ 54 h 136"/>
              <a:gd name="T24" fmla="*/ 71 w 98"/>
              <a:gd name="T25" fmla="*/ 71 h 136"/>
              <a:gd name="T26" fmla="*/ 76 w 98"/>
              <a:gd name="T27" fmla="*/ 76 h 136"/>
              <a:gd name="T28" fmla="*/ 82 w 98"/>
              <a:gd name="T29" fmla="*/ 82 h 136"/>
              <a:gd name="T30" fmla="*/ 82 w 98"/>
              <a:gd name="T31" fmla="*/ 92 h 136"/>
              <a:gd name="T32" fmla="*/ 93 w 98"/>
              <a:gd name="T33" fmla="*/ 87 h 136"/>
              <a:gd name="T34" fmla="*/ 98 w 98"/>
              <a:gd name="T35" fmla="*/ 103 h 136"/>
              <a:gd name="T36" fmla="*/ 82 w 98"/>
              <a:gd name="T37" fmla="*/ 114 h 136"/>
              <a:gd name="T38" fmla="*/ 87 w 98"/>
              <a:gd name="T39" fmla="*/ 120 h 136"/>
              <a:gd name="T40" fmla="*/ 71 w 98"/>
              <a:gd name="T41" fmla="*/ 120 h 136"/>
              <a:gd name="T42" fmla="*/ 55 w 98"/>
              <a:gd name="T43" fmla="*/ 125 h 136"/>
              <a:gd name="T44" fmla="*/ 38 w 98"/>
              <a:gd name="T45" fmla="*/ 125 h 136"/>
              <a:gd name="T46" fmla="*/ 22 w 98"/>
              <a:gd name="T47" fmla="*/ 131 h 136"/>
              <a:gd name="T48" fmla="*/ 6 w 98"/>
              <a:gd name="T49" fmla="*/ 136 h 136"/>
              <a:gd name="T50" fmla="*/ 6 w 98"/>
              <a:gd name="T51" fmla="*/ 131 h 136"/>
              <a:gd name="T52" fmla="*/ 17 w 98"/>
              <a:gd name="T53" fmla="*/ 120 h 136"/>
              <a:gd name="T54" fmla="*/ 33 w 98"/>
              <a:gd name="T55" fmla="*/ 114 h 136"/>
              <a:gd name="T56" fmla="*/ 38 w 98"/>
              <a:gd name="T57" fmla="*/ 109 h 136"/>
              <a:gd name="T58" fmla="*/ 27 w 98"/>
              <a:gd name="T59" fmla="*/ 109 h 136"/>
              <a:gd name="T60" fmla="*/ 11 w 98"/>
              <a:gd name="T61" fmla="*/ 109 h 136"/>
              <a:gd name="T62" fmla="*/ 11 w 98"/>
              <a:gd name="T63" fmla="*/ 103 h 136"/>
              <a:gd name="T64" fmla="*/ 22 w 98"/>
              <a:gd name="T65" fmla="*/ 92 h 136"/>
              <a:gd name="T66" fmla="*/ 22 w 98"/>
              <a:gd name="T67" fmla="*/ 87 h 136"/>
              <a:gd name="T68" fmla="*/ 22 w 98"/>
              <a:gd name="T69" fmla="*/ 87 h 136"/>
              <a:gd name="T70" fmla="*/ 27 w 98"/>
              <a:gd name="T71" fmla="*/ 82 h 136"/>
              <a:gd name="T72" fmla="*/ 33 w 98"/>
              <a:gd name="T73" fmla="*/ 82 h 136"/>
              <a:gd name="T74" fmla="*/ 38 w 98"/>
              <a:gd name="T75" fmla="*/ 71 h 136"/>
              <a:gd name="T76" fmla="*/ 27 w 98"/>
              <a:gd name="T77" fmla="*/ 65 h 136"/>
              <a:gd name="T78" fmla="*/ 33 w 98"/>
              <a:gd name="T79" fmla="*/ 54 h 136"/>
              <a:gd name="T80" fmla="*/ 17 w 98"/>
              <a:gd name="T81" fmla="*/ 60 h 136"/>
              <a:gd name="T82" fmla="*/ 17 w 98"/>
              <a:gd name="T83" fmla="*/ 49 h 136"/>
              <a:gd name="T84" fmla="*/ 17 w 98"/>
              <a:gd name="T85" fmla="*/ 43 h 136"/>
              <a:gd name="T86" fmla="*/ 11 w 98"/>
              <a:gd name="T87" fmla="*/ 38 h 136"/>
              <a:gd name="T88" fmla="*/ 6 w 98"/>
              <a:gd name="T89" fmla="*/ 49 h 136"/>
              <a:gd name="T90" fmla="*/ 6 w 98"/>
              <a:gd name="T91" fmla="*/ 32 h 136"/>
              <a:gd name="T92" fmla="*/ 6 w 98"/>
              <a:gd name="T93" fmla="*/ 3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8" h="136">
                <a:moveTo>
                  <a:pt x="0" y="27"/>
                </a:moveTo>
                <a:lnTo>
                  <a:pt x="6" y="27"/>
                </a:lnTo>
                <a:lnTo>
                  <a:pt x="6" y="22"/>
                </a:lnTo>
                <a:lnTo>
                  <a:pt x="6" y="16"/>
                </a:lnTo>
                <a:lnTo>
                  <a:pt x="6" y="11"/>
                </a:lnTo>
                <a:lnTo>
                  <a:pt x="11" y="11"/>
                </a:lnTo>
                <a:lnTo>
                  <a:pt x="11" y="5"/>
                </a:lnTo>
                <a:lnTo>
                  <a:pt x="17" y="5"/>
                </a:lnTo>
                <a:lnTo>
                  <a:pt x="17" y="0"/>
                </a:lnTo>
                <a:lnTo>
                  <a:pt x="22" y="0"/>
                </a:lnTo>
                <a:lnTo>
                  <a:pt x="27" y="0"/>
                </a:lnTo>
                <a:lnTo>
                  <a:pt x="33" y="0"/>
                </a:lnTo>
                <a:lnTo>
                  <a:pt x="38" y="0"/>
                </a:lnTo>
                <a:lnTo>
                  <a:pt x="33" y="5"/>
                </a:lnTo>
                <a:lnTo>
                  <a:pt x="27" y="11"/>
                </a:lnTo>
                <a:lnTo>
                  <a:pt x="27" y="16"/>
                </a:lnTo>
                <a:lnTo>
                  <a:pt x="33" y="11"/>
                </a:lnTo>
                <a:lnTo>
                  <a:pt x="38" y="11"/>
                </a:lnTo>
                <a:lnTo>
                  <a:pt x="44" y="11"/>
                </a:lnTo>
                <a:lnTo>
                  <a:pt x="49" y="11"/>
                </a:lnTo>
                <a:lnTo>
                  <a:pt x="55" y="16"/>
                </a:lnTo>
                <a:lnTo>
                  <a:pt x="49" y="22"/>
                </a:lnTo>
                <a:lnTo>
                  <a:pt x="49" y="27"/>
                </a:lnTo>
                <a:lnTo>
                  <a:pt x="44" y="27"/>
                </a:lnTo>
                <a:lnTo>
                  <a:pt x="44" y="32"/>
                </a:lnTo>
                <a:lnTo>
                  <a:pt x="38" y="32"/>
                </a:lnTo>
                <a:lnTo>
                  <a:pt x="44" y="32"/>
                </a:lnTo>
                <a:lnTo>
                  <a:pt x="38" y="38"/>
                </a:lnTo>
                <a:lnTo>
                  <a:pt x="33" y="38"/>
                </a:lnTo>
                <a:lnTo>
                  <a:pt x="38" y="38"/>
                </a:lnTo>
                <a:lnTo>
                  <a:pt x="44" y="38"/>
                </a:lnTo>
                <a:lnTo>
                  <a:pt x="49" y="43"/>
                </a:lnTo>
                <a:lnTo>
                  <a:pt x="55" y="43"/>
                </a:lnTo>
                <a:lnTo>
                  <a:pt x="55" y="49"/>
                </a:lnTo>
                <a:lnTo>
                  <a:pt x="55" y="54"/>
                </a:lnTo>
                <a:lnTo>
                  <a:pt x="60" y="54"/>
                </a:lnTo>
                <a:lnTo>
                  <a:pt x="60" y="60"/>
                </a:lnTo>
                <a:lnTo>
                  <a:pt x="71" y="65"/>
                </a:lnTo>
                <a:lnTo>
                  <a:pt x="71" y="71"/>
                </a:lnTo>
                <a:lnTo>
                  <a:pt x="76" y="71"/>
                </a:lnTo>
                <a:lnTo>
                  <a:pt x="71" y="71"/>
                </a:lnTo>
                <a:lnTo>
                  <a:pt x="76" y="76"/>
                </a:lnTo>
                <a:lnTo>
                  <a:pt x="71" y="76"/>
                </a:lnTo>
                <a:lnTo>
                  <a:pt x="76" y="82"/>
                </a:lnTo>
                <a:lnTo>
                  <a:pt x="82" y="82"/>
                </a:lnTo>
                <a:lnTo>
                  <a:pt x="82" y="87"/>
                </a:lnTo>
                <a:lnTo>
                  <a:pt x="76" y="87"/>
                </a:lnTo>
                <a:lnTo>
                  <a:pt x="82" y="92"/>
                </a:lnTo>
                <a:lnTo>
                  <a:pt x="82" y="87"/>
                </a:lnTo>
                <a:lnTo>
                  <a:pt x="87" y="87"/>
                </a:lnTo>
                <a:lnTo>
                  <a:pt x="93" y="87"/>
                </a:lnTo>
                <a:lnTo>
                  <a:pt x="98" y="92"/>
                </a:lnTo>
                <a:lnTo>
                  <a:pt x="98" y="98"/>
                </a:lnTo>
                <a:lnTo>
                  <a:pt x="98" y="103"/>
                </a:lnTo>
                <a:lnTo>
                  <a:pt x="93" y="103"/>
                </a:lnTo>
                <a:lnTo>
                  <a:pt x="87" y="109"/>
                </a:lnTo>
                <a:lnTo>
                  <a:pt x="82" y="114"/>
                </a:lnTo>
                <a:lnTo>
                  <a:pt x="87" y="114"/>
                </a:lnTo>
                <a:lnTo>
                  <a:pt x="93" y="114"/>
                </a:lnTo>
                <a:lnTo>
                  <a:pt x="87" y="120"/>
                </a:lnTo>
                <a:lnTo>
                  <a:pt x="82" y="120"/>
                </a:lnTo>
                <a:lnTo>
                  <a:pt x="76" y="125"/>
                </a:lnTo>
                <a:lnTo>
                  <a:pt x="71" y="120"/>
                </a:lnTo>
                <a:lnTo>
                  <a:pt x="66" y="125"/>
                </a:lnTo>
                <a:lnTo>
                  <a:pt x="60" y="120"/>
                </a:lnTo>
                <a:lnTo>
                  <a:pt x="55" y="125"/>
                </a:lnTo>
                <a:lnTo>
                  <a:pt x="49" y="125"/>
                </a:lnTo>
                <a:lnTo>
                  <a:pt x="44" y="125"/>
                </a:lnTo>
                <a:lnTo>
                  <a:pt x="38" y="125"/>
                </a:lnTo>
                <a:lnTo>
                  <a:pt x="33" y="125"/>
                </a:lnTo>
                <a:lnTo>
                  <a:pt x="27" y="131"/>
                </a:lnTo>
                <a:lnTo>
                  <a:pt x="22" y="131"/>
                </a:lnTo>
                <a:lnTo>
                  <a:pt x="17" y="131"/>
                </a:lnTo>
                <a:lnTo>
                  <a:pt x="11" y="131"/>
                </a:lnTo>
                <a:lnTo>
                  <a:pt x="6" y="136"/>
                </a:lnTo>
                <a:lnTo>
                  <a:pt x="0" y="136"/>
                </a:lnTo>
                <a:lnTo>
                  <a:pt x="0" y="131"/>
                </a:lnTo>
                <a:lnTo>
                  <a:pt x="6" y="131"/>
                </a:lnTo>
                <a:lnTo>
                  <a:pt x="11" y="131"/>
                </a:lnTo>
                <a:lnTo>
                  <a:pt x="11" y="125"/>
                </a:lnTo>
                <a:lnTo>
                  <a:pt x="17" y="120"/>
                </a:lnTo>
                <a:lnTo>
                  <a:pt x="22" y="114"/>
                </a:lnTo>
                <a:lnTo>
                  <a:pt x="27" y="114"/>
                </a:lnTo>
                <a:lnTo>
                  <a:pt x="33" y="114"/>
                </a:lnTo>
                <a:lnTo>
                  <a:pt x="38" y="114"/>
                </a:lnTo>
                <a:lnTo>
                  <a:pt x="44" y="109"/>
                </a:lnTo>
                <a:lnTo>
                  <a:pt x="38" y="109"/>
                </a:lnTo>
                <a:lnTo>
                  <a:pt x="33" y="114"/>
                </a:lnTo>
                <a:lnTo>
                  <a:pt x="27" y="114"/>
                </a:lnTo>
                <a:lnTo>
                  <a:pt x="27" y="109"/>
                </a:lnTo>
                <a:lnTo>
                  <a:pt x="22" y="109"/>
                </a:lnTo>
                <a:lnTo>
                  <a:pt x="17" y="109"/>
                </a:lnTo>
                <a:lnTo>
                  <a:pt x="11" y="109"/>
                </a:lnTo>
                <a:lnTo>
                  <a:pt x="6" y="109"/>
                </a:lnTo>
                <a:lnTo>
                  <a:pt x="6" y="103"/>
                </a:lnTo>
                <a:lnTo>
                  <a:pt x="11" y="103"/>
                </a:lnTo>
                <a:lnTo>
                  <a:pt x="17" y="103"/>
                </a:lnTo>
                <a:lnTo>
                  <a:pt x="22" y="98"/>
                </a:lnTo>
                <a:lnTo>
                  <a:pt x="22" y="92"/>
                </a:lnTo>
                <a:lnTo>
                  <a:pt x="27" y="92"/>
                </a:lnTo>
                <a:lnTo>
                  <a:pt x="22" y="92"/>
                </a:lnTo>
                <a:lnTo>
                  <a:pt x="22" y="87"/>
                </a:lnTo>
                <a:lnTo>
                  <a:pt x="17" y="92"/>
                </a:lnTo>
                <a:lnTo>
                  <a:pt x="17" y="87"/>
                </a:lnTo>
                <a:lnTo>
                  <a:pt x="22" y="87"/>
                </a:lnTo>
                <a:lnTo>
                  <a:pt x="17" y="82"/>
                </a:lnTo>
                <a:lnTo>
                  <a:pt x="22" y="82"/>
                </a:lnTo>
                <a:lnTo>
                  <a:pt x="27" y="82"/>
                </a:lnTo>
                <a:lnTo>
                  <a:pt x="33" y="82"/>
                </a:lnTo>
                <a:lnTo>
                  <a:pt x="38" y="82"/>
                </a:lnTo>
                <a:lnTo>
                  <a:pt x="33" y="82"/>
                </a:lnTo>
                <a:lnTo>
                  <a:pt x="38" y="82"/>
                </a:lnTo>
                <a:lnTo>
                  <a:pt x="38" y="76"/>
                </a:lnTo>
                <a:lnTo>
                  <a:pt x="38" y="71"/>
                </a:lnTo>
                <a:lnTo>
                  <a:pt x="33" y="71"/>
                </a:lnTo>
                <a:lnTo>
                  <a:pt x="33" y="65"/>
                </a:lnTo>
                <a:lnTo>
                  <a:pt x="27" y="65"/>
                </a:lnTo>
                <a:lnTo>
                  <a:pt x="33" y="60"/>
                </a:lnTo>
                <a:lnTo>
                  <a:pt x="38" y="54"/>
                </a:lnTo>
                <a:lnTo>
                  <a:pt x="33" y="54"/>
                </a:lnTo>
                <a:lnTo>
                  <a:pt x="27" y="60"/>
                </a:lnTo>
                <a:lnTo>
                  <a:pt x="22" y="60"/>
                </a:lnTo>
                <a:lnTo>
                  <a:pt x="17" y="60"/>
                </a:lnTo>
                <a:lnTo>
                  <a:pt x="11" y="60"/>
                </a:lnTo>
                <a:lnTo>
                  <a:pt x="11" y="54"/>
                </a:lnTo>
                <a:lnTo>
                  <a:pt x="17" y="49"/>
                </a:lnTo>
                <a:lnTo>
                  <a:pt x="17" y="43"/>
                </a:lnTo>
                <a:lnTo>
                  <a:pt x="17" y="38"/>
                </a:lnTo>
                <a:lnTo>
                  <a:pt x="17" y="43"/>
                </a:lnTo>
                <a:lnTo>
                  <a:pt x="11" y="38"/>
                </a:lnTo>
                <a:lnTo>
                  <a:pt x="11" y="43"/>
                </a:lnTo>
                <a:lnTo>
                  <a:pt x="11" y="38"/>
                </a:lnTo>
                <a:lnTo>
                  <a:pt x="11" y="43"/>
                </a:lnTo>
                <a:lnTo>
                  <a:pt x="6" y="43"/>
                </a:lnTo>
                <a:lnTo>
                  <a:pt x="6" y="49"/>
                </a:lnTo>
                <a:lnTo>
                  <a:pt x="6" y="43"/>
                </a:lnTo>
                <a:lnTo>
                  <a:pt x="6" y="38"/>
                </a:lnTo>
                <a:lnTo>
                  <a:pt x="6" y="32"/>
                </a:lnTo>
                <a:lnTo>
                  <a:pt x="11" y="32"/>
                </a:lnTo>
                <a:lnTo>
                  <a:pt x="11" y="27"/>
                </a:lnTo>
                <a:lnTo>
                  <a:pt x="6" y="32"/>
                </a:lnTo>
                <a:lnTo>
                  <a:pt x="0" y="27"/>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60" name="Rectangle 650">
            <a:extLst>
              <a:ext uri="{FF2B5EF4-FFF2-40B4-BE49-F238E27FC236}">
                <a16:creationId xmlns:a16="http://schemas.microsoft.com/office/drawing/2014/main" id="{FAC6F555-B341-045C-9FFB-D3801C89E14D}"/>
              </a:ext>
            </a:extLst>
          </p:cNvPr>
          <p:cNvSpPr>
            <a:spLocks noChangeArrowheads="1"/>
          </p:cNvSpPr>
          <p:nvPr/>
        </p:nvSpPr>
        <p:spPr bwMode="auto">
          <a:xfrm>
            <a:off x="3035300" y="2359024"/>
            <a:ext cx="6350" cy="6350"/>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261" name="Rectangle 651">
            <a:extLst>
              <a:ext uri="{FF2B5EF4-FFF2-40B4-BE49-F238E27FC236}">
                <a16:creationId xmlns:a16="http://schemas.microsoft.com/office/drawing/2014/main" id="{69C889D9-9A19-7E6D-76AB-75203815B126}"/>
              </a:ext>
            </a:extLst>
          </p:cNvPr>
          <p:cNvSpPr>
            <a:spLocks noChangeArrowheads="1"/>
          </p:cNvSpPr>
          <p:nvPr/>
        </p:nvSpPr>
        <p:spPr bwMode="auto">
          <a:xfrm>
            <a:off x="3035300" y="2292350"/>
            <a:ext cx="6350" cy="6350"/>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262" name="Rectangle 652">
            <a:extLst>
              <a:ext uri="{FF2B5EF4-FFF2-40B4-BE49-F238E27FC236}">
                <a16:creationId xmlns:a16="http://schemas.microsoft.com/office/drawing/2014/main" id="{E9D6F8DC-3DE3-DFB7-EA89-BB0C88D7764B}"/>
              </a:ext>
            </a:extLst>
          </p:cNvPr>
          <p:cNvSpPr>
            <a:spLocks noChangeArrowheads="1"/>
          </p:cNvSpPr>
          <p:nvPr/>
        </p:nvSpPr>
        <p:spPr bwMode="auto">
          <a:xfrm>
            <a:off x="3041650" y="2359024"/>
            <a:ext cx="6350" cy="6350"/>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263" name="Freeform 653">
            <a:extLst>
              <a:ext uri="{FF2B5EF4-FFF2-40B4-BE49-F238E27FC236}">
                <a16:creationId xmlns:a16="http://schemas.microsoft.com/office/drawing/2014/main" id="{24206BAB-AE45-4A50-42F2-315C952EE8F6}"/>
              </a:ext>
            </a:extLst>
          </p:cNvPr>
          <p:cNvSpPr>
            <a:spLocks/>
          </p:cNvSpPr>
          <p:nvPr/>
        </p:nvSpPr>
        <p:spPr bwMode="auto">
          <a:xfrm>
            <a:off x="3041650" y="2298699"/>
            <a:ext cx="6350" cy="6350"/>
          </a:xfrm>
          <a:custGeom>
            <a:avLst/>
            <a:gdLst>
              <a:gd name="T0" fmla="*/ 0 w 6"/>
              <a:gd name="T1" fmla="*/ 0 h 5"/>
              <a:gd name="T2" fmla="*/ 6 w 6"/>
              <a:gd name="T3" fmla="*/ 5 h 5"/>
              <a:gd name="T4" fmla="*/ 0 w 6"/>
              <a:gd name="T5" fmla="*/ 5 h 5"/>
              <a:gd name="T6" fmla="*/ 0 w 6"/>
              <a:gd name="T7" fmla="*/ 0 h 5"/>
            </a:gdLst>
            <a:ahLst/>
            <a:cxnLst>
              <a:cxn ang="0">
                <a:pos x="T0" y="T1"/>
              </a:cxn>
              <a:cxn ang="0">
                <a:pos x="T2" y="T3"/>
              </a:cxn>
              <a:cxn ang="0">
                <a:pos x="T4" y="T5"/>
              </a:cxn>
              <a:cxn ang="0">
                <a:pos x="T6" y="T7"/>
              </a:cxn>
            </a:cxnLst>
            <a:rect l="0" t="0" r="r" b="b"/>
            <a:pathLst>
              <a:path w="6" h="5">
                <a:moveTo>
                  <a:pt x="0" y="0"/>
                </a:moveTo>
                <a:lnTo>
                  <a:pt x="6" y="5"/>
                </a:lnTo>
                <a:lnTo>
                  <a:pt x="0" y="5"/>
                </a:lnTo>
                <a:lnTo>
                  <a:pt x="0" y="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64" name="Rectangle 654">
            <a:extLst>
              <a:ext uri="{FF2B5EF4-FFF2-40B4-BE49-F238E27FC236}">
                <a16:creationId xmlns:a16="http://schemas.microsoft.com/office/drawing/2014/main" id="{DE89C029-DF56-58CA-2472-431454EAAE2F}"/>
              </a:ext>
            </a:extLst>
          </p:cNvPr>
          <p:cNvSpPr>
            <a:spLocks noChangeArrowheads="1"/>
          </p:cNvSpPr>
          <p:nvPr/>
        </p:nvSpPr>
        <p:spPr bwMode="auto">
          <a:xfrm>
            <a:off x="3048001" y="2332037"/>
            <a:ext cx="4763" cy="7938"/>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265" name="Freeform 655">
            <a:extLst>
              <a:ext uri="{FF2B5EF4-FFF2-40B4-BE49-F238E27FC236}">
                <a16:creationId xmlns:a16="http://schemas.microsoft.com/office/drawing/2014/main" id="{48C3B187-764C-B02C-4743-A39CA189F9F8}"/>
              </a:ext>
            </a:extLst>
          </p:cNvPr>
          <p:cNvSpPr>
            <a:spLocks/>
          </p:cNvSpPr>
          <p:nvPr/>
        </p:nvSpPr>
        <p:spPr bwMode="auto">
          <a:xfrm>
            <a:off x="3047999" y="2319338"/>
            <a:ext cx="12700" cy="6350"/>
          </a:xfrm>
          <a:custGeom>
            <a:avLst/>
            <a:gdLst>
              <a:gd name="T0" fmla="*/ 0 w 11"/>
              <a:gd name="T1" fmla="*/ 0 h 6"/>
              <a:gd name="T2" fmla="*/ 5 w 11"/>
              <a:gd name="T3" fmla="*/ 0 h 6"/>
              <a:gd name="T4" fmla="*/ 11 w 11"/>
              <a:gd name="T5" fmla="*/ 6 h 6"/>
              <a:gd name="T6" fmla="*/ 5 w 11"/>
              <a:gd name="T7" fmla="*/ 6 h 6"/>
              <a:gd name="T8" fmla="*/ 0 w 11"/>
              <a:gd name="T9" fmla="*/ 0 h 6"/>
            </a:gdLst>
            <a:ahLst/>
            <a:cxnLst>
              <a:cxn ang="0">
                <a:pos x="T0" y="T1"/>
              </a:cxn>
              <a:cxn ang="0">
                <a:pos x="T2" y="T3"/>
              </a:cxn>
              <a:cxn ang="0">
                <a:pos x="T4" y="T5"/>
              </a:cxn>
              <a:cxn ang="0">
                <a:pos x="T6" y="T7"/>
              </a:cxn>
              <a:cxn ang="0">
                <a:pos x="T8" y="T9"/>
              </a:cxn>
            </a:cxnLst>
            <a:rect l="0" t="0" r="r" b="b"/>
            <a:pathLst>
              <a:path w="11" h="6">
                <a:moveTo>
                  <a:pt x="0" y="0"/>
                </a:moveTo>
                <a:lnTo>
                  <a:pt x="5" y="0"/>
                </a:lnTo>
                <a:lnTo>
                  <a:pt x="11" y="6"/>
                </a:lnTo>
                <a:lnTo>
                  <a:pt x="5" y="6"/>
                </a:lnTo>
                <a:lnTo>
                  <a:pt x="0" y="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66" name="Rectangle 663">
            <a:extLst>
              <a:ext uri="{FF2B5EF4-FFF2-40B4-BE49-F238E27FC236}">
                <a16:creationId xmlns:a16="http://schemas.microsoft.com/office/drawing/2014/main" id="{7442C3DB-790B-7D8E-B9C5-33E2DC465833}"/>
              </a:ext>
            </a:extLst>
          </p:cNvPr>
          <p:cNvSpPr>
            <a:spLocks noChangeArrowheads="1"/>
          </p:cNvSpPr>
          <p:nvPr/>
        </p:nvSpPr>
        <p:spPr bwMode="auto">
          <a:xfrm>
            <a:off x="2870200" y="2225674"/>
            <a:ext cx="6350" cy="6350"/>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267" name="Freeform 664">
            <a:extLst>
              <a:ext uri="{FF2B5EF4-FFF2-40B4-BE49-F238E27FC236}">
                <a16:creationId xmlns:a16="http://schemas.microsoft.com/office/drawing/2014/main" id="{4216B289-DE6E-1B5F-40C1-A5D824AAD1AA}"/>
              </a:ext>
            </a:extLst>
          </p:cNvPr>
          <p:cNvSpPr>
            <a:spLocks/>
          </p:cNvSpPr>
          <p:nvPr/>
        </p:nvSpPr>
        <p:spPr bwMode="auto">
          <a:xfrm>
            <a:off x="2846388" y="2179638"/>
            <a:ext cx="84138" cy="65088"/>
          </a:xfrm>
          <a:custGeom>
            <a:avLst/>
            <a:gdLst>
              <a:gd name="T0" fmla="*/ 54 w 76"/>
              <a:gd name="T1" fmla="*/ 54 h 54"/>
              <a:gd name="T2" fmla="*/ 49 w 76"/>
              <a:gd name="T3" fmla="*/ 54 h 54"/>
              <a:gd name="T4" fmla="*/ 43 w 76"/>
              <a:gd name="T5" fmla="*/ 49 h 54"/>
              <a:gd name="T6" fmla="*/ 38 w 76"/>
              <a:gd name="T7" fmla="*/ 49 h 54"/>
              <a:gd name="T8" fmla="*/ 33 w 76"/>
              <a:gd name="T9" fmla="*/ 49 h 54"/>
              <a:gd name="T10" fmla="*/ 33 w 76"/>
              <a:gd name="T11" fmla="*/ 43 h 54"/>
              <a:gd name="T12" fmla="*/ 27 w 76"/>
              <a:gd name="T13" fmla="*/ 43 h 54"/>
              <a:gd name="T14" fmla="*/ 27 w 76"/>
              <a:gd name="T15" fmla="*/ 38 h 54"/>
              <a:gd name="T16" fmla="*/ 22 w 76"/>
              <a:gd name="T17" fmla="*/ 38 h 54"/>
              <a:gd name="T18" fmla="*/ 22 w 76"/>
              <a:gd name="T19" fmla="*/ 32 h 54"/>
              <a:gd name="T20" fmla="*/ 16 w 76"/>
              <a:gd name="T21" fmla="*/ 27 h 54"/>
              <a:gd name="T22" fmla="*/ 16 w 76"/>
              <a:gd name="T23" fmla="*/ 21 h 54"/>
              <a:gd name="T24" fmla="*/ 11 w 76"/>
              <a:gd name="T25" fmla="*/ 16 h 54"/>
              <a:gd name="T26" fmla="*/ 5 w 76"/>
              <a:gd name="T27" fmla="*/ 16 h 54"/>
              <a:gd name="T28" fmla="*/ 5 w 76"/>
              <a:gd name="T29" fmla="*/ 21 h 54"/>
              <a:gd name="T30" fmla="*/ 0 w 76"/>
              <a:gd name="T31" fmla="*/ 27 h 54"/>
              <a:gd name="T32" fmla="*/ 0 w 76"/>
              <a:gd name="T33" fmla="*/ 21 h 54"/>
              <a:gd name="T34" fmla="*/ 0 w 76"/>
              <a:gd name="T35" fmla="*/ 16 h 54"/>
              <a:gd name="T36" fmla="*/ 5 w 76"/>
              <a:gd name="T37" fmla="*/ 16 h 54"/>
              <a:gd name="T38" fmla="*/ 11 w 76"/>
              <a:gd name="T39" fmla="*/ 16 h 54"/>
              <a:gd name="T40" fmla="*/ 11 w 76"/>
              <a:gd name="T41" fmla="*/ 11 h 54"/>
              <a:gd name="T42" fmla="*/ 16 w 76"/>
              <a:gd name="T43" fmla="*/ 16 h 54"/>
              <a:gd name="T44" fmla="*/ 22 w 76"/>
              <a:gd name="T45" fmla="*/ 16 h 54"/>
              <a:gd name="T46" fmla="*/ 22 w 76"/>
              <a:gd name="T47" fmla="*/ 11 h 54"/>
              <a:gd name="T48" fmla="*/ 27 w 76"/>
              <a:gd name="T49" fmla="*/ 11 h 54"/>
              <a:gd name="T50" fmla="*/ 22 w 76"/>
              <a:gd name="T51" fmla="*/ 5 h 54"/>
              <a:gd name="T52" fmla="*/ 27 w 76"/>
              <a:gd name="T53" fmla="*/ 5 h 54"/>
              <a:gd name="T54" fmla="*/ 27 w 76"/>
              <a:gd name="T55" fmla="*/ 0 h 54"/>
              <a:gd name="T56" fmla="*/ 33 w 76"/>
              <a:gd name="T57" fmla="*/ 0 h 54"/>
              <a:gd name="T58" fmla="*/ 38 w 76"/>
              <a:gd name="T59" fmla="*/ 0 h 54"/>
              <a:gd name="T60" fmla="*/ 43 w 76"/>
              <a:gd name="T61" fmla="*/ 5 h 54"/>
              <a:gd name="T62" fmla="*/ 49 w 76"/>
              <a:gd name="T63" fmla="*/ 11 h 54"/>
              <a:gd name="T64" fmla="*/ 54 w 76"/>
              <a:gd name="T65" fmla="*/ 11 h 54"/>
              <a:gd name="T66" fmla="*/ 60 w 76"/>
              <a:gd name="T67" fmla="*/ 11 h 54"/>
              <a:gd name="T68" fmla="*/ 65 w 76"/>
              <a:gd name="T69" fmla="*/ 11 h 54"/>
              <a:gd name="T70" fmla="*/ 71 w 76"/>
              <a:gd name="T71" fmla="*/ 16 h 54"/>
              <a:gd name="T72" fmla="*/ 76 w 76"/>
              <a:gd name="T73" fmla="*/ 21 h 54"/>
              <a:gd name="T74" fmla="*/ 71 w 76"/>
              <a:gd name="T75" fmla="*/ 21 h 54"/>
              <a:gd name="T76" fmla="*/ 71 w 76"/>
              <a:gd name="T77" fmla="*/ 27 h 54"/>
              <a:gd name="T78" fmla="*/ 65 w 76"/>
              <a:gd name="T79" fmla="*/ 21 h 54"/>
              <a:gd name="T80" fmla="*/ 60 w 76"/>
              <a:gd name="T81" fmla="*/ 21 h 54"/>
              <a:gd name="T82" fmla="*/ 54 w 76"/>
              <a:gd name="T83" fmla="*/ 21 h 54"/>
              <a:gd name="T84" fmla="*/ 49 w 76"/>
              <a:gd name="T85" fmla="*/ 21 h 54"/>
              <a:gd name="T86" fmla="*/ 43 w 76"/>
              <a:gd name="T87" fmla="*/ 21 h 54"/>
              <a:gd name="T88" fmla="*/ 38 w 76"/>
              <a:gd name="T89" fmla="*/ 21 h 54"/>
              <a:gd name="T90" fmla="*/ 33 w 76"/>
              <a:gd name="T91" fmla="*/ 21 h 54"/>
              <a:gd name="T92" fmla="*/ 27 w 76"/>
              <a:gd name="T93" fmla="*/ 21 h 54"/>
              <a:gd name="T94" fmla="*/ 27 w 76"/>
              <a:gd name="T95" fmla="*/ 27 h 54"/>
              <a:gd name="T96" fmla="*/ 33 w 76"/>
              <a:gd name="T97" fmla="*/ 32 h 54"/>
              <a:gd name="T98" fmla="*/ 33 w 76"/>
              <a:gd name="T99" fmla="*/ 38 h 54"/>
              <a:gd name="T100" fmla="*/ 38 w 76"/>
              <a:gd name="T101" fmla="*/ 38 h 54"/>
              <a:gd name="T102" fmla="*/ 43 w 76"/>
              <a:gd name="T103" fmla="*/ 43 h 54"/>
              <a:gd name="T104" fmla="*/ 49 w 76"/>
              <a:gd name="T105" fmla="*/ 49 h 54"/>
              <a:gd name="T106" fmla="*/ 54 w 76"/>
              <a:gd name="T10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 h="54">
                <a:moveTo>
                  <a:pt x="54" y="54"/>
                </a:moveTo>
                <a:lnTo>
                  <a:pt x="49" y="54"/>
                </a:lnTo>
                <a:lnTo>
                  <a:pt x="43" y="49"/>
                </a:lnTo>
                <a:lnTo>
                  <a:pt x="38" y="49"/>
                </a:lnTo>
                <a:lnTo>
                  <a:pt x="33" y="49"/>
                </a:lnTo>
                <a:lnTo>
                  <a:pt x="33" y="43"/>
                </a:lnTo>
                <a:lnTo>
                  <a:pt x="27" y="43"/>
                </a:lnTo>
                <a:lnTo>
                  <a:pt x="27" y="38"/>
                </a:lnTo>
                <a:lnTo>
                  <a:pt x="22" y="38"/>
                </a:lnTo>
                <a:lnTo>
                  <a:pt x="22" y="32"/>
                </a:lnTo>
                <a:lnTo>
                  <a:pt x="16" y="27"/>
                </a:lnTo>
                <a:lnTo>
                  <a:pt x="16" y="21"/>
                </a:lnTo>
                <a:lnTo>
                  <a:pt x="11" y="16"/>
                </a:lnTo>
                <a:lnTo>
                  <a:pt x="5" y="16"/>
                </a:lnTo>
                <a:lnTo>
                  <a:pt x="5" y="21"/>
                </a:lnTo>
                <a:lnTo>
                  <a:pt x="0" y="27"/>
                </a:lnTo>
                <a:lnTo>
                  <a:pt x="0" y="21"/>
                </a:lnTo>
                <a:lnTo>
                  <a:pt x="0" y="16"/>
                </a:lnTo>
                <a:lnTo>
                  <a:pt x="5" y="16"/>
                </a:lnTo>
                <a:lnTo>
                  <a:pt x="11" y="16"/>
                </a:lnTo>
                <a:lnTo>
                  <a:pt x="11" y="11"/>
                </a:lnTo>
                <a:lnTo>
                  <a:pt x="16" y="16"/>
                </a:lnTo>
                <a:lnTo>
                  <a:pt x="22" y="16"/>
                </a:lnTo>
                <a:lnTo>
                  <a:pt x="22" y="11"/>
                </a:lnTo>
                <a:lnTo>
                  <a:pt x="27" y="11"/>
                </a:lnTo>
                <a:lnTo>
                  <a:pt x="22" y="5"/>
                </a:lnTo>
                <a:lnTo>
                  <a:pt x="27" y="5"/>
                </a:lnTo>
                <a:lnTo>
                  <a:pt x="27" y="0"/>
                </a:lnTo>
                <a:lnTo>
                  <a:pt x="33" y="0"/>
                </a:lnTo>
                <a:lnTo>
                  <a:pt x="38" y="0"/>
                </a:lnTo>
                <a:lnTo>
                  <a:pt x="43" y="5"/>
                </a:lnTo>
                <a:lnTo>
                  <a:pt x="49" y="11"/>
                </a:lnTo>
                <a:lnTo>
                  <a:pt x="54" y="11"/>
                </a:lnTo>
                <a:lnTo>
                  <a:pt x="60" y="11"/>
                </a:lnTo>
                <a:lnTo>
                  <a:pt x="65" y="11"/>
                </a:lnTo>
                <a:lnTo>
                  <a:pt x="71" y="16"/>
                </a:lnTo>
                <a:lnTo>
                  <a:pt x="76" y="21"/>
                </a:lnTo>
                <a:lnTo>
                  <a:pt x="71" y="21"/>
                </a:lnTo>
                <a:lnTo>
                  <a:pt x="71" y="27"/>
                </a:lnTo>
                <a:lnTo>
                  <a:pt x="65" y="21"/>
                </a:lnTo>
                <a:lnTo>
                  <a:pt x="60" y="21"/>
                </a:lnTo>
                <a:lnTo>
                  <a:pt x="54" y="21"/>
                </a:lnTo>
                <a:lnTo>
                  <a:pt x="49" y="21"/>
                </a:lnTo>
                <a:lnTo>
                  <a:pt x="43" y="21"/>
                </a:lnTo>
                <a:lnTo>
                  <a:pt x="38" y="21"/>
                </a:lnTo>
                <a:lnTo>
                  <a:pt x="33" y="21"/>
                </a:lnTo>
                <a:lnTo>
                  <a:pt x="27" y="21"/>
                </a:lnTo>
                <a:lnTo>
                  <a:pt x="27" y="27"/>
                </a:lnTo>
                <a:lnTo>
                  <a:pt x="33" y="32"/>
                </a:lnTo>
                <a:lnTo>
                  <a:pt x="33" y="38"/>
                </a:lnTo>
                <a:lnTo>
                  <a:pt x="38" y="38"/>
                </a:lnTo>
                <a:lnTo>
                  <a:pt x="43" y="43"/>
                </a:lnTo>
                <a:lnTo>
                  <a:pt x="49" y="49"/>
                </a:lnTo>
                <a:lnTo>
                  <a:pt x="54" y="54"/>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68" name="Freeform 665">
            <a:extLst>
              <a:ext uri="{FF2B5EF4-FFF2-40B4-BE49-F238E27FC236}">
                <a16:creationId xmlns:a16="http://schemas.microsoft.com/office/drawing/2014/main" id="{D511C10E-F5D0-AE69-FE91-C2AB8D2D266D}"/>
              </a:ext>
            </a:extLst>
          </p:cNvPr>
          <p:cNvSpPr>
            <a:spLocks/>
          </p:cNvSpPr>
          <p:nvPr/>
        </p:nvSpPr>
        <p:spPr bwMode="auto">
          <a:xfrm>
            <a:off x="2887662" y="2239963"/>
            <a:ext cx="12700" cy="4763"/>
          </a:xfrm>
          <a:custGeom>
            <a:avLst/>
            <a:gdLst>
              <a:gd name="T0" fmla="*/ 0 w 11"/>
              <a:gd name="T1" fmla="*/ 5 h 5"/>
              <a:gd name="T2" fmla="*/ 5 w 11"/>
              <a:gd name="T3" fmla="*/ 0 h 5"/>
              <a:gd name="T4" fmla="*/ 5 w 11"/>
              <a:gd name="T5" fmla="*/ 5 h 5"/>
              <a:gd name="T6" fmla="*/ 11 w 11"/>
              <a:gd name="T7" fmla="*/ 5 h 5"/>
              <a:gd name="T8" fmla="*/ 5 w 11"/>
              <a:gd name="T9" fmla="*/ 5 h 5"/>
              <a:gd name="T10" fmla="*/ 0 w 11"/>
              <a:gd name="T11" fmla="*/ 5 h 5"/>
            </a:gdLst>
            <a:ahLst/>
            <a:cxnLst>
              <a:cxn ang="0">
                <a:pos x="T0" y="T1"/>
              </a:cxn>
              <a:cxn ang="0">
                <a:pos x="T2" y="T3"/>
              </a:cxn>
              <a:cxn ang="0">
                <a:pos x="T4" y="T5"/>
              </a:cxn>
              <a:cxn ang="0">
                <a:pos x="T6" y="T7"/>
              </a:cxn>
              <a:cxn ang="0">
                <a:pos x="T8" y="T9"/>
              </a:cxn>
              <a:cxn ang="0">
                <a:pos x="T10" y="T11"/>
              </a:cxn>
            </a:cxnLst>
            <a:rect l="0" t="0" r="r" b="b"/>
            <a:pathLst>
              <a:path w="11" h="5">
                <a:moveTo>
                  <a:pt x="0" y="5"/>
                </a:moveTo>
                <a:lnTo>
                  <a:pt x="5" y="0"/>
                </a:lnTo>
                <a:lnTo>
                  <a:pt x="5" y="5"/>
                </a:lnTo>
                <a:lnTo>
                  <a:pt x="11" y="5"/>
                </a:lnTo>
                <a:lnTo>
                  <a:pt x="5" y="5"/>
                </a:lnTo>
                <a:lnTo>
                  <a:pt x="0" y="5"/>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69" name="Freeform 666">
            <a:extLst>
              <a:ext uri="{FF2B5EF4-FFF2-40B4-BE49-F238E27FC236}">
                <a16:creationId xmlns:a16="http://schemas.microsoft.com/office/drawing/2014/main" id="{54A4C80E-2FDC-152C-CAD9-640FD33DCC9C}"/>
              </a:ext>
            </a:extLst>
          </p:cNvPr>
          <p:cNvSpPr>
            <a:spLocks/>
          </p:cNvSpPr>
          <p:nvPr/>
        </p:nvSpPr>
        <p:spPr bwMode="auto">
          <a:xfrm>
            <a:off x="2900363" y="2244725"/>
            <a:ext cx="25400" cy="14288"/>
          </a:xfrm>
          <a:custGeom>
            <a:avLst/>
            <a:gdLst>
              <a:gd name="T0" fmla="*/ 22 w 22"/>
              <a:gd name="T1" fmla="*/ 11 h 11"/>
              <a:gd name="T2" fmla="*/ 16 w 22"/>
              <a:gd name="T3" fmla="*/ 6 h 11"/>
              <a:gd name="T4" fmla="*/ 11 w 22"/>
              <a:gd name="T5" fmla="*/ 6 h 11"/>
              <a:gd name="T6" fmla="*/ 5 w 22"/>
              <a:gd name="T7" fmla="*/ 0 h 11"/>
              <a:gd name="T8" fmla="*/ 0 w 22"/>
              <a:gd name="T9" fmla="*/ 0 h 11"/>
              <a:gd name="T10" fmla="*/ 5 w 22"/>
              <a:gd name="T11" fmla="*/ 0 h 11"/>
              <a:gd name="T12" fmla="*/ 11 w 22"/>
              <a:gd name="T13" fmla="*/ 0 h 11"/>
              <a:gd name="T14" fmla="*/ 11 w 22"/>
              <a:gd name="T15" fmla="*/ 6 h 11"/>
              <a:gd name="T16" fmla="*/ 16 w 22"/>
              <a:gd name="T17" fmla="*/ 6 h 11"/>
              <a:gd name="T18" fmla="*/ 22 w 22"/>
              <a:gd name="T19" fmla="*/ 6 h 11"/>
              <a:gd name="T20" fmla="*/ 22 w 22"/>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11">
                <a:moveTo>
                  <a:pt x="22" y="11"/>
                </a:moveTo>
                <a:lnTo>
                  <a:pt x="16" y="6"/>
                </a:lnTo>
                <a:lnTo>
                  <a:pt x="11" y="6"/>
                </a:lnTo>
                <a:lnTo>
                  <a:pt x="5" y="0"/>
                </a:lnTo>
                <a:lnTo>
                  <a:pt x="0" y="0"/>
                </a:lnTo>
                <a:lnTo>
                  <a:pt x="5" y="0"/>
                </a:lnTo>
                <a:lnTo>
                  <a:pt x="11" y="0"/>
                </a:lnTo>
                <a:lnTo>
                  <a:pt x="11" y="6"/>
                </a:lnTo>
                <a:lnTo>
                  <a:pt x="16" y="6"/>
                </a:lnTo>
                <a:lnTo>
                  <a:pt x="22" y="6"/>
                </a:lnTo>
                <a:lnTo>
                  <a:pt x="22" y="11"/>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0" name="Freeform 667">
            <a:extLst>
              <a:ext uri="{FF2B5EF4-FFF2-40B4-BE49-F238E27FC236}">
                <a16:creationId xmlns:a16="http://schemas.microsoft.com/office/drawing/2014/main" id="{28FBDA92-8168-0505-24E4-B66234DB4AD0}"/>
              </a:ext>
            </a:extLst>
          </p:cNvPr>
          <p:cNvSpPr>
            <a:spLocks/>
          </p:cNvSpPr>
          <p:nvPr/>
        </p:nvSpPr>
        <p:spPr bwMode="auto">
          <a:xfrm>
            <a:off x="2563813" y="2092325"/>
            <a:ext cx="196850" cy="166688"/>
          </a:xfrm>
          <a:custGeom>
            <a:avLst/>
            <a:gdLst>
              <a:gd name="T0" fmla="*/ 44 w 175"/>
              <a:gd name="T1" fmla="*/ 114 h 136"/>
              <a:gd name="T2" fmla="*/ 49 w 175"/>
              <a:gd name="T3" fmla="*/ 98 h 136"/>
              <a:gd name="T4" fmla="*/ 55 w 175"/>
              <a:gd name="T5" fmla="*/ 87 h 136"/>
              <a:gd name="T6" fmla="*/ 44 w 175"/>
              <a:gd name="T7" fmla="*/ 71 h 136"/>
              <a:gd name="T8" fmla="*/ 38 w 175"/>
              <a:gd name="T9" fmla="*/ 60 h 136"/>
              <a:gd name="T10" fmla="*/ 27 w 175"/>
              <a:gd name="T11" fmla="*/ 54 h 136"/>
              <a:gd name="T12" fmla="*/ 11 w 175"/>
              <a:gd name="T13" fmla="*/ 49 h 136"/>
              <a:gd name="T14" fmla="*/ 6 w 175"/>
              <a:gd name="T15" fmla="*/ 43 h 136"/>
              <a:gd name="T16" fmla="*/ 6 w 175"/>
              <a:gd name="T17" fmla="*/ 38 h 136"/>
              <a:gd name="T18" fmla="*/ 16 w 175"/>
              <a:gd name="T19" fmla="*/ 32 h 136"/>
              <a:gd name="T20" fmla="*/ 27 w 175"/>
              <a:gd name="T21" fmla="*/ 38 h 136"/>
              <a:gd name="T22" fmla="*/ 44 w 175"/>
              <a:gd name="T23" fmla="*/ 38 h 136"/>
              <a:gd name="T24" fmla="*/ 38 w 175"/>
              <a:gd name="T25" fmla="*/ 22 h 136"/>
              <a:gd name="T26" fmla="*/ 49 w 175"/>
              <a:gd name="T27" fmla="*/ 27 h 136"/>
              <a:gd name="T28" fmla="*/ 65 w 175"/>
              <a:gd name="T29" fmla="*/ 27 h 136"/>
              <a:gd name="T30" fmla="*/ 82 w 175"/>
              <a:gd name="T31" fmla="*/ 16 h 136"/>
              <a:gd name="T32" fmla="*/ 87 w 175"/>
              <a:gd name="T33" fmla="*/ 5 h 136"/>
              <a:gd name="T34" fmla="*/ 98 w 175"/>
              <a:gd name="T35" fmla="*/ 0 h 136"/>
              <a:gd name="T36" fmla="*/ 109 w 175"/>
              <a:gd name="T37" fmla="*/ 5 h 136"/>
              <a:gd name="T38" fmla="*/ 120 w 175"/>
              <a:gd name="T39" fmla="*/ 16 h 136"/>
              <a:gd name="T40" fmla="*/ 131 w 175"/>
              <a:gd name="T41" fmla="*/ 11 h 136"/>
              <a:gd name="T42" fmla="*/ 142 w 175"/>
              <a:gd name="T43" fmla="*/ 22 h 136"/>
              <a:gd name="T44" fmla="*/ 153 w 175"/>
              <a:gd name="T45" fmla="*/ 27 h 136"/>
              <a:gd name="T46" fmla="*/ 164 w 175"/>
              <a:gd name="T47" fmla="*/ 32 h 136"/>
              <a:gd name="T48" fmla="*/ 169 w 175"/>
              <a:gd name="T49" fmla="*/ 32 h 136"/>
              <a:gd name="T50" fmla="*/ 164 w 175"/>
              <a:gd name="T51" fmla="*/ 43 h 136"/>
              <a:gd name="T52" fmla="*/ 158 w 175"/>
              <a:gd name="T53" fmla="*/ 54 h 136"/>
              <a:gd name="T54" fmla="*/ 153 w 175"/>
              <a:gd name="T55" fmla="*/ 65 h 136"/>
              <a:gd name="T56" fmla="*/ 147 w 175"/>
              <a:gd name="T57" fmla="*/ 71 h 136"/>
              <a:gd name="T58" fmla="*/ 158 w 175"/>
              <a:gd name="T59" fmla="*/ 82 h 136"/>
              <a:gd name="T60" fmla="*/ 158 w 175"/>
              <a:gd name="T61" fmla="*/ 92 h 136"/>
              <a:gd name="T62" fmla="*/ 158 w 175"/>
              <a:gd name="T63" fmla="*/ 103 h 136"/>
              <a:gd name="T64" fmla="*/ 169 w 175"/>
              <a:gd name="T65" fmla="*/ 109 h 136"/>
              <a:gd name="T66" fmla="*/ 164 w 175"/>
              <a:gd name="T67" fmla="*/ 120 h 136"/>
              <a:gd name="T68" fmla="*/ 147 w 175"/>
              <a:gd name="T69" fmla="*/ 125 h 136"/>
              <a:gd name="T70" fmla="*/ 131 w 175"/>
              <a:gd name="T71" fmla="*/ 120 h 136"/>
              <a:gd name="T72" fmla="*/ 115 w 175"/>
              <a:gd name="T73" fmla="*/ 120 h 136"/>
              <a:gd name="T74" fmla="*/ 104 w 175"/>
              <a:gd name="T75" fmla="*/ 125 h 136"/>
              <a:gd name="T76" fmla="*/ 109 w 175"/>
              <a:gd name="T77" fmla="*/ 136 h 136"/>
              <a:gd name="T78" fmla="*/ 93 w 175"/>
              <a:gd name="T79" fmla="*/ 136 h 136"/>
              <a:gd name="T80" fmla="*/ 76 w 175"/>
              <a:gd name="T81" fmla="*/ 131 h 136"/>
              <a:gd name="T82" fmla="*/ 60 w 175"/>
              <a:gd name="T83" fmla="*/ 131 h 136"/>
              <a:gd name="T84" fmla="*/ 49 w 175"/>
              <a:gd name="T85" fmla="*/ 125 h 136"/>
              <a:gd name="T86" fmla="*/ 38 w 175"/>
              <a:gd name="T87" fmla="*/ 1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5" h="136">
                <a:moveTo>
                  <a:pt x="38" y="120"/>
                </a:moveTo>
                <a:lnTo>
                  <a:pt x="44" y="120"/>
                </a:lnTo>
                <a:lnTo>
                  <a:pt x="44" y="114"/>
                </a:lnTo>
                <a:lnTo>
                  <a:pt x="49" y="109"/>
                </a:lnTo>
                <a:lnTo>
                  <a:pt x="49" y="103"/>
                </a:lnTo>
                <a:lnTo>
                  <a:pt x="49" y="98"/>
                </a:lnTo>
                <a:lnTo>
                  <a:pt x="49" y="92"/>
                </a:lnTo>
                <a:lnTo>
                  <a:pt x="49" y="87"/>
                </a:lnTo>
                <a:lnTo>
                  <a:pt x="55" y="87"/>
                </a:lnTo>
                <a:lnTo>
                  <a:pt x="49" y="82"/>
                </a:lnTo>
                <a:lnTo>
                  <a:pt x="49" y="76"/>
                </a:lnTo>
                <a:lnTo>
                  <a:pt x="44" y="71"/>
                </a:lnTo>
                <a:lnTo>
                  <a:pt x="38" y="71"/>
                </a:lnTo>
                <a:lnTo>
                  <a:pt x="38" y="65"/>
                </a:lnTo>
                <a:lnTo>
                  <a:pt x="38" y="60"/>
                </a:lnTo>
                <a:lnTo>
                  <a:pt x="33" y="60"/>
                </a:lnTo>
                <a:lnTo>
                  <a:pt x="33" y="54"/>
                </a:lnTo>
                <a:lnTo>
                  <a:pt x="27" y="54"/>
                </a:lnTo>
                <a:lnTo>
                  <a:pt x="22" y="54"/>
                </a:lnTo>
                <a:lnTo>
                  <a:pt x="16" y="49"/>
                </a:lnTo>
                <a:lnTo>
                  <a:pt x="11" y="49"/>
                </a:lnTo>
                <a:lnTo>
                  <a:pt x="6" y="49"/>
                </a:lnTo>
                <a:lnTo>
                  <a:pt x="0" y="43"/>
                </a:lnTo>
                <a:lnTo>
                  <a:pt x="6" y="43"/>
                </a:lnTo>
                <a:lnTo>
                  <a:pt x="0" y="43"/>
                </a:lnTo>
                <a:lnTo>
                  <a:pt x="0" y="38"/>
                </a:lnTo>
                <a:lnTo>
                  <a:pt x="6" y="38"/>
                </a:lnTo>
                <a:lnTo>
                  <a:pt x="11" y="32"/>
                </a:lnTo>
                <a:lnTo>
                  <a:pt x="16" y="38"/>
                </a:lnTo>
                <a:lnTo>
                  <a:pt x="16" y="32"/>
                </a:lnTo>
                <a:lnTo>
                  <a:pt x="22" y="32"/>
                </a:lnTo>
                <a:lnTo>
                  <a:pt x="27" y="32"/>
                </a:lnTo>
                <a:lnTo>
                  <a:pt x="27" y="38"/>
                </a:lnTo>
                <a:lnTo>
                  <a:pt x="33" y="38"/>
                </a:lnTo>
                <a:lnTo>
                  <a:pt x="38" y="32"/>
                </a:lnTo>
                <a:lnTo>
                  <a:pt x="44" y="38"/>
                </a:lnTo>
                <a:lnTo>
                  <a:pt x="44" y="32"/>
                </a:lnTo>
                <a:lnTo>
                  <a:pt x="44" y="27"/>
                </a:lnTo>
                <a:lnTo>
                  <a:pt x="38" y="22"/>
                </a:lnTo>
                <a:lnTo>
                  <a:pt x="44" y="22"/>
                </a:lnTo>
                <a:lnTo>
                  <a:pt x="49" y="22"/>
                </a:lnTo>
                <a:lnTo>
                  <a:pt x="49" y="27"/>
                </a:lnTo>
                <a:lnTo>
                  <a:pt x="55" y="27"/>
                </a:lnTo>
                <a:lnTo>
                  <a:pt x="60" y="27"/>
                </a:lnTo>
                <a:lnTo>
                  <a:pt x="65" y="27"/>
                </a:lnTo>
                <a:lnTo>
                  <a:pt x="65" y="22"/>
                </a:lnTo>
                <a:lnTo>
                  <a:pt x="71" y="16"/>
                </a:lnTo>
                <a:lnTo>
                  <a:pt x="82" y="16"/>
                </a:lnTo>
                <a:lnTo>
                  <a:pt x="82" y="11"/>
                </a:lnTo>
                <a:lnTo>
                  <a:pt x="87" y="11"/>
                </a:lnTo>
                <a:lnTo>
                  <a:pt x="87" y="5"/>
                </a:lnTo>
                <a:lnTo>
                  <a:pt x="87" y="0"/>
                </a:lnTo>
                <a:lnTo>
                  <a:pt x="93" y="0"/>
                </a:lnTo>
                <a:lnTo>
                  <a:pt x="98" y="0"/>
                </a:lnTo>
                <a:lnTo>
                  <a:pt x="104" y="5"/>
                </a:lnTo>
                <a:lnTo>
                  <a:pt x="104" y="0"/>
                </a:lnTo>
                <a:lnTo>
                  <a:pt x="109" y="5"/>
                </a:lnTo>
                <a:lnTo>
                  <a:pt x="115" y="11"/>
                </a:lnTo>
                <a:lnTo>
                  <a:pt x="120" y="11"/>
                </a:lnTo>
                <a:lnTo>
                  <a:pt x="120" y="16"/>
                </a:lnTo>
                <a:lnTo>
                  <a:pt x="125" y="16"/>
                </a:lnTo>
                <a:lnTo>
                  <a:pt x="125" y="11"/>
                </a:lnTo>
                <a:lnTo>
                  <a:pt x="131" y="11"/>
                </a:lnTo>
                <a:lnTo>
                  <a:pt x="125" y="16"/>
                </a:lnTo>
                <a:lnTo>
                  <a:pt x="136" y="22"/>
                </a:lnTo>
                <a:lnTo>
                  <a:pt x="142" y="22"/>
                </a:lnTo>
                <a:lnTo>
                  <a:pt x="147" y="22"/>
                </a:lnTo>
                <a:lnTo>
                  <a:pt x="153" y="22"/>
                </a:lnTo>
                <a:lnTo>
                  <a:pt x="153" y="27"/>
                </a:lnTo>
                <a:lnTo>
                  <a:pt x="158" y="27"/>
                </a:lnTo>
                <a:lnTo>
                  <a:pt x="164" y="27"/>
                </a:lnTo>
                <a:lnTo>
                  <a:pt x="164" y="32"/>
                </a:lnTo>
                <a:lnTo>
                  <a:pt x="169" y="32"/>
                </a:lnTo>
                <a:lnTo>
                  <a:pt x="175" y="32"/>
                </a:lnTo>
                <a:lnTo>
                  <a:pt x="169" y="32"/>
                </a:lnTo>
                <a:lnTo>
                  <a:pt x="169" y="38"/>
                </a:lnTo>
                <a:lnTo>
                  <a:pt x="169" y="43"/>
                </a:lnTo>
                <a:lnTo>
                  <a:pt x="164" y="43"/>
                </a:lnTo>
                <a:lnTo>
                  <a:pt x="164" y="49"/>
                </a:lnTo>
                <a:lnTo>
                  <a:pt x="164" y="54"/>
                </a:lnTo>
                <a:lnTo>
                  <a:pt x="158" y="54"/>
                </a:lnTo>
                <a:lnTo>
                  <a:pt x="158" y="60"/>
                </a:lnTo>
                <a:lnTo>
                  <a:pt x="153" y="60"/>
                </a:lnTo>
                <a:lnTo>
                  <a:pt x="153" y="65"/>
                </a:lnTo>
                <a:lnTo>
                  <a:pt x="147" y="71"/>
                </a:lnTo>
                <a:lnTo>
                  <a:pt x="147" y="76"/>
                </a:lnTo>
                <a:lnTo>
                  <a:pt x="147" y="71"/>
                </a:lnTo>
                <a:lnTo>
                  <a:pt x="153" y="71"/>
                </a:lnTo>
                <a:lnTo>
                  <a:pt x="158" y="76"/>
                </a:lnTo>
                <a:lnTo>
                  <a:pt x="158" y="82"/>
                </a:lnTo>
                <a:lnTo>
                  <a:pt x="164" y="87"/>
                </a:lnTo>
                <a:lnTo>
                  <a:pt x="164" y="92"/>
                </a:lnTo>
                <a:lnTo>
                  <a:pt x="158" y="92"/>
                </a:lnTo>
                <a:lnTo>
                  <a:pt x="153" y="92"/>
                </a:lnTo>
                <a:lnTo>
                  <a:pt x="158" y="98"/>
                </a:lnTo>
                <a:lnTo>
                  <a:pt x="158" y="103"/>
                </a:lnTo>
                <a:lnTo>
                  <a:pt x="158" y="109"/>
                </a:lnTo>
                <a:lnTo>
                  <a:pt x="164" y="109"/>
                </a:lnTo>
                <a:lnTo>
                  <a:pt x="169" y="109"/>
                </a:lnTo>
                <a:lnTo>
                  <a:pt x="169" y="114"/>
                </a:lnTo>
                <a:lnTo>
                  <a:pt x="164" y="114"/>
                </a:lnTo>
                <a:lnTo>
                  <a:pt x="164" y="120"/>
                </a:lnTo>
                <a:lnTo>
                  <a:pt x="158" y="120"/>
                </a:lnTo>
                <a:lnTo>
                  <a:pt x="158" y="125"/>
                </a:lnTo>
                <a:lnTo>
                  <a:pt x="147" y="125"/>
                </a:lnTo>
                <a:lnTo>
                  <a:pt x="142" y="125"/>
                </a:lnTo>
                <a:lnTo>
                  <a:pt x="136" y="120"/>
                </a:lnTo>
                <a:lnTo>
                  <a:pt x="131" y="120"/>
                </a:lnTo>
                <a:lnTo>
                  <a:pt x="125" y="120"/>
                </a:lnTo>
                <a:lnTo>
                  <a:pt x="120" y="120"/>
                </a:lnTo>
                <a:lnTo>
                  <a:pt x="115" y="120"/>
                </a:lnTo>
                <a:lnTo>
                  <a:pt x="109" y="120"/>
                </a:lnTo>
                <a:lnTo>
                  <a:pt x="109" y="125"/>
                </a:lnTo>
                <a:lnTo>
                  <a:pt x="104" y="125"/>
                </a:lnTo>
                <a:lnTo>
                  <a:pt x="109" y="125"/>
                </a:lnTo>
                <a:lnTo>
                  <a:pt x="109" y="131"/>
                </a:lnTo>
                <a:lnTo>
                  <a:pt x="109" y="136"/>
                </a:lnTo>
                <a:lnTo>
                  <a:pt x="104" y="136"/>
                </a:lnTo>
                <a:lnTo>
                  <a:pt x="98" y="136"/>
                </a:lnTo>
                <a:lnTo>
                  <a:pt x="93" y="136"/>
                </a:lnTo>
                <a:lnTo>
                  <a:pt x="87" y="136"/>
                </a:lnTo>
                <a:lnTo>
                  <a:pt x="82" y="131"/>
                </a:lnTo>
                <a:lnTo>
                  <a:pt x="76" y="131"/>
                </a:lnTo>
                <a:lnTo>
                  <a:pt x="71" y="131"/>
                </a:lnTo>
                <a:lnTo>
                  <a:pt x="65" y="131"/>
                </a:lnTo>
                <a:lnTo>
                  <a:pt x="60" y="131"/>
                </a:lnTo>
                <a:lnTo>
                  <a:pt x="55" y="131"/>
                </a:lnTo>
                <a:lnTo>
                  <a:pt x="55" y="125"/>
                </a:lnTo>
                <a:lnTo>
                  <a:pt x="49" y="125"/>
                </a:lnTo>
                <a:lnTo>
                  <a:pt x="44" y="125"/>
                </a:lnTo>
                <a:lnTo>
                  <a:pt x="44" y="120"/>
                </a:lnTo>
                <a:lnTo>
                  <a:pt x="38" y="120"/>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1" name="Freeform 668">
            <a:extLst>
              <a:ext uri="{FF2B5EF4-FFF2-40B4-BE49-F238E27FC236}">
                <a16:creationId xmlns:a16="http://schemas.microsoft.com/office/drawing/2014/main" id="{F4E98316-0428-06DA-7D08-F8B621BEA4D0}"/>
              </a:ext>
            </a:extLst>
          </p:cNvPr>
          <p:cNvSpPr>
            <a:spLocks/>
          </p:cNvSpPr>
          <p:nvPr/>
        </p:nvSpPr>
        <p:spPr bwMode="auto">
          <a:xfrm>
            <a:off x="2771774" y="2244725"/>
            <a:ext cx="12700" cy="33338"/>
          </a:xfrm>
          <a:custGeom>
            <a:avLst/>
            <a:gdLst>
              <a:gd name="T0" fmla="*/ 0 w 11"/>
              <a:gd name="T1" fmla="*/ 11 h 27"/>
              <a:gd name="T2" fmla="*/ 0 w 11"/>
              <a:gd name="T3" fmla="*/ 6 h 27"/>
              <a:gd name="T4" fmla="*/ 6 w 11"/>
              <a:gd name="T5" fmla="*/ 6 h 27"/>
              <a:gd name="T6" fmla="*/ 11 w 11"/>
              <a:gd name="T7" fmla="*/ 0 h 27"/>
              <a:gd name="T8" fmla="*/ 11 w 11"/>
              <a:gd name="T9" fmla="*/ 6 h 27"/>
              <a:gd name="T10" fmla="*/ 11 w 11"/>
              <a:gd name="T11" fmla="*/ 17 h 27"/>
              <a:gd name="T12" fmla="*/ 11 w 11"/>
              <a:gd name="T13" fmla="*/ 22 h 27"/>
              <a:gd name="T14" fmla="*/ 6 w 11"/>
              <a:gd name="T15" fmla="*/ 27 h 27"/>
              <a:gd name="T16" fmla="*/ 0 w 11"/>
              <a:gd name="T17" fmla="*/ 22 h 27"/>
              <a:gd name="T18" fmla="*/ 6 w 11"/>
              <a:gd name="T19" fmla="*/ 22 h 27"/>
              <a:gd name="T20" fmla="*/ 0 w 11"/>
              <a:gd name="T21" fmla="*/ 22 h 27"/>
              <a:gd name="T22" fmla="*/ 0 w 11"/>
              <a:gd name="T23" fmla="*/ 17 h 27"/>
              <a:gd name="T24" fmla="*/ 0 w 11"/>
              <a:gd name="T25"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7">
                <a:moveTo>
                  <a:pt x="0" y="11"/>
                </a:moveTo>
                <a:lnTo>
                  <a:pt x="0" y="6"/>
                </a:lnTo>
                <a:lnTo>
                  <a:pt x="6" y="6"/>
                </a:lnTo>
                <a:lnTo>
                  <a:pt x="11" y="0"/>
                </a:lnTo>
                <a:lnTo>
                  <a:pt x="11" y="6"/>
                </a:lnTo>
                <a:lnTo>
                  <a:pt x="11" y="17"/>
                </a:lnTo>
                <a:lnTo>
                  <a:pt x="11" y="22"/>
                </a:lnTo>
                <a:lnTo>
                  <a:pt x="6" y="27"/>
                </a:lnTo>
                <a:lnTo>
                  <a:pt x="0" y="22"/>
                </a:lnTo>
                <a:lnTo>
                  <a:pt x="6" y="22"/>
                </a:lnTo>
                <a:lnTo>
                  <a:pt x="0" y="22"/>
                </a:lnTo>
                <a:lnTo>
                  <a:pt x="0" y="17"/>
                </a:lnTo>
                <a:lnTo>
                  <a:pt x="0" y="11"/>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2" name="Freeform 669">
            <a:extLst>
              <a:ext uri="{FF2B5EF4-FFF2-40B4-BE49-F238E27FC236}">
                <a16:creationId xmlns:a16="http://schemas.microsoft.com/office/drawing/2014/main" id="{B4E7CE10-A24D-F9E9-DB80-3DC07136226E}"/>
              </a:ext>
            </a:extLst>
          </p:cNvPr>
          <p:cNvSpPr>
            <a:spLocks/>
          </p:cNvSpPr>
          <p:nvPr/>
        </p:nvSpPr>
        <p:spPr bwMode="auto">
          <a:xfrm>
            <a:off x="2686050" y="2046288"/>
            <a:ext cx="55563" cy="52388"/>
          </a:xfrm>
          <a:custGeom>
            <a:avLst/>
            <a:gdLst>
              <a:gd name="T0" fmla="*/ 11 w 49"/>
              <a:gd name="T1" fmla="*/ 32 h 43"/>
              <a:gd name="T2" fmla="*/ 6 w 49"/>
              <a:gd name="T3" fmla="*/ 32 h 43"/>
              <a:gd name="T4" fmla="*/ 0 w 49"/>
              <a:gd name="T5" fmla="*/ 27 h 43"/>
              <a:gd name="T6" fmla="*/ 6 w 49"/>
              <a:gd name="T7" fmla="*/ 27 h 43"/>
              <a:gd name="T8" fmla="*/ 11 w 49"/>
              <a:gd name="T9" fmla="*/ 32 h 43"/>
              <a:gd name="T10" fmla="*/ 6 w 49"/>
              <a:gd name="T11" fmla="*/ 27 h 43"/>
              <a:gd name="T12" fmla="*/ 11 w 49"/>
              <a:gd name="T13" fmla="*/ 27 h 43"/>
              <a:gd name="T14" fmla="*/ 6 w 49"/>
              <a:gd name="T15" fmla="*/ 27 h 43"/>
              <a:gd name="T16" fmla="*/ 6 w 49"/>
              <a:gd name="T17" fmla="*/ 21 h 43"/>
              <a:gd name="T18" fmla="*/ 11 w 49"/>
              <a:gd name="T19" fmla="*/ 21 h 43"/>
              <a:gd name="T20" fmla="*/ 11 w 49"/>
              <a:gd name="T21" fmla="*/ 16 h 43"/>
              <a:gd name="T22" fmla="*/ 16 w 49"/>
              <a:gd name="T23" fmla="*/ 10 h 43"/>
              <a:gd name="T24" fmla="*/ 16 w 49"/>
              <a:gd name="T25" fmla="*/ 5 h 43"/>
              <a:gd name="T26" fmla="*/ 22 w 49"/>
              <a:gd name="T27" fmla="*/ 5 h 43"/>
              <a:gd name="T28" fmla="*/ 22 w 49"/>
              <a:gd name="T29" fmla="*/ 10 h 43"/>
              <a:gd name="T30" fmla="*/ 22 w 49"/>
              <a:gd name="T31" fmla="*/ 16 h 43"/>
              <a:gd name="T32" fmla="*/ 27 w 49"/>
              <a:gd name="T33" fmla="*/ 10 h 43"/>
              <a:gd name="T34" fmla="*/ 22 w 49"/>
              <a:gd name="T35" fmla="*/ 5 h 43"/>
              <a:gd name="T36" fmla="*/ 27 w 49"/>
              <a:gd name="T37" fmla="*/ 0 h 43"/>
              <a:gd name="T38" fmla="*/ 33 w 49"/>
              <a:gd name="T39" fmla="*/ 0 h 43"/>
              <a:gd name="T40" fmla="*/ 38 w 49"/>
              <a:gd name="T41" fmla="*/ 0 h 43"/>
              <a:gd name="T42" fmla="*/ 44 w 49"/>
              <a:gd name="T43" fmla="*/ 0 h 43"/>
              <a:gd name="T44" fmla="*/ 49 w 49"/>
              <a:gd name="T45" fmla="*/ 0 h 43"/>
              <a:gd name="T46" fmla="*/ 49 w 49"/>
              <a:gd name="T47" fmla="*/ 5 h 43"/>
              <a:gd name="T48" fmla="*/ 44 w 49"/>
              <a:gd name="T49" fmla="*/ 10 h 43"/>
              <a:gd name="T50" fmla="*/ 38 w 49"/>
              <a:gd name="T51" fmla="*/ 10 h 43"/>
              <a:gd name="T52" fmla="*/ 44 w 49"/>
              <a:gd name="T53" fmla="*/ 16 h 43"/>
              <a:gd name="T54" fmla="*/ 44 w 49"/>
              <a:gd name="T55" fmla="*/ 21 h 43"/>
              <a:gd name="T56" fmla="*/ 38 w 49"/>
              <a:gd name="T57" fmla="*/ 21 h 43"/>
              <a:gd name="T58" fmla="*/ 33 w 49"/>
              <a:gd name="T59" fmla="*/ 21 h 43"/>
              <a:gd name="T60" fmla="*/ 33 w 49"/>
              <a:gd name="T61" fmla="*/ 27 h 43"/>
              <a:gd name="T62" fmla="*/ 38 w 49"/>
              <a:gd name="T63" fmla="*/ 32 h 43"/>
              <a:gd name="T64" fmla="*/ 33 w 49"/>
              <a:gd name="T65" fmla="*/ 32 h 43"/>
              <a:gd name="T66" fmla="*/ 33 w 49"/>
              <a:gd name="T67" fmla="*/ 38 h 43"/>
              <a:gd name="T68" fmla="*/ 33 w 49"/>
              <a:gd name="T69" fmla="*/ 43 h 43"/>
              <a:gd name="T70" fmla="*/ 27 w 49"/>
              <a:gd name="T71" fmla="*/ 43 h 43"/>
              <a:gd name="T72" fmla="*/ 27 w 49"/>
              <a:gd name="T73" fmla="*/ 38 h 43"/>
              <a:gd name="T74" fmla="*/ 33 w 49"/>
              <a:gd name="T75" fmla="*/ 32 h 43"/>
              <a:gd name="T76" fmla="*/ 27 w 49"/>
              <a:gd name="T77" fmla="*/ 32 h 43"/>
              <a:gd name="T78" fmla="*/ 22 w 49"/>
              <a:gd name="T79" fmla="*/ 32 h 43"/>
              <a:gd name="T80" fmla="*/ 22 w 49"/>
              <a:gd name="T81" fmla="*/ 27 h 43"/>
              <a:gd name="T82" fmla="*/ 16 w 49"/>
              <a:gd name="T83" fmla="*/ 32 h 43"/>
              <a:gd name="T84" fmla="*/ 16 w 49"/>
              <a:gd name="T85" fmla="*/ 27 h 43"/>
              <a:gd name="T86" fmla="*/ 11 w 49"/>
              <a:gd name="T87" fmla="*/ 3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 h="43">
                <a:moveTo>
                  <a:pt x="11" y="32"/>
                </a:moveTo>
                <a:lnTo>
                  <a:pt x="6" y="32"/>
                </a:lnTo>
                <a:lnTo>
                  <a:pt x="0" y="27"/>
                </a:lnTo>
                <a:lnTo>
                  <a:pt x="6" y="27"/>
                </a:lnTo>
                <a:lnTo>
                  <a:pt x="11" y="32"/>
                </a:lnTo>
                <a:lnTo>
                  <a:pt x="6" y="27"/>
                </a:lnTo>
                <a:lnTo>
                  <a:pt x="11" y="27"/>
                </a:lnTo>
                <a:lnTo>
                  <a:pt x="6" y="27"/>
                </a:lnTo>
                <a:lnTo>
                  <a:pt x="6" y="21"/>
                </a:lnTo>
                <a:lnTo>
                  <a:pt x="11" y="21"/>
                </a:lnTo>
                <a:lnTo>
                  <a:pt x="11" y="16"/>
                </a:lnTo>
                <a:lnTo>
                  <a:pt x="16" y="10"/>
                </a:lnTo>
                <a:lnTo>
                  <a:pt x="16" y="5"/>
                </a:lnTo>
                <a:lnTo>
                  <a:pt x="22" y="5"/>
                </a:lnTo>
                <a:lnTo>
                  <a:pt x="22" y="10"/>
                </a:lnTo>
                <a:lnTo>
                  <a:pt x="22" y="16"/>
                </a:lnTo>
                <a:lnTo>
                  <a:pt x="27" y="10"/>
                </a:lnTo>
                <a:lnTo>
                  <a:pt x="22" y="5"/>
                </a:lnTo>
                <a:lnTo>
                  <a:pt x="27" y="0"/>
                </a:lnTo>
                <a:lnTo>
                  <a:pt x="33" y="0"/>
                </a:lnTo>
                <a:lnTo>
                  <a:pt x="38" y="0"/>
                </a:lnTo>
                <a:lnTo>
                  <a:pt x="44" y="0"/>
                </a:lnTo>
                <a:lnTo>
                  <a:pt x="49" y="0"/>
                </a:lnTo>
                <a:lnTo>
                  <a:pt x="49" y="5"/>
                </a:lnTo>
                <a:lnTo>
                  <a:pt x="44" y="10"/>
                </a:lnTo>
                <a:lnTo>
                  <a:pt x="38" y="10"/>
                </a:lnTo>
                <a:lnTo>
                  <a:pt x="44" y="16"/>
                </a:lnTo>
                <a:lnTo>
                  <a:pt x="44" y="21"/>
                </a:lnTo>
                <a:lnTo>
                  <a:pt x="38" y="21"/>
                </a:lnTo>
                <a:lnTo>
                  <a:pt x="33" y="21"/>
                </a:lnTo>
                <a:lnTo>
                  <a:pt x="33" y="27"/>
                </a:lnTo>
                <a:lnTo>
                  <a:pt x="38" y="32"/>
                </a:lnTo>
                <a:lnTo>
                  <a:pt x="33" y="32"/>
                </a:lnTo>
                <a:lnTo>
                  <a:pt x="33" y="38"/>
                </a:lnTo>
                <a:lnTo>
                  <a:pt x="33" y="43"/>
                </a:lnTo>
                <a:lnTo>
                  <a:pt x="27" y="43"/>
                </a:lnTo>
                <a:lnTo>
                  <a:pt x="27" y="38"/>
                </a:lnTo>
                <a:lnTo>
                  <a:pt x="33" y="32"/>
                </a:lnTo>
                <a:lnTo>
                  <a:pt x="27" y="32"/>
                </a:lnTo>
                <a:lnTo>
                  <a:pt x="22" y="32"/>
                </a:lnTo>
                <a:lnTo>
                  <a:pt x="22" y="27"/>
                </a:lnTo>
                <a:lnTo>
                  <a:pt x="16" y="32"/>
                </a:lnTo>
                <a:lnTo>
                  <a:pt x="16" y="27"/>
                </a:lnTo>
                <a:lnTo>
                  <a:pt x="11" y="32"/>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3" name="Freeform 670">
            <a:extLst>
              <a:ext uri="{FF2B5EF4-FFF2-40B4-BE49-F238E27FC236}">
                <a16:creationId xmlns:a16="http://schemas.microsoft.com/office/drawing/2014/main" id="{D436B9F0-9738-C627-5CB7-53F7CC4532DF}"/>
              </a:ext>
            </a:extLst>
          </p:cNvPr>
          <p:cNvSpPr>
            <a:spLocks/>
          </p:cNvSpPr>
          <p:nvPr/>
        </p:nvSpPr>
        <p:spPr bwMode="auto">
          <a:xfrm>
            <a:off x="2722563" y="2012950"/>
            <a:ext cx="128588" cy="152400"/>
          </a:xfrm>
          <a:custGeom>
            <a:avLst/>
            <a:gdLst>
              <a:gd name="T0" fmla="*/ 0 w 114"/>
              <a:gd name="T1" fmla="*/ 66 h 126"/>
              <a:gd name="T2" fmla="*/ 5 w 114"/>
              <a:gd name="T3" fmla="*/ 60 h 126"/>
              <a:gd name="T4" fmla="*/ 0 w 114"/>
              <a:gd name="T5" fmla="*/ 49 h 126"/>
              <a:gd name="T6" fmla="*/ 11 w 114"/>
              <a:gd name="T7" fmla="*/ 49 h 126"/>
              <a:gd name="T8" fmla="*/ 5 w 114"/>
              <a:gd name="T9" fmla="*/ 38 h 126"/>
              <a:gd name="T10" fmla="*/ 16 w 114"/>
              <a:gd name="T11" fmla="*/ 33 h 126"/>
              <a:gd name="T12" fmla="*/ 11 w 114"/>
              <a:gd name="T13" fmla="*/ 28 h 126"/>
              <a:gd name="T14" fmla="*/ 22 w 114"/>
              <a:gd name="T15" fmla="*/ 22 h 126"/>
              <a:gd name="T16" fmla="*/ 33 w 114"/>
              <a:gd name="T17" fmla="*/ 22 h 126"/>
              <a:gd name="T18" fmla="*/ 38 w 114"/>
              <a:gd name="T19" fmla="*/ 22 h 126"/>
              <a:gd name="T20" fmla="*/ 38 w 114"/>
              <a:gd name="T21" fmla="*/ 11 h 126"/>
              <a:gd name="T22" fmla="*/ 38 w 114"/>
              <a:gd name="T23" fmla="*/ 11 h 126"/>
              <a:gd name="T24" fmla="*/ 33 w 114"/>
              <a:gd name="T25" fmla="*/ 6 h 126"/>
              <a:gd name="T26" fmla="*/ 27 w 114"/>
              <a:gd name="T27" fmla="*/ 0 h 126"/>
              <a:gd name="T28" fmla="*/ 38 w 114"/>
              <a:gd name="T29" fmla="*/ 6 h 126"/>
              <a:gd name="T30" fmla="*/ 49 w 114"/>
              <a:gd name="T31" fmla="*/ 11 h 126"/>
              <a:gd name="T32" fmla="*/ 60 w 114"/>
              <a:gd name="T33" fmla="*/ 11 h 126"/>
              <a:gd name="T34" fmla="*/ 65 w 114"/>
              <a:gd name="T35" fmla="*/ 17 h 126"/>
              <a:gd name="T36" fmla="*/ 76 w 114"/>
              <a:gd name="T37" fmla="*/ 17 h 126"/>
              <a:gd name="T38" fmla="*/ 82 w 114"/>
              <a:gd name="T39" fmla="*/ 11 h 126"/>
              <a:gd name="T40" fmla="*/ 93 w 114"/>
              <a:gd name="T41" fmla="*/ 17 h 126"/>
              <a:gd name="T42" fmla="*/ 103 w 114"/>
              <a:gd name="T43" fmla="*/ 22 h 126"/>
              <a:gd name="T44" fmla="*/ 103 w 114"/>
              <a:gd name="T45" fmla="*/ 33 h 126"/>
              <a:gd name="T46" fmla="*/ 109 w 114"/>
              <a:gd name="T47" fmla="*/ 38 h 126"/>
              <a:gd name="T48" fmla="*/ 114 w 114"/>
              <a:gd name="T49" fmla="*/ 49 h 126"/>
              <a:gd name="T50" fmla="*/ 114 w 114"/>
              <a:gd name="T51" fmla="*/ 55 h 126"/>
              <a:gd name="T52" fmla="*/ 114 w 114"/>
              <a:gd name="T53" fmla="*/ 66 h 126"/>
              <a:gd name="T54" fmla="*/ 103 w 114"/>
              <a:gd name="T55" fmla="*/ 71 h 126"/>
              <a:gd name="T56" fmla="*/ 93 w 114"/>
              <a:gd name="T57" fmla="*/ 71 h 126"/>
              <a:gd name="T58" fmla="*/ 87 w 114"/>
              <a:gd name="T59" fmla="*/ 77 h 126"/>
              <a:gd name="T60" fmla="*/ 87 w 114"/>
              <a:gd name="T61" fmla="*/ 82 h 126"/>
              <a:gd name="T62" fmla="*/ 93 w 114"/>
              <a:gd name="T63" fmla="*/ 93 h 126"/>
              <a:gd name="T64" fmla="*/ 98 w 114"/>
              <a:gd name="T65" fmla="*/ 98 h 126"/>
              <a:gd name="T66" fmla="*/ 103 w 114"/>
              <a:gd name="T67" fmla="*/ 104 h 126"/>
              <a:gd name="T68" fmla="*/ 98 w 114"/>
              <a:gd name="T69" fmla="*/ 109 h 126"/>
              <a:gd name="T70" fmla="*/ 93 w 114"/>
              <a:gd name="T71" fmla="*/ 115 h 126"/>
              <a:gd name="T72" fmla="*/ 93 w 114"/>
              <a:gd name="T73" fmla="*/ 120 h 126"/>
              <a:gd name="T74" fmla="*/ 87 w 114"/>
              <a:gd name="T75" fmla="*/ 115 h 126"/>
              <a:gd name="T76" fmla="*/ 82 w 114"/>
              <a:gd name="T77" fmla="*/ 120 h 126"/>
              <a:gd name="T78" fmla="*/ 71 w 114"/>
              <a:gd name="T79" fmla="*/ 120 h 126"/>
              <a:gd name="T80" fmla="*/ 60 w 114"/>
              <a:gd name="T81" fmla="*/ 120 h 126"/>
              <a:gd name="T82" fmla="*/ 54 w 114"/>
              <a:gd name="T83" fmla="*/ 120 h 126"/>
              <a:gd name="T84" fmla="*/ 43 w 114"/>
              <a:gd name="T85" fmla="*/ 120 h 126"/>
              <a:gd name="T86" fmla="*/ 38 w 114"/>
              <a:gd name="T87" fmla="*/ 115 h 126"/>
              <a:gd name="T88" fmla="*/ 33 w 114"/>
              <a:gd name="T89" fmla="*/ 120 h 126"/>
              <a:gd name="T90" fmla="*/ 22 w 114"/>
              <a:gd name="T91" fmla="*/ 120 h 126"/>
              <a:gd name="T92" fmla="*/ 22 w 114"/>
              <a:gd name="T93" fmla="*/ 109 h 126"/>
              <a:gd name="T94" fmla="*/ 27 w 114"/>
              <a:gd name="T95" fmla="*/ 104 h 126"/>
              <a:gd name="T96" fmla="*/ 33 w 114"/>
              <a:gd name="T97" fmla="*/ 98 h 126"/>
              <a:gd name="T98" fmla="*/ 22 w 114"/>
              <a:gd name="T99" fmla="*/ 98 h 126"/>
              <a:gd name="T100" fmla="*/ 16 w 114"/>
              <a:gd name="T101" fmla="*/ 93 h 126"/>
              <a:gd name="T102" fmla="*/ 11 w 114"/>
              <a:gd name="T103" fmla="*/ 88 h 126"/>
              <a:gd name="T104" fmla="*/ 5 w 114"/>
              <a:gd name="T105" fmla="*/ 82 h 126"/>
              <a:gd name="T106" fmla="*/ 5 w 114"/>
              <a:gd name="T107" fmla="*/ 7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4" h="126">
                <a:moveTo>
                  <a:pt x="0" y="71"/>
                </a:moveTo>
                <a:lnTo>
                  <a:pt x="0" y="66"/>
                </a:lnTo>
                <a:lnTo>
                  <a:pt x="0" y="60"/>
                </a:lnTo>
                <a:lnTo>
                  <a:pt x="5" y="60"/>
                </a:lnTo>
                <a:lnTo>
                  <a:pt x="0" y="55"/>
                </a:lnTo>
                <a:lnTo>
                  <a:pt x="0" y="49"/>
                </a:lnTo>
                <a:lnTo>
                  <a:pt x="5" y="49"/>
                </a:lnTo>
                <a:lnTo>
                  <a:pt x="11" y="49"/>
                </a:lnTo>
                <a:lnTo>
                  <a:pt x="11" y="44"/>
                </a:lnTo>
                <a:lnTo>
                  <a:pt x="5" y="38"/>
                </a:lnTo>
                <a:lnTo>
                  <a:pt x="11" y="38"/>
                </a:lnTo>
                <a:lnTo>
                  <a:pt x="16" y="33"/>
                </a:lnTo>
                <a:lnTo>
                  <a:pt x="16" y="28"/>
                </a:lnTo>
                <a:lnTo>
                  <a:pt x="11" y="28"/>
                </a:lnTo>
                <a:lnTo>
                  <a:pt x="16" y="22"/>
                </a:lnTo>
                <a:lnTo>
                  <a:pt x="22" y="22"/>
                </a:lnTo>
                <a:lnTo>
                  <a:pt x="27" y="28"/>
                </a:lnTo>
                <a:lnTo>
                  <a:pt x="33" y="22"/>
                </a:lnTo>
                <a:lnTo>
                  <a:pt x="33" y="17"/>
                </a:lnTo>
                <a:lnTo>
                  <a:pt x="38" y="22"/>
                </a:lnTo>
                <a:lnTo>
                  <a:pt x="33" y="17"/>
                </a:lnTo>
                <a:lnTo>
                  <a:pt x="38" y="11"/>
                </a:lnTo>
                <a:lnTo>
                  <a:pt x="33" y="11"/>
                </a:lnTo>
                <a:lnTo>
                  <a:pt x="38" y="11"/>
                </a:lnTo>
                <a:lnTo>
                  <a:pt x="27" y="6"/>
                </a:lnTo>
                <a:lnTo>
                  <a:pt x="33" y="6"/>
                </a:lnTo>
                <a:lnTo>
                  <a:pt x="27" y="6"/>
                </a:lnTo>
                <a:lnTo>
                  <a:pt x="27" y="0"/>
                </a:lnTo>
                <a:lnTo>
                  <a:pt x="33" y="0"/>
                </a:lnTo>
                <a:lnTo>
                  <a:pt x="38" y="6"/>
                </a:lnTo>
                <a:lnTo>
                  <a:pt x="49" y="6"/>
                </a:lnTo>
                <a:lnTo>
                  <a:pt x="49" y="11"/>
                </a:lnTo>
                <a:lnTo>
                  <a:pt x="54" y="11"/>
                </a:lnTo>
                <a:lnTo>
                  <a:pt x="60" y="11"/>
                </a:lnTo>
                <a:lnTo>
                  <a:pt x="60" y="17"/>
                </a:lnTo>
                <a:lnTo>
                  <a:pt x="65" y="17"/>
                </a:lnTo>
                <a:lnTo>
                  <a:pt x="71" y="17"/>
                </a:lnTo>
                <a:lnTo>
                  <a:pt x="76" y="17"/>
                </a:lnTo>
                <a:lnTo>
                  <a:pt x="76" y="11"/>
                </a:lnTo>
                <a:lnTo>
                  <a:pt x="82" y="11"/>
                </a:lnTo>
                <a:lnTo>
                  <a:pt x="87" y="11"/>
                </a:lnTo>
                <a:lnTo>
                  <a:pt x="93" y="17"/>
                </a:lnTo>
                <a:lnTo>
                  <a:pt x="98" y="22"/>
                </a:lnTo>
                <a:lnTo>
                  <a:pt x="103" y="22"/>
                </a:lnTo>
                <a:lnTo>
                  <a:pt x="103" y="28"/>
                </a:lnTo>
                <a:lnTo>
                  <a:pt x="103" y="33"/>
                </a:lnTo>
                <a:lnTo>
                  <a:pt x="103" y="38"/>
                </a:lnTo>
                <a:lnTo>
                  <a:pt x="109" y="38"/>
                </a:lnTo>
                <a:lnTo>
                  <a:pt x="109" y="44"/>
                </a:lnTo>
                <a:lnTo>
                  <a:pt x="114" y="49"/>
                </a:lnTo>
                <a:lnTo>
                  <a:pt x="109" y="49"/>
                </a:lnTo>
                <a:lnTo>
                  <a:pt x="114" y="55"/>
                </a:lnTo>
                <a:lnTo>
                  <a:pt x="114" y="60"/>
                </a:lnTo>
                <a:lnTo>
                  <a:pt x="114" y="66"/>
                </a:lnTo>
                <a:lnTo>
                  <a:pt x="109" y="66"/>
                </a:lnTo>
                <a:lnTo>
                  <a:pt x="103" y="71"/>
                </a:lnTo>
                <a:lnTo>
                  <a:pt x="98" y="71"/>
                </a:lnTo>
                <a:lnTo>
                  <a:pt x="93" y="71"/>
                </a:lnTo>
                <a:lnTo>
                  <a:pt x="93" y="77"/>
                </a:lnTo>
                <a:lnTo>
                  <a:pt x="87" y="77"/>
                </a:lnTo>
                <a:lnTo>
                  <a:pt x="82" y="77"/>
                </a:lnTo>
                <a:lnTo>
                  <a:pt x="87" y="82"/>
                </a:lnTo>
                <a:lnTo>
                  <a:pt x="87" y="88"/>
                </a:lnTo>
                <a:lnTo>
                  <a:pt x="93" y="93"/>
                </a:lnTo>
                <a:lnTo>
                  <a:pt x="98" y="93"/>
                </a:lnTo>
                <a:lnTo>
                  <a:pt x="98" y="98"/>
                </a:lnTo>
                <a:lnTo>
                  <a:pt x="103" y="98"/>
                </a:lnTo>
                <a:lnTo>
                  <a:pt x="103" y="104"/>
                </a:lnTo>
                <a:lnTo>
                  <a:pt x="98" y="104"/>
                </a:lnTo>
                <a:lnTo>
                  <a:pt x="98" y="109"/>
                </a:lnTo>
                <a:lnTo>
                  <a:pt x="93" y="109"/>
                </a:lnTo>
                <a:lnTo>
                  <a:pt x="93" y="115"/>
                </a:lnTo>
                <a:lnTo>
                  <a:pt x="98" y="120"/>
                </a:lnTo>
                <a:lnTo>
                  <a:pt x="93" y="120"/>
                </a:lnTo>
                <a:lnTo>
                  <a:pt x="87" y="120"/>
                </a:lnTo>
                <a:lnTo>
                  <a:pt x="87" y="115"/>
                </a:lnTo>
                <a:lnTo>
                  <a:pt x="87" y="120"/>
                </a:lnTo>
                <a:lnTo>
                  <a:pt x="82" y="120"/>
                </a:lnTo>
                <a:lnTo>
                  <a:pt x="76" y="120"/>
                </a:lnTo>
                <a:lnTo>
                  <a:pt x="71" y="120"/>
                </a:lnTo>
                <a:lnTo>
                  <a:pt x="65" y="120"/>
                </a:lnTo>
                <a:lnTo>
                  <a:pt x="60" y="120"/>
                </a:lnTo>
                <a:lnTo>
                  <a:pt x="60" y="126"/>
                </a:lnTo>
                <a:lnTo>
                  <a:pt x="54" y="120"/>
                </a:lnTo>
                <a:lnTo>
                  <a:pt x="49" y="120"/>
                </a:lnTo>
                <a:lnTo>
                  <a:pt x="43" y="120"/>
                </a:lnTo>
                <a:lnTo>
                  <a:pt x="38" y="120"/>
                </a:lnTo>
                <a:lnTo>
                  <a:pt x="38" y="115"/>
                </a:lnTo>
                <a:lnTo>
                  <a:pt x="38" y="120"/>
                </a:lnTo>
                <a:lnTo>
                  <a:pt x="33" y="120"/>
                </a:lnTo>
                <a:lnTo>
                  <a:pt x="27" y="120"/>
                </a:lnTo>
                <a:lnTo>
                  <a:pt x="22" y="120"/>
                </a:lnTo>
                <a:lnTo>
                  <a:pt x="22" y="115"/>
                </a:lnTo>
                <a:lnTo>
                  <a:pt x="22" y="109"/>
                </a:lnTo>
                <a:lnTo>
                  <a:pt x="27" y="109"/>
                </a:lnTo>
                <a:lnTo>
                  <a:pt x="27" y="104"/>
                </a:lnTo>
                <a:lnTo>
                  <a:pt x="27" y="98"/>
                </a:lnTo>
                <a:lnTo>
                  <a:pt x="33" y="98"/>
                </a:lnTo>
                <a:lnTo>
                  <a:pt x="27" y="98"/>
                </a:lnTo>
                <a:lnTo>
                  <a:pt x="22" y="98"/>
                </a:lnTo>
                <a:lnTo>
                  <a:pt x="22" y="93"/>
                </a:lnTo>
                <a:lnTo>
                  <a:pt x="16" y="93"/>
                </a:lnTo>
                <a:lnTo>
                  <a:pt x="11" y="93"/>
                </a:lnTo>
                <a:lnTo>
                  <a:pt x="11" y="88"/>
                </a:lnTo>
                <a:lnTo>
                  <a:pt x="5" y="88"/>
                </a:lnTo>
                <a:lnTo>
                  <a:pt x="5" y="82"/>
                </a:lnTo>
                <a:lnTo>
                  <a:pt x="5" y="77"/>
                </a:lnTo>
                <a:lnTo>
                  <a:pt x="5" y="71"/>
                </a:lnTo>
                <a:lnTo>
                  <a:pt x="0" y="71"/>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4" name="Rectangle 673">
            <a:extLst>
              <a:ext uri="{FF2B5EF4-FFF2-40B4-BE49-F238E27FC236}">
                <a16:creationId xmlns:a16="http://schemas.microsoft.com/office/drawing/2014/main" id="{BB36AFFC-C3F6-3A15-D19B-9B201200C9DD}"/>
              </a:ext>
            </a:extLst>
          </p:cNvPr>
          <p:cNvSpPr>
            <a:spLocks noChangeArrowheads="1"/>
          </p:cNvSpPr>
          <p:nvPr/>
        </p:nvSpPr>
        <p:spPr bwMode="auto">
          <a:xfrm>
            <a:off x="2784475" y="1965324"/>
            <a:ext cx="6350" cy="7938"/>
          </a:xfrm>
          <a:prstGeom prst="rect">
            <a:avLst/>
          </a:prstGeom>
          <a:solidFill>
            <a:schemeClr val="bg2"/>
          </a:solidFill>
          <a:ln w="6350" cmpd="sng">
            <a:solidFill>
              <a:schemeClr val="bg1"/>
            </a:solidFill>
            <a:miter lim="800000"/>
            <a:headEnd/>
            <a:tailEnd/>
          </a:ln>
        </p:spPr>
        <p:txBody>
          <a:bodyPr vert="horz" wrap="square" lIns="68580" tIns="34290" rIns="68580" bIns="34290" numCol="1" anchor="t" anchorCtr="0" compatLnSpc="1">
            <a:prstTxWarp prst="textNoShape">
              <a:avLst/>
            </a:prstTxWarp>
          </a:bodyPr>
          <a:lstStyle/>
          <a:p>
            <a:endParaRPr lang="en-US" sz="1350"/>
          </a:p>
        </p:txBody>
      </p:sp>
      <p:sp>
        <p:nvSpPr>
          <p:cNvPr id="275" name="Freeform 254">
            <a:extLst>
              <a:ext uri="{FF2B5EF4-FFF2-40B4-BE49-F238E27FC236}">
                <a16:creationId xmlns:a16="http://schemas.microsoft.com/office/drawing/2014/main" id="{80B9D908-CCCC-EFC8-157C-D450984D8090}"/>
              </a:ext>
            </a:extLst>
          </p:cNvPr>
          <p:cNvSpPr>
            <a:spLocks/>
          </p:cNvSpPr>
          <p:nvPr/>
        </p:nvSpPr>
        <p:spPr bwMode="auto">
          <a:xfrm>
            <a:off x="2747963" y="1958975"/>
            <a:ext cx="42863" cy="60325"/>
          </a:xfrm>
          <a:custGeom>
            <a:avLst/>
            <a:gdLst>
              <a:gd name="T0" fmla="*/ 11 w 38"/>
              <a:gd name="T1" fmla="*/ 43 h 49"/>
              <a:gd name="T2" fmla="*/ 11 w 38"/>
              <a:gd name="T3" fmla="*/ 38 h 49"/>
              <a:gd name="T4" fmla="*/ 5 w 38"/>
              <a:gd name="T5" fmla="*/ 38 h 49"/>
              <a:gd name="T6" fmla="*/ 0 w 38"/>
              <a:gd name="T7" fmla="*/ 38 h 49"/>
              <a:gd name="T8" fmla="*/ 0 w 38"/>
              <a:gd name="T9" fmla="*/ 32 h 49"/>
              <a:gd name="T10" fmla="*/ 0 w 38"/>
              <a:gd name="T11" fmla="*/ 27 h 49"/>
              <a:gd name="T12" fmla="*/ 0 w 38"/>
              <a:gd name="T13" fmla="*/ 21 h 49"/>
              <a:gd name="T14" fmla="*/ 0 w 38"/>
              <a:gd name="T15" fmla="*/ 16 h 49"/>
              <a:gd name="T16" fmla="*/ 5 w 38"/>
              <a:gd name="T17" fmla="*/ 11 h 49"/>
              <a:gd name="T18" fmla="*/ 11 w 38"/>
              <a:gd name="T19" fmla="*/ 11 h 49"/>
              <a:gd name="T20" fmla="*/ 16 w 38"/>
              <a:gd name="T21" fmla="*/ 11 h 49"/>
              <a:gd name="T22" fmla="*/ 21 w 38"/>
              <a:gd name="T23" fmla="*/ 5 h 49"/>
              <a:gd name="T24" fmla="*/ 27 w 38"/>
              <a:gd name="T25" fmla="*/ 5 h 49"/>
              <a:gd name="T26" fmla="*/ 32 w 38"/>
              <a:gd name="T27" fmla="*/ 0 h 49"/>
              <a:gd name="T28" fmla="*/ 27 w 38"/>
              <a:gd name="T29" fmla="*/ 5 h 49"/>
              <a:gd name="T30" fmla="*/ 32 w 38"/>
              <a:gd name="T31" fmla="*/ 5 h 49"/>
              <a:gd name="T32" fmla="*/ 32 w 38"/>
              <a:gd name="T33" fmla="*/ 11 h 49"/>
              <a:gd name="T34" fmla="*/ 27 w 38"/>
              <a:gd name="T35" fmla="*/ 11 h 49"/>
              <a:gd name="T36" fmla="*/ 27 w 38"/>
              <a:gd name="T37" fmla="*/ 16 h 49"/>
              <a:gd name="T38" fmla="*/ 27 w 38"/>
              <a:gd name="T39" fmla="*/ 21 h 49"/>
              <a:gd name="T40" fmla="*/ 38 w 38"/>
              <a:gd name="T41" fmla="*/ 21 h 49"/>
              <a:gd name="T42" fmla="*/ 32 w 38"/>
              <a:gd name="T43" fmla="*/ 27 h 49"/>
              <a:gd name="T44" fmla="*/ 27 w 38"/>
              <a:gd name="T45" fmla="*/ 27 h 49"/>
              <a:gd name="T46" fmla="*/ 27 w 38"/>
              <a:gd name="T47" fmla="*/ 32 h 49"/>
              <a:gd name="T48" fmla="*/ 21 w 38"/>
              <a:gd name="T49" fmla="*/ 32 h 49"/>
              <a:gd name="T50" fmla="*/ 21 w 38"/>
              <a:gd name="T51" fmla="*/ 38 h 49"/>
              <a:gd name="T52" fmla="*/ 21 w 38"/>
              <a:gd name="T53" fmla="*/ 43 h 49"/>
              <a:gd name="T54" fmla="*/ 16 w 38"/>
              <a:gd name="T55" fmla="*/ 43 h 49"/>
              <a:gd name="T56" fmla="*/ 21 w 38"/>
              <a:gd name="T57" fmla="*/ 43 h 49"/>
              <a:gd name="T58" fmla="*/ 27 w 38"/>
              <a:gd name="T59" fmla="*/ 49 h 49"/>
              <a:gd name="T60" fmla="*/ 21 w 38"/>
              <a:gd name="T61" fmla="*/ 43 h 49"/>
              <a:gd name="T62" fmla="*/ 16 w 38"/>
              <a:gd name="T63" fmla="*/ 49 h 49"/>
              <a:gd name="T64" fmla="*/ 11 w 38"/>
              <a:gd name="T65" fmla="*/ 4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 h="49">
                <a:moveTo>
                  <a:pt x="11" y="43"/>
                </a:moveTo>
                <a:lnTo>
                  <a:pt x="11" y="38"/>
                </a:lnTo>
                <a:lnTo>
                  <a:pt x="5" y="38"/>
                </a:lnTo>
                <a:lnTo>
                  <a:pt x="0" y="38"/>
                </a:lnTo>
                <a:lnTo>
                  <a:pt x="0" y="32"/>
                </a:lnTo>
                <a:lnTo>
                  <a:pt x="0" y="27"/>
                </a:lnTo>
                <a:lnTo>
                  <a:pt x="0" y="21"/>
                </a:lnTo>
                <a:lnTo>
                  <a:pt x="0" y="16"/>
                </a:lnTo>
                <a:lnTo>
                  <a:pt x="5" y="11"/>
                </a:lnTo>
                <a:lnTo>
                  <a:pt x="11" y="11"/>
                </a:lnTo>
                <a:lnTo>
                  <a:pt x="16" y="11"/>
                </a:lnTo>
                <a:lnTo>
                  <a:pt x="21" y="5"/>
                </a:lnTo>
                <a:lnTo>
                  <a:pt x="27" y="5"/>
                </a:lnTo>
                <a:lnTo>
                  <a:pt x="32" y="0"/>
                </a:lnTo>
                <a:lnTo>
                  <a:pt x="27" y="5"/>
                </a:lnTo>
                <a:lnTo>
                  <a:pt x="32" y="5"/>
                </a:lnTo>
                <a:lnTo>
                  <a:pt x="32" y="11"/>
                </a:lnTo>
                <a:lnTo>
                  <a:pt x="27" y="11"/>
                </a:lnTo>
                <a:lnTo>
                  <a:pt x="27" y="16"/>
                </a:lnTo>
                <a:lnTo>
                  <a:pt x="27" y="21"/>
                </a:lnTo>
                <a:lnTo>
                  <a:pt x="38" y="21"/>
                </a:lnTo>
                <a:lnTo>
                  <a:pt x="32" y="27"/>
                </a:lnTo>
                <a:lnTo>
                  <a:pt x="27" y="27"/>
                </a:lnTo>
                <a:lnTo>
                  <a:pt x="27" y="32"/>
                </a:lnTo>
                <a:lnTo>
                  <a:pt x="21" y="32"/>
                </a:lnTo>
                <a:lnTo>
                  <a:pt x="21" y="38"/>
                </a:lnTo>
                <a:lnTo>
                  <a:pt x="21" y="43"/>
                </a:lnTo>
                <a:lnTo>
                  <a:pt x="16" y="43"/>
                </a:lnTo>
                <a:lnTo>
                  <a:pt x="21" y="43"/>
                </a:lnTo>
                <a:lnTo>
                  <a:pt x="27" y="49"/>
                </a:lnTo>
                <a:lnTo>
                  <a:pt x="21" y="43"/>
                </a:lnTo>
                <a:lnTo>
                  <a:pt x="16" y="49"/>
                </a:lnTo>
                <a:lnTo>
                  <a:pt x="11" y="43"/>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6" name="Freeform 675">
            <a:extLst>
              <a:ext uri="{FF2B5EF4-FFF2-40B4-BE49-F238E27FC236}">
                <a16:creationId xmlns:a16="http://schemas.microsoft.com/office/drawing/2014/main" id="{8413A7F0-8AEF-51A9-ED55-56548C37BC7B}"/>
              </a:ext>
            </a:extLst>
          </p:cNvPr>
          <p:cNvSpPr>
            <a:spLocks/>
          </p:cNvSpPr>
          <p:nvPr/>
        </p:nvSpPr>
        <p:spPr bwMode="auto">
          <a:xfrm>
            <a:off x="2790825" y="1992313"/>
            <a:ext cx="23813" cy="20638"/>
          </a:xfrm>
          <a:custGeom>
            <a:avLst/>
            <a:gdLst>
              <a:gd name="T0" fmla="*/ 0 w 22"/>
              <a:gd name="T1" fmla="*/ 5 h 16"/>
              <a:gd name="T2" fmla="*/ 5 w 22"/>
              <a:gd name="T3" fmla="*/ 5 h 16"/>
              <a:gd name="T4" fmla="*/ 0 w 22"/>
              <a:gd name="T5" fmla="*/ 0 h 16"/>
              <a:gd name="T6" fmla="*/ 11 w 22"/>
              <a:gd name="T7" fmla="*/ 0 h 16"/>
              <a:gd name="T8" fmla="*/ 16 w 22"/>
              <a:gd name="T9" fmla="*/ 0 h 16"/>
              <a:gd name="T10" fmla="*/ 22 w 22"/>
              <a:gd name="T11" fmla="*/ 0 h 16"/>
              <a:gd name="T12" fmla="*/ 16 w 22"/>
              <a:gd name="T13" fmla="*/ 5 h 16"/>
              <a:gd name="T14" fmla="*/ 22 w 22"/>
              <a:gd name="T15" fmla="*/ 5 h 16"/>
              <a:gd name="T16" fmla="*/ 16 w 22"/>
              <a:gd name="T17" fmla="*/ 11 h 16"/>
              <a:gd name="T18" fmla="*/ 16 w 22"/>
              <a:gd name="T19" fmla="*/ 16 h 16"/>
              <a:gd name="T20" fmla="*/ 11 w 22"/>
              <a:gd name="T21" fmla="*/ 16 h 16"/>
              <a:gd name="T22" fmla="*/ 5 w 22"/>
              <a:gd name="T23" fmla="*/ 16 h 16"/>
              <a:gd name="T24" fmla="*/ 0 w 22"/>
              <a:gd name="T25" fmla="*/ 11 h 16"/>
              <a:gd name="T26" fmla="*/ 0 w 22"/>
              <a:gd name="T2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6">
                <a:moveTo>
                  <a:pt x="0" y="5"/>
                </a:moveTo>
                <a:lnTo>
                  <a:pt x="5" y="5"/>
                </a:lnTo>
                <a:lnTo>
                  <a:pt x="0" y="0"/>
                </a:lnTo>
                <a:lnTo>
                  <a:pt x="11" y="0"/>
                </a:lnTo>
                <a:lnTo>
                  <a:pt x="16" y="0"/>
                </a:lnTo>
                <a:lnTo>
                  <a:pt x="22" y="0"/>
                </a:lnTo>
                <a:lnTo>
                  <a:pt x="16" y="5"/>
                </a:lnTo>
                <a:lnTo>
                  <a:pt x="22" y="5"/>
                </a:lnTo>
                <a:lnTo>
                  <a:pt x="16" y="11"/>
                </a:lnTo>
                <a:lnTo>
                  <a:pt x="16" y="16"/>
                </a:lnTo>
                <a:lnTo>
                  <a:pt x="11" y="16"/>
                </a:lnTo>
                <a:lnTo>
                  <a:pt x="5" y="16"/>
                </a:lnTo>
                <a:lnTo>
                  <a:pt x="0" y="11"/>
                </a:lnTo>
                <a:lnTo>
                  <a:pt x="0" y="5"/>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7" name="Freeform 678">
            <a:extLst>
              <a:ext uri="{FF2B5EF4-FFF2-40B4-BE49-F238E27FC236}">
                <a16:creationId xmlns:a16="http://schemas.microsoft.com/office/drawing/2014/main" id="{7C43B0E5-C5F3-2356-8FDC-9D21A8C0CFDC}"/>
              </a:ext>
            </a:extLst>
          </p:cNvPr>
          <p:cNvSpPr>
            <a:spLocks/>
          </p:cNvSpPr>
          <p:nvPr/>
        </p:nvSpPr>
        <p:spPr bwMode="auto">
          <a:xfrm>
            <a:off x="2955925" y="1925638"/>
            <a:ext cx="61913" cy="39688"/>
          </a:xfrm>
          <a:custGeom>
            <a:avLst/>
            <a:gdLst>
              <a:gd name="T0" fmla="*/ 11 w 55"/>
              <a:gd name="T1" fmla="*/ 28 h 33"/>
              <a:gd name="T2" fmla="*/ 11 w 55"/>
              <a:gd name="T3" fmla="*/ 22 h 33"/>
              <a:gd name="T4" fmla="*/ 11 w 55"/>
              <a:gd name="T5" fmla="*/ 17 h 33"/>
              <a:gd name="T6" fmla="*/ 5 w 55"/>
              <a:gd name="T7" fmla="*/ 22 h 33"/>
              <a:gd name="T8" fmla="*/ 5 w 55"/>
              <a:gd name="T9" fmla="*/ 17 h 33"/>
              <a:gd name="T10" fmla="*/ 0 w 55"/>
              <a:gd name="T11" fmla="*/ 17 h 33"/>
              <a:gd name="T12" fmla="*/ 0 w 55"/>
              <a:gd name="T13" fmla="*/ 11 h 33"/>
              <a:gd name="T14" fmla="*/ 0 w 55"/>
              <a:gd name="T15" fmla="*/ 6 h 33"/>
              <a:gd name="T16" fmla="*/ 5 w 55"/>
              <a:gd name="T17" fmla="*/ 6 h 33"/>
              <a:gd name="T18" fmla="*/ 5 w 55"/>
              <a:gd name="T19" fmla="*/ 0 h 33"/>
              <a:gd name="T20" fmla="*/ 11 w 55"/>
              <a:gd name="T21" fmla="*/ 0 h 33"/>
              <a:gd name="T22" fmla="*/ 22 w 55"/>
              <a:gd name="T23" fmla="*/ 0 h 33"/>
              <a:gd name="T24" fmla="*/ 27 w 55"/>
              <a:gd name="T25" fmla="*/ 0 h 33"/>
              <a:gd name="T26" fmla="*/ 33 w 55"/>
              <a:gd name="T27" fmla="*/ 0 h 33"/>
              <a:gd name="T28" fmla="*/ 38 w 55"/>
              <a:gd name="T29" fmla="*/ 0 h 33"/>
              <a:gd name="T30" fmla="*/ 44 w 55"/>
              <a:gd name="T31" fmla="*/ 0 h 33"/>
              <a:gd name="T32" fmla="*/ 49 w 55"/>
              <a:gd name="T33" fmla="*/ 0 h 33"/>
              <a:gd name="T34" fmla="*/ 55 w 55"/>
              <a:gd name="T35" fmla="*/ 0 h 33"/>
              <a:gd name="T36" fmla="*/ 49 w 55"/>
              <a:gd name="T37" fmla="*/ 6 h 33"/>
              <a:gd name="T38" fmla="*/ 49 w 55"/>
              <a:gd name="T39" fmla="*/ 11 h 33"/>
              <a:gd name="T40" fmla="*/ 49 w 55"/>
              <a:gd name="T41" fmla="*/ 17 h 33"/>
              <a:gd name="T42" fmla="*/ 49 w 55"/>
              <a:gd name="T43" fmla="*/ 22 h 33"/>
              <a:gd name="T44" fmla="*/ 55 w 55"/>
              <a:gd name="T45" fmla="*/ 28 h 33"/>
              <a:gd name="T46" fmla="*/ 49 w 55"/>
              <a:gd name="T47" fmla="*/ 28 h 33"/>
              <a:gd name="T48" fmla="*/ 49 w 55"/>
              <a:gd name="T49" fmla="*/ 33 h 33"/>
              <a:gd name="T50" fmla="*/ 44 w 55"/>
              <a:gd name="T51" fmla="*/ 33 h 33"/>
              <a:gd name="T52" fmla="*/ 38 w 55"/>
              <a:gd name="T53" fmla="*/ 33 h 33"/>
              <a:gd name="T54" fmla="*/ 33 w 55"/>
              <a:gd name="T55" fmla="*/ 28 h 33"/>
              <a:gd name="T56" fmla="*/ 27 w 55"/>
              <a:gd name="T57" fmla="*/ 28 h 33"/>
              <a:gd name="T58" fmla="*/ 22 w 55"/>
              <a:gd name="T59" fmla="*/ 22 h 33"/>
              <a:gd name="T60" fmla="*/ 16 w 55"/>
              <a:gd name="T61" fmla="*/ 28 h 33"/>
              <a:gd name="T62" fmla="*/ 11 w 55"/>
              <a:gd name="T63"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33">
                <a:moveTo>
                  <a:pt x="11" y="28"/>
                </a:moveTo>
                <a:lnTo>
                  <a:pt x="11" y="22"/>
                </a:lnTo>
                <a:lnTo>
                  <a:pt x="11" y="17"/>
                </a:lnTo>
                <a:lnTo>
                  <a:pt x="5" y="22"/>
                </a:lnTo>
                <a:lnTo>
                  <a:pt x="5" y="17"/>
                </a:lnTo>
                <a:lnTo>
                  <a:pt x="0" y="17"/>
                </a:lnTo>
                <a:lnTo>
                  <a:pt x="0" y="11"/>
                </a:lnTo>
                <a:lnTo>
                  <a:pt x="0" y="6"/>
                </a:lnTo>
                <a:lnTo>
                  <a:pt x="5" y="6"/>
                </a:lnTo>
                <a:lnTo>
                  <a:pt x="5" y="0"/>
                </a:lnTo>
                <a:lnTo>
                  <a:pt x="11" y="0"/>
                </a:lnTo>
                <a:lnTo>
                  <a:pt x="22" y="0"/>
                </a:lnTo>
                <a:lnTo>
                  <a:pt x="27" y="0"/>
                </a:lnTo>
                <a:lnTo>
                  <a:pt x="33" y="0"/>
                </a:lnTo>
                <a:lnTo>
                  <a:pt x="38" y="0"/>
                </a:lnTo>
                <a:lnTo>
                  <a:pt x="44" y="0"/>
                </a:lnTo>
                <a:lnTo>
                  <a:pt x="49" y="0"/>
                </a:lnTo>
                <a:lnTo>
                  <a:pt x="55" y="0"/>
                </a:lnTo>
                <a:lnTo>
                  <a:pt x="49" y="6"/>
                </a:lnTo>
                <a:lnTo>
                  <a:pt x="49" y="11"/>
                </a:lnTo>
                <a:lnTo>
                  <a:pt x="49" y="17"/>
                </a:lnTo>
                <a:lnTo>
                  <a:pt x="49" y="22"/>
                </a:lnTo>
                <a:lnTo>
                  <a:pt x="55" y="28"/>
                </a:lnTo>
                <a:lnTo>
                  <a:pt x="49" y="28"/>
                </a:lnTo>
                <a:lnTo>
                  <a:pt x="49" y="33"/>
                </a:lnTo>
                <a:lnTo>
                  <a:pt x="44" y="33"/>
                </a:lnTo>
                <a:lnTo>
                  <a:pt x="38" y="33"/>
                </a:lnTo>
                <a:lnTo>
                  <a:pt x="33" y="28"/>
                </a:lnTo>
                <a:lnTo>
                  <a:pt x="27" y="28"/>
                </a:lnTo>
                <a:lnTo>
                  <a:pt x="22" y="22"/>
                </a:lnTo>
                <a:lnTo>
                  <a:pt x="16" y="28"/>
                </a:lnTo>
                <a:lnTo>
                  <a:pt x="11" y="28"/>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8" name="Freeform 679">
            <a:extLst>
              <a:ext uri="{FF2B5EF4-FFF2-40B4-BE49-F238E27FC236}">
                <a16:creationId xmlns:a16="http://schemas.microsoft.com/office/drawing/2014/main" id="{23094C01-6200-B01A-485A-70EA9C9ABD91}"/>
              </a:ext>
            </a:extLst>
          </p:cNvPr>
          <p:cNvSpPr>
            <a:spLocks/>
          </p:cNvSpPr>
          <p:nvPr/>
        </p:nvSpPr>
        <p:spPr bwMode="auto">
          <a:xfrm>
            <a:off x="2882900" y="1719263"/>
            <a:ext cx="165100" cy="200025"/>
          </a:xfrm>
          <a:custGeom>
            <a:avLst/>
            <a:gdLst>
              <a:gd name="T0" fmla="*/ 16 w 147"/>
              <a:gd name="T1" fmla="*/ 17 h 164"/>
              <a:gd name="T2" fmla="*/ 38 w 147"/>
              <a:gd name="T3" fmla="*/ 22 h 164"/>
              <a:gd name="T4" fmla="*/ 49 w 147"/>
              <a:gd name="T5" fmla="*/ 28 h 164"/>
              <a:gd name="T6" fmla="*/ 60 w 147"/>
              <a:gd name="T7" fmla="*/ 11 h 164"/>
              <a:gd name="T8" fmla="*/ 70 w 147"/>
              <a:gd name="T9" fmla="*/ 6 h 164"/>
              <a:gd name="T10" fmla="*/ 92 w 147"/>
              <a:gd name="T11" fmla="*/ 6 h 164"/>
              <a:gd name="T12" fmla="*/ 87 w 147"/>
              <a:gd name="T13" fmla="*/ 22 h 164"/>
              <a:gd name="T14" fmla="*/ 92 w 147"/>
              <a:gd name="T15" fmla="*/ 33 h 164"/>
              <a:gd name="T16" fmla="*/ 109 w 147"/>
              <a:gd name="T17" fmla="*/ 38 h 164"/>
              <a:gd name="T18" fmla="*/ 103 w 147"/>
              <a:gd name="T19" fmla="*/ 49 h 164"/>
              <a:gd name="T20" fmla="*/ 114 w 147"/>
              <a:gd name="T21" fmla="*/ 66 h 164"/>
              <a:gd name="T22" fmla="*/ 114 w 147"/>
              <a:gd name="T23" fmla="*/ 77 h 164"/>
              <a:gd name="T24" fmla="*/ 120 w 147"/>
              <a:gd name="T25" fmla="*/ 88 h 164"/>
              <a:gd name="T26" fmla="*/ 130 w 147"/>
              <a:gd name="T27" fmla="*/ 93 h 164"/>
              <a:gd name="T28" fmla="*/ 130 w 147"/>
              <a:gd name="T29" fmla="*/ 109 h 164"/>
              <a:gd name="T30" fmla="*/ 147 w 147"/>
              <a:gd name="T31" fmla="*/ 115 h 164"/>
              <a:gd name="T32" fmla="*/ 136 w 147"/>
              <a:gd name="T33" fmla="*/ 126 h 164"/>
              <a:gd name="T34" fmla="*/ 130 w 147"/>
              <a:gd name="T35" fmla="*/ 137 h 164"/>
              <a:gd name="T36" fmla="*/ 120 w 147"/>
              <a:gd name="T37" fmla="*/ 142 h 164"/>
              <a:gd name="T38" fmla="*/ 103 w 147"/>
              <a:gd name="T39" fmla="*/ 153 h 164"/>
              <a:gd name="T40" fmla="*/ 92 w 147"/>
              <a:gd name="T41" fmla="*/ 153 h 164"/>
              <a:gd name="T42" fmla="*/ 81 w 147"/>
              <a:gd name="T43" fmla="*/ 158 h 164"/>
              <a:gd name="T44" fmla="*/ 70 w 147"/>
              <a:gd name="T45" fmla="*/ 158 h 164"/>
              <a:gd name="T46" fmla="*/ 60 w 147"/>
              <a:gd name="T47" fmla="*/ 164 h 164"/>
              <a:gd name="T48" fmla="*/ 49 w 147"/>
              <a:gd name="T49" fmla="*/ 164 h 164"/>
              <a:gd name="T50" fmla="*/ 49 w 147"/>
              <a:gd name="T51" fmla="*/ 158 h 164"/>
              <a:gd name="T52" fmla="*/ 38 w 147"/>
              <a:gd name="T53" fmla="*/ 158 h 164"/>
              <a:gd name="T54" fmla="*/ 32 w 147"/>
              <a:gd name="T55" fmla="*/ 148 h 164"/>
              <a:gd name="T56" fmla="*/ 32 w 147"/>
              <a:gd name="T57" fmla="*/ 131 h 164"/>
              <a:gd name="T58" fmla="*/ 27 w 147"/>
              <a:gd name="T59" fmla="*/ 126 h 164"/>
              <a:gd name="T60" fmla="*/ 27 w 147"/>
              <a:gd name="T61" fmla="*/ 109 h 164"/>
              <a:gd name="T62" fmla="*/ 38 w 147"/>
              <a:gd name="T63" fmla="*/ 104 h 164"/>
              <a:gd name="T64" fmla="*/ 38 w 147"/>
              <a:gd name="T65" fmla="*/ 98 h 164"/>
              <a:gd name="T66" fmla="*/ 49 w 147"/>
              <a:gd name="T67" fmla="*/ 98 h 164"/>
              <a:gd name="T68" fmla="*/ 54 w 147"/>
              <a:gd name="T69" fmla="*/ 88 h 164"/>
              <a:gd name="T70" fmla="*/ 70 w 147"/>
              <a:gd name="T71" fmla="*/ 82 h 164"/>
              <a:gd name="T72" fmla="*/ 60 w 147"/>
              <a:gd name="T73" fmla="*/ 71 h 164"/>
              <a:gd name="T74" fmla="*/ 49 w 147"/>
              <a:gd name="T75" fmla="*/ 66 h 164"/>
              <a:gd name="T76" fmla="*/ 43 w 147"/>
              <a:gd name="T77" fmla="*/ 49 h 164"/>
              <a:gd name="T78" fmla="*/ 38 w 147"/>
              <a:gd name="T79" fmla="*/ 44 h 164"/>
              <a:gd name="T80" fmla="*/ 32 w 147"/>
              <a:gd name="T81" fmla="*/ 33 h 164"/>
              <a:gd name="T82" fmla="*/ 16 w 147"/>
              <a:gd name="T83" fmla="*/ 28 h 164"/>
              <a:gd name="T84" fmla="*/ 5 w 147"/>
              <a:gd name="T85" fmla="*/ 17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7" h="164">
                <a:moveTo>
                  <a:pt x="0" y="17"/>
                </a:moveTo>
                <a:lnTo>
                  <a:pt x="10" y="17"/>
                </a:lnTo>
                <a:lnTo>
                  <a:pt x="16" y="17"/>
                </a:lnTo>
                <a:lnTo>
                  <a:pt x="21" y="22"/>
                </a:lnTo>
                <a:lnTo>
                  <a:pt x="32" y="28"/>
                </a:lnTo>
                <a:lnTo>
                  <a:pt x="38" y="22"/>
                </a:lnTo>
                <a:lnTo>
                  <a:pt x="43" y="22"/>
                </a:lnTo>
                <a:lnTo>
                  <a:pt x="49" y="22"/>
                </a:lnTo>
                <a:lnTo>
                  <a:pt x="49" y="28"/>
                </a:lnTo>
                <a:lnTo>
                  <a:pt x="54" y="22"/>
                </a:lnTo>
                <a:lnTo>
                  <a:pt x="60" y="17"/>
                </a:lnTo>
                <a:lnTo>
                  <a:pt x="60" y="11"/>
                </a:lnTo>
                <a:lnTo>
                  <a:pt x="60" y="6"/>
                </a:lnTo>
                <a:lnTo>
                  <a:pt x="65" y="6"/>
                </a:lnTo>
                <a:lnTo>
                  <a:pt x="70" y="6"/>
                </a:lnTo>
                <a:lnTo>
                  <a:pt x="76" y="0"/>
                </a:lnTo>
                <a:lnTo>
                  <a:pt x="81" y="6"/>
                </a:lnTo>
                <a:lnTo>
                  <a:pt x="92" y="6"/>
                </a:lnTo>
                <a:lnTo>
                  <a:pt x="98" y="11"/>
                </a:lnTo>
                <a:lnTo>
                  <a:pt x="92" y="17"/>
                </a:lnTo>
                <a:lnTo>
                  <a:pt x="87" y="22"/>
                </a:lnTo>
                <a:lnTo>
                  <a:pt x="92" y="22"/>
                </a:lnTo>
                <a:lnTo>
                  <a:pt x="87" y="28"/>
                </a:lnTo>
                <a:lnTo>
                  <a:pt x="92" y="33"/>
                </a:lnTo>
                <a:lnTo>
                  <a:pt x="98" y="33"/>
                </a:lnTo>
                <a:lnTo>
                  <a:pt x="103" y="38"/>
                </a:lnTo>
                <a:lnTo>
                  <a:pt x="109" y="38"/>
                </a:lnTo>
                <a:lnTo>
                  <a:pt x="109" y="44"/>
                </a:lnTo>
                <a:lnTo>
                  <a:pt x="103" y="44"/>
                </a:lnTo>
                <a:lnTo>
                  <a:pt x="103" y="49"/>
                </a:lnTo>
                <a:lnTo>
                  <a:pt x="103" y="55"/>
                </a:lnTo>
                <a:lnTo>
                  <a:pt x="109" y="60"/>
                </a:lnTo>
                <a:lnTo>
                  <a:pt x="114" y="66"/>
                </a:lnTo>
                <a:lnTo>
                  <a:pt x="120" y="71"/>
                </a:lnTo>
                <a:lnTo>
                  <a:pt x="114" y="71"/>
                </a:lnTo>
                <a:lnTo>
                  <a:pt x="114" y="77"/>
                </a:lnTo>
                <a:lnTo>
                  <a:pt x="120" y="82"/>
                </a:lnTo>
                <a:lnTo>
                  <a:pt x="114" y="82"/>
                </a:lnTo>
                <a:lnTo>
                  <a:pt x="120" y="88"/>
                </a:lnTo>
                <a:lnTo>
                  <a:pt x="125" y="88"/>
                </a:lnTo>
                <a:lnTo>
                  <a:pt x="120" y="93"/>
                </a:lnTo>
                <a:lnTo>
                  <a:pt x="130" y="93"/>
                </a:lnTo>
                <a:lnTo>
                  <a:pt x="130" y="98"/>
                </a:lnTo>
                <a:lnTo>
                  <a:pt x="125" y="104"/>
                </a:lnTo>
                <a:lnTo>
                  <a:pt x="130" y="109"/>
                </a:lnTo>
                <a:lnTo>
                  <a:pt x="136" y="109"/>
                </a:lnTo>
                <a:lnTo>
                  <a:pt x="141" y="109"/>
                </a:lnTo>
                <a:lnTo>
                  <a:pt x="147" y="115"/>
                </a:lnTo>
                <a:lnTo>
                  <a:pt x="147" y="120"/>
                </a:lnTo>
                <a:lnTo>
                  <a:pt x="141" y="120"/>
                </a:lnTo>
                <a:lnTo>
                  <a:pt x="136" y="126"/>
                </a:lnTo>
                <a:lnTo>
                  <a:pt x="136" y="131"/>
                </a:lnTo>
                <a:lnTo>
                  <a:pt x="130" y="131"/>
                </a:lnTo>
                <a:lnTo>
                  <a:pt x="130" y="137"/>
                </a:lnTo>
                <a:lnTo>
                  <a:pt x="125" y="137"/>
                </a:lnTo>
                <a:lnTo>
                  <a:pt x="125" y="142"/>
                </a:lnTo>
                <a:lnTo>
                  <a:pt x="120" y="142"/>
                </a:lnTo>
                <a:lnTo>
                  <a:pt x="120" y="148"/>
                </a:lnTo>
                <a:lnTo>
                  <a:pt x="109" y="153"/>
                </a:lnTo>
                <a:lnTo>
                  <a:pt x="103" y="153"/>
                </a:lnTo>
                <a:lnTo>
                  <a:pt x="98" y="153"/>
                </a:lnTo>
                <a:lnTo>
                  <a:pt x="98" y="158"/>
                </a:lnTo>
                <a:lnTo>
                  <a:pt x="92" y="153"/>
                </a:lnTo>
                <a:lnTo>
                  <a:pt x="92" y="158"/>
                </a:lnTo>
                <a:lnTo>
                  <a:pt x="87" y="158"/>
                </a:lnTo>
                <a:lnTo>
                  <a:pt x="81" y="158"/>
                </a:lnTo>
                <a:lnTo>
                  <a:pt x="76" y="158"/>
                </a:lnTo>
                <a:lnTo>
                  <a:pt x="70" y="164"/>
                </a:lnTo>
                <a:lnTo>
                  <a:pt x="70" y="158"/>
                </a:lnTo>
                <a:lnTo>
                  <a:pt x="70" y="164"/>
                </a:lnTo>
                <a:lnTo>
                  <a:pt x="65" y="164"/>
                </a:lnTo>
                <a:lnTo>
                  <a:pt x="60" y="164"/>
                </a:lnTo>
                <a:lnTo>
                  <a:pt x="54" y="164"/>
                </a:lnTo>
                <a:lnTo>
                  <a:pt x="54" y="158"/>
                </a:lnTo>
                <a:lnTo>
                  <a:pt x="49" y="164"/>
                </a:lnTo>
                <a:lnTo>
                  <a:pt x="49" y="158"/>
                </a:lnTo>
                <a:lnTo>
                  <a:pt x="49" y="153"/>
                </a:lnTo>
                <a:lnTo>
                  <a:pt x="49" y="158"/>
                </a:lnTo>
                <a:lnTo>
                  <a:pt x="43" y="158"/>
                </a:lnTo>
                <a:lnTo>
                  <a:pt x="38" y="153"/>
                </a:lnTo>
                <a:lnTo>
                  <a:pt x="38" y="158"/>
                </a:lnTo>
                <a:lnTo>
                  <a:pt x="38" y="153"/>
                </a:lnTo>
                <a:lnTo>
                  <a:pt x="32" y="153"/>
                </a:lnTo>
                <a:lnTo>
                  <a:pt x="32" y="148"/>
                </a:lnTo>
                <a:lnTo>
                  <a:pt x="32" y="142"/>
                </a:lnTo>
                <a:lnTo>
                  <a:pt x="32" y="137"/>
                </a:lnTo>
                <a:lnTo>
                  <a:pt x="32" y="131"/>
                </a:lnTo>
                <a:lnTo>
                  <a:pt x="27" y="131"/>
                </a:lnTo>
                <a:lnTo>
                  <a:pt x="32" y="126"/>
                </a:lnTo>
                <a:lnTo>
                  <a:pt x="27" y="126"/>
                </a:lnTo>
                <a:lnTo>
                  <a:pt x="27" y="120"/>
                </a:lnTo>
                <a:lnTo>
                  <a:pt x="32" y="115"/>
                </a:lnTo>
                <a:lnTo>
                  <a:pt x="27" y="109"/>
                </a:lnTo>
                <a:lnTo>
                  <a:pt x="32" y="109"/>
                </a:lnTo>
                <a:lnTo>
                  <a:pt x="38" y="109"/>
                </a:lnTo>
                <a:lnTo>
                  <a:pt x="38" y="104"/>
                </a:lnTo>
                <a:lnTo>
                  <a:pt x="38" y="109"/>
                </a:lnTo>
                <a:lnTo>
                  <a:pt x="43" y="104"/>
                </a:lnTo>
                <a:lnTo>
                  <a:pt x="38" y="98"/>
                </a:lnTo>
                <a:lnTo>
                  <a:pt x="43" y="98"/>
                </a:lnTo>
                <a:lnTo>
                  <a:pt x="43" y="104"/>
                </a:lnTo>
                <a:lnTo>
                  <a:pt x="49" y="98"/>
                </a:lnTo>
                <a:lnTo>
                  <a:pt x="49" y="93"/>
                </a:lnTo>
                <a:lnTo>
                  <a:pt x="54" y="93"/>
                </a:lnTo>
                <a:lnTo>
                  <a:pt x="54" y="88"/>
                </a:lnTo>
                <a:lnTo>
                  <a:pt x="60" y="88"/>
                </a:lnTo>
                <a:lnTo>
                  <a:pt x="65" y="88"/>
                </a:lnTo>
                <a:lnTo>
                  <a:pt x="70" y="82"/>
                </a:lnTo>
                <a:lnTo>
                  <a:pt x="65" y="82"/>
                </a:lnTo>
                <a:lnTo>
                  <a:pt x="65" y="77"/>
                </a:lnTo>
                <a:lnTo>
                  <a:pt x="60" y="71"/>
                </a:lnTo>
                <a:lnTo>
                  <a:pt x="54" y="71"/>
                </a:lnTo>
                <a:lnTo>
                  <a:pt x="49" y="71"/>
                </a:lnTo>
                <a:lnTo>
                  <a:pt x="49" y="66"/>
                </a:lnTo>
                <a:lnTo>
                  <a:pt x="43" y="60"/>
                </a:lnTo>
                <a:lnTo>
                  <a:pt x="49" y="55"/>
                </a:lnTo>
                <a:lnTo>
                  <a:pt x="43" y="49"/>
                </a:lnTo>
                <a:lnTo>
                  <a:pt x="38" y="49"/>
                </a:lnTo>
                <a:lnTo>
                  <a:pt x="43" y="44"/>
                </a:lnTo>
                <a:lnTo>
                  <a:pt x="38" y="44"/>
                </a:lnTo>
                <a:lnTo>
                  <a:pt x="38" y="38"/>
                </a:lnTo>
                <a:lnTo>
                  <a:pt x="38" y="33"/>
                </a:lnTo>
                <a:lnTo>
                  <a:pt x="32" y="33"/>
                </a:lnTo>
                <a:lnTo>
                  <a:pt x="32" y="28"/>
                </a:lnTo>
                <a:lnTo>
                  <a:pt x="21" y="28"/>
                </a:lnTo>
                <a:lnTo>
                  <a:pt x="16" y="28"/>
                </a:lnTo>
                <a:lnTo>
                  <a:pt x="10" y="22"/>
                </a:lnTo>
                <a:lnTo>
                  <a:pt x="5" y="22"/>
                </a:lnTo>
                <a:lnTo>
                  <a:pt x="5" y="17"/>
                </a:lnTo>
                <a:lnTo>
                  <a:pt x="0" y="17"/>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9" name="Freeform 682">
            <a:extLst>
              <a:ext uri="{FF2B5EF4-FFF2-40B4-BE49-F238E27FC236}">
                <a16:creationId xmlns:a16="http://schemas.microsoft.com/office/drawing/2014/main" id="{ED0ED47C-87B5-13FA-325C-240B9CE3857A}"/>
              </a:ext>
            </a:extLst>
          </p:cNvPr>
          <p:cNvSpPr>
            <a:spLocks/>
          </p:cNvSpPr>
          <p:nvPr/>
        </p:nvSpPr>
        <p:spPr bwMode="auto">
          <a:xfrm>
            <a:off x="2698750" y="1700214"/>
            <a:ext cx="306388" cy="258763"/>
          </a:xfrm>
          <a:custGeom>
            <a:avLst/>
            <a:gdLst>
              <a:gd name="T0" fmla="*/ 71 w 273"/>
              <a:gd name="T1" fmla="*/ 185 h 213"/>
              <a:gd name="T2" fmla="*/ 60 w 273"/>
              <a:gd name="T3" fmla="*/ 196 h 213"/>
              <a:gd name="T4" fmla="*/ 49 w 273"/>
              <a:gd name="T5" fmla="*/ 207 h 213"/>
              <a:gd name="T6" fmla="*/ 27 w 273"/>
              <a:gd name="T7" fmla="*/ 207 h 213"/>
              <a:gd name="T8" fmla="*/ 16 w 273"/>
              <a:gd name="T9" fmla="*/ 196 h 213"/>
              <a:gd name="T10" fmla="*/ 5 w 273"/>
              <a:gd name="T11" fmla="*/ 191 h 213"/>
              <a:gd name="T12" fmla="*/ 16 w 273"/>
              <a:gd name="T13" fmla="*/ 180 h 213"/>
              <a:gd name="T14" fmla="*/ 5 w 273"/>
              <a:gd name="T15" fmla="*/ 174 h 213"/>
              <a:gd name="T16" fmla="*/ 16 w 273"/>
              <a:gd name="T17" fmla="*/ 158 h 213"/>
              <a:gd name="T18" fmla="*/ 5 w 273"/>
              <a:gd name="T19" fmla="*/ 158 h 213"/>
              <a:gd name="T20" fmla="*/ 11 w 273"/>
              <a:gd name="T21" fmla="*/ 142 h 213"/>
              <a:gd name="T22" fmla="*/ 22 w 273"/>
              <a:gd name="T23" fmla="*/ 136 h 213"/>
              <a:gd name="T24" fmla="*/ 27 w 273"/>
              <a:gd name="T25" fmla="*/ 131 h 213"/>
              <a:gd name="T26" fmla="*/ 49 w 273"/>
              <a:gd name="T27" fmla="*/ 120 h 213"/>
              <a:gd name="T28" fmla="*/ 76 w 273"/>
              <a:gd name="T29" fmla="*/ 120 h 213"/>
              <a:gd name="T30" fmla="*/ 55 w 273"/>
              <a:gd name="T31" fmla="*/ 120 h 213"/>
              <a:gd name="T32" fmla="*/ 76 w 273"/>
              <a:gd name="T33" fmla="*/ 104 h 213"/>
              <a:gd name="T34" fmla="*/ 82 w 273"/>
              <a:gd name="T35" fmla="*/ 93 h 213"/>
              <a:gd name="T36" fmla="*/ 87 w 273"/>
              <a:gd name="T37" fmla="*/ 82 h 213"/>
              <a:gd name="T38" fmla="*/ 93 w 273"/>
              <a:gd name="T39" fmla="*/ 76 h 213"/>
              <a:gd name="T40" fmla="*/ 109 w 273"/>
              <a:gd name="T41" fmla="*/ 65 h 213"/>
              <a:gd name="T42" fmla="*/ 109 w 273"/>
              <a:gd name="T43" fmla="*/ 49 h 213"/>
              <a:gd name="T44" fmla="*/ 120 w 273"/>
              <a:gd name="T45" fmla="*/ 44 h 213"/>
              <a:gd name="T46" fmla="*/ 115 w 273"/>
              <a:gd name="T47" fmla="*/ 44 h 213"/>
              <a:gd name="T48" fmla="*/ 115 w 273"/>
              <a:gd name="T49" fmla="*/ 44 h 213"/>
              <a:gd name="T50" fmla="*/ 136 w 273"/>
              <a:gd name="T51" fmla="*/ 38 h 213"/>
              <a:gd name="T52" fmla="*/ 142 w 273"/>
              <a:gd name="T53" fmla="*/ 27 h 213"/>
              <a:gd name="T54" fmla="*/ 158 w 273"/>
              <a:gd name="T55" fmla="*/ 22 h 213"/>
              <a:gd name="T56" fmla="*/ 169 w 273"/>
              <a:gd name="T57" fmla="*/ 16 h 213"/>
              <a:gd name="T58" fmla="*/ 191 w 273"/>
              <a:gd name="T59" fmla="*/ 16 h 213"/>
              <a:gd name="T60" fmla="*/ 202 w 273"/>
              <a:gd name="T61" fmla="*/ 11 h 213"/>
              <a:gd name="T62" fmla="*/ 213 w 273"/>
              <a:gd name="T63" fmla="*/ 5 h 213"/>
              <a:gd name="T64" fmla="*/ 218 w 273"/>
              <a:gd name="T65" fmla="*/ 11 h 213"/>
              <a:gd name="T66" fmla="*/ 229 w 273"/>
              <a:gd name="T67" fmla="*/ 11 h 213"/>
              <a:gd name="T68" fmla="*/ 245 w 273"/>
              <a:gd name="T69" fmla="*/ 5 h 213"/>
              <a:gd name="T70" fmla="*/ 251 w 273"/>
              <a:gd name="T71" fmla="*/ 5 h 213"/>
              <a:gd name="T72" fmla="*/ 273 w 273"/>
              <a:gd name="T73" fmla="*/ 16 h 213"/>
              <a:gd name="T74" fmla="*/ 262 w 273"/>
              <a:gd name="T75" fmla="*/ 22 h 213"/>
              <a:gd name="T76" fmla="*/ 256 w 273"/>
              <a:gd name="T77" fmla="*/ 33 h 213"/>
              <a:gd name="T78" fmla="*/ 234 w 273"/>
              <a:gd name="T79" fmla="*/ 22 h 213"/>
              <a:gd name="T80" fmla="*/ 218 w 273"/>
              <a:gd name="T81" fmla="*/ 38 h 213"/>
              <a:gd name="T82" fmla="*/ 196 w 273"/>
              <a:gd name="T83" fmla="*/ 44 h 213"/>
              <a:gd name="T84" fmla="*/ 158 w 273"/>
              <a:gd name="T85" fmla="*/ 33 h 213"/>
              <a:gd name="T86" fmla="*/ 142 w 273"/>
              <a:gd name="T87" fmla="*/ 44 h 213"/>
              <a:gd name="T88" fmla="*/ 120 w 273"/>
              <a:gd name="T89" fmla="*/ 60 h 213"/>
              <a:gd name="T90" fmla="*/ 109 w 273"/>
              <a:gd name="T91" fmla="*/ 82 h 213"/>
              <a:gd name="T92" fmla="*/ 104 w 273"/>
              <a:gd name="T93" fmla="*/ 109 h 213"/>
              <a:gd name="T94" fmla="*/ 82 w 273"/>
              <a:gd name="T95" fmla="*/ 120 h 213"/>
              <a:gd name="T96" fmla="*/ 87 w 273"/>
              <a:gd name="T97" fmla="*/ 142 h 213"/>
              <a:gd name="T98" fmla="*/ 87 w 273"/>
              <a:gd name="T99" fmla="*/ 164 h 213"/>
              <a:gd name="T100" fmla="*/ 87 w 273"/>
              <a:gd name="T101" fmla="*/ 1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3" h="213">
                <a:moveTo>
                  <a:pt x="82" y="191"/>
                </a:moveTo>
                <a:lnTo>
                  <a:pt x="76" y="191"/>
                </a:lnTo>
                <a:lnTo>
                  <a:pt x="71" y="185"/>
                </a:lnTo>
                <a:lnTo>
                  <a:pt x="71" y="180"/>
                </a:lnTo>
                <a:lnTo>
                  <a:pt x="71" y="185"/>
                </a:lnTo>
                <a:lnTo>
                  <a:pt x="65" y="185"/>
                </a:lnTo>
                <a:lnTo>
                  <a:pt x="71" y="185"/>
                </a:lnTo>
                <a:lnTo>
                  <a:pt x="71" y="191"/>
                </a:lnTo>
                <a:lnTo>
                  <a:pt x="60" y="191"/>
                </a:lnTo>
                <a:lnTo>
                  <a:pt x="60" y="196"/>
                </a:lnTo>
                <a:lnTo>
                  <a:pt x="55" y="196"/>
                </a:lnTo>
                <a:lnTo>
                  <a:pt x="60" y="196"/>
                </a:lnTo>
                <a:lnTo>
                  <a:pt x="55" y="196"/>
                </a:lnTo>
                <a:lnTo>
                  <a:pt x="55" y="202"/>
                </a:lnTo>
                <a:lnTo>
                  <a:pt x="49" y="207"/>
                </a:lnTo>
                <a:lnTo>
                  <a:pt x="44" y="207"/>
                </a:lnTo>
                <a:lnTo>
                  <a:pt x="38" y="207"/>
                </a:lnTo>
                <a:lnTo>
                  <a:pt x="33" y="207"/>
                </a:lnTo>
                <a:lnTo>
                  <a:pt x="33" y="213"/>
                </a:lnTo>
                <a:lnTo>
                  <a:pt x="27" y="207"/>
                </a:lnTo>
                <a:lnTo>
                  <a:pt x="16" y="202"/>
                </a:lnTo>
                <a:lnTo>
                  <a:pt x="11" y="202"/>
                </a:lnTo>
                <a:lnTo>
                  <a:pt x="11" y="196"/>
                </a:lnTo>
                <a:lnTo>
                  <a:pt x="11" y="191"/>
                </a:lnTo>
                <a:lnTo>
                  <a:pt x="16" y="196"/>
                </a:lnTo>
                <a:lnTo>
                  <a:pt x="16" y="191"/>
                </a:lnTo>
                <a:lnTo>
                  <a:pt x="16" y="185"/>
                </a:lnTo>
                <a:lnTo>
                  <a:pt x="16" y="191"/>
                </a:lnTo>
                <a:lnTo>
                  <a:pt x="11" y="191"/>
                </a:lnTo>
                <a:lnTo>
                  <a:pt x="5" y="191"/>
                </a:lnTo>
                <a:lnTo>
                  <a:pt x="5" y="185"/>
                </a:lnTo>
                <a:lnTo>
                  <a:pt x="11" y="185"/>
                </a:lnTo>
                <a:lnTo>
                  <a:pt x="16" y="180"/>
                </a:lnTo>
                <a:lnTo>
                  <a:pt x="11" y="180"/>
                </a:lnTo>
                <a:lnTo>
                  <a:pt x="16" y="180"/>
                </a:lnTo>
                <a:lnTo>
                  <a:pt x="16" y="174"/>
                </a:lnTo>
                <a:lnTo>
                  <a:pt x="16" y="180"/>
                </a:lnTo>
                <a:lnTo>
                  <a:pt x="11" y="180"/>
                </a:lnTo>
                <a:lnTo>
                  <a:pt x="11" y="174"/>
                </a:lnTo>
                <a:lnTo>
                  <a:pt x="5" y="174"/>
                </a:lnTo>
                <a:lnTo>
                  <a:pt x="5" y="169"/>
                </a:lnTo>
                <a:lnTo>
                  <a:pt x="0" y="164"/>
                </a:lnTo>
                <a:lnTo>
                  <a:pt x="5" y="164"/>
                </a:lnTo>
                <a:lnTo>
                  <a:pt x="11" y="164"/>
                </a:lnTo>
                <a:lnTo>
                  <a:pt x="16" y="158"/>
                </a:lnTo>
                <a:lnTo>
                  <a:pt x="22" y="164"/>
                </a:lnTo>
                <a:lnTo>
                  <a:pt x="22" y="158"/>
                </a:lnTo>
                <a:lnTo>
                  <a:pt x="11" y="158"/>
                </a:lnTo>
                <a:lnTo>
                  <a:pt x="11" y="164"/>
                </a:lnTo>
                <a:lnTo>
                  <a:pt x="5" y="158"/>
                </a:lnTo>
                <a:lnTo>
                  <a:pt x="5" y="153"/>
                </a:lnTo>
                <a:lnTo>
                  <a:pt x="5" y="147"/>
                </a:lnTo>
                <a:lnTo>
                  <a:pt x="5" y="142"/>
                </a:lnTo>
                <a:lnTo>
                  <a:pt x="5" y="147"/>
                </a:lnTo>
                <a:lnTo>
                  <a:pt x="11" y="142"/>
                </a:lnTo>
                <a:lnTo>
                  <a:pt x="16" y="142"/>
                </a:lnTo>
                <a:lnTo>
                  <a:pt x="22" y="142"/>
                </a:lnTo>
                <a:lnTo>
                  <a:pt x="22" y="136"/>
                </a:lnTo>
                <a:lnTo>
                  <a:pt x="16" y="142"/>
                </a:lnTo>
                <a:lnTo>
                  <a:pt x="22" y="136"/>
                </a:lnTo>
                <a:lnTo>
                  <a:pt x="16" y="136"/>
                </a:lnTo>
                <a:lnTo>
                  <a:pt x="27" y="136"/>
                </a:lnTo>
                <a:lnTo>
                  <a:pt x="33" y="136"/>
                </a:lnTo>
                <a:lnTo>
                  <a:pt x="27" y="136"/>
                </a:lnTo>
                <a:lnTo>
                  <a:pt x="27" y="131"/>
                </a:lnTo>
                <a:lnTo>
                  <a:pt x="33" y="131"/>
                </a:lnTo>
                <a:lnTo>
                  <a:pt x="38" y="131"/>
                </a:lnTo>
                <a:lnTo>
                  <a:pt x="44" y="125"/>
                </a:lnTo>
                <a:lnTo>
                  <a:pt x="49" y="125"/>
                </a:lnTo>
                <a:lnTo>
                  <a:pt x="49" y="120"/>
                </a:lnTo>
                <a:lnTo>
                  <a:pt x="55" y="120"/>
                </a:lnTo>
                <a:lnTo>
                  <a:pt x="60" y="125"/>
                </a:lnTo>
                <a:lnTo>
                  <a:pt x="71" y="125"/>
                </a:lnTo>
                <a:lnTo>
                  <a:pt x="65" y="120"/>
                </a:lnTo>
                <a:lnTo>
                  <a:pt x="76" y="120"/>
                </a:lnTo>
                <a:lnTo>
                  <a:pt x="71" y="114"/>
                </a:lnTo>
                <a:lnTo>
                  <a:pt x="71" y="120"/>
                </a:lnTo>
                <a:lnTo>
                  <a:pt x="65" y="120"/>
                </a:lnTo>
                <a:lnTo>
                  <a:pt x="60" y="120"/>
                </a:lnTo>
                <a:lnTo>
                  <a:pt x="55" y="120"/>
                </a:lnTo>
                <a:lnTo>
                  <a:pt x="60" y="114"/>
                </a:lnTo>
                <a:lnTo>
                  <a:pt x="65" y="109"/>
                </a:lnTo>
                <a:lnTo>
                  <a:pt x="71" y="109"/>
                </a:lnTo>
                <a:lnTo>
                  <a:pt x="71" y="104"/>
                </a:lnTo>
                <a:lnTo>
                  <a:pt x="76" y="104"/>
                </a:lnTo>
                <a:lnTo>
                  <a:pt x="71" y="98"/>
                </a:lnTo>
                <a:lnTo>
                  <a:pt x="76" y="98"/>
                </a:lnTo>
                <a:lnTo>
                  <a:pt x="82" y="98"/>
                </a:lnTo>
                <a:lnTo>
                  <a:pt x="87" y="98"/>
                </a:lnTo>
                <a:lnTo>
                  <a:pt x="82" y="93"/>
                </a:lnTo>
                <a:lnTo>
                  <a:pt x="82" y="87"/>
                </a:lnTo>
                <a:lnTo>
                  <a:pt x="87" y="93"/>
                </a:lnTo>
                <a:lnTo>
                  <a:pt x="82" y="87"/>
                </a:lnTo>
                <a:lnTo>
                  <a:pt x="87" y="87"/>
                </a:lnTo>
                <a:lnTo>
                  <a:pt x="87" y="82"/>
                </a:lnTo>
                <a:lnTo>
                  <a:pt x="82" y="82"/>
                </a:lnTo>
                <a:lnTo>
                  <a:pt x="87" y="82"/>
                </a:lnTo>
                <a:lnTo>
                  <a:pt x="93" y="76"/>
                </a:lnTo>
                <a:lnTo>
                  <a:pt x="87" y="76"/>
                </a:lnTo>
                <a:lnTo>
                  <a:pt x="93" y="76"/>
                </a:lnTo>
                <a:lnTo>
                  <a:pt x="93" y="71"/>
                </a:lnTo>
                <a:lnTo>
                  <a:pt x="98" y="71"/>
                </a:lnTo>
                <a:lnTo>
                  <a:pt x="93" y="65"/>
                </a:lnTo>
                <a:lnTo>
                  <a:pt x="98" y="65"/>
                </a:lnTo>
                <a:lnTo>
                  <a:pt x="109" y="65"/>
                </a:lnTo>
                <a:lnTo>
                  <a:pt x="109" y="60"/>
                </a:lnTo>
                <a:lnTo>
                  <a:pt x="115" y="60"/>
                </a:lnTo>
                <a:lnTo>
                  <a:pt x="115" y="54"/>
                </a:lnTo>
                <a:lnTo>
                  <a:pt x="104" y="54"/>
                </a:lnTo>
                <a:lnTo>
                  <a:pt x="109" y="49"/>
                </a:lnTo>
                <a:lnTo>
                  <a:pt x="120" y="54"/>
                </a:lnTo>
                <a:lnTo>
                  <a:pt x="115" y="49"/>
                </a:lnTo>
                <a:lnTo>
                  <a:pt x="120" y="49"/>
                </a:lnTo>
                <a:lnTo>
                  <a:pt x="125" y="49"/>
                </a:lnTo>
                <a:lnTo>
                  <a:pt x="120" y="44"/>
                </a:lnTo>
                <a:lnTo>
                  <a:pt x="125" y="44"/>
                </a:lnTo>
                <a:lnTo>
                  <a:pt x="136" y="44"/>
                </a:lnTo>
                <a:lnTo>
                  <a:pt x="131" y="44"/>
                </a:lnTo>
                <a:lnTo>
                  <a:pt x="120" y="44"/>
                </a:lnTo>
                <a:lnTo>
                  <a:pt x="115" y="44"/>
                </a:lnTo>
                <a:lnTo>
                  <a:pt x="104" y="44"/>
                </a:lnTo>
                <a:lnTo>
                  <a:pt x="98" y="49"/>
                </a:lnTo>
                <a:lnTo>
                  <a:pt x="104" y="44"/>
                </a:lnTo>
                <a:lnTo>
                  <a:pt x="109" y="44"/>
                </a:lnTo>
                <a:lnTo>
                  <a:pt x="115" y="44"/>
                </a:lnTo>
                <a:lnTo>
                  <a:pt x="115" y="38"/>
                </a:lnTo>
                <a:lnTo>
                  <a:pt x="120" y="38"/>
                </a:lnTo>
                <a:lnTo>
                  <a:pt x="125" y="38"/>
                </a:lnTo>
                <a:lnTo>
                  <a:pt x="131" y="38"/>
                </a:lnTo>
                <a:lnTo>
                  <a:pt x="136" y="38"/>
                </a:lnTo>
                <a:lnTo>
                  <a:pt x="136" y="33"/>
                </a:lnTo>
                <a:lnTo>
                  <a:pt x="142" y="33"/>
                </a:lnTo>
                <a:lnTo>
                  <a:pt x="136" y="27"/>
                </a:lnTo>
                <a:lnTo>
                  <a:pt x="147" y="27"/>
                </a:lnTo>
                <a:lnTo>
                  <a:pt x="142" y="27"/>
                </a:lnTo>
                <a:lnTo>
                  <a:pt x="147" y="27"/>
                </a:lnTo>
                <a:lnTo>
                  <a:pt x="147" y="22"/>
                </a:lnTo>
                <a:lnTo>
                  <a:pt x="153" y="22"/>
                </a:lnTo>
                <a:lnTo>
                  <a:pt x="158" y="27"/>
                </a:lnTo>
                <a:lnTo>
                  <a:pt x="158" y="22"/>
                </a:lnTo>
                <a:lnTo>
                  <a:pt x="164" y="22"/>
                </a:lnTo>
                <a:lnTo>
                  <a:pt x="164" y="27"/>
                </a:lnTo>
                <a:lnTo>
                  <a:pt x="164" y="22"/>
                </a:lnTo>
                <a:lnTo>
                  <a:pt x="169" y="22"/>
                </a:lnTo>
                <a:lnTo>
                  <a:pt x="169" y="16"/>
                </a:lnTo>
                <a:lnTo>
                  <a:pt x="180" y="22"/>
                </a:lnTo>
                <a:lnTo>
                  <a:pt x="169" y="16"/>
                </a:lnTo>
                <a:lnTo>
                  <a:pt x="174" y="16"/>
                </a:lnTo>
                <a:lnTo>
                  <a:pt x="180" y="16"/>
                </a:lnTo>
                <a:lnTo>
                  <a:pt x="191" y="16"/>
                </a:lnTo>
                <a:lnTo>
                  <a:pt x="196" y="22"/>
                </a:lnTo>
                <a:lnTo>
                  <a:pt x="191" y="16"/>
                </a:lnTo>
                <a:lnTo>
                  <a:pt x="196" y="16"/>
                </a:lnTo>
                <a:lnTo>
                  <a:pt x="196" y="11"/>
                </a:lnTo>
                <a:lnTo>
                  <a:pt x="202" y="11"/>
                </a:lnTo>
                <a:lnTo>
                  <a:pt x="207" y="11"/>
                </a:lnTo>
                <a:lnTo>
                  <a:pt x="202" y="5"/>
                </a:lnTo>
                <a:lnTo>
                  <a:pt x="213" y="5"/>
                </a:lnTo>
                <a:lnTo>
                  <a:pt x="218" y="5"/>
                </a:lnTo>
                <a:lnTo>
                  <a:pt x="213" y="5"/>
                </a:lnTo>
                <a:lnTo>
                  <a:pt x="213" y="11"/>
                </a:lnTo>
                <a:lnTo>
                  <a:pt x="207" y="16"/>
                </a:lnTo>
                <a:lnTo>
                  <a:pt x="213" y="16"/>
                </a:lnTo>
                <a:lnTo>
                  <a:pt x="213" y="11"/>
                </a:lnTo>
                <a:lnTo>
                  <a:pt x="218" y="11"/>
                </a:lnTo>
                <a:lnTo>
                  <a:pt x="218" y="5"/>
                </a:lnTo>
                <a:lnTo>
                  <a:pt x="224" y="5"/>
                </a:lnTo>
                <a:lnTo>
                  <a:pt x="229" y="5"/>
                </a:lnTo>
                <a:lnTo>
                  <a:pt x="224" y="11"/>
                </a:lnTo>
                <a:lnTo>
                  <a:pt x="229" y="11"/>
                </a:lnTo>
                <a:lnTo>
                  <a:pt x="229" y="5"/>
                </a:lnTo>
                <a:lnTo>
                  <a:pt x="234" y="5"/>
                </a:lnTo>
                <a:lnTo>
                  <a:pt x="229" y="5"/>
                </a:lnTo>
                <a:lnTo>
                  <a:pt x="234" y="0"/>
                </a:lnTo>
                <a:lnTo>
                  <a:pt x="245" y="5"/>
                </a:lnTo>
                <a:lnTo>
                  <a:pt x="240" y="5"/>
                </a:lnTo>
                <a:lnTo>
                  <a:pt x="240" y="11"/>
                </a:lnTo>
                <a:lnTo>
                  <a:pt x="245" y="11"/>
                </a:lnTo>
                <a:lnTo>
                  <a:pt x="245" y="5"/>
                </a:lnTo>
                <a:lnTo>
                  <a:pt x="251" y="5"/>
                </a:lnTo>
                <a:lnTo>
                  <a:pt x="256" y="5"/>
                </a:lnTo>
                <a:lnTo>
                  <a:pt x="262" y="5"/>
                </a:lnTo>
                <a:lnTo>
                  <a:pt x="262" y="11"/>
                </a:lnTo>
                <a:lnTo>
                  <a:pt x="273" y="11"/>
                </a:lnTo>
                <a:lnTo>
                  <a:pt x="273" y="16"/>
                </a:lnTo>
                <a:lnTo>
                  <a:pt x="267" y="16"/>
                </a:lnTo>
                <a:lnTo>
                  <a:pt x="262" y="16"/>
                </a:lnTo>
                <a:lnTo>
                  <a:pt x="256" y="16"/>
                </a:lnTo>
                <a:lnTo>
                  <a:pt x="251" y="16"/>
                </a:lnTo>
                <a:lnTo>
                  <a:pt x="262" y="22"/>
                </a:lnTo>
                <a:lnTo>
                  <a:pt x="273" y="22"/>
                </a:lnTo>
                <a:lnTo>
                  <a:pt x="273" y="27"/>
                </a:lnTo>
                <a:lnTo>
                  <a:pt x="267" y="27"/>
                </a:lnTo>
                <a:lnTo>
                  <a:pt x="262" y="33"/>
                </a:lnTo>
                <a:lnTo>
                  <a:pt x="256" y="33"/>
                </a:lnTo>
                <a:lnTo>
                  <a:pt x="262" y="27"/>
                </a:lnTo>
                <a:lnTo>
                  <a:pt x="256" y="22"/>
                </a:lnTo>
                <a:lnTo>
                  <a:pt x="245" y="22"/>
                </a:lnTo>
                <a:lnTo>
                  <a:pt x="240" y="16"/>
                </a:lnTo>
                <a:lnTo>
                  <a:pt x="234" y="22"/>
                </a:lnTo>
                <a:lnTo>
                  <a:pt x="229" y="22"/>
                </a:lnTo>
                <a:lnTo>
                  <a:pt x="224" y="22"/>
                </a:lnTo>
                <a:lnTo>
                  <a:pt x="224" y="27"/>
                </a:lnTo>
                <a:lnTo>
                  <a:pt x="224" y="33"/>
                </a:lnTo>
                <a:lnTo>
                  <a:pt x="218" y="38"/>
                </a:lnTo>
                <a:lnTo>
                  <a:pt x="213" y="44"/>
                </a:lnTo>
                <a:lnTo>
                  <a:pt x="213" y="38"/>
                </a:lnTo>
                <a:lnTo>
                  <a:pt x="207" y="38"/>
                </a:lnTo>
                <a:lnTo>
                  <a:pt x="202" y="38"/>
                </a:lnTo>
                <a:lnTo>
                  <a:pt x="196" y="44"/>
                </a:lnTo>
                <a:lnTo>
                  <a:pt x="185" y="38"/>
                </a:lnTo>
                <a:lnTo>
                  <a:pt x="180" y="33"/>
                </a:lnTo>
                <a:lnTo>
                  <a:pt x="174" y="33"/>
                </a:lnTo>
                <a:lnTo>
                  <a:pt x="164" y="33"/>
                </a:lnTo>
                <a:lnTo>
                  <a:pt x="158" y="33"/>
                </a:lnTo>
                <a:lnTo>
                  <a:pt x="164" y="38"/>
                </a:lnTo>
                <a:lnTo>
                  <a:pt x="164" y="44"/>
                </a:lnTo>
                <a:lnTo>
                  <a:pt x="153" y="44"/>
                </a:lnTo>
                <a:lnTo>
                  <a:pt x="147" y="44"/>
                </a:lnTo>
                <a:lnTo>
                  <a:pt x="142" y="44"/>
                </a:lnTo>
                <a:lnTo>
                  <a:pt x="142" y="49"/>
                </a:lnTo>
                <a:lnTo>
                  <a:pt x="131" y="49"/>
                </a:lnTo>
                <a:lnTo>
                  <a:pt x="125" y="54"/>
                </a:lnTo>
                <a:lnTo>
                  <a:pt x="125" y="60"/>
                </a:lnTo>
                <a:lnTo>
                  <a:pt x="120" y="60"/>
                </a:lnTo>
                <a:lnTo>
                  <a:pt x="125" y="65"/>
                </a:lnTo>
                <a:lnTo>
                  <a:pt x="120" y="71"/>
                </a:lnTo>
                <a:lnTo>
                  <a:pt x="115" y="76"/>
                </a:lnTo>
                <a:lnTo>
                  <a:pt x="115" y="82"/>
                </a:lnTo>
                <a:lnTo>
                  <a:pt x="109" y="82"/>
                </a:lnTo>
                <a:lnTo>
                  <a:pt x="109" y="87"/>
                </a:lnTo>
                <a:lnTo>
                  <a:pt x="109" y="93"/>
                </a:lnTo>
                <a:lnTo>
                  <a:pt x="109" y="98"/>
                </a:lnTo>
                <a:lnTo>
                  <a:pt x="98" y="104"/>
                </a:lnTo>
                <a:lnTo>
                  <a:pt x="104" y="109"/>
                </a:lnTo>
                <a:lnTo>
                  <a:pt x="104" y="114"/>
                </a:lnTo>
                <a:lnTo>
                  <a:pt x="93" y="114"/>
                </a:lnTo>
                <a:lnTo>
                  <a:pt x="87" y="114"/>
                </a:lnTo>
                <a:lnTo>
                  <a:pt x="87" y="120"/>
                </a:lnTo>
                <a:lnTo>
                  <a:pt x="82" y="120"/>
                </a:lnTo>
                <a:lnTo>
                  <a:pt x="82" y="125"/>
                </a:lnTo>
                <a:lnTo>
                  <a:pt x="87" y="131"/>
                </a:lnTo>
                <a:lnTo>
                  <a:pt x="82" y="131"/>
                </a:lnTo>
                <a:lnTo>
                  <a:pt x="82" y="136"/>
                </a:lnTo>
                <a:lnTo>
                  <a:pt x="87" y="142"/>
                </a:lnTo>
                <a:lnTo>
                  <a:pt x="87" y="153"/>
                </a:lnTo>
                <a:lnTo>
                  <a:pt x="93" y="153"/>
                </a:lnTo>
                <a:lnTo>
                  <a:pt x="98" y="158"/>
                </a:lnTo>
                <a:lnTo>
                  <a:pt x="93" y="164"/>
                </a:lnTo>
                <a:lnTo>
                  <a:pt x="87" y="164"/>
                </a:lnTo>
                <a:lnTo>
                  <a:pt x="93" y="164"/>
                </a:lnTo>
                <a:lnTo>
                  <a:pt x="93" y="169"/>
                </a:lnTo>
                <a:lnTo>
                  <a:pt x="93" y="174"/>
                </a:lnTo>
                <a:lnTo>
                  <a:pt x="93" y="180"/>
                </a:lnTo>
                <a:lnTo>
                  <a:pt x="87" y="180"/>
                </a:lnTo>
                <a:lnTo>
                  <a:pt x="87" y="185"/>
                </a:lnTo>
                <a:lnTo>
                  <a:pt x="87" y="191"/>
                </a:lnTo>
                <a:lnTo>
                  <a:pt x="87" y="196"/>
                </a:lnTo>
                <a:lnTo>
                  <a:pt x="82" y="191"/>
                </a:lnTo>
                <a:close/>
              </a:path>
            </a:pathLst>
          </a:custGeom>
          <a:solidFill>
            <a:schemeClr val="tx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grpSp>
        <p:nvGrpSpPr>
          <p:cNvPr id="280" name="Gruppieren 857">
            <a:extLst>
              <a:ext uri="{FF2B5EF4-FFF2-40B4-BE49-F238E27FC236}">
                <a16:creationId xmlns:a16="http://schemas.microsoft.com/office/drawing/2014/main" id="{F2272516-F7D0-AF04-76C8-CAA0EC73F3FC}"/>
              </a:ext>
            </a:extLst>
          </p:cNvPr>
          <p:cNvGrpSpPr/>
          <p:nvPr/>
        </p:nvGrpSpPr>
        <p:grpSpPr>
          <a:xfrm>
            <a:off x="2747963" y="1520826"/>
            <a:ext cx="169863" cy="73025"/>
            <a:chOff x="4862657" y="2262679"/>
            <a:chExt cx="241300" cy="95250"/>
          </a:xfrm>
          <a:solidFill>
            <a:schemeClr val="tx2"/>
          </a:solidFill>
        </p:grpSpPr>
        <p:sp>
          <p:nvSpPr>
            <p:cNvPr id="281" name="Freeform 686">
              <a:extLst>
                <a:ext uri="{FF2B5EF4-FFF2-40B4-BE49-F238E27FC236}">
                  <a16:creationId xmlns:a16="http://schemas.microsoft.com/office/drawing/2014/main" id="{539770EB-BEC0-BA14-90A2-F64E31E46A8F}"/>
                </a:ext>
              </a:extLst>
            </p:cNvPr>
            <p:cNvSpPr>
              <a:spLocks/>
            </p:cNvSpPr>
            <p:nvPr/>
          </p:nvSpPr>
          <p:spPr bwMode="auto">
            <a:xfrm>
              <a:off x="4862657" y="2270616"/>
              <a:ext cx="163513" cy="87313"/>
            </a:xfrm>
            <a:custGeom>
              <a:avLst/>
              <a:gdLst>
                <a:gd name="T0" fmla="*/ 5 w 103"/>
                <a:gd name="T1" fmla="*/ 6 h 55"/>
                <a:gd name="T2" fmla="*/ 27 w 103"/>
                <a:gd name="T3" fmla="*/ 6 h 55"/>
                <a:gd name="T4" fmla="*/ 27 w 103"/>
                <a:gd name="T5" fmla="*/ 11 h 55"/>
                <a:gd name="T6" fmla="*/ 32 w 103"/>
                <a:gd name="T7" fmla="*/ 11 h 55"/>
                <a:gd name="T8" fmla="*/ 43 w 103"/>
                <a:gd name="T9" fmla="*/ 11 h 55"/>
                <a:gd name="T10" fmla="*/ 60 w 103"/>
                <a:gd name="T11" fmla="*/ 22 h 55"/>
                <a:gd name="T12" fmla="*/ 49 w 103"/>
                <a:gd name="T13" fmla="*/ 11 h 55"/>
                <a:gd name="T14" fmla="*/ 54 w 103"/>
                <a:gd name="T15" fmla="*/ 0 h 55"/>
                <a:gd name="T16" fmla="*/ 71 w 103"/>
                <a:gd name="T17" fmla="*/ 6 h 55"/>
                <a:gd name="T18" fmla="*/ 71 w 103"/>
                <a:gd name="T19" fmla="*/ 11 h 55"/>
                <a:gd name="T20" fmla="*/ 76 w 103"/>
                <a:gd name="T21" fmla="*/ 16 h 55"/>
                <a:gd name="T22" fmla="*/ 87 w 103"/>
                <a:gd name="T23" fmla="*/ 16 h 55"/>
                <a:gd name="T24" fmla="*/ 103 w 103"/>
                <a:gd name="T25" fmla="*/ 22 h 55"/>
                <a:gd name="T26" fmla="*/ 81 w 103"/>
                <a:gd name="T27" fmla="*/ 27 h 55"/>
                <a:gd name="T28" fmla="*/ 76 w 103"/>
                <a:gd name="T29" fmla="*/ 33 h 55"/>
                <a:gd name="T30" fmla="*/ 76 w 103"/>
                <a:gd name="T31" fmla="*/ 44 h 55"/>
                <a:gd name="T32" fmla="*/ 71 w 103"/>
                <a:gd name="T33" fmla="*/ 49 h 55"/>
                <a:gd name="T34" fmla="*/ 71 w 103"/>
                <a:gd name="T35" fmla="*/ 55 h 55"/>
                <a:gd name="T36" fmla="*/ 60 w 103"/>
                <a:gd name="T37" fmla="*/ 55 h 55"/>
                <a:gd name="T38" fmla="*/ 54 w 103"/>
                <a:gd name="T39" fmla="*/ 49 h 55"/>
                <a:gd name="T40" fmla="*/ 43 w 103"/>
                <a:gd name="T41" fmla="*/ 49 h 55"/>
                <a:gd name="T42" fmla="*/ 43 w 103"/>
                <a:gd name="T43" fmla="*/ 38 h 55"/>
                <a:gd name="T44" fmla="*/ 32 w 103"/>
                <a:gd name="T45" fmla="*/ 33 h 55"/>
                <a:gd name="T46" fmla="*/ 49 w 103"/>
                <a:gd name="T47" fmla="*/ 27 h 55"/>
                <a:gd name="T48" fmla="*/ 49 w 103"/>
                <a:gd name="T49" fmla="*/ 27 h 55"/>
                <a:gd name="T50" fmla="*/ 43 w 103"/>
                <a:gd name="T51" fmla="*/ 27 h 55"/>
                <a:gd name="T52" fmla="*/ 27 w 103"/>
                <a:gd name="T53" fmla="*/ 33 h 55"/>
                <a:gd name="T54" fmla="*/ 16 w 103"/>
                <a:gd name="T55" fmla="*/ 27 h 55"/>
                <a:gd name="T56" fmla="*/ 11 w 103"/>
                <a:gd name="T57" fmla="*/ 16 h 55"/>
                <a:gd name="T58" fmla="*/ 11 w 103"/>
                <a:gd name="T59" fmla="*/ 16 h 55"/>
                <a:gd name="T60" fmla="*/ 5 w 103"/>
                <a:gd name="T61" fmla="*/ 16 h 55"/>
                <a:gd name="T62" fmla="*/ 0 w 103"/>
                <a:gd name="T63" fmla="*/ 1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55">
                  <a:moveTo>
                    <a:pt x="0" y="11"/>
                  </a:moveTo>
                  <a:lnTo>
                    <a:pt x="5" y="6"/>
                  </a:lnTo>
                  <a:lnTo>
                    <a:pt x="16" y="6"/>
                  </a:lnTo>
                  <a:lnTo>
                    <a:pt x="27" y="6"/>
                  </a:lnTo>
                  <a:lnTo>
                    <a:pt x="16" y="11"/>
                  </a:lnTo>
                  <a:lnTo>
                    <a:pt x="27" y="11"/>
                  </a:lnTo>
                  <a:lnTo>
                    <a:pt x="32" y="16"/>
                  </a:lnTo>
                  <a:lnTo>
                    <a:pt x="32" y="11"/>
                  </a:lnTo>
                  <a:lnTo>
                    <a:pt x="38" y="6"/>
                  </a:lnTo>
                  <a:lnTo>
                    <a:pt x="43" y="11"/>
                  </a:lnTo>
                  <a:lnTo>
                    <a:pt x="49" y="16"/>
                  </a:lnTo>
                  <a:lnTo>
                    <a:pt x="60" y="22"/>
                  </a:lnTo>
                  <a:lnTo>
                    <a:pt x="54" y="16"/>
                  </a:lnTo>
                  <a:lnTo>
                    <a:pt x="49" y="11"/>
                  </a:lnTo>
                  <a:lnTo>
                    <a:pt x="49" y="6"/>
                  </a:lnTo>
                  <a:lnTo>
                    <a:pt x="54" y="0"/>
                  </a:lnTo>
                  <a:lnTo>
                    <a:pt x="54" y="6"/>
                  </a:lnTo>
                  <a:lnTo>
                    <a:pt x="71" y="6"/>
                  </a:lnTo>
                  <a:lnTo>
                    <a:pt x="65" y="11"/>
                  </a:lnTo>
                  <a:lnTo>
                    <a:pt x="71" y="11"/>
                  </a:lnTo>
                  <a:lnTo>
                    <a:pt x="76" y="11"/>
                  </a:lnTo>
                  <a:lnTo>
                    <a:pt x="76" y="16"/>
                  </a:lnTo>
                  <a:lnTo>
                    <a:pt x="81" y="16"/>
                  </a:lnTo>
                  <a:lnTo>
                    <a:pt x="87" y="16"/>
                  </a:lnTo>
                  <a:lnTo>
                    <a:pt x="92" y="16"/>
                  </a:lnTo>
                  <a:lnTo>
                    <a:pt x="103" y="22"/>
                  </a:lnTo>
                  <a:lnTo>
                    <a:pt x="92" y="22"/>
                  </a:lnTo>
                  <a:lnTo>
                    <a:pt x="81" y="27"/>
                  </a:lnTo>
                  <a:lnTo>
                    <a:pt x="81" y="33"/>
                  </a:lnTo>
                  <a:lnTo>
                    <a:pt x="76" y="33"/>
                  </a:lnTo>
                  <a:lnTo>
                    <a:pt x="76" y="38"/>
                  </a:lnTo>
                  <a:lnTo>
                    <a:pt x="76" y="44"/>
                  </a:lnTo>
                  <a:lnTo>
                    <a:pt x="71" y="44"/>
                  </a:lnTo>
                  <a:lnTo>
                    <a:pt x="71" y="49"/>
                  </a:lnTo>
                  <a:lnTo>
                    <a:pt x="65" y="55"/>
                  </a:lnTo>
                  <a:lnTo>
                    <a:pt x="71" y="55"/>
                  </a:lnTo>
                  <a:lnTo>
                    <a:pt x="65" y="55"/>
                  </a:lnTo>
                  <a:lnTo>
                    <a:pt x="60" y="55"/>
                  </a:lnTo>
                  <a:lnTo>
                    <a:pt x="54" y="55"/>
                  </a:lnTo>
                  <a:lnTo>
                    <a:pt x="54" y="49"/>
                  </a:lnTo>
                  <a:lnTo>
                    <a:pt x="49" y="49"/>
                  </a:lnTo>
                  <a:lnTo>
                    <a:pt x="43" y="49"/>
                  </a:lnTo>
                  <a:lnTo>
                    <a:pt x="38" y="44"/>
                  </a:lnTo>
                  <a:lnTo>
                    <a:pt x="43" y="38"/>
                  </a:lnTo>
                  <a:lnTo>
                    <a:pt x="32" y="38"/>
                  </a:lnTo>
                  <a:lnTo>
                    <a:pt x="32" y="33"/>
                  </a:lnTo>
                  <a:lnTo>
                    <a:pt x="43" y="33"/>
                  </a:lnTo>
                  <a:lnTo>
                    <a:pt x="49" y="27"/>
                  </a:lnTo>
                  <a:lnTo>
                    <a:pt x="54" y="27"/>
                  </a:lnTo>
                  <a:lnTo>
                    <a:pt x="49" y="27"/>
                  </a:lnTo>
                  <a:lnTo>
                    <a:pt x="38" y="22"/>
                  </a:lnTo>
                  <a:lnTo>
                    <a:pt x="43" y="27"/>
                  </a:lnTo>
                  <a:lnTo>
                    <a:pt x="32" y="33"/>
                  </a:lnTo>
                  <a:lnTo>
                    <a:pt x="27" y="33"/>
                  </a:lnTo>
                  <a:lnTo>
                    <a:pt x="21" y="27"/>
                  </a:lnTo>
                  <a:lnTo>
                    <a:pt x="16" y="27"/>
                  </a:lnTo>
                  <a:lnTo>
                    <a:pt x="11" y="22"/>
                  </a:lnTo>
                  <a:lnTo>
                    <a:pt x="11" y="16"/>
                  </a:lnTo>
                  <a:lnTo>
                    <a:pt x="16" y="22"/>
                  </a:lnTo>
                  <a:lnTo>
                    <a:pt x="11" y="16"/>
                  </a:lnTo>
                  <a:lnTo>
                    <a:pt x="16" y="11"/>
                  </a:lnTo>
                  <a:lnTo>
                    <a:pt x="5" y="16"/>
                  </a:lnTo>
                  <a:lnTo>
                    <a:pt x="5" y="11"/>
                  </a:lnTo>
                  <a:lnTo>
                    <a:pt x="0" y="11"/>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2" name="Freeform 693">
              <a:extLst>
                <a:ext uri="{FF2B5EF4-FFF2-40B4-BE49-F238E27FC236}">
                  <a16:creationId xmlns:a16="http://schemas.microsoft.com/office/drawing/2014/main" id="{DA356FFF-5358-A01A-893A-4987ADD7A381}"/>
                </a:ext>
              </a:extLst>
            </p:cNvPr>
            <p:cNvSpPr>
              <a:spLocks/>
            </p:cNvSpPr>
            <p:nvPr/>
          </p:nvSpPr>
          <p:spPr bwMode="auto">
            <a:xfrm>
              <a:off x="4965844" y="2262679"/>
              <a:ext cx="138113" cy="33338"/>
            </a:xfrm>
            <a:custGeom>
              <a:avLst/>
              <a:gdLst>
                <a:gd name="T0" fmla="*/ 0 w 87"/>
                <a:gd name="T1" fmla="*/ 5 h 21"/>
                <a:gd name="T2" fmla="*/ 16 w 87"/>
                <a:gd name="T3" fmla="*/ 5 h 21"/>
                <a:gd name="T4" fmla="*/ 11 w 87"/>
                <a:gd name="T5" fmla="*/ 0 h 21"/>
                <a:gd name="T6" fmla="*/ 16 w 87"/>
                <a:gd name="T7" fmla="*/ 0 h 21"/>
                <a:gd name="T8" fmla="*/ 27 w 87"/>
                <a:gd name="T9" fmla="*/ 5 h 21"/>
                <a:gd name="T10" fmla="*/ 38 w 87"/>
                <a:gd name="T11" fmla="*/ 5 h 21"/>
                <a:gd name="T12" fmla="*/ 44 w 87"/>
                <a:gd name="T13" fmla="*/ 5 h 21"/>
                <a:gd name="T14" fmla="*/ 44 w 87"/>
                <a:gd name="T15" fmla="*/ 0 h 21"/>
                <a:gd name="T16" fmla="*/ 49 w 87"/>
                <a:gd name="T17" fmla="*/ 0 h 21"/>
                <a:gd name="T18" fmla="*/ 49 w 87"/>
                <a:gd name="T19" fmla="*/ 5 h 21"/>
                <a:gd name="T20" fmla="*/ 60 w 87"/>
                <a:gd name="T21" fmla="*/ 0 h 21"/>
                <a:gd name="T22" fmla="*/ 65 w 87"/>
                <a:gd name="T23" fmla="*/ 0 h 21"/>
                <a:gd name="T24" fmla="*/ 65 w 87"/>
                <a:gd name="T25" fmla="*/ 5 h 21"/>
                <a:gd name="T26" fmla="*/ 87 w 87"/>
                <a:gd name="T27" fmla="*/ 5 h 21"/>
                <a:gd name="T28" fmla="*/ 87 w 87"/>
                <a:gd name="T29" fmla="*/ 11 h 21"/>
                <a:gd name="T30" fmla="*/ 82 w 87"/>
                <a:gd name="T31" fmla="*/ 11 h 21"/>
                <a:gd name="T32" fmla="*/ 76 w 87"/>
                <a:gd name="T33" fmla="*/ 16 h 21"/>
                <a:gd name="T34" fmla="*/ 71 w 87"/>
                <a:gd name="T35" fmla="*/ 16 h 21"/>
                <a:gd name="T36" fmla="*/ 60 w 87"/>
                <a:gd name="T37" fmla="*/ 21 h 21"/>
                <a:gd name="T38" fmla="*/ 49 w 87"/>
                <a:gd name="T39" fmla="*/ 16 h 21"/>
                <a:gd name="T40" fmla="*/ 33 w 87"/>
                <a:gd name="T41" fmla="*/ 16 h 21"/>
                <a:gd name="T42" fmla="*/ 22 w 87"/>
                <a:gd name="T43" fmla="*/ 16 h 21"/>
                <a:gd name="T44" fmla="*/ 27 w 87"/>
                <a:gd name="T45" fmla="*/ 11 h 21"/>
                <a:gd name="T46" fmla="*/ 11 w 87"/>
                <a:gd name="T47" fmla="*/ 11 h 21"/>
                <a:gd name="T48" fmla="*/ 6 w 87"/>
                <a:gd name="T49" fmla="*/ 5 h 21"/>
                <a:gd name="T50" fmla="*/ 0 w 87"/>
                <a:gd name="T51"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7" h="21">
                  <a:moveTo>
                    <a:pt x="0" y="5"/>
                  </a:moveTo>
                  <a:lnTo>
                    <a:pt x="16" y="5"/>
                  </a:lnTo>
                  <a:lnTo>
                    <a:pt x="11" y="0"/>
                  </a:lnTo>
                  <a:lnTo>
                    <a:pt x="16" y="0"/>
                  </a:lnTo>
                  <a:lnTo>
                    <a:pt x="27" y="5"/>
                  </a:lnTo>
                  <a:lnTo>
                    <a:pt x="38" y="5"/>
                  </a:lnTo>
                  <a:lnTo>
                    <a:pt x="44" y="5"/>
                  </a:lnTo>
                  <a:lnTo>
                    <a:pt x="44" y="0"/>
                  </a:lnTo>
                  <a:lnTo>
                    <a:pt x="49" y="0"/>
                  </a:lnTo>
                  <a:lnTo>
                    <a:pt x="49" y="5"/>
                  </a:lnTo>
                  <a:lnTo>
                    <a:pt x="60" y="0"/>
                  </a:lnTo>
                  <a:lnTo>
                    <a:pt x="65" y="0"/>
                  </a:lnTo>
                  <a:lnTo>
                    <a:pt x="65" y="5"/>
                  </a:lnTo>
                  <a:lnTo>
                    <a:pt x="87" y="5"/>
                  </a:lnTo>
                  <a:lnTo>
                    <a:pt x="87" y="11"/>
                  </a:lnTo>
                  <a:lnTo>
                    <a:pt x="82" y="11"/>
                  </a:lnTo>
                  <a:lnTo>
                    <a:pt x="76" y="16"/>
                  </a:lnTo>
                  <a:lnTo>
                    <a:pt x="71" y="16"/>
                  </a:lnTo>
                  <a:lnTo>
                    <a:pt x="60" y="21"/>
                  </a:lnTo>
                  <a:lnTo>
                    <a:pt x="49" y="16"/>
                  </a:lnTo>
                  <a:lnTo>
                    <a:pt x="33" y="16"/>
                  </a:lnTo>
                  <a:lnTo>
                    <a:pt x="22" y="16"/>
                  </a:lnTo>
                  <a:lnTo>
                    <a:pt x="27" y="11"/>
                  </a:lnTo>
                  <a:lnTo>
                    <a:pt x="11" y="11"/>
                  </a:lnTo>
                  <a:lnTo>
                    <a:pt x="6" y="5"/>
                  </a:lnTo>
                  <a:lnTo>
                    <a:pt x="0" y="5"/>
                  </a:lnTo>
                  <a:close/>
                </a:path>
              </a:pathLst>
            </a:custGeom>
            <a:grp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grpSp>
      <p:sp>
        <p:nvSpPr>
          <p:cNvPr id="283" name="Freeform 239">
            <a:extLst>
              <a:ext uri="{FF2B5EF4-FFF2-40B4-BE49-F238E27FC236}">
                <a16:creationId xmlns:a16="http://schemas.microsoft.com/office/drawing/2014/main" id="{405AD37F-1A3A-A9D9-E8EC-1BEDE880D5DE}"/>
              </a:ext>
            </a:extLst>
          </p:cNvPr>
          <p:cNvSpPr>
            <a:spLocks/>
          </p:cNvSpPr>
          <p:nvPr/>
        </p:nvSpPr>
        <p:spPr bwMode="auto">
          <a:xfrm>
            <a:off x="2765425" y="2278063"/>
            <a:ext cx="25400" cy="47625"/>
          </a:xfrm>
          <a:custGeom>
            <a:avLst/>
            <a:gdLst>
              <a:gd name="T0" fmla="*/ 0 w 22"/>
              <a:gd name="T1" fmla="*/ 11 h 39"/>
              <a:gd name="T2" fmla="*/ 0 w 22"/>
              <a:gd name="T3" fmla="*/ 6 h 39"/>
              <a:gd name="T4" fmla="*/ 5 w 22"/>
              <a:gd name="T5" fmla="*/ 6 h 39"/>
              <a:gd name="T6" fmla="*/ 11 w 22"/>
              <a:gd name="T7" fmla="*/ 6 h 39"/>
              <a:gd name="T8" fmla="*/ 11 w 22"/>
              <a:gd name="T9" fmla="*/ 0 h 39"/>
              <a:gd name="T10" fmla="*/ 16 w 22"/>
              <a:gd name="T11" fmla="*/ 6 h 39"/>
              <a:gd name="T12" fmla="*/ 22 w 22"/>
              <a:gd name="T13" fmla="*/ 6 h 39"/>
              <a:gd name="T14" fmla="*/ 16 w 22"/>
              <a:gd name="T15" fmla="*/ 6 h 39"/>
              <a:gd name="T16" fmla="*/ 22 w 22"/>
              <a:gd name="T17" fmla="*/ 6 h 39"/>
              <a:gd name="T18" fmla="*/ 22 w 22"/>
              <a:gd name="T19" fmla="*/ 11 h 39"/>
              <a:gd name="T20" fmla="*/ 22 w 22"/>
              <a:gd name="T21" fmla="*/ 17 h 39"/>
              <a:gd name="T22" fmla="*/ 22 w 22"/>
              <a:gd name="T23" fmla="*/ 22 h 39"/>
              <a:gd name="T24" fmla="*/ 22 w 22"/>
              <a:gd name="T25" fmla="*/ 28 h 39"/>
              <a:gd name="T26" fmla="*/ 22 w 22"/>
              <a:gd name="T27" fmla="*/ 33 h 39"/>
              <a:gd name="T28" fmla="*/ 16 w 22"/>
              <a:gd name="T29" fmla="*/ 33 h 39"/>
              <a:gd name="T30" fmla="*/ 11 w 22"/>
              <a:gd name="T31" fmla="*/ 33 h 39"/>
              <a:gd name="T32" fmla="*/ 11 w 22"/>
              <a:gd name="T33" fmla="*/ 39 h 39"/>
              <a:gd name="T34" fmla="*/ 5 w 22"/>
              <a:gd name="T35" fmla="*/ 39 h 39"/>
              <a:gd name="T36" fmla="*/ 0 w 22"/>
              <a:gd name="T37" fmla="*/ 33 h 39"/>
              <a:gd name="T38" fmla="*/ 0 w 22"/>
              <a:gd name="T39" fmla="*/ 28 h 39"/>
              <a:gd name="T40" fmla="*/ 5 w 22"/>
              <a:gd name="T41" fmla="*/ 28 h 39"/>
              <a:gd name="T42" fmla="*/ 5 w 22"/>
              <a:gd name="T43" fmla="*/ 22 h 39"/>
              <a:gd name="T44" fmla="*/ 0 w 22"/>
              <a:gd name="T45" fmla="*/ 22 h 39"/>
              <a:gd name="T46" fmla="*/ 5 w 22"/>
              <a:gd name="T47" fmla="*/ 17 h 39"/>
              <a:gd name="T48" fmla="*/ 0 w 22"/>
              <a:gd name="T49"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39">
                <a:moveTo>
                  <a:pt x="0" y="11"/>
                </a:moveTo>
                <a:lnTo>
                  <a:pt x="0" y="6"/>
                </a:lnTo>
                <a:lnTo>
                  <a:pt x="5" y="6"/>
                </a:lnTo>
                <a:lnTo>
                  <a:pt x="11" y="6"/>
                </a:lnTo>
                <a:lnTo>
                  <a:pt x="11" y="0"/>
                </a:lnTo>
                <a:lnTo>
                  <a:pt x="16" y="6"/>
                </a:lnTo>
                <a:lnTo>
                  <a:pt x="22" y="6"/>
                </a:lnTo>
                <a:lnTo>
                  <a:pt x="16" y="6"/>
                </a:lnTo>
                <a:lnTo>
                  <a:pt x="22" y="6"/>
                </a:lnTo>
                <a:lnTo>
                  <a:pt x="22" y="11"/>
                </a:lnTo>
                <a:lnTo>
                  <a:pt x="22" y="17"/>
                </a:lnTo>
                <a:lnTo>
                  <a:pt x="22" y="22"/>
                </a:lnTo>
                <a:lnTo>
                  <a:pt x="22" y="28"/>
                </a:lnTo>
                <a:lnTo>
                  <a:pt x="22" y="33"/>
                </a:lnTo>
                <a:lnTo>
                  <a:pt x="16" y="33"/>
                </a:lnTo>
                <a:lnTo>
                  <a:pt x="11" y="33"/>
                </a:lnTo>
                <a:lnTo>
                  <a:pt x="11" y="39"/>
                </a:lnTo>
                <a:lnTo>
                  <a:pt x="5" y="39"/>
                </a:lnTo>
                <a:lnTo>
                  <a:pt x="0" y="33"/>
                </a:lnTo>
                <a:lnTo>
                  <a:pt x="0" y="28"/>
                </a:lnTo>
                <a:lnTo>
                  <a:pt x="5" y="28"/>
                </a:lnTo>
                <a:lnTo>
                  <a:pt x="5" y="22"/>
                </a:lnTo>
                <a:lnTo>
                  <a:pt x="0" y="22"/>
                </a:lnTo>
                <a:lnTo>
                  <a:pt x="5" y="17"/>
                </a:lnTo>
                <a:lnTo>
                  <a:pt x="0" y="11"/>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4" name="Freeform 662">
            <a:extLst>
              <a:ext uri="{FF2B5EF4-FFF2-40B4-BE49-F238E27FC236}">
                <a16:creationId xmlns:a16="http://schemas.microsoft.com/office/drawing/2014/main" id="{03009A17-1193-2C9D-CFE4-D28555335B1A}"/>
              </a:ext>
            </a:extLst>
          </p:cNvPr>
          <p:cNvSpPr>
            <a:spLocks/>
          </p:cNvSpPr>
          <p:nvPr/>
        </p:nvSpPr>
        <p:spPr bwMode="auto">
          <a:xfrm>
            <a:off x="2833688" y="2339975"/>
            <a:ext cx="53975" cy="31750"/>
          </a:xfrm>
          <a:custGeom>
            <a:avLst/>
            <a:gdLst>
              <a:gd name="T0" fmla="*/ 0 w 49"/>
              <a:gd name="T1" fmla="*/ 5 h 27"/>
              <a:gd name="T2" fmla="*/ 5 w 49"/>
              <a:gd name="T3" fmla="*/ 0 h 27"/>
              <a:gd name="T4" fmla="*/ 5 w 49"/>
              <a:gd name="T5" fmla="*/ 5 h 27"/>
              <a:gd name="T6" fmla="*/ 11 w 49"/>
              <a:gd name="T7" fmla="*/ 0 h 27"/>
              <a:gd name="T8" fmla="*/ 16 w 49"/>
              <a:gd name="T9" fmla="*/ 0 h 27"/>
              <a:gd name="T10" fmla="*/ 22 w 49"/>
              <a:gd name="T11" fmla="*/ 5 h 27"/>
              <a:gd name="T12" fmla="*/ 27 w 49"/>
              <a:gd name="T13" fmla="*/ 5 h 27"/>
              <a:gd name="T14" fmla="*/ 33 w 49"/>
              <a:gd name="T15" fmla="*/ 0 h 27"/>
              <a:gd name="T16" fmla="*/ 38 w 49"/>
              <a:gd name="T17" fmla="*/ 0 h 27"/>
              <a:gd name="T18" fmla="*/ 49 w 49"/>
              <a:gd name="T19" fmla="*/ 0 h 27"/>
              <a:gd name="T20" fmla="*/ 44 w 49"/>
              <a:gd name="T21" fmla="*/ 0 h 27"/>
              <a:gd name="T22" fmla="*/ 44 w 49"/>
              <a:gd name="T23" fmla="*/ 5 h 27"/>
              <a:gd name="T24" fmla="*/ 38 w 49"/>
              <a:gd name="T25" fmla="*/ 10 h 27"/>
              <a:gd name="T26" fmla="*/ 38 w 49"/>
              <a:gd name="T27" fmla="*/ 16 h 27"/>
              <a:gd name="T28" fmla="*/ 44 w 49"/>
              <a:gd name="T29" fmla="*/ 16 h 27"/>
              <a:gd name="T30" fmla="*/ 44 w 49"/>
              <a:gd name="T31" fmla="*/ 21 h 27"/>
              <a:gd name="T32" fmla="*/ 38 w 49"/>
              <a:gd name="T33" fmla="*/ 27 h 27"/>
              <a:gd name="T34" fmla="*/ 38 w 49"/>
              <a:gd name="T35" fmla="*/ 21 h 27"/>
              <a:gd name="T36" fmla="*/ 33 w 49"/>
              <a:gd name="T37" fmla="*/ 21 h 27"/>
              <a:gd name="T38" fmla="*/ 27 w 49"/>
              <a:gd name="T39" fmla="*/ 16 h 27"/>
              <a:gd name="T40" fmla="*/ 22 w 49"/>
              <a:gd name="T41" fmla="*/ 16 h 27"/>
              <a:gd name="T42" fmla="*/ 16 w 49"/>
              <a:gd name="T43" fmla="*/ 16 h 27"/>
              <a:gd name="T44" fmla="*/ 11 w 49"/>
              <a:gd name="T45" fmla="*/ 10 h 27"/>
              <a:gd name="T46" fmla="*/ 5 w 49"/>
              <a:gd name="T47" fmla="*/ 10 h 27"/>
              <a:gd name="T48" fmla="*/ 0 w 49"/>
              <a:gd name="T49"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27">
                <a:moveTo>
                  <a:pt x="0" y="5"/>
                </a:moveTo>
                <a:lnTo>
                  <a:pt x="5" y="0"/>
                </a:lnTo>
                <a:lnTo>
                  <a:pt x="5" y="5"/>
                </a:lnTo>
                <a:lnTo>
                  <a:pt x="11" y="0"/>
                </a:lnTo>
                <a:lnTo>
                  <a:pt x="16" y="0"/>
                </a:lnTo>
                <a:lnTo>
                  <a:pt x="22" y="5"/>
                </a:lnTo>
                <a:lnTo>
                  <a:pt x="27" y="5"/>
                </a:lnTo>
                <a:lnTo>
                  <a:pt x="33" y="0"/>
                </a:lnTo>
                <a:lnTo>
                  <a:pt x="38" y="0"/>
                </a:lnTo>
                <a:lnTo>
                  <a:pt x="49" y="0"/>
                </a:lnTo>
                <a:lnTo>
                  <a:pt x="44" y="0"/>
                </a:lnTo>
                <a:lnTo>
                  <a:pt x="44" y="5"/>
                </a:lnTo>
                <a:lnTo>
                  <a:pt x="38" y="10"/>
                </a:lnTo>
                <a:lnTo>
                  <a:pt x="38" y="16"/>
                </a:lnTo>
                <a:lnTo>
                  <a:pt x="44" y="16"/>
                </a:lnTo>
                <a:lnTo>
                  <a:pt x="44" y="21"/>
                </a:lnTo>
                <a:lnTo>
                  <a:pt x="38" y="27"/>
                </a:lnTo>
                <a:lnTo>
                  <a:pt x="38" y="21"/>
                </a:lnTo>
                <a:lnTo>
                  <a:pt x="33" y="21"/>
                </a:lnTo>
                <a:lnTo>
                  <a:pt x="27" y="16"/>
                </a:lnTo>
                <a:lnTo>
                  <a:pt x="22" y="16"/>
                </a:lnTo>
                <a:lnTo>
                  <a:pt x="16" y="16"/>
                </a:lnTo>
                <a:lnTo>
                  <a:pt x="11" y="10"/>
                </a:lnTo>
                <a:lnTo>
                  <a:pt x="5" y="10"/>
                </a:lnTo>
                <a:lnTo>
                  <a:pt x="0" y="5"/>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5" name="Freeform 851">
            <a:extLst>
              <a:ext uri="{FF2B5EF4-FFF2-40B4-BE49-F238E27FC236}">
                <a16:creationId xmlns:a16="http://schemas.microsoft.com/office/drawing/2014/main" id="{D8B6D2EE-A685-3BFB-F7A4-51297EB2AB24}"/>
              </a:ext>
            </a:extLst>
          </p:cNvPr>
          <p:cNvSpPr>
            <a:spLocks/>
          </p:cNvSpPr>
          <p:nvPr/>
        </p:nvSpPr>
        <p:spPr bwMode="auto">
          <a:xfrm>
            <a:off x="2735263" y="2165350"/>
            <a:ext cx="190500" cy="179388"/>
          </a:xfrm>
          <a:custGeom>
            <a:avLst/>
            <a:gdLst>
              <a:gd name="T0" fmla="*/ 16 w 169"/>
              <a:gd name="T1" fmla="*/ 49 h 147"/>
              <a:gd name="T2" fmla="*/ 5 w 169"/>
              <a:gd name="T3" fmla="*/ 49 h 147"/>
              <a:gd name="T4" fmla="*/ 5 w 169"/>
              <a:gd name="T5" fmla="*/ 38 h 147"/>
              <a:gd name="T6" fmla="*/ 5 w 169"/>
              <a:gd name="T7" fmla="*/ 32 h 147"/>
              <a:gd name="T8" fmla="*/ 11 w 169"/>
              <a:gd name="T9" fmla="*/ 27 h 147"/>
              <a:gd name="T10" fmla="*/ 11 w 169"/>
              <a:gd name="T11" fmla="*/ 22 h 147"/>
              <a:gd name="T12" fmla="*/ 16 w 169"/>
              <a:gd name="T13" fmla="*/ 22 h 147"/>
              <a:gd name="T14" fmla="*/ 27 w 169"/>
              <a:gd name="T15" fmla="*/ 11 h 147"/>
              <a:gd name="T16" fmla="*/ 32 w 169"/>
              <a:gd name="T17" fmla="*/ 16 h 147"/>
              <a:gd name="T18" fmla="*/ 32 w 169"/>
              <a:gd name="T19" fmla="*/ 16 h 147"/>
              <a:gd name="T20" fmla="*/ 38 w 169"/>
              <a:gd name="T21" fmla="*/ 16 h 147"/>
              <a:gd name="T22" fmla="*/ 49 w 169"/>
              <a:gd name="T23" fmla="*/ 16 h 147"/>
              <a:gd name="T24" fmla="*/ 54 w 169"/>
              <a:gd name="T25" fmla="*/ 11 h 147"/>
              <a:gd name="T26" fmla="*/ 60 w 169"/>
              <a:gd name="T27" fmla="*/ 5 h 147"/>
              <a:gd name="T28" fmla="*/ 71 w 169"/>
              <a:gd name="T29" fmla="*/ 5 h 147"/>
              <a:gd name="T30" fmla="*/ 76 w 169"/>
              <a:gd name="T31" fmla="*/ 5 h 147"/>
              <a:gd name="T32" fmla="*/ 87 w 169"/>
              <a:gd name="T33" fmla="*/ 11 h 147"/>
              <a:gd name="T34" fmla="*/ 92 w 169"/>
              <a:gd name="T35" fmla="*/ 16 h 147"/>
              <a:gd name="T36" fmla="*/ 92 w 169"/>
              <a:gd name="T37" fmla="*/ 16 h 147"/>
              <a:gd name="T38" fmla="*/ 98 w 169"/>
              <a:gd name="T39" fmla="*/ 22 h 147"/>
              <a:gd name="T40" fmla="*/ 98 w 169"/>
              <a:gd name="T41" fmla="*/ 22 h 147"/>
              <a:gd name="T42" fmla="*/ 82 w 169"/>
              <a:gd name="T43" fmla="*/ 27 h 147"/>
              <a:gd name="T44" fmla="*/ 82 w 169"/>
              <a:gd name="T45" fmla="*/ 32 h 147"/>
              <a:gd name="T46" fmla="*/ 82 w 169"/>
              <a:gd name="T47" fmla="*/ 43 h 147"/>
              <a:gd name="T48" fmla="*/ 87 w 169"/>
              <a:gd name="T49" fmla="*/ 49 h 147"/>
              <a:gd name="T50" fmla="*/ 98 w 169"/>
              <a:gd name="T51" fmla="*/ 60 h 147"/>
              <a:gd name="T52" fmla="*/ 103 w 169"/>
              <a:gd name="T53" fmla="*/ 71 h 147"/>
              <a:gd name="T54" fmla="*/ 114 w 169"/>
              <a:gd name="T55" fmla="*/ 76 h 147"/>
              <a:gd name="T56" fmla="*/ 120 w 169"/>
              <a:gd name="T57" fmla="*/ 82 h 147"/>
              <a:gd name="T58" fmla="*/ 136 w 169"/>
              <a:gd name="T59" fmla="*/ 82 h 147"/>
              <a:gd name="T60" fmla="*/ 131 w 169"/>
              <a:gd name="T61" fmla="*/ 87 h 147"/>
              <a:gd name="T62" fmla="*/ 136 w 169"/>
              <a:gd name="T63" fmla="*/ 92 h 147"/>
              <a:gd name="T64" fmla="*/ 147 w 169"/>
              <a:gd name="T65" fmla="*/ 98 h 147"/>
              <a:gd name="T66" fmla="*/ 158 w 169"/>
              <a:gd name="T67" fmla="*/ 98 h 147"/>
              <a:gd name="T68" fmla="*/ 163 w 169"/>
              <a:gd name="T69" fmla="*/ 103 h 147"/>
              <a:gd name="T70" fmla="*/ 169 w 169"/>
              <a:gd name="T71" fmla="*/ 114 h 147"/>
              <a:gd name="T72" fmla="*/ 163 w 169"/>
              <a:gd name="T73" fmla="*/ 109 h 147"/>
              <a:gd name="T74" fmla="*/ 152 w 169"/>
              <a:gd name="T75" fmla="*/ 109 h 147"/>
              <a:gd name="T76" fmla="*/ 147 w 169"/>
              <a:gd name="T77" fmla="*/ 103 h 147"/>
              <a:gd name="T78" fmla="*/ 147 w 169"/>
              <a:gd name="T79" fmla="*/ 114 h 147"/>
              <a:gd name="T80" fmla="*/ 147 w 169"/>
              <a:gd name="T81" fmla="*/ 120 h 147"/>
              <a:gd name="T82" fmla="*/ 152 w 169"/>
              <a:gd name="T83" fmla="*/ 131 h 147"/>
              <a:gd name="T84" fmla="*/ 147 w 169"/>
              <a:gd name="T85" fmla="*/ 136 h 147"/>
              <a:gd name="T86" fmla="*/ 141 w 169"/>
              <a:gd name="T87" fmla="*/ 147 h 147"/>
              <a:gd name="T88" fmla="*/ 131 w 169"/>
              <a:gd name="T89" fmla="*/ 142 h 147"/>
              <a:gd name="T90" fmla="*/ 141 w 169"/>
              <a:gd name="T91" fmla="*/ 131 h 147"/>
              <a:gd name="T92" fmla="*/ 136 w 169"/>
              <a:gd name="T93" fmla="*/ 125 h 147"/>
              <a:gd name="T94" fmla="*/ 131 w 169"/>
              <a:gd name="T95" fmla="*/ 114 h 147"/>
              <a:gd name="T96" fmla="*/ 125 w 169"/>
              <a:gd name="T97" fmla="*/ 109 h 147"/>
              <a:gd name="T98" fmla="*/ 120 w 169"/>
              <a:gd name="T99" fmla="*/ 103 h 147"/>
              <a:gd name="T100" fmla="*/ 109 w 169"/>
              <a:gd name="T101" fmla="*/ 103 h 147"/>
              <a:gd name="T102" fmla="*/ 103 w 169"/>
              <a:gd name="T103" fmla="*/ 92 h 147"/>
              <a:gd name="T104" fmla="*/ 92 w 169"/>
              <a:gd name="T105" fmla="*/ 92 h 147"/>
              <a:gd name="T106" fmla="*/ 87 w 169"/>
              <a:gd name="T107" fmla="*/ 87 h 147"/>
              <a:gd name="T108" fmla="*/ 82 w 169"/>
              <a:gd name="T109" fmla="*/ 82 h 147"/>
              <a:gd name="T110" fmla="*/ 71 w 169"/>
              <a:gd name="T111" fmla="*/ 76 h 147"/>
              <a:gd name="T112" fmla="*/ 65 w 169"/>
              <a:gd name="T113" fmla="*/ 71 h 147"/>
              <a:gd name="T114" fmla="*/ 54 w 169"/>
              <a:gd name="T115" fmla="*/ 65 h 147"/>
              <a:gd name="T116" fmla="*/ 54 w 169"/>
              <a:gd name="T117" fmla="*/ 54 h 147"/>
              <a:gd name="T118" fmla="*/ 43 w 169"/>
              <a:gd name="T119" fmla="*/ 49 h 147"/>
              <a:gd name="T120" fmla="*/ 32 w 169"/>
              <a:gd name="T121" fmla="*/ 43 h 147"/>
              <a:gd name="T122" fmla="*/ 27 w 169"/>
              <a:gd name="T123" fmla="*/ 49 h 147"/>
              <a:gd name="T124" fmla="*/ 16 w 169"/>
              <a:gd name="T125" fmla="*/ 5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9" h="147">
                <a:moveTo>
                  <a:pt x="16" y="54"/>
                </a:moveTo>
                <a:lnTo>
                  <a:pt x="16" y="49"/>
                </a:lnTo>
                <a:lnTo>
                  <a:pt x="11" y="49"/>
                </a:lnTo>
                <a:lnTo>
                  <a:pt x="5" y="49"/>
                </a:lnTo>
                <a:lnTo>
                  <a:pt x="5" y="43"/>
                </a:lnTo>
                <a:lnTo>
                  <a:pt x="5" y="38"/>
                </a:lnTo>
                <a:lnTo>
                  <a:pt x="0" y="32"/>
                </a:lnTo>
                <a:lnTo>
                  <a:pt x="5" y="32"/>
                </a:lnTo>
                <a:lnTo>
                  <a:pt x="11" y="32"/>
                </a:lnTo>
                <a:lnTo>
                  <a:pt x="11" y="27"/>
                </a:lnTo>
                <a:lnTo>
                  <a:pt x="5" y="22"/>
                </a:lnTo>
                <a:lnTo>
                  <a:pt x="11" y="22"/>
                </a:lnTo>
                <a:lnTo>
                  <a:pt x="11" y="16"/>
                </a:lnTo>
                <a:lnTo>
                  <a:pt x="16" y="22"/>
                </a:lnTo>
                <a:lnTo>
                  <a:pt x="22" y="16"/>
                </a:lnTo>
                <a:lnTo>
                  <a:pt x="27" y="11"/>
                </a:lnTo>
                <a:lnTo>
                  <a:pt x="27" y="16"/>
                </a:lnTo>
                <a:lnTo>
                  <a:pt x="32" y="16"/>
                </a:lnTo>
                <a:lnTo>
                  <a:pt x="32" y="22"/>
                </a:lnTo>
                <a:lnTo>
                  <a:pt x="32" y="16"/>
                </a:lnTo>
                <a:lnTo>
                  <a:pt x="38" y="11"/>
                </a:lnTo>
                <a:lnTo>
                  <a:pt x="38" y="16"/>
                </a:lnTo>
                <a:lnTo>
                  <a:pt x="43" y="11"/>
                </a:lnTo>
                <a:lnTo>
                  <a:pt x="49" y="16"/>
                </a:lnTo>
                <a:lnTo>
                  <a:pt x="49" y="11"/>
                </a:lnTo>
                <a:lnTo>
                  <a:pt x="54" y="11"/>
                </a:lnTo>
                <a:lnTo>
                  <a:pt x="54" y="5"/>
                </a:lnTo>
                <a:lnTo>
                  <a:pt x="60" y="5"/>
                </a:lnTo>
                <a:lnTo>
                  <a:pt x="65" y="0"/>
                </a:lnTo>
                <a:lnTo>
                  <a:pt x="71" y="5"/>
                </a:lnTo>
                <a:lnTo>
                  <a:pt x="76" y="0"/>
                </a:lnTo>
                <a:lnTo>
                  <a:pt x="76" y="5"/>
                </a:lnTo>
                <a:lnTo>
                  <a:pt x="82" y="11"/>
                </a:lnTo>
                <a:lnTo>
                  <a:pt x="87" y="11"/>
                </a:lnTo>
                <a:lnTo>
                  <a:pt x="98" y="11"/>
                </a:lnTo>
                <a:lnTo>
                  <a:pt x="92" y="16"/>
                </a:lnTo>
                <a:lnTo>
                  <a:pt x="98" y="16"/>
                </a:lnTo>
                <a:lnTo>
                  <a:pt x="92" y="16"/>
                </a:lnTo>
                <a:lnTo>
                  <a:pt x="92" y="22"/>
                </a:lnTo>
                <a:lnTo>
                  <a:pt x="98" y="22"/>
                </a:lnTo>
                <a:lnTo>
                  <a:pt x="98" y="27"/>
                </a:lnTo>
                <a:lnTo>
                  <a:pt x="98" y="22"/>
                </a:lnTo>
                <a:lnTo>
                  <a:pt x="87" y="22"/>
                </a:lnTo>
                <a:lnTo>
                  <a:pt x="82" y="27"/>
                </a:lnTo>
                <a:lnTo>
                  <a:pt x="76" y="32"/>
                </a:lnTo>
                <a:lnTo>
                  <a:pt x="82" y="32"/>
                </a:lnTo>
                <a:lnTo>
                  <a:pt x="76" y="38"/>
                </a:lnTo>
                <a:lnTo>
                  <a:pt x="82" y="43"/>
                </a:lnTo>
                <a:lnTo>
                  <a:pt x="82" y="49"/>
                </a:lnTo>
                <a:lnTo>
                  <a:pt x="87" y="49"/>
                </a:lnTo>
                <a:lnTo>
                  <a:pt x="92" y="54"/>
                </a:lnTo>
                <a:lnTo>
                  <a:pt x="98" y="60"/>
                </a:lnTo>
                <a:lnTo>
                  <a:pt x="103" y="65"/>
                </a:lnTo>
                <a:lnTo>
                  <a:pt x="103" y="71"/>
                </a:lnTo>
                <a:lnTo>
                  <a:pt x="109" y="76"/>
                </a:lnTo>
                <a:lnTo>
                  <a:pt x="114" y="76"/>
                </a:lnTo>
                <a:lnTo>
                  <a:pt x="114" y="82"/>
                </a:lnTo>
                <a:lnTo>
                  <a:pt x="120" y="82"/>
                </a:lnTo>
                <a:lnTo>
                  <a:pt x="131" y="82"/>
                </a:lnTo>
                <a:lnTo>
                  <a:pt x="136" y="82"/>
                </a:lnTo>
                <a:lnTo>
                  <a:pt x="136" y="87"/>
                </a:lnTo>
                <a:lnTo>
                  <a:pt x="131" y="87"/>
                </a:lnTo>
                <a:lnTo>
                  <a:pt x="131" y="92"/>
                </a:lnTo>
                <a:lnTo>
                  <a:pt x="136" y="92"/>
                </a:lnTo>
                <a:lnTo>
                  <a:pt x="141" y="92"/>
                </a:lnTo>
                <a:lnTo>
                  <a:pt x="147" y="98"/>
                </a:lnTo>
                <a:lnTo>
                  <a:pt x="152" y="98"/>
                </a:lnTo>
                <a:lnTo>
                  <a:pt x="158" y="98"/>
                </a:lnTo>
                <a:lnTo>
                  <a:pt x="158" y="103"/>
                </a:lnTo>
                <a:lnTo>
                  <a:pt x="163" y="103"/>
                </a:lnTo>
                <a:lnTo>
                  <a:pt x="169" y="109"/>
                </a:lnTo>
                <a:lnTo>
                  <a:pt x="169" y="114"/>
                </a:lnTo>
                <a:lnTo>
                  <a:pt x="163" y="114"/>
                </a:lnTo>
                <a:lnTo>
                  <a:pt x="163" y="109"/>
                </a:lnTo>
                <a:lnTo>
                  <a:pt x="158" y="109"/>
                </a:lnTo>
                <a:lnTo>
                  <a:pt x="152" y="109"/>
                </a:lnTo>
                <a:lnTo>
                  <a:pt x="152" y="103"/>
                </a:lnTo>
                <a:lnTo>
                  <a:pt x="147" y="103"/>
                </a:lnTo>
                <a:lnTo>
                  <a:pt x="147" y="109"/>
                </a:lnTo>
                <a:lnTo>
                  <a:pt x="147" y="114"/>
                </a:lnTo>
                <a:lnTo>
                  <a:pt x="141" y="120"/>
                </a:lnTo>
                <a:lnTo>
                  <a:pt x="147" y="120"/>
                </a:lnTo>
                <a:lnTo>
                  <a:pt x="152" y="125"/>
                </a:lnTo>
                <a:lnTo>
                  <a:pt x="152" y="131"/>
                </a:lnTo>
                <a:lnTo>
                  <a:pt x="147" y="131"/>
                </a:lnTo>
                <a:lnTo>
                  <a:pt x="147" y="136"/>
                </a:lnTo>
                <a:lnTo>
                  <a:pt x="141" y="142"/>
                </a:lnTo>
                <a:lnTo>
                  <a:pt x="141" y="147"/>
                </a:lnTo>
                <a:lnTo>
                  <a:pt x="136" y="147"/>
                </a:lnTo>
                <a:lnTo>
                  <a:pt x="131" y="142"/>
                </a:lnTo>
                <a:lnTo>
                  <a:pt x="136" y="136"/>
                </a:lnTo>
                <a:lnTo>
                  <a:pt x="141" y="131"/>
                </a:lnTo>
                <a:lnTo>
                  <a:pt x="136" y="131"/>
                </a:lnTo>
                <a:lnTo>
                  <a:pt x="136" y="125"/>
                </a:lnTo>
                <a:lnTo>
                  <a:pt x="136" y="120"/>
                </a:lnTo>
                <a:lnTo>
                  <a:pt x="131" y="114"/>
                </a:lnTo>
                <a:lnTo>
                  <a:pt x="125" y="114"/>
                </a:lnTo>
                <a:lnTo>
                  <a:pt x="125" y="109"/>
                </a:lnTo>
                <a:lnTo>
                  <a:pt x="120" y="109"/>
                </a:lnTo>
                <a:lnTo>
                  <a:pt x="120" y="103"/>
                </a:lnTo>
                <a:lnTo>
                  <a:pt x="114" y="103"/>
                </a:lnTo>
                <a:lnTo>
                  <a:pt x="109" y="103"/>
                </a:lnTo>
                <a:lnTo>
                  <a:pt x="109" y="98"/>
                </a:lnTo>
                <a:lnTo>
                  <a:pt x="103" y="92"/>
                </a:lnTo>
                <a:lnTo>
                  <a:pt x="98" y="92"/>
                </a:lnTo>
                <a:lnTo>
                  <a:pt x="92" y="92"/>
                </a:lnTo>
                <a:lnTo>
                  <a:pt x="87" y="92"/>
                </a:lnTo>
                <a:lnTo>
                  <a:pt x="87" y="87"/>
                </a:lnTo>
                <a:lnTo>
                  <a:pt x="82" y="87"/>
                </a:lnTo>
                <a:lnTo>
                  <a:pt x="82" y="82"/>
                </a:lnTo>
                <a:lnTo>
                  <a:pt x="76" y="82"/>
                </a:lnTo>
                <a:lnTo>
                  <a:pt x="71" y="76"/>
                </a:lnTo>
                <a:lnTo>
                  <a:pt x="65" y="76"/>
                </a:lnTo>
                <a:lnTo>
                  <a:pt x="65" y="71"/>
                </a:lnTo>
                <a:lnTo>
                  <a:pt x="60" y="71"/>
                </a:lnTo>
                <a:lnTo>
                  <a:pt x="54" y="65"/>
                </a:lnTo>
                <a:lnTo>
                  <a:pt x="54" y="60"/>
                </a:lnTo>
                <a:lnTo>
                  <a:pt x="54" y="54"/>
                </a:lnTo>
                <a:lnTo>
                  <a:pt x="49" y="49"/>
                </a:lnTo>
                <a:lnTo>
                  <a:pt x="43" y="49"/>
                </a:lnTo>
                <a:lnTo>
                  <a:pt x="38" y="43"/>
                </a:lnTo>
                <a:lnTo>
                  <a:pt x="32" y="43"/>
                </a:lnTo>
                <a:lnTo>
                  <a:pt x="27" y="43"/>
                </a:lnTo>
                <a:lnTo>
                  <a:pt x="27" y="49"/>
                </a:lnTo>
                <a:lnTo>
                  <a:pt x="22" y="54"/>
                </a:lnTo>
                <a:lnTo>
                  <a:pt x="16" y="54"/>
                </a:lnTo>
                <a:close/>
              </a:path>
            </a:pathLst>
          </a:custGeom>
          <a:solidFill>
            <a:schemeClr val="bg2"/>
          </a:solidFill>
          <a:ln w="6350" cmpd="sng">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6" name="Oval 340">
            <a:extLst>
              <a:ext uri="{FF2B5EF4-FFF2-40B4-BE49-F238E27FC236}">
                <a16:creationId xmlns:a16="http://schemas.microsoft.com/office/drawing/2014/main" id="{8AA79C40-31E2-7C34-674E-1EB964C4743B}"/>
              </a:ext>
            </a:extLst>
          </p:cNvPr>
          <p:cNvSpPr/>
          <p:nvPr/>
        </p:nvSpPr>
        <p:spPr>
          <a:xfrm>
            <a:off x="957264" y="2222500"/>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287" name="Oval 341">
            <a:extLst>
              <a:ext uri="{FF2B5EF4-FFF2-40B4-BE49-F238E27FC236}">
                <a16:creationId xmlns:a16="http://schemas.microsoft.com/office/drawing/2014/main" id="{158D2F63-B484-252F-6DCD-628A0373BCF4}"/>
              </a:ext>
            </a:extLst>
          </p:cNvPr>
          <p:cNvSpPr/>
          <p:nvPr/>
        </p:nvSpPr>
        <p:spPr>
          <a:xfrm>
            <a:off x="923925" y="2282825"/>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288" name="Oval 342">
            <a:extLst>
              <a:ext uri="{FF2B5EF4-FFF2-40B4-BE49-F238E27FC236}">
                <a16:creationId xmlns:a16="http://schemas.microsoft.com/office/drawing/2014/main" id="{85FEF5FF-631F-FA34-CD21-C30D6EEA3F0E}"/>
              </a:ext>
            </a:extLst>
          </p:cNvPr>
          <p:cNvSpPr/>
          <p:nvPr/>
        </p:nvSpPr>
        <p:spPr>
          <a:xfrm>
            <a:off x="877889" y="2000250"/>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289" name="Oval 343">
            <a:extLst>
              <a:ext uri="{FF2B5EF4-FFF2-40B4-BE49-F238E27FC236}">
                <a16:creationId xmlns:a16="http://schemas.microsoft.com/office/drawing/2014/main" id="{9BEB4CD1-1BA5-70F6-46BE-C7E4F5221ED0}"/>
              </a:ext>
            </a:extLst>
          </p:cNvPr>
          <p:cNvSpPr/>
          <p:nvPr/>
        </p:nvSpPr>
        <p:spPr>
          <a:xfrm>
            <a:off x="911225" y="2089150"/>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290" name="Oval 344">
            <a:extLst>
              <a:ext uri="{FF2B5EF4-FFF2-40B4-BE49-F238E27FC236}">
                <a16:creationId xmlns:a16="http://schemas.microsoft.com/office/drawing/2014/main" id="{871068B0-6D49-09CB-886A-38555505E1D4}"/>
              </a:ext>
            </a:extLst>
          </p:cNvPr>
          <p:cNvSpPr/>
          <p:nvPr/>
        </p:nvSpPr>
        <p:spPr>
          <a:xfrm>
            <a:off x="1054100" y="2106613"/>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291" name="Oval 345">
            <a:extLst>
              <a:ext uri="{FF2B5EF4-FFF2-40B4-BE49-F238E27FC236}">
                <a16:creationId xmlns:a16="http://schemas.microsoft.com/office/drawing/2014/main" id="{98D80AD1-AC05-F638-1C28-D936FE63FF5F}"/>
              </a:ext>
            </a:extLst>
          </p:cNvPr>
          <p:cNvSpPr/>
          <p:nvPr/>
        </p:nvSpPr>
        <p:spPr>
          <a:xfrm>
            <a:off x="1066801" y="2144713"/>
            <a:ext cx="47625"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lnSpc>
                <a:spcPct val="90000"/>
              </a:lnSpc>
              <a:spcBef>
                <a:spcPts val="300"/>
              </a:spcBef>
              <a:buSzPct val="100000"/>
            </a:pPr>
            <a:endParaRPr lang="en-US" sz="1350">
              <a:solidFill>
                <a:schemeClr val="tx1"/>
              </a:solidFill>
              <a:sym typeface="+mn-lt"/>
            </a:endParaRPr>
          </a:p>
        </p:txBody>
      </p:sp>
      <p:sp>
        <p:nvSpPr>
          <p:cNvPr id="292" name="Oval 346">
            <a:extLst>
              <a:ext uri="{FF2B5EF4-FFF2-40B4-BE49-F238E27FC236}">
                <a16:creationId xmlns:a16="http://schemas.microsoft.com/office/drawing/2014/main" id="{66121A75-7D9F-FA88-A7EA-3BC4CAC37867}"/>
              </a:ext>
            </a:extLst>
          </p:cNvPr>
          <p:cNvSpPr/>
          <p:nvPr/>
        </p:nvSpPr>
        <p:spPr>
          <a:xfrm>
            <a:off x="1046163" y="2160588"/>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293" name="Oval 347">
            <a:extLst>
              <a:ext uri="{FF2B5EF4-FFF2-40B4-BE49-F238E27FC236}">
                <a16:creationId xmlns:a16="http://schemas.microsoft.com/office/drawing/2014/main" id="{5AA96280-D7E5-B9A8-5F7B-E6C992D7BA63}"/>
              </a:ext>
            </a:extLst>
          </p:cNvPr>
          <p:cNvSpPr/>
          <p:nvPr/>
        </p:nvSpPr>
        <p:spPr>
          <a:xfrm>
            <a:off x="1143000" y="2185988"/>
            <a:ext cx="26988" cy="269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294" name="Oval 348">
            <a:extLst>
              <a:ext uri="{FF2B5EF4-FFF2-40B4-BE49-F238E27FC236}">
                <a16:creationId xmlns:a16="http://schemas.microsoft.com/office/drawing/2014/main" id="{B1475E4E-D3D1-8A40-A86B-1CE811D35321}"/>
              </a:ext>
            </a:extLst>
          </p:cNvPr>
          <p:cNvSpPr/>
          <p:nvPr/>
        </p:nvSpPr>
        <p:spPr>
          <a:xfrm>
            <a:off x="1165225" y="2192338"/>
            <a:ext cx="26988" cy="269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295" name="Oval 349">
            <a:extLst>
              <a:ext uri="{FF2B5EF4-FFF2-40B4-BE49-F238E27FC236}">
                <a16:creationId xmlns:a16="http://schemas.microsoft.com/office/drawing/2014/main" id="{08A2F77E-4814-3ED8-ECEA-E1916478CB58}"/>
              </a:ext>
            </a:extLst>
          </p:cNvPr>
          <p:cNvSpPr/>
          <p:nvPr/>
        </p:nvSpPr>
        <p:spPr>
          <a:xfrm>
            <a:off x="1135063" y="2212975"/>
            <a:ext cx="26988" cy="269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296" name="Oval 350">
            <a:extLst>
              <a:ext uri="{FF2B5EF4-FFF2-40B4-BE49-F238E27FC236}">
                <a16:creationId xmlns:a16="http://schemas.microsoft.com/office/drawing/2014/main" id="{B30E41E3-654F-0968-215D-7D47D6DDF47F}"/>
              </a:ext>
            </a:extLst>
          </p:cNvPr>
          <p:cNvSpPr/>
          <p:nvPr/>
        </p:nvSpPr>
        <p:spPr>
          <a:xfrm>
            <a:off x="1120775" y="2205038"/>
            <a:ext cx="26988" cy="269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297" name="Oval 351">
            <a:extLst>
              <a:ext uri="{FF2B5EF4-FFF2-40B4-BE49-F238E27FC236}">
                <a16:creationId xmlns:a16="http://schemas.microsoft.com/office/drawing/2014/main" id="{B7557E21-EAE6-28AB-2BA8-F1647F45ECD7}"/>
              </a:ext>
            </a:extLst>
          </p:cNvPr>
          <p:cNvSpPr/>
          <p:nvPr/>
        </p:nvSpPr>
        <p:spPr>
          <a:xfrm>
            <a:off x="1087438" y="2224088"/>
            <a:ext cx="26988" cy="269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298" name="Oval 353">
            <a:extLst>
              <a:ext uri="{FF2B5EF4-FFF2-40B4-BE49-F238E27FC236}">
                <a16:creationId xmlns:a16="http://schemas.microsoft.com/office/drawing/2014/main" id="{7A626FC9-7997-AE98-5A51-9AF320BD81BD}"/>
              </a:ext>
            </a:extLst>
          </p:cNvPr>
          <p:cNvSpPr/>
          <p:nvPr/>
        </p:nvSpPr>
        <p:spPr>
          <a:xfrm>
            <a:off x="1155700" y="2232025"/>
            <a:ext cx="26988" cy="269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299" name="Oval 354">
            <a:extLst>
              <a:ext uri="{FF2B5EF4-FFF2-40B4-BE49-F238E27FC236}">
                <a16:creationId xmlns:a16="http://schemas.microsoft.com/office/drawing/2014/main" id="{AFC2EAB3-49F3-331F-0313-75E4DAE20304}"/>
              </a:ext>
            </a:extLst>
          </p:cNvPr>
          <p:cNvSpPr/>
          <p:nvPr/>
        </p:nvSpPr>
        <p:spPr>
          <a:xfrm>
            <a:off x="1187450" y="2230438"/>
            <a:ext cx="26988" cy="269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00" name="Oval 357">
            <a:extLst>
              <a:ext uri="{FF2B5EF4-FFF2-40B4-BE49-F238E27FC236}">
                <a16:creationId xmlns:a16="http://schemas.microsoft.com/office/drawing/2014/main" id="{20488F18-33F4-2C0F-2ACF-AD0ECE6DE110}"/>
              </a:ext>
            </a:extLst>
          </p:cNvPr>
          <p:cNvSpPr/>
          <p:nvPr/>
        </p:nvSpPr>
        <p:spPr>
          <a:xfrm>
            <a:off x="1039813" y="2290763"/>
            <a:ext cx="26988" cy="269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01" name="Oval 358">
            <a:extLst>
              <a:ext uri="{FF2B5EF4-FFF2-40B4-BE49-F238E27FC236}">
                <a16:creationId xmlns:a16="http://schemas.microsoft.com/office/drawing/2014/main" id="{4131010F-574D-7CA8-659B-1E4BF21542C0}"/>
              </a:ext>
            </a:extLst>
          </p:cNvPr>
          <p:cNvSpPr/>
          <p:nvPr/>
        </p:nvSpPr>
        <p:spPr>
          <a:xfrm>
            <a:off x="1006475" y="2292350"/>
            <a:ext cx="26988" cy="269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02" name="Oval 359">
            <a:extLst>
              <a:ext uri="{FF2B5EF4-FFF2-40B4-BE49-F238E27FC236}">
                <a16:creationId xmlns:a16="http://schemas.microsoft.com/office/drawing/2014/main" id="{10F68674-C337-58EC-9595-66F21A6B089F}"/>
              </a:ext>
            </a:extLst>
          </p:cNvPr>
          <p:cNvSpPr/>
          <p:nvPr/>
        </p:nvSpPr>
        <p:spPr>
          <a:xfrm>
            <a:off x="1065213" y="2293938"/>
            <a:ext cx="26988" cy="269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03" name="Oval 360">
            <a:extLst>
              <a:ext uri="{FF2B5EF4-FFF2-40B4-BE49-F238E27FC236}">
                <a16:creationId xmlns:a16="http://schemas.microsoft.com/office/drawing/2014/main" id="{68BD9248-1F76-5C27-35C6-58664D3DAFC8}"/>
              </a:ext>
            </a:extLst>
          </p:cNvPr>
          <p:cNvSpPr/>
          <p:nvPr/>
        </p:nvSpPr>
        <p:spPr>
          <a:xfrm>
            <a:off x="1089025" y="2308225"/>
            <a:ext cx="26988" cy="269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04" name="Oval 361">
            <a:extLst>
              <a:ext uri="{FF2B5EF4-FFF2-40B4-BE49-F238E27FC236}">
                <a16:creationId xmlns:a16="http://schemas.microsoft.com/office/drawing/2014/main" id="{CE659DD6-5E7F-490E-00A1-EDB2F2633E60}"/>
              </a:ext>
            </a:extLst>
          </p:cNvPr>
          <p:cNvSpPr/>
          <p:nvPr/>
        </p:nvSpPr>
        <p:spPr>
          <a:xfrm>
            <a:off x="1116013" y="2300288"/>
            <a:ext cx="26988" cy="269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05" name="Oval 355">
            <a:extLst>
              <a:ext uri="{FF2B5EF4-FFF2-40B4-BE49-F238E27FC236}">
                <a16:creationId xmlns:a16="http://schemas.microsoft.com/office/drawing/2014/main" id="{39F4F9AB-72C3-DB0E-E659-E721E5618444}"/>
              </a:ext>
            </a:extLst>
          </p:cNvPr>
          <p:cNvSpPr/>
          <p:nvPr/>
        </p:nvSpPr>
        <p:spPr>
          <a:xfrm>
            <a:off x="1196975" y="2249488"/>
            <a:ext cx="26988" cy="269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06" name="Oval 356">
            <a:extLst>
              <a:ext uri="{FF2B5EF4-FFF2-40B4-BE49-F238E27FC236}">
                <a16:creationId xmlns:a16="http://schemas.microsoft.com/office/drawing/2014/main" id="{AEA5AD7C-8C98-D6C2-B998-AE404A1A8B36}"/>
              </a:ext>
            </a:extLst>
          </p:cNvPr>
          <p:cNvSpPr/>
          <p:nvPr/>
        </p:nvSpPr>
        <p:spPr>
          <a:xfrm>
            <a:off x="1171575" y="2273300"/>
            <a:ext cx="26988" cy="269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07" name="Oval 363">
            <a:extLst>
              <a:ext uri="{FF2B5EF4-FFF2-40B4-BE49-F238E27FC236}">
                <a16:creationId xmlns:a16="http://schemas.microsoft.com/office/drawing/2014/main" id="{013A3CDF-425A-0E0E-ADDC-98EDD2332654}"/>
              </a:ext>
            </a:extLst>
          </p:cNvPr>
          <p:cNvSpPr/>
          <p:nvPr/>
        </p:nvSpPr>
        <p:spPr>
          <a:xfrm>
            <a:off x="1243014" y="2276475"/>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08" name="Oval 364">
            <a:extLst>
              <a:ext uri="{FF2B5EF4-FFF2-40B4-BE49-F238E27FC236}">
                <a16:creationId xmlns:a16="http://schemas.microsoft.com/office/drawing/2014/main" id="{A17B999C-F8E0-870C-E4F2-AF09043F00A4}"/>
              </a:ext>
            </a:extLst>
          </p:cNvPr>
          <p:cNvSpPr/>
          <p:nvPr/>
        </p:nvSpPr>
        <p:spPr>
          <a:xfrm>
            <a:off x="1270000" y="2286000"/>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09" name="Oval 365">
            <a:extLst>
              <a:ext uri="{FF2B5EF4-FFF2-40B4-BE49-F238E27FC236}">
                <a16:creationId xmlns:a16="http://schemas.microsoft.com/office/drawing/2014/main" id="{2F911A37-1776-DD87-11E2-95CDE9DA0D24}"/>
              </a:ext>
            </a:extLst>
          </p:cNvPr>
          <p:cNvSpPr/>
          <p:nvPr/>
        </p:nvSpPr>
        <p:spPr>
          <a:xfrm>
            <a:off x="1295400" y="2303463"/>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10" name="Oval 366">
            <a:extLst>
              <a:ext uri="{FF2B5EF4-FFF2-40B4-BE49-F238E27FC236}">
                <a16:creationId xmlns:a16="http://schemas.microsoft.com/office/drawing/2014/main" id="{151ACA4E-3811-242D-E4F0-18CCA3A20E2D}"/>
              </a:ext>
            </a:extLst>
          </p:cNvPr>
          <p:cNvSpPr/>
          <p:nvPr/>
        </p:nvSpPr>
        <p:spPr>
          <a:xfrm>
            <a:off x="1301750" y="2336800"/>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11" name="Oval 367">
            <a:extLst>
              <a:ext uri="{FF2B5EF4-FFF2-40B4-BE49-F238E27FC236}">
                <a16:creationId xmlns:a16="http://schemas.microsoft.com/office/drawing/2014/main" id="{F342A430-B033-9B66-785A-E77668ED5094}"/>
              </a:ext>
            </a:extLst>
          </p:cNvPr>
          <p:cNvSpPr/>
          <p:nvPr/>
        </p:nvSpPr>
        <p:spPr>
          <a:xfrm>
            <a:off x="1268413" y="2355850"/>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12" name="Oval 368">
            <a:extLst>
              <a:ext uri="{FF2B5EF4-FFF2-40B4-BE49-F238E27FC236}">
                <a16:creationId xmlns:a16="http://schemas.microsoft.com/office/drawing/2014/main" id="{00A86CD7-6A6A-1BE7-B8BF-B436AF060A81}"/>
              </a:ext>
            </a:extLst>
          </p:cNvPr>
          <p:cNvSpPr/>
          <p:nvPr/>
        </p:nvSpPr>
        <p:spPr>
          <a:xfrm>
            <a:off x="1235076" y="2324100"/>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13" name="Oval 369">
            <a:extLst>
              <a:ext uri="{FF2B5EF4-FFF2-40B4-BE49-F238E27FC236}">
                <a16:creationId xmlns:a16="http://schemas.microsoft.com/office/drawing/2014/main" id="{B96BD73C-4F6B-398A-C128-566CB43AB44B}"/>
              </a:ext>
            </a:extLst>
          </p:cNvPr>
          <p:cNvSpPr/>
          <p:nvPr/>
        </p:nvSpPr>
        <p:spPr>
          <a:xfrm>
            <a:off x="839789" y="2355850"/>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14" name="Oval 370">
            <a:extLst>
              <a:ext uri="{FF2B5EF4-FFF2-40B4-BE49-F238E27FC236}">
                <a16:creationId xmlns:a16="http://schemas.microsoft.com/office/drawing/2014/main" id="{C4275C55-0FC7-91BF-5595-FC834A4D0206}"/>
              </a:ext>
            </a:extLst>
          </p:cNvPr>
          <p:cNvSpPr/>
          <p:nvPr/>
        </p:nvSpPr>
        <p:spPr>
          <a:xfrm>
            <a:off x="674689" y="2382838"/>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15" name="Oval 371">
            <a:extLst>
              <a:ext uri="{FF2B5EF4-FFF2-40B4-BE49-F238E27FC236}">
                <a16:creationId xmlns:a16="http://schemas.microsoft.com/office/drawing/2014/main" id="{5535685D-3B4D-B343-05D6-8DA82CEE19D2}"/>
              </a:ext>
            </a:extLst>
          </p:cNvPr>
          <p:cNvSpPr/>
          <p:nvPr/>
        </p:nvSpPr>
        <p:spPr>
          <a:xfrm>
            <a:off x="658813" y="2362200"/>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16" name="Oval 373">
            <a:extLst>
              <a:ext uri="{FF2B5EF4-FFF2-40B4-BE49-F238E27FC236}">
                <a16:creationId xmlns:a16="http://schemas.microsoft.com/office/drawing/2014/main" id="{5AA0523A-C030-102E-9804-E282A50FF5F8}"/>
              </a:ext>
            </a:extLst>
          </p:cNvPr>
          <p:cNvSpPr/>
          <p:nvPr/>
        </p:nvSpPr>
        <p:spPr>
          <a:xfrm>
            <a:off x="923926" y="2327275"/>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17" name="Oval 374">
            <a:extLst>
              <a:ext uri="{FF2B5EF4-FFF2-40B4-BE49-F238E27FC236}">
                <a16:creationId xmlns:a16="http://schemas.microsoft.com/office/drawing/2014/main" id="{D139B0C3-AA54-86A3-E13C-698E75DDD20F}"/>
              </a:ext>
            </a:extLst>
          </p:cNvPr>
          <p:cNvSpPr/>
          <p:nvPr/>
        </p:nvSpPr>
        <p:spPr>
          <a:xfrm>
            <a:off x="892176" y="2395538"/>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18" name="Oval 375">
            <a:extLst>
              <a:ext uri="{FF2B5EF4-FFF2-40B4-BE49-F238E27FC236}">
                <a16:creationId xmlns:a16="http://schemas.microsoft.com/office/drawing/2014/main" id="{88847D0A-7D35-2BE5-DDF9-B83C1CEBF888}"/>
              </a:ext>
            </a:extLst>
          </p:cNvPr>
          <p:cNvSpPr/>
          <p:nvPr/>
        </p:nvSpPr>
        <p:spPr>
          <a:xfrm>
            <a:off x="890589" y="2411413"/>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19" name="Oval 379">
            <a:extLst>
              <a:ext uri="{FF2B5EF4-FFF2-40B4-BE49-F238E27FC236}">
                <a16:creationId xmlns:a16="http://schemas.microsoft.com/office/drawing/2014/main" id="{AACB565C-85C1-2E72-6B42-6AB46708F379}"/>
              </a:ext>
            </a:extLst>
          </p:cNvPr>
          <p:cNvSpPr/>
          <p:nvPr/>
        </p:nvSpPr>
        <p:spPr>
          <a:xfrm>
            <a:off x="2874964" y="1692275"/>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20" name="Oval 382">
            <a:extLst>
              <a:ext uri="{FF2B5EF4-FFF2-40B4-BE49-F238E27FC236}">
                <a16:creationId xmlns:a16="http://schemas.microsoft.com/office/drawing/2014/main" id="{722ADCB9-BDF5-1879-8400-F47721CAC796}"/>
              </a:ext>
            </a:extLst>
          </p:cNvPr>
          <p:cNvSpPr/>
          <p:nvPr/>
        </p:nvSpPr>
        <p:spPr>
          <a:xfrm>
            <a:off x="2860676" y="1912938"/>
            <a:ext cx="47625" cy="53975"/>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21" name="Oval 383">
            <a:extLst>
              <a:ext uri="{FF2B5EF4-FFF2-40B4-BE49-F238E27FC236}">
                <a16:creationId xmlns:a16="http://schemas.microsoft.com/office/drawing/2014/main" id="{29C272BF-72F8-66D5-DFA3-A0D7AEF9C6A0}"/>
              </a:ext>
            </a:extLst>
          </p:cNvPr>
          <p:cNvSpPr/>
          <p:nvPr/>
        </p:nvSpPr>
        <p:spPr>
          <a:xfrm>
            <a:off x="2787650" y="1968500"/>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22" name="Oval 384">
            <a:extLst>
              <a:ext uri="{FF2B5EF4-FFF2-40B4-BE49-F238E27FC236}">
                <a16:creationId xmlns:a16="http://schemas.microsoft.com/office/drawing/2014/main" id="{13597F4F-4836-DA60-FAF1-0499B571BEE7}"/>
              </a:ext>
            </a:extLst>
          </p:cNvPr>
          <p:cNvSpPr/>
          <p:nvPr/>
        </p:nvSpPr>
        <p:spPr>
          <a:xfrm>
            <a:off x="2746375" y="1930400"/>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23" name="Oval 385">
            <a:extLst>
              <a:ext uri="{FF2B5EF4-FFF2-40B4-BE49-F238E27FC236}">
                <a16:creationId xmlns:a16="http://schemas.microsoft.com/office/drawing/2014/main" id="{655E61C2-F2F6-68A0-47C7-9FA6B0229151}"/>
              </a:ext>
            </a:extLst>
          </p:cNvPr>
          <p:cNvSpPr/>
          <p:nvPr/>
        </p:nvSpPr>
        <p:spPr>
          <a:xfrm>
            <a:off x="2751139" y="1892300"/>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24" name="Oval 386">
            <a:extLst>
              <a:ext uri="{FF2B5EF4-FFF2-40B4-BE49-F238E27FC236}">
                <a16:creationId xmlns:a16="http://schemas.microsoft.com/office/drawing/2014/main" id="{8FB40430-A91A-2BFE-9F53-A850F33871B3}"/>
              </a:ext>
            </a:extLst>
          </p:cNvPr>
          <p:cNvSpPr/>
          <p:nvPr/>
        </p:nvSpPr>
        <p:spPr>
          <a:xfrm>
            <a:off x="2681289" y="2030413"/>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25" name="Oval 387">
            <a:extLst>
              <a:ext uri="{FF2B5EF4-FFF2-40B4-BE49-F238E27FC236}">
                <a16:creationId xmlns:a16="http://schemas.microsoft.com/office/drawing/2014/main" id="{71C82E8F-0DE6-18DE-6323-2BC976C4EC3C}"/>
              </a:ext>
            </a:extLst>
          </p:cNvPr>
          <p:cNvSpPr/>
          <p:nvPr/>
        </p:nvSpPr>
        <p:spPr>
          <a:xfrm>
            <a:off x="2660650" y="2078038"/>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26" name="Oval 388">
            <a:extLst>
              <a:ext uri="{FF2B5EF4-FFF2-40B4-BE49-F238E27FC236}">
                <a16:creationId xmlns:a16="http://schemas.microsoft.com/office/drawing/2014/main" id="{8336CD3A-96AA-7F0D-F54D-0171EA3FB88A}"/>
              </a:ext>
            </a:extLst>
          </p:cNvPr>
          <p:cNvSpPr/>
          <p:nvPr/>
        </p:nvSpPr>
        <p:spPr>
          <a:xfrm>
            <a:off x="2581275" y="1933575"/>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27" name="Oval 389">
            <a:extLst>
              <a:ext uri="{FF2B5EF4-FFF2-40B4-BE49-F238E27FC236}">
                <a16:creationId xmlns:a16="http://schemas.microsoft.com/office/drawing/2014/main" id="{3082E7B5-8307-9AAE-13C9-0D2938FA6B3C}"/>
              </a:ext>
            </a:extLst>
          </p:cNvPr>
          <p:cNvSpPr/>
          <p:nvPr/>
        </p:nvSpPr>
        <p:spPr>
          <a:xfrm>
            <a:off x="2557463" y="1973263"/>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28" name="Oval 390">
            <a:extLst>
              <a:ext uri="{FF2B5EF4-FFF2-40B4-BE49-F238E27FC236}">
                <a16:creationId xmlns:a16="http://schemas.microsoft.com/office/drawing/2014/main" id="{46C8D854-F2F6-6B91-216D-C2BF9544E976}"/>
              </a:ext>
            </a:extLst>
          </p:cNvPr>
          <p:cNvSpPr/>
          <p:nvPr/>
        </p:nvSpPr>
        <p:spPr>
          <a:xfrm>
            <a:off x="2476501" y="2046288"/>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29" name="Oval 392">
            <a:extLst>
              <a:ext uri="{FF2B5EF4-FFF2-40B4-BE49-F238E27FC236}">
                <a16:creationId xmlns:a16="http://schemas.microsoft.com/office/drawing/2014/main" id="{AABFCE16-BF91-D8D1-6ABC-5DDF5F865F36}"/>
              </a:ext>
            </a:extLst>
          </p:cNvPr>
          <p:cNvSpPr/>
          <p:nvPr/>
        </p:nvSpPr>
        <p:spPr>
          <a:xfrm>
            <a:off x="2582863" y="2019300"/>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30" name="Oval 393">
            <a:extLst>
              <a:ext uri="{FF2B5EF4-FFF2-40B4-BE49-F238E27FC236}">
                <a16:creationId xmlns:a16="http://schemas.microsoft.com/office/drawing/2014/main" id="{66CBD386-49AB-6722-F5CF-F19158AAF5B4}"/>
              </a:ext>
            </a:extLst>
          </p:cNvPr>
          <p:cNvSpPr/>
          <p:nvPr/>
        </p:nvSpPr>
        <p:spPr>
          <a:xfrm>
            <a:off x="2557463" y="2039938"/>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31" name="Oval 394">
            <a:extLst>
              <a:ext uri="{FF2B5EF4-FFF2-40B4-BE49-F238E27FC236}">
                <a16:creationId xmlns:a16="http://schemas.microsoft.com/office/drawing/2014/main" id="{878299A9-1A66-7BCD-6DA4-7FC3A070CCB1}"/>
              </a:ext>
            </a:extLst>
          </p:cNvPr>
          <p:cNvSpPr/>
          <p:nvPr/>
        </p:nvSpPr>
        <p:spPr>
          <a:xfrm>
            <a:off x="2805114" y="2192338"/>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32" name="Oval 399">
            <a:extLst>
              <a:ext uri="{FF2B5EF4-FFF2-40B4-BE49-F238E27FC236}">
                <a16:creationId xmlns:a16="http://schemas.microsoft.com/office/drawing/2014/main" id="{6C984B96-8C2E-B6F6-579D-3012C23C59C7}"/>
              </a:ext>
            </a:extLst>
          </p:cNvPr>
          <p:cNvSpPr/>
          <p:nvPr/>
        </p:nvSpPr>
        <p:spPr>
          <a:xfrm>
            <a:off x="3529014" y="2603500"/>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33" name="Oval 405">
            <a:extLst>
              <a:ext uri="{FF2B5EF4-FFF2-40B4-BE49-F238E27FC236}">
                <a16:creationId xmlns:a16="http://schemas.microsoft.com/office/drawing/2014/main" id="{1BD02867-F8DB-F2CD-9999-D89F5094A1A9}"/>
              </a:ext>
            </a:extLst>
          </p:cNvPr>
          <p:cNvSpPr/>
          <p:nvPr/>
        </p:nvSpPr>
        <p:spPr>
          <a:xfrm>
            <a:off x="4670426" y="2360613"/>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34" name="Oval 406">
            <a:extLst>
              <a:ext uri="{FF2B5EF4-FFF2-40B4-BE49-F238E27FC236}">
                <a16:creationId xmlns:a16="http://schemas.microsoft.com/office/drawing/2014/main" id="{0A7CAB0E-16B2-AA16-36A7-5F543122E923}"/>
              </a:ext>
            </a:extLst>
          </p:cNvPr>
          <p:cNvSpPr/>
          <p:nvPr/>
        </p:nvSpPr>
        <p:spPr>
          <a:xfrm>
            <a:off x="4756151" y="3084513"/>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35" name="Oval 407">
            <a:extLst>
              <a:ext uri="{FF2B5EF4-FFF2-40B4-BE49-F238E27FC236}">
                <a16:creationId xmlns:a16="http://schemas.microsoft.com/office/drawing/2014/main" id="{3D251E2E-BAF4-200E-7C00-47412B7AB669}"/>
              </a:ext>
            </a:extLst>
          </p:cNvPr>
          <p:cNvSpPr/>
          <p:nvPr/>
        </p:nvSpPr>
        <p:spPr>
          <a:xfrm>
            <a:off x="4475164" y="3087688"/>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36" name="Oval 408">
            <a:extLst>
              <a:ext uri="{FF2B5EF4-FFF2-40B4-BE49-F238E27FC236}">
                <a16:creationId xmlns:a16="http://schemas.microsoft.com/office/drawing/2014/main" id="{49DDB7DF-0810-5700-4A4A-964AD714D534}"/>
              </a:ext>
            </a:extLst>
          </p:cNvPr>
          <p:cNvSpPr/>
          <p:nvPr/>
        </p:nvSpPr>
        <p:spPr>
          <a:xfrm>
            <a:off x="5018088" y="3590925"/>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37" name="Oval 409">
            <a:extLst>
              <a:ext uri="{FF2B5EF4-FFF2-40B4-BE49-F238E27FC236}">
                <a16:creationId xmlns:a16="http://schemas.microsoft.com/office/drawing/2014/main" id="{93AFFA49-C1C4-47E8-5D02-07A979EFFA3F}"/>
              </a:ext>
            </a:extLst>
          </p:cNvPr>
          <p:cNvSpPr/>
          <p:nvPr/>
        </p:nvSpPr>
        <p:spPr>
          <a:xfrm>
            <a:off x="5135563" y="3544888"/>
            <a:ext cx="49213" cy="53975"/>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38" name="Oval 410">
            <a:extLst>
              <a:ext uri="{FF2B5EF4-FFF2-40B4-BE49-F238E27FC236}">
                <a16:creationId xmlns:a16="http://schemas.microsoft.com/office/drawing/2014/main" id="{B07E882C-8628-9FD4-56E8-EF8EF107E7ED}"/>
              </a:ext>
            </a:extLst>
          </p:cNvPr>
          <p:cNvSpPr/>
          <p:nvPr/>
        </p:nvSpPr>
        <p:spPr>
          <a:xfrm>
            <a:off x="5399089" y="3770313"/>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39" name="Oval 324">
            <a:extLst>
              <a:ext uri="{FF2B5EF4-FFF2-40B4-BE49-F238E27FC236}">
                <a16:creationId xmlns:a16="http://schemas.microsoft.com/office/drawing/2014/main" id="{BE9179F5-DE57-DFAF-1A7C-C4C90B237F25}"/>
              </a:ext>
            </a:extLst>
          </p:cNvPr>
          <p:cNvSpPr/>
          <p:nvPr/>
        </p:nvSpPr>
        <p:spPr>
          <a:xfrm>
            <a:off x="1882775" y="3530600"/>
            <a:ext cx="49213"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40" name="Oval 327">
            <a:extLst>
              <a:ext uri="{FF2B5EF4-FFF2-40B4-BE49-F238E27FC236}">
                <a16:creationId xmlns:a16="http://schemas.microsoft.com/office/drawing/2014/main" id="{F11ED6BC-013F-08BB-17A2-4BBCAFB2827B}"/>
              </a:ext>
            </a:extLst>
          </p:cNvPr>
          <p:cNvSpPr/>
          <p:nvPr/>
        </p:nvSpPr>
        <p:spPr>
          <a:xfrm>
            <a:off x="965201" y="2025650"/>
            <a:ext cx="47625"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41" name="Oval 328">
            <a:extLst>
              <a:ext uri="{FF2B5EF4-FFF2-40B4-BE49-F238E27FC236}">
                <a16:creationId xmlns:a16="http://schemas.microsoft.com/office/drawing/2014/main" id="{1E669400-1D21-B41A-1C30-996E0C11B1CC}"/>
              </a:ext>
            </a:extLst>
          </p:cNvPr>
          <p:cNvSpPr/>
          <p:nvPr/>
        </p:nvSpPr>
        <p:spPr>
          <a:xfrm>
            <a:off x="1320800" y="2182813"/>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lnSpc>
                <a:spcPct val="90000"/>
              </a:lnSpc>
              <a:spcBef>
                <a:spcPts val="300"/>
              </a:spcBef>
              <a:buSzPct val="100000"/>
            </a:pPr>
            <a:endParaRPr lang="en-US" sz="1350">
              <a:solidFill>
                <a:schemeClr val="tx1"/>
              </a:solidFill>
              <a:sym typeface="+mn-lt"/>
            </a:endParaRPr>
          </a:p>
        </p:txBody>
      </p:sp>
      <p:sp>
        <p:nvSpPr>
          <p:cNvPr id="342" name="Oval 330">
            <a:extLst>
              <a:ext uri="{FF2B5EF4-FFF2-40B4-BE49-F238E27FC236}">
                <a16:creationId xmlns:a16="http://schemas.microsoft.com/office/drawing/2014/main" id="{E49140AB-CCC4-5E5C-0C50-47C56315868B}"/>
              </a:ext>
            </a:extLst>
          </p:cNvPr>
          <p:cNvSpPr/>
          <p:nvPr/>
        </p:nvSpPr>
        <p:spPr>
          <a:xfrm>
            <a:off x="1108076" y="2498725"/>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lnSpc>
                <a:spcPct val="90000"/>
              </a:lnSpc>
              <a:spcBef>
                <a:spcPts val="300"/>
              </a:spcBef>
              <a:buSzPct val="100000"/>
            </a:pPr>
            <a:endParaRPr lang="en-US" sz="1350">
              <a:solidFill>
                <a:schemeClr val="tx1"/>
              </a:solidFill>
              <a:sym typeface="+mn-lt"/>
            </a:endParaRPr>
          </a:p>
        </p:txBody>
      </p:sp>
      <p:sp>
        <p:nvSpPr>
          <p:cNvPr id="343" name="Oval 331">
            <a:extLst>
              <a:ext uri="{FF2B5EF4-FFF2-40B4-BE49-F238E27FC236}">
                <a16:creationId xmlns:a16="http://schemas.microsoft.com/office/drawing/2014/main" id="{BE6FDA55-89D4-893F-E782-C374613EB5D8}"/>
              </a:ext>
            </a:extLst>
          </p:cNvPr>
          <p:cNvSpPr/>
          <p:nvPr/>
        </p:nvSpPr>
        <p:spPr>
          <a:xfrm>
            <a:off x="1006476" y="2497138"/>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lnSpc>
                <a:spcPct val="90000"/>
              </a:lnSpc>
              <a:spcBef>
                <a:spcPts val="300"/>
              </a:spcBef>
              <a:buSzPct val="100000"/>
            </a:pPr>
            <a:endParaRPr lang="en-US" sz="1350">
              <a:solidFill>
                <a:schemeClr val="tx1"/>
              </a:solidFill>
              <a:sym typeface="+mn-lt"/>
            </a:endParaRPr>
          </a:p>
        </p:txBody>
      </p:sp>
      <p:sp>
        <p:nvSpPr>
          <p:cNvPr id="344" name="Oval 333">
            <a:extLst>
              <a:ext uri="{FF2B5EF4-FFF2-40B4-BE49-F238E27FC236}">
                <a16:creationId xmlns:a16="http://schemas.microsoft.com/office/drawing/2014/main" id="{ACC54C1C-C51F-7CFB-47C5-E50302C7782F}"/>
              </a:ext>
            </a:extLst>
          </p:cNvPr>
          <p:cNvSpPr/>
          <p:nvPr/>
        </p:nvSpPr>
        <p:spPr>
          <a:xfrm>
            <a:off x="882651" y="2265363"/>
            <a:ext cx="47625" cy="53975"/>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45" name="Oval 334">
            <a:extLst>
              <a:ext uri="{FF2B5EF4-FFF2-40B4-BE49-F238E27FC236}">
                <a16:creationId xmlns:a16="http://schemas.microsoft.com/office/drawing/2014/main" id="{485AB03A-4855-CA22-2857-95A4AB4E7D7E}"/>
              </a:ext>
            </a:extLst>
          </p:cNvPr>
          <p:cNvSpPr/>
          <p:nvPr/>
        </p:nvSpPr>
        <p:spPr>
          <a:xfrm>
            <a:off x="966789" y="2357438"/>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lnSpc>
                <a:spcPct val="90000"/>
              </a:lnSpc>
              <a:spcBef>
                <a:spcPts val="300"/>
              </a:spcBef>
              <a:buSzPct val="100000"/>
            </a:pPr>
            <a:endParaRPr lang="en-US" sz="1350">
              <a:solidFill>
                <a:schemeClr val="tx1"/>
              </a:solidFill>
              <a:sym typeface="+mn-lt"/>
            </a:endParaRPr>
          </a:p>
        </p:txBody>
      </p:sp>
      <p:sp>
        <p:nvSpPr>
          <p:cNvPr id="346" name="Oval 337">
            <a:extLst>
              <a:ext uri="{FF2B5EF4-FFF2-40B4-BE49-F238E27FC236}">
                <a16:creationId xmlns:a16="http://schemas.microsoft.com/office/drawing/2014/main" id="{0E63BEA1-5237-371B-A596-54857BD0A4E0}"/>
              </a:ext>
            </a:extLst>
          </p:cNvPr>
          <p:cNvSpPr/>
          <p:nvPr/>
        </p:nvSpPr>
        <p:spPr>
          <a:xfrm>
            <a:off x="1036638" y="2347913"/>
            <a:ext cx="49213"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47" name="Oval 329">
            <a:extLst>
              <a:ext uri="{FF2B5EF4-FFF2-40B4-BE49-F238E27FC236}">
                <a16:creationId xmlns:a16="http://schemas.microsoft.com/office/drawing/2014/main" id="{E17726BE-A4BA-0C62-BF84-F9C158D6893D}"/>
              </a:ext>
            </a:extLst>
          </p:cNvPr>
          <p:cNvSpPr/>
          <p:nvPr/>
        </p:nvSpPr>
        <p:spPr>
          <a:xfrm>
            <a:off x="1265239" y="2316163"/>
            <a:ext cx="47625"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48" name="Oval 377">
            <a:extLst>
              <a:ext uri="{FF2B5EF4-FFF2-40B4-BE49-F238E27FC236}">
                <a16:creationId xmlns:a16="http://schemas.microsoft.com/office/drawing/2014/main" id="{DEBDCF50-EC9E-0148-82BE-43DA972B61E1}"/>
              </a:ext>
            </a:extLst>
          </p:cNvPr>
          <p:cNvSpPr/>
          <p:nvPr/>
        </p:nvSpPr>
        <p:spPr>
          <a:xfrm>
            <a:off x="906464" y="2478088"/>
            <a:ext cx="47625"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49" name="Oval 332">
            <a:extLst>
              <a:ext uri="{FF2B5EF4-FFF2-40B4-BE49-F238E27FC236}">
                <a16:creationId xmlns:a16="http://schemas.microsoft.com/office/drawing/2014/main" id="{417D944D-5DE8-4C54-A6D6-123E27F12892}"/>
              </a:ext>
            </a:extLst>
          </p:cNvPr>
          <p:cNvSpPr/>
          <p:nvPr/>
        </p:nvSpPr>
        <p:spPr>
          <a:xfrm>
            <a:off x="900114" y="2462213"/>
            <a:ext cx="47625"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50" name="Oval 378">
            <a:extLst>
              <a:ext uri="{FF2B5EF4-FFF2-40B4-BE49-F238E27FC236}">
                <a16:creationId xmlns:a16="http://schemas.microsoft.com/office/drawing/2014/main" id="{9FDBA228-1BE5-84E7-53BB-018AE401235D}"/>
              </a:ext>
            </a:extLst>
          </p:cNvPr>
          <p:cNvSpPr/>
          <p:nvPr/>
        </p:nvSpPr>
        <p:spPr>
          <a:xfrm>
            <a:off x="2859089" y="1666875"/>
            <a:ext cx="47625"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51" name="Oval 380">
            <a:extLst>
              <a:ext uri="{FF2B5EF4-FFF2-40B4-BE49-F238E27FC236}">
                <a16:creationId xmlns:a16="http://schemas.microsoft.com/office/drawing/2014/main" id="{956A303B-AE9E-9F69-16F0-F1F4DD5542FE}"/>
              </a:ext>
            </a:extLst>
          </p:cNvPr>
          <p:cNvSpPr/>
          <p:nvPr/>
        </p:nvSpPr>
        <p:spPr>
          <a:xfrm>
            <a:off x="2613026" y="1938338"/>
            <a:ext cx="47625"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52" name="Oval 381">
            <a:extLst>
              <a:ext uri="{FF2B5EF4-FFF2-40B4-BE49-F238E27FC236}">
                <a16:creationId xmlns:a16="http://schemas.microsoft.com/office/drawing/2014/main" id="{6BF0AA95-ADCA-0873-C7E8-8126FC201AA9}"/>
              </a:ext>
            </a:extLst>
          </p:cNvPr>
          <p:cNvSpPr/>
          <p:nvPr/>
        </p:nvSpPr>
        <p:spPr>
          <a:xfrm>
            <a:off x="2714625" y="1908175"/>
            <a:ext cx="49213"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53" name="Oval 395">
            <a:extLst>
              <a:ext uri="{FF2B5EF4-FFF2-40B4-BE49-F238E27FC236}">
                <a16:creationId xmlns:a16="http://schemas.microsoft.com/office/drawing/2014/main" id="{D8DE4990-1DBD-231C-6384-4C8F68F30F81}"/>
              </a:ext>
            </a:extLst>
          </p:cNvPr>
          <p:cNvSpPr/>
          <p:nvPr/>
        </p:nvSpPr>
        <p:spPr>
          <a:xfrm>
            <a:off x="2879725" y="2146300"/>
            <a:ext cx="49213" cy="53975"/>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lnSpc>
                <a:spcPct val="90000"/>
              </a:lnSpc>
              <a:spcBef>
                <a:spcPts val="300"/>
              </a:spcBef>
              <a:buSzPct val="100000"/>
            </a:pPr>
            <a:endParaRPr lang="en-US" sz="1350">
              <a:solidFill>
                <a:schemeClr val="tx1"/>
              </a:solidFill>
              <a:sym typeface="+mn-lt"/>
            </a:endParaRPr>
          </a:p>
        </p:txBody>
      </p:sp>
      <p:sp>
        <p:nvSpPr>
          <p:cNvPr id="354" name="Oval 396">
            <a:extLst>
              <a:ext uri="{FF2B5EF4-FFF2-40B4-BE49-F238E27FC236}">
                <a16:creationId xmlns:a16="http://schemas.microsoft.com/office/drawing/2014/main" id="{54352118-615D-EF33-B890-1B3A112EC048}"/>
              </a:ext>
            </a:extLst>
          </p:cNvPr>
          <p:cNvSpPr/>
          <p:nvPr/>
        </p:nvSpPr>
        <p:spPr>
          <a:xfrm>
            <a:off x="3476625" y="2560638"/>
            <a:ext cx="49213"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55" name="Oval 397">
            <a:extLst>
              <a:ext uri="{FF2B5EF4-FFF2-40B4-BE49-F238E27FC236}">
                <a16:creationId xmlns:a16="http://schemas.microsoft.com/office/drawing/2014/main" id="{6204A441-9F19-F088-12A0-8B914F4113C8}"/>
              </a:ext>
            </a:extLst>
          </p:cNvPr>
          <p:cNvSpPr/>
          <p:nvPr/>
        </p:nvSpPr>
        <p:spPr>
          <a:xfrm>
            <a:off x="3446463" y="2570163"/>
            <a:ext cx="49213"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56" name="Oval 398">
            <a:extLst>
              <a:ext uri="{FF2B5EF4-FFF2-40B4-BE49-F238E27FC236}">
                <a16:creationId xmlns:a16="http://schemas.microsoft.com/office/drawing/2014/main" id="{0CC83E8A-03A2-1337-9FBF-C51B21CB06A2}"/>
              </a:ext>
            </a:extLst>
          </p:cNvPr>
          <p:cNvSpPr/>
          <p:nvPr/>
        </p:nvSpPr>
        <p:spPr>
          <a:xfrm>
            <a:off x="3544888" y="2587625"/>
            <a:ext cx="49213"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57" name="Oval 400">
            <a:extLst>
              <a:ext uri="{FF2B5EF4-FFF2-40B4-BE49-F238E27FC236}">
                <a16:creationId xmlns:a16="http://schemas.microsoft.com/office/drawing/2014/main" id="{70B8C6E8-2E32-BE0F-9453-CB56CD2CD738}"/>
              </a:ext>
            </a:extLst>
          </p:cNvPr>
          <p:cNvSpPr/>
          <p:nvPr/>
        </p:nvSpPr>
        <p:spPr>
          <a:xfrm>
            <a:off x="3905250" y="2139950"/>
            <a:ext cx="49213"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58" name="Oval 401">
            <a:extLst>
              <a:ext uri="{FF2B5EF4-FFF2-40B4-BE49-F238E27FC236}">
                <a16:creationId xmlns:a16="http://schemas.microsoft.com/office/drawing/2014/main" id="{E4F8DD6C-8D2A-0E24-6514-8DD80C530F22}"/>
              </a:ext>
            </a:extLst>
          </p:cNvPr>
          <p:cNvSpPr/>
          <p:nvPr/>
        </p:nvSpPr>
        <p:spPr>
          <a:xfrm>
            <a:off x="4500564" y="2178050"/>
            <a:ext cx="47625"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59" name="Oval 402">
            <a:extLst>
              <a:ext uri="{FF2B5EF4-FFF2-40B4-BE49-F238E27FC236}">
                <a16:creationId xmlns:a16="http://schemas.microsoft.com/office/drawing/2014/main" id="{07FB4301-381F-3EDA-2024-1B1F73C709E4}"/>
              </a:ext>
            </a:extLst>
          </p:cNvPr>
          <p:cNvSpPr/>
          <p:nvPr/>
        </p:nvSpPr>
        <p:spPr>
          <a:xfrm>
            <a:off x="4522789" y="2360613"/>
            <a:ext cx="47625"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60" name="Oval 403">
            <a:extLst>
              <a:ext uri="{FF2B5EF4-FFF2-40B4-BE49-F238E27FC236}">
                <a16:creationId xmlns:a16="http://schemas.microsoft.com/office/drawing/2014/main" id="{0362AD14-6C9F-4772-C37E-834E38F35FA1}"/>
              </a:ext>
            </a:extLst>
          </p:cNvPr>
          <p:cNvSpPr/>
          <p:nvPr/>
        </p:nvSpPr>
        <p:spPr>
          <a:xfrm>
            <a:off x="4483101" y="2371725"/>
            <a:ext cx="47625"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61" name="Oval 404">
            <a:extLst>
              <a:ext uri="{FF2B5EF4-FFF2-40B4-BE49-F238E27FC236}">
                <a16:creationId xmlns:a16="http://schemas.microsoft.com/office/drawing/2014/main" id="{305A16A2-EF22-EDE2-8220-7D0CD8626973}"/>
              </a:ext>
            </a:extLst>
          </p:cNvPr>
          <p:cNvSpPr/>
          <p:nvPr/>
        </p:nvSpPr>
        <p:spPr>
          <a:xfrm>
            <a:off x="4619626" y="2482850"/>
            <a:ext cx="47625"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62" name="Oval 411">
            <a:extLst>
              <a:ext uri="{FF2B5EF4-FFF2-40B4-BE49-F238E27FC236}">
                <a16:creationId xmlns:a16="http://schemas.microsoft.com/office/drawing/2014/main" id="{43CD94F1-20FB-3AB6-9544-940522A943D0}"/>
              </a:ext>
            </a:extLst>
          </p:cNvPr>
          <p:cNvSpPr/>
          <p:nvPr/>
        </p:nvSpPr>
        <p:spPr>
          <a:xfrm>
            <a:off x="4546601" y="3476625"/>
            <a:ext cx="47625" cy="53975"/>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63" name="Notes">
            <a:extLst>
              <a:ext uri="{FF2B5EF4-FFF2-40B4-BE49-F238E27FC236}">
                <a16:creationId xmlns:a16="http://schemas.microsoft.com/office/drawing/2014/main" id="{CF3F7645-B203-62AB-6518-89C0B4F3C741}"/>
              </a:ext>
            </a:extLst>
          </p:cNvPr>
          <p:cNvSpPr txBox="1"/>
          <p:nvPr/>
        </p:nvSpPr>
        <p:spPr>
          <a:xfrm>
            <a:off x="310501" y="4433150"/>
            <a:ext cx="8056703" cy="186974"/>
          </a:xfrm>
          <a:prstGeom prst="rect">
            <a:avLst/>
          </a:prstGeom>
          <a:noFill/>
          <a:ln w="9525">
            <a:noFill/>
          </a:ln>
        </p:spPr>
        <p:txBody>
          <a:bodyPr vert="horz" wrap="square" lIns="0" tIns="0" rIns="0" bIns="0" rtlCol="0" anchor="b" anchorCtr="0">
            <a:spAutoFit/>
          </a:bodyPr>
          <a:lstStyle/>
          <a:p>
            <a:pPr fontAlgn="base">
              <a:lnSpc>
                <a:spcPct val="90000"/>
              </a:lnSpc>
              <a:buSzPct val="100000"/>
            </a:pPr>
            <a:r>
              <a:rPr lang="en-US" sz="675" dirty="0">
                <a:solidFill>
                  <a:schemeClr val="tx2"/>
                </a:solidFill>
                <a:sym typeface="+mn-lt"/>
              </a:rPr>
              <a:t>1) High-level estimate based on </a:t>
            </a:r>
            <a:r>
              <a:rPr lang="en-US" sz="675" dirty="0" err="1">
                <a:solidFill>
                  <a:schemeClr val="tx2"/>
                </a:solidFill>
                <a:sym typeface="+mn-lt"/>
              </a:rPr>
              <a:t>IOGP</a:t>
            </a:r>
            <a:r>
              <a:rPr lang="en-US" sz="675" dirty="0">
                <a:solidFill>
                  <a:schemeClr val="tx2"/>
                </a:solidFill>
                <a:sym typeface="+mn-lt"/>
              </a:rPr>
              <a:t> (January 2022) data     2) National Determined Contributions. Countries mentioning CCS, CCU, CCUS, Carbon Capture or Carbon Sequestration in their </a:t>
            </a:r>
            <a:r>
              <a:rPr lang="en-US" sz="675" dirty="0" err="1">
                <a:solidFill>
                  <a:schemeClr val="tx2"/>
                </a:solidFill>
                <a:sym typeface="+mn-lt"/>
              </a:rPr>
              <a:t>NDCs</a:t>
            </a:r>
            <a:r>
              <a:rPr lang="en-US" sz="675" dirty="0">
                <a:solidFill>
                  <a:schemeClr val="tx2"/>
                </a:solidFill>
                <a:sym typeface="+mn-lt"/>
              </a:rPr>
              <a:t>     </a:t>
            </a:r>
          </a:p>
          <a:p>
            <a:pPr fontAlgn="base">
              <a:lnSpc>
                <a:spcPct val="90000"/>
              </a:lnSpc>
              <a:buSzPct val="100000"/>
            </a:pPr>
            <a:r>
              <a:rPr lang="en-US" sz="675" dirty="0">
                <a:solidFill>
                  <a:schemeClr val="tx2"/>
                </a:solidFill>
                <a:sym typeface="+mn-lt"/>
              </a:rPr>
              <a:t>3) "announced" capacity reviewed for the Lithuanian "Clean Energy Project"</a:t>
            </a:r>
          </a:p>
        </p:txBody>
      </p:sp>
      <p:grpSp>
        <p:nvGrpSpPr>
          <p:cNvPr id="364" name="Legend">
            <a:extLst>
              <a:ext uri="{FF2B5EF4-FFF2-40B4-BE49-F238E27FC236}">
                <a16:creationId xmlns:a16="http://schemas.microsoft.com/office/drawing/2014/main" id="{64EDADDC-CCBA-8E73-E38A-BE1C62FE07B3}"/>
              </a:ext>
            </a:extLst>
          </p:cNvPr>
          <p:cNvGrpSpPr/>
          <p:nvPr/>
        </p:nvGrpSpPr>
        <p:grpSpPr>
          <a:xfrm>
            <a:off x="305886" y="4302180"/>
            <a:ext cx="1436688" cy="104775"/>
            <a:chOff x="738189" y="6188110"/>
            <a:chExt cx="1556850" cy="138500"/>
          </a:xfrm>
        </p:grpSpPr>
        <p:sp>
          <p:nvSpPr>
            <p:cNvPr id="365" name="LegendIcon">
              <a:extLst>
                <a:ext uri="{FF2B5EF4-FFF2-40B4-BE49-F238E27FC236}">
                  <a16:creationId xmlns:a16="http://schemas.microsoft.com/office/drawing/2014/main" id="{272D0E36-1647-8C08-DC81-EA8DE6E03699}"/>
                </a:ext>
              </a:extLst>
            </p:cNvPr>
            <p:cNvSpPr/>
            <p:nvPr/>
          </p:nvSpPr>
          <p:spPr>
            <a:xfrm>
              <a:off x="738189" y="6188959"/>
              <a:ext cx="111165" cy="136800"/>
            </a:xfrm>
            <a:prstGeom prst="rect">
              <a:avLst/>
            </a:prstGeom>
            <a:solidFill>
              <a:schemeClr val="tx2"/>
            </a:solidFill>
            <a:ln w="635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nSpc>
                  <a:spcPct val="90000"/>
                </a:lnSpc>
                <a:spcBef>
                  <a:spcPts val="300"/>
                </a:spcBef>
                <a:buSzPct val="100000"/>
              </a:pPr>
              <a:endParaRPr lang="en-US" sz="1350">
                <a:sym typeface="+mn-lt"/>
              </a:endParaRPr>
            </a:p>
          </p:txBody>
        </p:sp>
        <p:sp>
          <p:nvSpPr>
            <p:cNvPr id="366" name="LegendText">
              <a:extLst>
                <a:ext uri="{FF2B5EF4-FFF2-40B4-BE49-F238E27FC236}">
                  <a16:creationId xmlns:a16="http://schemas.microsoft.com/office/drawing/2014/main" id="{595CC4C7-8092-9DCE-7925-144F3717DAF2}"/>
                </a:ext>
              </a:extLst>
            </p:cNvPr>
            <p:cNvSpPr txBox="1"/>
            <p:nvPr/>
          </p:nvSpPr>
          <p:spPr>
            <a:xfrm>
              <a:off x="891702" y="6188110"/>
              <a:ext cx="1403337" cy="138500"/>
            </a:xfrm>
            <a:prstGeom prst="rect">
              <a:avLst/>
            </a:prstGeom>
            <a:noFill/>
            <a:ln w="9525">
              <a:noFill/>
            </a:ln>
          </p:spPr>
          <p:txBody>
            <a:bodyPr vert="horz" wrap="none" lIns="0" tIns="0" rIns="0" bIns="0" rtlCol="0" anchor="ctr" anchorCtr="0">
              <a:spAutoFit/>
            </a:bodyPr>
            <a:lstStyle>
              <a:defPPr>
                <a:defRPr lang="en-EN"/>
              </a:defPPr>
              <a:lvl1pPr marL="0" marR="0" lvl="0" indent="0" defTabSz="914400" eaLnBrk="1" fontAlgn="auto" latinLnBrk="0" hangingPunct="1">
                <a:lnSpc>
                  <a:spcPct val="90000"/>
                </a:lnSpc>
                <a:spcBef>
                  <a:spcPts val="0"/>
                </a:spcBef>
                <a:spcAft>
                  <a:spcPts val="0"/>
                </a:spcAft>
                <a:buClr>
                  <a:srgbClr val="000000"/>
                </a:buClr>
                <a:buSzPct val="100000"/>
                <a:buFontTx/>
                <a:buNone/>
                <a:tabLst/>
                <a:defRPr kumimoji="0" sz="800" b="0" i="0" u="none" strike="noStrike" kern="0" cap="none" spc="0" normalizeH="0" baseline="0">
                  <a:ln>
                    <a:noFill/>
                  </a:ln>
                  <a:effectLst/>
                  <a:uLnTx/>
                  <a:uFillTx/>
                  <a:latin typeface="+mn-lt"/>
                </a:defRPr>
              </a:lvl1pPr>
            </a:lstStyle>
            <a:p>
              <a:pPr defTabSz="685800"/>
              <a:r>
                <a:rPr lang="en-US" sz="750">
                  <a:sym typeface="+mn-lt"/>
                </a:rPr>
                <a:t>Countries with CCUS in NDC</a:t>
              </a:r>
              <a:r>
                <a:rPr lang="en-US" sz="750" baseline="30000">
                  <a:sym typeface="+mn-lt"/>
                </a:rPr>
                <a:t>2)</a:t>
              </a:r>
            </a:p>
          </p:txBody>
        </p:sp>
      </p:grpSp>
      <p:sp>
        <p:nvSpPr>
          <p:cNvPr id="367" name="Oval 415">
            <a:extLst>
              <a:ext uri="{FF2B5EF4-FFF2-40B4-BE49-F238E27FC236}">
                <a16:creationId xmlns:a16="http://schemas.microsoft.com/office/drawing/2014/main" id="{354A05C0-9772-C43E-B8B5-DC90AF8C6088}"/>
              </a:ext>
            </a:extLst>
          </p:cNvPr>
          <p:cNvSpPr/>
          <p:nvPr/>
        </p:nvSpPr>
        <p:spPr>
          <a:xfrm>
            <a:off x="1085850" y="2449513"/>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68" name="Oval 420">
            <a:extLst>
              <a:ext uri="{FF2B5EF4-FFF2-40B4-BE49-F238E27FC236}">
                <a16:creationId xmlns:a16="http://schemas.microsoft.com/office/drawing/2014/main" id="{CC73D222-41D0-1FCE-F34D-B6CAB5CF889E}"/>
              </a:ext>
            </a:extLst>
          </p:cNvPr>
          <p:cNvSpPr/>
          <p:nvPr/>
        </p:nvSpPr>
        <p:spPr>
          <a:xfrm>
            <a:off x="1128713" y="2455863"/>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69" name="Oval 421">
            <a:extLst>
              <a:ext uri="{FF2B5EF4-FFF2-40B4-BE49-F238E27FC236}">
                <a16:creationId xmlns:a16="http://schemas.microsoft.com/office/drawing/2014/main" id="{92A59931-AFB0-E74F-9BE1-7E3169B46993}"/>
              </a:ext>
            </a:extLst>
          </p:cNvPr>
          <p:cNvSpPr/>
          <p:nvPr/>
        </p:nvSpPr>
        <p:spPr>
          <a:xfrm>
            <a:off x="1039814" y="2473325"/>
            <a:ext cx="47625"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70" name="Subtitle">
            <a:extLst>
              <a:ext uri="{FF2B5EF4-FFF2-40B4-BE49-F238E27FC236}">
                <a16:creationId xmlns:a16="http://schemas.microsoft.com/office/drawing/2014/main" id="{1D291BB6-E809-A372-62B0-017226EF7236}"/>
              </a:ext>
            </a:extLst>
          </p:cNvPr>
          <p:cNvSpPr txBox="1">
            <a:spLocks/>
          </p:cNvSpPr>
          <p:nvPr/>
        </p:nvSpPr>
        <p:spPr>
          <a:xfrm>
            <a:off x="5664200" y="3192463"/>
            <a:ext cx="512763" cy="249238"/>
          </a:xfrm>
          <a:prstGeom prst="rect">
            <a:avLst/>
          </a:prstGeom>
        </p:spPr>
        <p:txBody>
          <a:bodyPr vert="horz" wrap="square" lIns="0" tIns="0" rIns="0" bIns="0" rtlCol="0">
            <a:spAutoFit/>
          </a:bodyPr>
          <a:lstStyle>
            <a:defPPr>
              <a:defRPr lang="en-EN"/>
            </a:defPPr>
            <a:lvl1pPr marL="0" lvl="0" indent="0" defTabSz="914400" eaLnBrk="1" latinLnBrk="0" hangingPunct="1">
              <a:lnSpc>
                <a:spcPct val="90000"/>
              </a:lnSpc>
              <a:buClr>
                <a:schemeClr val="tx1"/>
              </a:buClr>
              <a:buSzPct val="100000"/>
              <a:buFont typeface="+mn-lt" pitchFamily="34" charset="0"/>
              <a:buNone/>
              <a:defRPr sz="1800" b="0" i="0" baseline="0">
                <a:solidFill>
                  <a:schemeClr val="tx2"/>
                </a:solidFill>
                <a:latin typeface="+mn-lt"/>
              </a:defRPr>
            </a:lvl1pPr>
            <a:lvl2pPr marL="230400" indent="-230400" defTabSz="914400" eaLnBrk="1" latinLnBrk="0" hangingPunct="1">
              <a:lnSpc>
                <a:spcPct val="90000"/>
              </a:lnSpc>
              <a:spcBef>
                <a:spcPts val="1200"/>
              </a:spcBef>
              <a:buClrTx/>
              <a:buFont typeface="+mn-lt" panose="020B0604020202020204" pitchFamily="34" charset="0"/>
              <a:buChar char="•"/>
              <a:defRPr sz="1800" b="0">
                <a:latin typeface="+mn-lt"/>
              </a:defRPr>
            </a:lvl2pPr>
            <a:lvl3pPr marL="482400" indent="-234000" defTabSz="914400" eaLnBrk="1" latinLnBrk="0" hangingPunct="1">
              <a:lnSpc>
                <a:spcPct val="90000"/>
              </a:lnSpc>
              <a:spcBef>
                <a:spcPts val="400"/>
              </a:spcBef>
              <a:buClrTx/>
              <a:buFont typeface="+mn-lt" pitchFamily="34" charset="0"/>
              <a:buChar char="–"/>
              <a:defRPr sz="1800" b="0">
                <a:latin typeface="+mn-lt"/>
              </a:defRPr>
            </a:lvl3pPr>
            <a:lvl4pPr marL="698400" indent="-201600" defTabSz="914400" eaLnBrk="1" latinLnBrk="0" hangingPunct="1">
              <a:lnSpc>
                <a:spcPct val="90000"/>
              </a:lnSpc>
              <a:spcBef>
                <a:spcPts val="200"/>
              </a:spcBef>
              <a:buClrTx/>
              <a:buFont typeface="+mn-lt" pitchFamily="34" charset="0"/>
              <a:buChar char="-"/>
              <a:defRPr sz="1800" b="0">
                <a:latin typeface="+mn-lt"/>
              </a:defRPr>
            </a:lvl4pPr>
            <a:lvl5pPr marL="698400" indent="0" defTabSz="914400" eaLnBrk="1" latinLnBrk="0" hangingPunct="1">
              <a:lnSpc>
                <a:spcPct val="93000"/>
              </a:lnSpc>
              <a:spcBef>
                <a:spcPts val="0"/>
              </a:spcBef>
              <a:buFont typeface="+mn-lt" pitchFamily="34" charset="0"/>
              <a:buNone/>
              <a:defRPr sz="1700">
                <a:latin typeface="+mn-lt" pitchFamily="34" charset="0"/>
              </a:defRPr>
            </a:lvl5pPr>
            <a:lvl6pPr marL="2514600" indent="-228600">
              <a:spcBef>
                <a:spcPct val="20000"/>
              </a:spcBef>
              <a:buFont typeface="+mn-lt" pitchFamily="34" charset="0"/>
              <a:buChar char="•"/>
              <a:defRPr sz="2000">
                <a:latin typeface="+mn-lt"/>
              </a:defRPr>
            </a:lvl6pPr>
            <a:lvl7pPr marL="2971800" indent="-228600">
              <a:spcBef>
                <a:spcPct val="20000"/>
              </a:spcBef>
              <a:buFont typeface="+mn-lt" pitchFamily="34" charset="0"/>
              <a:buChar char="•"/>
              <a:defRPr sz="2000">
                <a:latin typeface="+mn-lt"/>
              </a:defRPr>
            </a:lvl7pPr>
            <a:lvl8pPr marL="3429000" indent="-228600">
              <a:spcBef>
                <a:spcPct val="20000"/>
              </a:spcBef>
              <a:buFont typeface="+mn-lt" pitchFamily="34" charset="0"/>
              <a:buChar char="•"/>
              <a:defRPr sz="2000">
                <a:latin typeface="+mn-lt"/>
              </a:defRPr>
            </a:lvl8pPr>
            <a:lvl9pPr marL="3886200" indent="-228600">
              <a:spcBef>
                <a:spcPct val="20000"/>
              </a:spcBef>
              <a:buFont typeface="+mn-lt" pitchFamily="34" charset="0"/>
              <a:buChar char="•"/>
              <a:defRPr sz="2000">
                <a:latin typeface="+mn-lt"/>
              </a:defRPr>
            </a:lvl9pPr>
          </a:lstStyle>
          <a:p>
            <a:r>
              <a:rPr lang="en-US" sz="900">
                <a:solidFill>
                  <a:schemeClr val="tx1"/>
                </a:solidFill>
                <a:sym typeface="+mn-lt"/>
              </a:rPr>
              <a:t>North America</a:t>
            </a:r>
          </a:p>
        </p:txBody>
      </p:sp>
      <p:graphicFrame>
        <p:nvGraphicFramePr>
          <p:cNvPr id="371" name="Chart 489">
            <a:extLst>
              <a:ext uri="{FF2B5EF4-FFF2-40B4-BE49-F238E27FC236}">
                <a16:creationId xmlns:a16="http://schemas.microsoft.com/office/drawing/2014/main" id="{B6677FD6-EF6A-5C0B-ADB5-DE4CEF453252}"/>
              </a:ext>
            </a:extLst>
          </p:cNvPr>
          <p:cNvGraphicFramePr/>
          <p:nvPr>
            <p:custDataLst>
              <p:tags r:id="rId1"/>
            </p:custDataLst>
            <p:extLst>
              <p:ext uri="{D42A27DB-BD31-4B8C-83A1-F6EECF244321}">
                <p14:modId xmlns:p14="http://schemas.microsoft.com/office/powerpoint/2010/main" val="2993698011"/>
              </p:ext>
            </p:extLst>
          </p:nvPr>
        </p:nvGraphicFramePr>
        <p:xfrm>
          <a:off x="6049963" y="1804988"/>
          <a:ext cx="2486025" cy="1290637"/>
        </p:xfrm>
        <a:graphic>
          <a:graphicData uri="http://schemas.openxmlformats.org/drawingml/2006/chart">
            <c:chart xmlns:c="http://schemas.openxmlformats.org/drawingml/2006/chart" xmlns:r="http://schemas.openxmlformats.org/officeDocument/2006/relationships" r:id="rId36"/>
          </a:graphicData>
        </a:graphic>
      </p:graphicFrame>
      <p:cxnSp>
        <p:nvCxnSpPr>
          <p:cNvPr id="372" name="Straight Connector 21">
            <a:extLst>
              <a:ext uri="{FF2B5EF4-FFF2-40B4-BE49-F238E27FC236}">
                <a16:creationId xmlns:a16="http://schemas.microsoft.com/office/drawing/2014/main" id="{609F920D-38B2-D588-92DA-7B469CA0D0AC}"/>
              </a:ext>
            </a:extLst>
          </p:cNvPr>
          <p:cNvCxnSpPr/>
          <p:nvPr>
            <p:custDataLst>
              <p:tags r:id="rId2"/>
            </p:custDataLst>
          </p:nvPr>
        </p:nvCxnSpPr>
        <p:spPr bwMode="auto">
          <a:xfrm>
            <a:off x="7389813" y="2290763"/>
            <a:ext cx="387350" cy="0"/>
          </a:xfrm>
          <a:prstGeom prst="line">
            <a:avLst/>
          </a:prstGeom>
          <a:ln w="25400" cap="flat" cmpd="sng" algn="ctr">
            <a:solidFill>
              <a:schemeClr val="tx1"/>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3" name="Straight Connector 57">
            <a:extLst>
              <a:ext uri="{FF2B5EF4-FFF2-40B4-BE49-F238E27FC236}">
                <a16:creationId xmlns:a16="http://schemas.microsoft.com/office/drawing/2014/main" id="{7B455A40-8E7D-CD35-C695-8353B870FBA5}"/>
              </a:ext>
            </a:extLst>
          </p:cNvPr>
          <p:cNvCxnSpPr/>
          <p:nvPr>
            <p:custDataLst>
              <p:tags r:id="rId3"/>
            </p:custDataLst>
          </p:nvPr>
        </p:nvCxnSpPr>
        <p:spPr bwMode="auto">
          <a:xfrm>
            <a:off x="7389813" y="2290763"/>
            <a:ext cx="0" cy="230188"/>
          </a:xfrm>
          <a:prstGeom prst="line">
            <a:avLst/>
          </a:prstGeom>
          <a:ln w="25400" cap="flat" cmpd="sng" algn="ctr">
            <a:solidFill>
              <a:schemeClr val="tx1"/>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4" name="Straight Connector 447">
            <a:extLst>
              <a:ext uri="{FF2B5EF4-FFF2-40B4-BE49-F238E27FC236}">
                <a16:creationId xmlns:a16="http://schemas.microsoft.com/office/drawing/2014/main" id="{BB8DB8B5-6EF1-C7EB-D02B-53E1FF10B811}"/>
              </a:ext>
            </a:extLst>
          </p:cNvPr>
          <p:cNvCxnSpPr/>
          <p:nvPr>
            <p:custDataLst>
              <p:tags r:id="rId4"/>
            </p:custDataLst>
          </p:nvPr>
        </p:nvCxnSpPr>
        <p:spPr bwMode="auto">
          <a:xfrm>
            <a:off x="7777163" y="2290763"/>
            <a:ext cx="0" cy="230188"/>
          </a:xfrm>
          <a:prstGeom prst="line">
            <a:avLst/>
          </a:prstGeom>
          <a:ln w="25400" cap="flat" cmpd="sng" algn="ctr">
            <a:solidFill>
              <a:schemeClr val="tx1"/>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75" name="Text Placeholder">
            <a:extLst>
              <a:ext uri="{FF2B5EF4-FFF2-40B4-BE49-F238E27FC236}">
                <a16:creationId xmlns:a16="http://schemas.microsoft.com/office/drawing/2014/main" id="{6FA8CD98-FE50-3110-49B2-B4367BAA8FE9}"/>
              </a:ext>
            </a:extLst>
          </p:cNvPr>
          <p:cNvSpPr>
            <a:spLocks noGrp="1"/>
          </p:cNvSpPr>
          <p:nvPr>
            <p:custDataLst>
              <p:tags r:id="rId5"/>
            </p:custDataLst>
          </p:nvPr>
        </p:nvSpPr>
        <p:spPr bwMode="auto">
          <a:xfrm>
            <a:off x="6289675" y="2867025"/>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0E8ECA75-2CCC-4257-917B-BC2201BB555E}" type="datetime'2''''0''''''''''''''''''''''''2''''''''''''''''''''''''2'''''">
              <a:rPr lang="en-US" altLang="en-US" sz="900"/>
              <a:pPr algn="ctr" defTabSz="685800">
                <a:spcBef>
                  <a:spcPct val="0"/>
                </a:spcBef>
                <a:buSzPct val="100000"/>
                <a:buFont typeface="+mn-lt" pitchFamily="34" charset="0"/>
              </a:pPr>
              <a:t>2022</a:t>
            </a:fld>
            <a:endParaRPr lang="en-US" sz="900"/>
          </a:p>
        </p:txBody>
      </p:sp>
      <p:sp>
        <p:nvSpPr>
          <p:cNvPr id="376" name="Text Placeholder">
            <a:extLst>
              <a:ext uri="{FF2B5EF4-FFF2-40B4-BE49-F238E27FC236}">
                <a16:creationId xmlns:a16="http://schemas.microsoft.com/office/drawing/2014/main" id="{83A09484-ABEC-AB64-415C-7462FCA6DED1}"/>
              </a:ext>
            </a:extLst>
          </p:cNvPr>
          <p:cNvSpPr>
            <a:spLocks noGrp="1"/>
          </p:cNvSpPr>
          <p:nvPr>
            <p:custDataLst>
              <p:tags r:id="rId6"/>
            </p:custDataLst>
          </p:nvPr>
        </p:nvSpPr>
        <p:spPr bwMode="auto">
          <a:xfrm>
            <a:off x="6869113" y="2867025"/>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2D05B89D-1248-4F74-B4C4-CE5070A6E5B3}" type="datetime'''''''''''''''''''2''0''''''2''5'''''''''''">
              <a:rPr lang="en-US" altLang="en-US" sz="900"/>
              <a:pPr algn="ctr" defTabSz="685800">
                <a:spcBef>
                  <a:spcPct val="0"/>
                </a:spcBef>
                <a:buSzPct val="100000"/>
                <a:buFont typeface="+mn-lt" pitchFamily="34" charset="0"/>
              </a:pPr>
              <a:t>2025</a:t>
            </a:fld>
            <a:endParaRPr lang="en-US" sz="900"/>
          </a:p>
        </p:txBody>
      </p:sp>
      <p:sp>
        <p:nvSpPr>
          <p:cNvPr id="377" name="Text Placeholder">
            <a:extLst>
              <a:ext uri="{FF2B5EF4-FFF2-40B4-BE49-F238E27FC236}">
                <a16:creationId xmlns:a16="http://schemas.microsoft.com/office/drawing/2014/main" id="{8BC5C90D-2343-9C87-BAB4-1A295A1FC339}"/>
              </a:ext>
            </a:extLst>
          </p:cNvPr>
          <p:cNvSpPr>
            <a:spLocks noGrp="1"/>
          </p:cNvSpPr>
          <p:nvPr>
            <p:custDataLst>
              <p:tags r:id="rId7"/>
            </p:custDataLst>
          </p:nvPr>
        </p:nvSpPr>
        <p:spPr bwMode="auto">
          <a:xfrm>
            <a:off x="7450138" y="2867025"/>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14F12A30-0E05-4193-9E61-4A7B7B098F6D}" type="datetime'''''''''''''''''''''2''''''0''3''''''''''''''''''0'''''''''">
              <a:rPr lang="en-US" altLang="en-US" sz="900"/>
              <a:pPr algn="ctr" defTabSz="685800">
                <a:spcBef>
                  <a:spcPct val="0"/>
                </a:spcBef>
                <a:buSzPct val="100000"/>
                <a:buFont typeface="+mn-lt" pitchFamily="34" charset="0"/>
              </a:pPr>
              <a:t>2030</a:t>
            </a:fld>
            <a:endParaRPr lang="en-US" sz="900"/>
          </a:p>
        </p:txBody>
      </p:sp>
      <p:sp>
        <p:nvSpPr>
          <p:cNvPr id="378" name="Text Placeholder">
            <a:extLst>
              <a:ext uri="{FF2B5EF4-FFF2-40B4-BE49-F238E27FC236}">
                <a16:creationId xmlns:a16="http://schemas.microsoft.com/office/drawing/2014/main" id="{AE2F8C59-6E80-8C0C-B4F3-E438CDECA54D}"/>
              </a:ext>
            </a:extLst>
          </p:cNvPr>
          <p:cNvSpPr>
            <a:spLocks noGrp="1"/>
          </p:cNvSpPr>
          <p:nvPr>
            <p:custDataLst>
              <p:tags r:id="rId8"/>
            </p:custDataLst>
          </p:nvPr>
        </p:nvSpPr>
        <p:spPr bwMode="auto">
          <a:xfrm>
            <a:off x="7996238" y="2867025"/>
            <a:ext cx="33337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FDEA2EEE-1C8F-4C80-88D6-1FC68465D69B}" type="datetime'''''''''''2''''''''''''''030''''''+'''''''''''''''">
              <a:rPr lang="en-US" altLang="en-US" sz="900"/>
              <a:pPr algn="ctr" defTabSz="685800">
                <a:spcBef>
                  <a:spcPct val="0"/>
                </a:spcBef>
                <a:buSzPct val="100000"/>
                <a:buFont typeface="+mn-lt" pitchFamily="34" charset="0"/>
              </a:pPr>
              <a:t>2030+</a:t>
            </a:fld>
            <a:endParaRPr lang="en-US" sz="900"/>
          </a:p>
        </p:txBody>
      </p:sp>
      <p:sp>
        <p:nvSpPr>
          <p:cNvPr id="379" name="Text Placeholder">
            <a:extLst>
              <a:ext uri="{FF2B5EF4-FFF2-40B4-BE49-F238E27FC236}">
                <a16:creationId xmlns:a16="http://schemas.microsoft.com/office/drawing/2014/main" id="{EF8F1F4A-0F9D-EC6B-9A5F-FA6ACA59EC29}"/>
              </a:ext>
            </a:extLst>
          </p:cNvPr>
          <p:cNvSpPr>
            <a:spLocks noGrp="1"/>
          </p:cNvSpPr>
          <p:nvPr>
            <p:custDataLst>
              <p:tags r:id="rId9"/>
            </p:custDataLst>
          </p:nvPr>
        </p:nvSpPr>
        <p:spPr bwMode="gray">
          <a:xfrm>
            <a:off x="6888163" y="2589213"/>
            <a:ext cx="2286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860" tIns="0" rIns="17860" bIns="0" numCol="1" spcCol="0" rtlCol="0" anchor="b"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r>
              <a:rPr lang="en-US" altLang="en-US" sz="900" b="1"/>
              <a:t>&gt;</a:t>
            </a:r>
            <a:fld id="{7A7041EA-9CB3-4D2A-B25E-9771D5E1C5F2}" type="datetime'''''''''''''2''''''''5'''''''''''''''''''''">
              <a:rPr lang="en-US" altLang="en-US" sz="900" b="1"/>
              <a:pPr algn="ctr" defTabSz="685800">
                <a:spcBef>
                  <a:spcPct val="0"/>
                </a:spcBef>
                <a:buSzPct val="100000"/>
                <a:buFont typeface="+mn-lt" pitchFamily="34" charset="0"/>
              </a:pPr>
              <a:t>25</a:t>
            </a:fld>
            <a:endParaRPr lang="en-US" sz="900" b="1"/>
          </a:p>
        </p:txBody>
      </p:sp>
      <p:sp>
        <p:nvSpPr>
          <p:cNvPr id="380" name="Text Placeholder">
            <a:extLst>
              <a:ext uri="{FF2B5EF4-FFF2-40B4-BE49-F238E27FC236}">
                <a16:creationId xmlns:a16="http://schemas.microsoft.com/office/drawing/2014/main" id="{E3C14C05-5A24-EF85-5577-F06C941F00F0}"/>
              </a:ext>
            </a:extLst>
          </p:cNvPr>
          <p:cNvSpPr>
            <a:spLocks noGrp="1"/>
          </p:cNvSpPr>
          <p:nvPr>
            <p:custDataLst>
              <p:tags r:id="rId10"/>
            </p:custDataLst>
          </p:nvPr>
        </p:nvSpPr>
        <p:spPr bwMode="gray">
          <a:xfrm>
            <a:off x="7437438" y="2141538"/>
            <a:ext cx="2921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numCol="1" spcCol="0" rtlCol="0" anchor="b"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r>
              <a:rPr lang="en-US" altLang="en-US" sz="900" b="1"/>
              <a:t>150+</a:t>
            </a:r>
            <a:endParaRPr lang="en-US" sz="900" b="1"/>
          </a:p>
        </p:txBody>
      </p:sp>
      <p:sp>
        <p:nvSpPr>
          <p:cNvPr id="381" name="Text Placeholder">
            <a:extLst>
              <a:ext uri="{FF2B5EF4-FFF2-40B4-BE49-F238E27FC236}">
                <a16:creationId xmlns:a16="http://schemas.microsoft.com/office/drawing/2014/main" id="{01BD7989-C9D9-95A7-1F3C-BBB57AD69B63}"/>
              </a:ext>
            </a:extLst>
          </p:cNvPr>
          <p:cNvSpPr>
            <a:spLocks noGrp="1"/>
          </p:cNvSpPr>
          <p:nvPr>
            <p:custDataLst>
              <p:tags r:id="rId11"/>
            </p:custDataLst>
          </p:nvPr>
        </p:nvSpPr>
        <p:spPr bwMode="gray">
          <a:xfrm>
            <a:off x="8016875" y="1922463"/>
            <a:ext cx="2921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860" tIns="0" rIns="17860" bIns="0" numCol="1" spcCol="0" rtlCol="0" anchor="b"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r>
              <a:rPr lang="en-US" altLang="en-US" sz="900" b="1"/>
              <a:t>&gt;250</a:t>
            </a:r>
            <a:endParaRPr lang="en-US" sz="900" b="1"/>
          </a:p>
        </p:txBody>
      </p:sp>
      <p:sp>
        <p:nvSpPr>
          <p:cNvPr id="382" name="Title33">
            <a:extLst>
              <a:ext uri="{FF2B5EF4-FFF2-40B4-BE49-F238E27FC236}">
                <a16:creationId xmlns:a16="http://schemas.microsoft.com/office/drawing/2014/main" id="{9EBC9BB2-3C95-9FD0-C0F9-02912D072AF7}"/>
              </a:ext>
            </a:extLst>
          </p:cNvPr>
          <p:cNvSpPr txBox="1"/>
          <p:nvPr/>
        </p:nvSpPr>
        <p:spPr>
          <a:xfrm>
            <a:off x="5664200" y="1428750"/>
            <a:ext cx="3187700" cy="344488"/>
          </a:xfrm>
          <a:prstGeom prst="rect">
            <a:avLst/>
          </a:prstGeom>
          <a:noFill/>
          <a:ln w="9525">
            <a:noFill/>
          </a:ln>
        </p:spPr>
        <p:txBody>
          <a:bodyPr vert="horz" wrap="square" lIns="0" tIns="0" rIns="0" bIns="53213" rtlCol="0" anchor="b">
            <a:spAutoFit/>
          </a:bodyPr>
          <a:lstStyle/>
          <a:p>
            <a:pPr>
              <a:lnSpc>
                <a:spcPct val="90000"/>
              </a:lnSpc>
              <a:buSzPct val="100000"/>
            </a:pPr>
            <a:r>
              <a:rPr lang="en-US" sz="1050">
                <a:sym typeface="+mn-lt"/>
              </a:rPr>
              <a:t>Global operational capacity of CCUS </a:t>
            </a:r>
            <a:r>
              <a:rPr lang="en-US" sz="1050" err="1">
                <a:sym typeface="+mn-lt"/>
              </a:rPr>
              <a:t>facilities</a:t>
            </a:r>
            <a:r>
              <a:rPr lang="en-US" sz="1050" baseline="30000" err="1">
                <a:sym typeface="+mn-lt"/>
              </a:rPr>
              <a:t>1</a:t>
            </a:r>
            <a:r>
              <a:rPr lang="en-US" sz="1050" baseline="30000">
                <a:sym typeface="+mn-lt"/>
              </a:rPr>
              <a:t>)</a:t>
            </a:r>
            <a:r>
              <a:rPr lang="en-US" sz="1050">
                <a:sym typeface="+mn-lt"/>
              </a:rPr>
              <a:t> </a:t>
            </a:r>
            <a:br>
              <a:rPr lang="en-US" sz="1050">
                <a:sym typeface="+mn-lt"/>
              </a:rPr>
            </a:br>
            <a:r>
              <a:rPr lang="en-US" sz="1050">
                <a:sym typeface="+mn-lt"/>
              </a:rPr>
              <a:t>[Mt p.a. CO</a:t>
            </a:r>
            <a:r>
              <a:rPr lang="en-US" sz="1050" baseline="-25000">
                <a:sym typeface="+mn-lt"/>
              </a:rPr>
              <a:t>2</a:t>
            </a:r>
            <a:r>
              <a:rPr lang="en-US" sz="1050">
                <a:sym typeface="+mn-lt"/>
              </a:rPr>
              <a:t>] announced </a:t>
            </a:r>
          </a:p>
        </p:txBody>
      </p:sp>
      <p:cxnSp>
        <p:nvCxnSpPr>
          <p:cNvPr id="383" name="HorizontalLine5">
            <a:extLst>
              <a:ext uri="{FF2B5EF4-FFF2-40B4-BE49-F238E27FC236}">
                <a16:creationId xmlns:a16="http://schemas.microsoft.com/office/drawing/2014/main" id="{EEF9FDE4-F29F-587B-02D1-6514FFEA1955}"/>
              </a:ext>
            </a:extLst>
          </p:cNvPr>
          <p:cNvCxnSpPr/>
          <p:nvPr/>
        </p:nvCxnSpPr>
        <p:spPr>
          <a:xfrm>
            <a:off x="5664200" y="1773238"/>
            <a:ext cx="3187700" cy="0"/>
          </a:xfrm>
          <a:prstGeom prst="line">
            <a:avLst/>
          </a:prstGeom>
          <a:ln w="19050" cmpd="sng">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84" name="Graphic 467">
            <a:extLst>
              <a:ext uri="{FF2B5EF4-FFF2-40B4-BE49-F238E27FC236}">
                <a16:creationId xmlns:a16="http://schemas.microsoft.com/office/drawing/2014/main" id="{05688D1F-8673-C95E-E7FA-334B7759643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5710239" y="2012950"/>
            <a:ext cx="250825" cy="250825"/>
          </a:xfrm>
          <a:prstGeom prst="rect">
            <a:avLst/>
          </a:prstGeom>
        </p:spPr>
      </p:pic>
      <p:pic>
        <p:nvPicPr>
          <p:cNvPr id="385" name="Graphic 469">
            <a:extLst>
              <a:ext uri="{FF2B5EF4-FFF2-40B4-BE49-F238E27FC236}">
                <a16:creationId xmlns:a16="http://schemas.microsoft.com/office/drawing/2014/main" id="{1214A59D-90CB-B6A9-B028-4CF144735002}"/>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5688013" y="3490913"/>
            <a:ext cx="249238" cy="249238"/>
          </a:xfrm>
          <a:prstGeom prst="rect">
            <a:avLst/>
          </a:prstGeom>
        </p:spPr>
      </p:pic>
      <p:pic>
        <p:nvPicPr>
          <p:cNvPr id="386" name="Graphic 470">
            <a:extLst>
              <a:ext uri="{FF2B5EF4-FFF2-40B4-BE49-F238E27FC236}">
                <a16:creationId xmlns:a16="http://schemas.microsoft.com/office/drawing/2014/main" id="{8AFC8889-361E-D985-74F4-341ADAD389AF}"/>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688013" y="3783013"/>
            <a:ext cx="249238" cy="249238"/>
          </a:xfrm>
          <a:prstGeom prst="rect">
            <a:avLst/>
          </a:prstGeom>
        </p:spPr>
      </p:pic>
      <p:sp>
        <p:nvSpPr>
          <p:cNvPr id="387" name="Subtitle">
            <a:extLst>
              <a:ext uri="{FF2B5EF4-FFF2-40B4-BE49-F238E27FC236}">
                <a16:creationId xmlns:a16="http://schemas.microsoft.com/office/drawing/2014/main" id="{A2D7DDE7-F5A7-F38D-09D4-CCAB804855EF}"/>
              </a:ext>
            </a:extLst>
          </p:cNvPr>
          <p:cNvSpPr txBox="1">
            <a:spLocks/>
          </p:cNvSpPr>
          <p:nvPr/>
        </p:nvSpPr>
        <p:spPr>
          <a:xfrm>
            <a:off x="5664200" y="1858963"/>
            <a:ext cx="519764" cy="124650"/>
          </a:xfrm>
          <a:prstGeom prst="rect">
            <a:avLst/>
          </a:prstGeom>
        </p:spPr>
        <p:txBody>
          <a:bodyPr vert="horz" wrap="square" lIns="0" tIns="0" rIns="0" bIns="0" rtlCol="0">
            <a:spAutoFit/>
          </a:bodyPr>
          <a:lstStyle>
            <a:defPPr>
              <a:defRPr lang="en-EN"/>
            </a:defPPr>
            <a:lvl1pPr marL="0" lvl="0" indent="0" defTabSz="914400" eaLnBrk="1" latinLnBrk="0" hangingPunct="1">
              <a:lnSpc>
                <a:spcPct val="90000"/>
              </a:lnSpc>
              <a:buClr>
                <a:schemeClr val="tx1"/>
              </a:buClr>
              <a:buSzPct val="100000"/>
              <a:buFont typeface="+mn-lt" pitchFamily="34" charset="0"/>
              <a:buNone/>
              <a:defRPr sz="1800" b="0" i="0" baseline="0">
                <a:solidFill>
                  <a:schemeClr val="tx2"/>
                </a:solidFill>
                <a:latin typeface="+mn-lt"/>
              </a:defRPr>
            </a:lvl1pPr>
            <a:lvl2pPr marL="230400" indent="-230400" defTabSz="914400" eaLnBrk="1" latinLnBrk="0" hangingPunct="1">
              <a:lnSpc>
                <a:spcPct val="90000"/>
              </a:lnSpc>
              <a:spcBef>
                <a:spcPts val="1200"/>
              </a:spcBef>
              <a:buClrTx/>
              <a:buFont typeface="+mn-lt" panose="020B0604020202020204" pitchFamily="34" charset="0"/>
              <a:buChar char="•"/>
              <a:defRPr sz="1800" b="0">
                <a:latin typeface="+mn-lt"/>
              </a:defRPr>
            </a:lvl2pPr>
            <a:lvl3pPr marL="482400" indent="-234000" defTabSz="914400" eaLnBrk="1" latinLnBrk="0" hangingPunct="1">
              <a:lnSpc>
                <a:spcPct val="90000"/>
              </a:lnSpc>
              <a:spcBef>
                <a:spcPts val="400"/>
              </a:spcBef>
              <a:buClrTx/>
              <a:buFont typeface="+mn-lt" pitchFamily="34" charset="0"/>
              <a:buChar char="–"/>
              <a:defRPr sz="1800" b="0">
                <a:latin typeface="+mn-lt"/>
              </a:defRPr>
            </a:lvl3pPr>
            <a:lvl4pPr marL="698400" indent="-201600" defTabSz="914400" eaLnBrk="1" latinLnBrk="0" hangingPunct="1">
              <a:lnSpc>
                <a:spcPct val="90000"/>
              </a:lnSpc>
              <a:spcBef>
                <a:spcPts val="200"/>
              </a:spcBef>
              <a:buClrTx/>
              <a:buFont typeface="+mn-lt" pitchFamily="34" charset="0"/>
              <a:buChar char="-"/>
              <a:defRPr sz="1800" b="0">
                <a:latin typeface="+mn-lt"/>
              </a:defRPr>
            </a:lvl4pPr>
            <a:lvl5pPr marL="698400" indent="0" defTabSz="914400" eaLnBrk="1" latinLnBrk="0" hangingPunct="1">
              <a:lnSpc>
                <a:spcPct val="93000"/>
              </a:lnSpc>
              <a:spcBef>
                <a:spcPts val="0"/>
              </a:spcBef>
              <a:buFont typeface="+mn-lt" pitchFamily="34" charset="0"/>
              <a:buNone/>
              <a:defRPr sz="1700">
                <a:latin typeface="+mn-lt" pitchFamily="34" charset="0"/>
              </a:defRPr>
            </a:lvl5pPr>
            <a:lvl6pPr marL="2514600" indent="-228600">
              <a:spcBef>
                <a:spcPct val="20000"/>
              </a:spcBef>
              <a:buFont typeface="+mn-lt" pitchFamily="34" charset="0"/>
              <a:buChar char="•"/>
              <a:defRPr sz="2000">
                <a:latin typeface="+mn-lt"/>
              </a:defRPr>
            </a:lvl6pPr>
            <a:lvl7pPr marL="2971800" indent="-228600">
              <a:spcBef>
                <a:spcPct val="20000"/>
              </a:spcBef>
              <a:buFont typeface="+mn-lt" pitchFamily="34" charset="0"/>
              <a:buChar char="•"/>
              <a:defRPr sz="2000">
                <a:latin typeface="+mn-lt"/>
              </a:defRPr>
            </a:lvl7pPr>
            <a:lvl8pPr marL="3429000" indent="-228600">
              <a:spcBef>
                <a:spcPct val="20000"/>
              </a:spcBef>
              <a:buFont typeface="+mn-lt" pitchFamily="34" charset="0"/>
              <a:buChar char="•"/>
              <a:defRPr sz="2000">
                <a:latin typeface="+mn-lt"/>
              </a:defRPr>
            </a:lvl8pPr>
            <a:lvl9pPr marL="3886200" indent="-228600">
              <a:spcBef>
                <a:spcPct val="20000"/>
              </a:spcBef>
              <a:buFont typeface="+mn-lt" pitchFamily="34" charset="0"/>
              <a:buChar char="•"/>
              <a:defRPr sz="2000">
                <a:latin typeface="+mn-lt"/>
              </a:defRPr>
            </a:lvl9pPr>
          </a:lstStyle>
          <a:p>
            <a:r>
              <a:rPr lang="en-US" sz="900" dirty="0">
                <a:solidFill>
                  <a:schemeClr val="tx1"/>
                </a:solidFill>
                <a:sym typeface="+mn-lt"/>
              </a:rPr>
              <a:t>Europe</a:t>
            </a:r>
          </a:p>
        </p:txBody>
      </p:sp>
      <p:cxnSp>
        <p:nvCxnSpPr>
          <p:cNvPr id="388" name="HorizontalLine5">
            <a:extLst>
              <a:ext uri="{FF2B5EF4-FFF2-40B4-BE49-F238E27FC236}">
                <a16:creationId xmlns:a16="http://schemas.microsoft.com/office/drawing/2014/main" id="{DC9412C9-9C5A-E778-0701-20AD37CA0845}"/>
              </a:ext>
            </a:extLst>
          </p:cNvPr>
          <p:cNvCxnSpPr/>
          <p:nvPr/>
        </p:nvCxnSpPr>
        <p:spPr>
          <a:xfrm>
            <a:off x="5664200" y="3106738"/>
            <a:ext cx="3187700" cy="0"/>
          </a:xfrm>
          <a:prstGeom prst="line">
            <a:avLst/>
          </a:prstGeom>
          <a:ln w="6350" cmpd="sng">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9" name="RBRightAngle">
            <a:extLst>
              <a:ext uri="{FF2B5EF4-FFF2-40B4-BE49-F238E27FC236}">
                <a16:creationId xmlns:a16="http://schemas.microsoft.com/office/drawing/2014/main" id="{BCF3421D-6B0B-3EC1-2D08-9787D0F8E4FC}"/>
              </a:ext>
            </a:extLst>
          </p:cNvPr>
          <p:cNvSpPr/>
          <p:nvPr/>
        </p:nvSpPr>
        <p:spPr>
          <a:xfrm>
            <a:off x="5481638" y="1338263"/>
            <a:ext cx="3351213" cy="3013075"/>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6350" cmpd="sng">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sz="1350"/>
          </a:p>
        </p:txBody>
      </p:sp>
      <p:sp>
        <p:nvSpPr>
          <p:cNvPr id="390" name="Oval 431">
            <a:extLst>
              <a:ext uri="{FF2B5EF4-FFF2-40B4-BE49-F238E27FC236}">
                <a16:creationId xmlns:a16="http://schemas.microsoft.com/office/drawing/2014/main" id="{BD9A0C6D-286C-B8C7-6BC2-AE17FD0488EF}"/>
              </a:ext>
            </a:extLst>
          </p:cNvPr>
          <p:cNvSpPr/>
          <p:nvPr/>
        </p:nvSpPr>
        <p:spPr>
          <a:xfrm>
            <a:off x="2606675" y="2216150"/>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91" name="Oval 449">
            <a:extLst>
              <a:ext uri="{FF2B5EF4-FFF2-40B4-BE49-F238E27FC236}">
                <a16:creationId xmlns:a16="http://schemas.microsoft.com/office/drawing/2014/main" id="{E25DF664-B0D1-C474-4A50-952510623040}"/>
              </a:ext>
            </a:extLst>
          </p:cNvPr>
          <p:cNvSpPr/>
          <p:nvPr/>
        </p:nvSpPr>
        <p:spPr>
          <a:xfrm>
            <a:off x="2636838" y="2078038"/>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92" name="Oval 450">
            <a:extLst>
              <a:ext uri="{FF2B5EF4-FFF2-40B4-BE49-F238E27FC236}">
                <a16:creationId xmlns:a16="http://schemas.microsoft.com/office/drawing/2014/main" id="{5DBD61DF-BFAE-A873-5D5C-C4E41C9C6263}"/>
              </a:ext>
            </a:extLst>
          </p:cNvPr>
          <p:cNvSpPr/>
          <p:nvPr/>
        </p:nvSpPr>
        <p:spPr>
          <a:xfrm>
            <a:off x="2582863" y="1995488"/>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93" name="Oval 422">
            <a:extLst>
              <a:ext uri="{FF2B5EF4-FFF2-40B4-BE49-F238E27FC236}">
                <a16:creationId xmlns:a16="http://schemas.microsoft.com/office/drawing/2014/main" id="{05CC5E13-782F-1C19-1FB8-13033529D490}"/>
              </a:ext>
            </a:extLst>
          </p:cNvPr>
          <p:cNvSpPr/>
          <p:nvPr/>
        </p:nvSpPr>
        <p:spPr>
          <a:xfrm>
            <a:off x="2579688" y="2038350"/>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94" name="Oval 451">
            <a:extLst>
              <a:ext uri="{FF2B5EF4-FFF2-40B4-BE49-F238E27FC236}">
                <a16:creationId xmlns:a16="http://schemas.microsoft.com/office/drawing/2014/main" id="{C39A7928-CD4E-9316-94A5-1BED1DED05F2}"/>
              </a:ext>
            </a:extLst>
          </p:cNvPr>
          <p:cNvSpPr/>
          <p:nvPr/>
        </p:nvSpPr>
        <p:spPr>
          <a:xfrm>
            <a:off x="2889250" y="1995488"/>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95" name="Oval 452">
            <a:extLst>
              <a:ext uri="{FF2B5EF4-FFF2-40B4-BE49-F238E27FC236}">
                <a16:creationId xmlns:a16="http://schemas.microsoft.com/office/drawing/2014/main" id="{0D1350D8-E209-88A3-B144-C455A6CECF7B}"/>
              </a:ext>
            </a:extLst>
          </p:cNvPr>
          <p:cNvSpPr/>
          <p:nvPr/>
        </p:nvSpPr>
        <p:spPr>
          <a:xfrm>
            <a:off x="2755900" y="2041525"/>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96" name="Oval 453">
            <a:extLst>
              <a:ext uri="{FF2B5EF4-FFF2-40B4-BE49-F238E27FC236}">
                <a16:creationId xmlns:a16="http://schemas.microsoft.com/office/drawing/2014/main" id="{DDA77491-DCB0-D766-E607-14141272D85C}"/>
              </a:ext>
            </a:extLst>
          </p:cNvPr>
          <p:cNvSpPr/>
          <p:nvPr/>
        </p:nvSpPr>
        <p:spPr>
          <a:xfrm>
            <a:off x="2373314" y="1817688"/>
            <a:ext cx="47625" cy="52388"/>
          </a:xfrm>
          <a:prstGeom prst="ellipse">
            <a:avLst/>
          </a:prstGeom>
          <a:solidFill>
            <a:schemeClr val="accent6"/>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397" name="Rectangle 480">
            <a:extLst>
              <a:ext uri="{FF2B5EF4-FFF2-40B4-BE49-F238E27FC236}">
                <a16:creationId xmlns:a16="http://schemas.microsoft.com/office/drawing/2014/main" id="{9942B757-0F42-FE92-DBAD-5DD04D6BDD31}"/>
              </a:ext>
            </a:extLst>
          </p:cNvPr>
          <p:cNvSpPr/>
          <p:nvPr>
            <p:custDataLst>
              <p:tags r:id="rId12"/>
            </p:custDataLst>
          </p:nvPr>
        </p:nvSpPr>
        <p:spPr bwMode="auto">
          <a:xfrm>
            <a:off x="6221413" y="4259263"/>
            <a:ext cx="103188" cy="103188"/>
          </a:xfrm>
          <a:prstGeom prst="rect">
            <a:avLst/>
          </a:prstGeom>
          <a:solidFill>
            <a:schemeClr val="accent6"/>
          </a:solidFill>
          <a:ln w="635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398" name="Rectangle 13">
            <a:extLst>
              <a:ext uri="{FF2B5EF4-FFF2-40B4-BE49-F238E27FC236}">
                <a16:creationId xmlns:a16="http://schemas.microsoft.com/office/drawing/2014/main" id="{33D468C1-8A44-B797-027E-A06A06DE3AEC}"/>
              </a:ext>
            </a:extLst>
          </p:cNvPr>
          <p:cNvSpPr/>
          <p:nvPr>
            <p:custDataLst>
              <p:tags r:id="rId13"/>
            </p:custDataLst>
          </p:nvPr>
        </p:nvSpPr>
        <p:spPr bwMode="auto">
          <a:xfrm>
            <a:off x="7208838" y="4259263"/>
            <a:ext cx="103188" cy="103188"/>
          </a:xfrm>
          <a:prstGeom prst="rect">
            <a:avLst/>
          </a:prstGeom>
          <a:solidFill>
            <a:srgbClr val="F3F4F5"/>
          </a:solidFill>
          <a:ln w="25400" cap="flat" cmpd="sng" algn="ctr">
            <a:solidFill>
              <a:schemeClr val="tx1"/>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399" name="Text Placeholder">
            <a:extLst>
              <a:ext uri="{FF2B5EF4-FFF2-40B4-BE49-F238E27FC236}">
                <a16:creationId xmlns:a16="http://schemas.microsoft.com/office/drawing/2014/main" id="{E7050326-6048-FCC6-B7FC-F608E51744A6}"/>
              </a:ext>
            </a:extLst>
          </p:cNvPr>
          <p:cNvSpPr>
            <a:spLocks noGrp="1"/>
          </p:cNvSpPr>
          <p:nvPr>
            <p:custDataLst>
              <p:tags r:id="rId14"/>
            </p:custDataLst>
          </p:nvPr>
        </p:nvSpPr>
        <p:spPr bwMode="auto">
          <a:xfrm>
            <a:off x="6375400" y="4265613"/>
            <a:ext cx="731838" cy="1031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904DFFD4-AE36-4361-ACB8-DCC9D3FC8A0B}" type="datetime'R''''e''''a''''''li''s''''tic c''''''''a''p''a''c''it''''''y'">
              <a:rPr lang="en-US" altLang="en-US" sz="750"/>
              <a:pPr defTabSz="685800">
                <a:spcBef>
                  <a:spcPct val="0"/>
                </a:spcBef>
                <a:buSzPct val="100000"/>
                <a:buFont typeface="+mn-lt" pitchFamily="34" charset="0"/>
              </a:pPr>
              <a:t>Realistic capacity</a:t>
            </a:fld>
            <a:endParaRPr lang="en-US" sz="750"/>
          </a:p>
        </p:txBody>
      </p:sp>
      <p:sp>
        <p:nvSpPr>
          <p:cNvPr id="400" name="Text Placeholder">
            <a:extLst>
              <a:ext uri="{FF2B5EF4-FFF2-40B4-BE49-F238E27FC236}">
                <a16:creationId xmlns:a16="http://schemas.microsoft.com/office/drawing/2014/main" id="{07728D09-0E51-199A-6117-EA8F96260B33}"/>
              </a:ext>
            </a:extLst>
          </p:cNvPr>
          <p:cNvSpPr>
            <a:spLocks noGrp="1"/>
          </p:cNvSpPr>
          <p:nvPr>
            <p:custDataLst>
              <p:tags r:id="rId15"/>
            </p:custDataLst>
          </p:nvPr>
        </p:nvSpPr>
        <p:spPr bwMode="auto">
          <a:xfrm>
            <a:off x="7362825" y="4265613"/>
            <a:ext cx="1227138" cy="1031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FC3B8103-28DF-415B-AE73-7D9A2CA1EAB7}" type="datetime'O''ffic''i''''a''lly ann''o''u''''nced ''''''''capac''it''''y'">
              <a:rPr lang="en-US" altLang="en-US" sz="750"/>
              <a:pPr defTabSz="685800">
                <a:spcBef>
                  <a:spcPct val="0"/>
                </a:spcBef>
                <a:buSzPct val="100000"/>
                <a:buFont typeface="+mn-lt" pitchFamily="34" charset="0"/>
              </a:pPr>
              <a:t>Officially announced capacity</a:t>
            </a:fld>
            <a:endParaRPr lang="en-US" sz="750" dirty="0"/>
          </a:p>
        </p:txBody>
      </p:sp>
      <p:graphicFrame>
        <p:nvGraphicFramePr>
          <p:cNvPr id="401" name="Chart 490">
            <a:extLst>
              <a:ext uri="{FF2B5EF4-FFF2-40B4-BE49-F238E27FC236}">
                <a16:creationId xmlns:a16="http://schemas.microsoft.com/office/drawing/2014/main" id="{780FD5E2-E87D-2DBC-3320-1A5CFF34C558}"/>
              </a:ext>
            </a:extLst>
          </p:cNvPr>
          <p:cNvGraphicFramePr/>
          <p:nvPr>
            <p:custDataLst>
              <p:tags r:id="rId16"/>
            </p:custDataLst>
            <p:extLst>
              <p:ext uri="{D42A27DB-BD31-4B8C-83A1-F6EECF244321}">
                <p14:modId xmlns:p14="http://schemas.microsoft.com/office/powerpoint/2010/main" val="1900512143"/>
              </p:ext>
            </p:extLst>
          </p:nvPr>
        </p:nvGraphicFramePr>
        <p:xfrm>
          <a:off x="6049963" y="3057525"/>
          <a:ext cx="2486025" cy="1217613"/>
        </p:xfrm>
        <a:graphic>
          <a:graphicData uri="http://schemas.openxmlformats.org/drawingml/2006/chart">
            <c:chart xmlns:c="http://schemas.openxmlformats.org/drawingml/2006/chart" xmlns:r="http://schemas.openxmlformats.org/officeDocument/2006/relationships" r:id="rId43"/>
          </a:graphicData>
        </a:graphic>
      </p:graphicFrame>
      <p:cxnSp>
        <p:nvCxnSpPr>
          <p:cNvPr id="402" name="Straight Connector 468">
            <a:extLst>
              <a:ext uri="{FF2B5EF4-FFF2-40B4-BE49-F238E27FC236}">
                <a16:creationId xmlns:a16="http://schemas.microsoft.com/office/drawing/2014/main" id="{5AD0451E-05A4-37AD-050A-C4015DCFA279}"/>
              </a:ext>
            </a:extLst>
          </p:cNvPr>
          <p:cNvCxnSpPr/>
          <p:nvPr>
            <p:custDataLst>
              <p:tags r:id="rId17"/>
            </p:custDataLst>
          </p:nvPr>
        </p:nvCxnSpPr>
        <p:spPr bwMode="auto">
          <a:xfrm>
            <a:off x="7969250" y="3324225"/>
            <a:ext cx="387350" cy="0"/>
          </a:xfrm>
          <a:prstGeom prst="line">
            <a:avLst/>
          </a:prstGeom>
          <a:ln w="25400" cap="flat" cmpd="sng" algn="ctr">
            <a:solidFill>
              <a:schemeClr val="tx1"/>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3" name="Straight Connector 473">
            <a:extLst>
              <a:ext uri="{FF2B5EF4-FFF2-40B4-BE49-F238E27FC236}">
                <a16:creationId xmlns:a16="http://schemas.microsoft.com/office/drawing/2014/main" id="{4A4ECACB-5E3C-399D-DDA2-B478CEFA273A}"/>
              </a:ext>
            </a:extLst>
          </p:cNvPr>
          <p:cNvCxnSpPr/>
          <p:nvPr>
            <p:custDataLst>
              <p:tags r:id="rId18"/>
            </p:custDataLst>
          </p:nvPr>
        </p:nvCxnSpPr>
        <p:spPr bwMode="auto">
          <a:xfrm>
            <a:off x="7969250" y="3324225"/>
            <a:ext cx="0" cy="115888"/>
          </a:xfrm>
          <a:prstGeom prst="line">
            <a:avLst/>
          </a:prstGeom>
          <a:ln w="25400" cap="flat" cmpd="sng" algn="ctr">
            <a:solidFill>
              <a:schemeClr val="tx1"/>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4" name="Straight Connector 474">
            <a:extLst>
              <a:ext uri="{FF2B5EF4-FFF2-40B4-BE49-F238E27FC236}">
                <a16:creationId xmlns:a16="http://schemas.microsoft.com/office/drawing/2014/main" id="{661C4883-977C-C5E9-EE15-ECD102204E1C}"/>
              </a:ext>
            </a:extLst>
          </p:cNvPr>
          <p:cNvCxnSpPr/>
          <p:nvPr>
            <p:custDataLst>
              <p:tags r:id="rId19"/>
            </p:custDataLst>
          </p:nvPr>
        </p:nvCxnSpPr>
        <p:spPr bwMode="auto">
          <a:xfrm>
            <a:off x="8356600" y="3324225"/>
            <a:ext cx="0" cy="115888"/>
          </a:xfrm>
          <a:prstGeom prst="line">
            <a:avLst/>
          </a:prstGeom>
          <a:ln w="25400" cap="flat" cmpd="sng" algn="ctr">
            <a:solidFill>
              <a:schemeClr val="tx1"/>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5" name="Straight Connector 464">
            <a:extLst>
              <a:ext uri="{FF2B5EF4-FFF2-40B4-BE49-F238E27FC236}">
                <a16:creationId xmlns:a16="http://schemas.microsoft.com/office/drawing/2014/main" id="{4216CBB6-5120-613A-082C-D33FB0114EC5}"/>
              </a:ext>
            </a:extLst>
          </p:cNvPr>
          <p:cNvCxnSpPr/>
          <p:nvPr>
            <p:custDataLst>
              <p:tags r:id="rId20"/>
            </p:custDataLst>
          </p:nvPr>
        </p:nvCxnSpPr>
        <p:spPr bwMode="auto">
          <a:xfrm>
            <a:off x="7389813" y="3494088"/>
            <a:ext cx="387350" cy="0"/>
          </a:xfrm>
          <a:prstGeom prst="line">
            <a:avLst/>
          </a:prstGeom>
          <a:ln w="25400" cap="flat" cmpd="sng" algn="ctr">
            <a:solidFill>
              <a:schemeClr val="tx1"/>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6" name="Straight Connector 465">
            <a:extLst>
              <a:ext uri="{FF2B5EF4-FFF2-40B4-BE49-F238E27FC236}">
                <a16:creationId xmlns:a16="http://schemas.microsoft.com/office/drawing/2014/main" id="{45B52413-C942-6389-3AA4-8AAD13FC7486}"/>
              </a:ext>
            </a:extLst>
          </p:cNvPr>
          <p:cNvCxnSpPr/>
          <p:nvPr>
            <p:custDataLst>
              <p:tags r:id="rId21"/>
            </p:custDataLst>
          </p:nvPr>
        </p:nvCxnSpPr>
        <p:spPr bwMode="auto">
          <a:xfrm>
            <a:off x="7389813" y="3494088"/>
            <a:ext cx="0" cy="52388"/>
          </a:xfrm>
          <a:prstGeom prst="line">
            <a:avLst/>
          </a:prstGeom>
          <a:ln w="25400" cap="flat" cmpd="sng" algn="ctr">
            <a:solidFill>
              <a:schemeClr val="tx1"/>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7" name="Straight Connector 466">
            <a:extLst>
              <a:ext uri="{FF2B5EF4-FFF2-40B4-BE49-F238E27FC236}">
                <a16:creationId xmlns:a16="http://schemas.microsoft.com/office/drawing/2014/main" id="{16E271FB-E7F0-3AB5-2E80-61FA444449DC}"/>
              </a:ext>
            </a:extLst>
          </p:cNvPr>
          <p:cNvCxnSpPr/>
          <p:nvPr>
            <p:custDataLst>
              <p:tags r:id="rId22"/>
            </p:custDataLst>
          </p:nvPr>
        </p:nvCxnSpPr>
        <p:spPr bwMode="auto">
          <a:xfrm>
            <a:off x="7777163" y="3494088"/>
            <a:ext cx="0" cy="52388"/>
          </a:xfrm>
          <a:prstGeom prst="line">
            <a:avLst/>
          </a:prstGeom>
          <a:ln w="25400" cap="flat" cmpd="sng" algn="ctr">
            <a:solidFill>
              <a:schemeClr val="tx1"/>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8" name="Text Placeholder">
            <a:extLst>
              <a:ext uri="{FF2B5EF4-FFF2-40B4-BE49-F238E27FC236}">
                <a16:creationId xmlns:a16="http://schemas.microsoft.com/office/drawing/2014/main" id="{12BC55C5-B4CC-C98C-3BA5-B537B9260E7B}"/>
              </a:ext>
            </a:extLst>
          </p:cNvPr>
          <p:cNvSpPr>
            <a:spLocks noGrp="1"/>
          </p:cNvSpPr>
          <p:nvPr>
            <p:custDataLst>
              <p:tags r:id="rId23"/>
            </p:custDataLst>
          </p:nvPr>
        </p:nvSpPr>
        <p:spPr bwMode="auto">
          <a:xfrm>
            <a:off x="6289675" y="4073525"/>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500D8719-F86A-43EB-AA48-AC8B358FF76E}" type="datetime'''''''''''''''''2''''''''''''''''''02''''2'''''''''''">
              <a:rPr lang="en-US" altLang="en-US" sz="900"/>
              <a:pPr algn="ctr" defTabSz="685800">
                <a:spcBef>
                  <a:spcPct val="0"/>
                </a:spcBef>
                <a:buSzPct val="100000"/>
                <a:buFont typeface="+mn-lt" pitchFamily="34" charset="0"/>
              </a:pPr>
              <a:t>2022</a:t>
            </a:fld>
            <a:endParaRPr lang="en-US" sz="900"/>
          </a:p>
        </p:txBody>
      </p:sp>
      <p:sp>
        <p:nvSpPr>
          <p:cNvPr id="409" name="Text Placeholder">
            <a:extLst>
              <a:ext uri="{FF2B5EF4-FFF2-40B4-BE49-F238E27FC236}">
                <a16:creationId xmlns:a16="http://schemas.microsoft.com/office/drawing/2014/main" id="{0E71703D-DC8B-3AE9-F606-8EA844C6E6D5}"/>
              </a:ext>
            </a:extLst>
          </p:cNvPr>
          <p:cNvSpPr>
            <a:spLocks noGrp="1"/>
          </p:cNvSpPr>
          <p:nvPr>
            <p:custDataLst>
              <p:tags r:id="rId24"/>
            </p:custDataLst>
          </p:nvPr>
        </p:nvSpPr>
        <p:spPr bwMode="auto">
          <a:xfrm>
            <a:off x="6869113" y="4073525"/>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BCC84C71-2915-47B0-B8E2-9C1504FBDC44}" type="datetime'''''''''20''''''''''''''''''''''''''''2''5'''''''">
              <a:rPr lang="en-US" altLang="en-US" sz="900"/>
              <a:pPr algn="ctr" defTabSz="685800">
                <a:spcBef>
                  <a:spcPct val="0"/>
                </a:spcBef>
                <a:buSzPct val="100000"/>
                <a:buFont typeface="+mn-lt" pitchFamily="34" charset="0"/>
              </a:pPr>
              <a:t>2025</a:t>
            </a:fld>
            <a:endParaRPr lang="en-US" sz="900"/>
          </a:p>
        </p:txBody>
      </p:sp>
      <p:sp>
        <p:nvSpPr>
          <p:cNvPr id="410" name="Text Placeholder">
            <a:extLst>
              <a:ext uri="{FF2B5EF4-FFF2-40B4-BE49-F238E27FC236}">
                <a16:creationId xmlns:a16="http://schemas.microsoft.com/office/drawing/2014/main" id="{423199CD-5ECA-D2FB-FCD9-447843004CF0}"/>
              </a:ext>
            </a:extLst>
          </p:cNvPr>
          <p:cNvSpPr>
            <a:spLocks noGrp="1"/>
          </p:cNvSpPr>
          <p:nvPr>
            <p:custDataLst>
              <p:tags r:id="rId25"/>
            </p:custDataLst>
          </p:nvPr>
        </p:nvSpPr>
        <p:spPr bwMode="gray">
          <a:xfrm>
            <a:off x="7502525" y="3457575"/>
            <a:ext cx="161925" cy="123825"/>
          </a:xfrm>
          <a:prstGeom prst="rect">
            <a:avLst/>
          </a:prstGeom>
          <a:solidFill>
            <a:srgbClr val="F3F4F5"/>
          </a:solidFill>
          <a:ln>
            <a:noFill/>
          </a:ln>
          <a:effectLst/>
        </p:spPr>
        <p:txBody>
          <a:bodyPr vert="horz" wrap="none" lIns="17860" tIns="0" rIns="1786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37BD27EC-CBA2-4B2D-B2DA-8102D5CE7BF3}" type="datetime'''''''2''''''''''''''''''''''''''''''''''''''''8'''''''''">
              <a:rPr lang="en-US" altLang="en-US" sz="900"/>
              <a:pPr algn="ctr" defTabSz="685800">
                <a:spcBef>
                  <a:spcPct val="0"/>
                </a:spcBef>
                <a:buSzPct val="100000"/>
                <a:buFont typeface="+mn-lt" pitchFamily="34" charset="0"/>
              </a:pPr>
              <a:t>28</a:t>
            </a:fld>
            <a:endParaRPr lang="en-US" sz="900"/>
          </a:p>
        </p:txBody>
      </p:sp>
      <p:sp>
        <p:nvSpPr>
          <p:cNvPr id="411" name="Text Placeholder">
            <a:extLst>
              <a:ext uri="{FF2B5EF4-FFF2-40B4-BE49-F238E27FC236}">
                <a16:creationId xmlns:a16="http://schemas.microsoft.com/office/drawing/2014/main" id="{6861E0E2-25CB-3013-F48A-1CD2DBF701C8}"/>
              </a:ext>
            </a:extLst>
          </p:cNvPr>
          <p:cNvSpPr>
            <a:spLocks noGrp="1"/>
          </p:cNvSpPr>
          <p:nvPr>
            <p:custDataLst>
              <p:tags r:id="rId26"/>
            </p:custDataLst>
          </p:nvPr>
        </p:nvSpPr>
        <p:spPr bwMode="auto">
          <a:xfrm>
            <a:off x="7450138" y="4073525"/>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88F354D1-9F20-463D-B801-6674046C3078}" type="datetime'''''''''''''''''2''''''''''''0''3''''''''''''''''''0'''">
              <a:rPr lang="en-US" altLang="en-US" sz="900"/>
              <a:pPr algn="ctr" defTabSz="685800">
                <a:spcBef>
                  <a:spcPct val="0"/>
                </a:spcBef>
                <a:buSzPct val="100000"/>
                <a:buFont typeface="+mn-lt" pitchFamily="34" charset="0"/>
              </a:pPr>
              <a:t>2030</a:t>
            </a:fld>
            <a:endParaRPr lang="en-US" sz="900"/>
          </a:p>
        </p:txBody>
      </p:sp>
      <p:sp>
        <p:nvSpPr>
          <p:cNvPr id="412" name="Text Placeholder">
            <a:extLst>
              <a:ext uri="{FF2B5EF4-FFF2-40B4-BE49-F238E27FC236}">
                <a16:creationId xmlns:a16="http://schemas.microsoft.com/office/drawing/2014/main" id="{321199EF-D96F-6AF7-87C9-41FC4C7219F1}"/>
              </a:ext>
            </a:extLst>
          </p:cNvPr>
          <p:cNvSpPr>
            <a:spLocks noGrp="1"/>
          </p:cNvSpPr>
          <p:nvPr>
            <p:custDataLst>
              <p:tags r:id="rId27"/>
            </p:custDataLst>
          </p:nvPr>
        </p:nvSpPr>
        <p:spPr bwMode="auto">
          <a:xfrm>
            <a:off x="7996238" y="4073525"/>
            <a:ext cx="33337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B44CB168-A1FA-4B8E-ADD7-91FA835A9348}" type="datetime'''''''''''2''''0''''''''3''''''''''''''''''''0''''+'">
              <a:rPr lang="en-US" altLang="en-US" sz="900"/>
              <a:pPr algn="ctr" defTabSz="685800">
                <a:spcBef>
                  <a:spcPct val="0"/>
                </a:spcBef>
                <a:buSzPct val="100000"/>
                <a:buFont typeface="+mn-lt" pitchFamily="34" charset="0"/>
              </a:pPr>
              <a:t>2030+</a:t>
            </a:fld>
            <a:endParaRPr lang="en-US" sz="900"/>
          </a:p>
        </p:txBody>
      </p:sp>
      <p:sp>
        <p:nvSpPr>
          <p:cNvPr id="413" name="Text Placeholder">
            <a:extLst>
              <a:ext uri="{FF2B5EF4-FFF2-40B4-BE49-F238E27FC236}">
                <a16:creationId xmlns:a16="http://schemas.microsoft.com/office/drawing/2014/main" id="{3D894D18-0176-330C-ED61-8E27A31B1912}"/>
              </a:ext>
            </a:extLst>
          </p:cNvPr>
          <p:cNvSpPr>
            <a:spLocks noGrp="1"/>
          </p:cNvSpPr>
          <p:nvPr>
            <p:custDataLst>
              <p:tags r:id="rId28"/>
            </p:custDataLst>
          </p:nvPr>
        </p:nvSpPr>
        <p:spPr bwMode="gray">
          <a:xfrm>
            <a:off x="6342063" y="3787775"/>
            <a:ext cx="16192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numCol="1" spcCol="0" rtlCol="0" anchor="b"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4B6E17AF-0785-496A-B300-2820343B9C66}" type="datetime'''''3''''''''''''''''''''''''''''''''''''''''''''7'''">
              <a:rPr lang="en-US" altLang="en-US" sz="900" b="1"/>
              <a:pPr algn="ctr" defTabSz="685800">
                <a:spcBef>
                  <a:spcPct val="0"/>
                </a:spcBef>
                <a:buSzPct val="100000"/>
                <a:buFont typeface="+mn-lt" pitchFamily="34" charset="0"/>
              </a:pPr>
              <a:t>37</a:t>
            </a:fld>
            <a:endParaRPr lang="en-US" sz="900" b="1"/>
          </a:p>
        </p:txBody>
      </p:sp>
      <p:sp>
        <p:nvSpPr>
          <p:cNvPr id="414" name="Text Placeholder">
            <a:extLst>
              <a:ext uri="{FF2B5EF4-FFF2-40B4-BE49-F238E27FC236}">
                <a16:creationId xmlns:a16="http://schemas.microsoft.com/office/drawing/2014/main" id="{4E147B93-BCE1-FE08-1126-D46E7D2B5F38}"/>
              </a:ext>
            </a:extLst>
          </p:cNvPr>
          <p:cNvSpPr>
            <a:spLocks noGrp="1"/>
          </p:cNvSpPr>
          <p:nvPr>
            <p:custDataLst>
              <p:tags r:id="rId29"/>
            </p:custDataLst>
          </p:nvPr>
        </p:nvSpPr>
        <p:spPr bwMode="gray">
          <a:xfrm>
            <a:off x="6888163" y="3746500"/>
            <a:ext cx="2286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numCol="1" spcCol="0" rtlCol="0" anchor="b"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r>
              <a:rPr lang="en-US" altLang="en-US" sz="900" b="1"/>
              <a:t>&gt;50</a:t>
            </a:r>
            <a:endParaRPr lang="en-US" sz="900" b="1"/>
          </a:p>
        </p:txBody>
      </p:sp>
      <p:sp>
        <p:nvSpPr>
          <p:cNvPr id="415" name="Text Placeholder">
            <a:extLst>
              <a:ext uri="{FF2B5EF4-FFF2-40B4-BE49-F238E27FC236}">
                <a16:creationId xmlns:a16="http://schemas.microsoft.com/office/drawing/2014/main" id="{D6592CF6-610D-4C86-0346-1D610865658C}"/>
              </a:ext>
            </a:extLst>
          </p:cNvPr>
          <p:cNvSpPr>
            <a:spLocks noGrp="1"/>
          </p:cNvSpPr>
          <p:nvPr>
            <p:custDataLst>
              <p:tags r:id="rId30"/>
            </p:custDataLst>
          </p:nvPr>
        </p:nvSpPr>
        <p:spPr bwMode="gray">
          <a:xfrm>
            <a:off x="7437438" y="3333750"/>
            <a:ext cx="2921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numCol="1" spcCol="0" rtlCol="0" anchor="b"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r>
              <a:rPr lang="en-US" altLang="en-US" sz="900" b="1"/>
              <a:t>270+</a:t>
            </a:r>
            <a:endParaRPr lang="en-US" sz="900" b="1"/>
          </a:p>
        </p:txBody>
      </p:sp>
      <p:sp>
        <p:nvSpPr>
          <p:cNvPr id="416" name="Text Placeholder">
            <a:extLst>
              <a:ext uri="{FF2B5EF4-FFF2-40B4-BE49-F238E27FC236}">
                <a16:creationId xmlns:a16="http://schemas.microsoft.com/office/drawing/2014/main" id="{7E41CEE9-3E49-A9F4-2EDF-5E4B1CACF968}"/>
              </a:ext>
            </a:extLst>
          </p:cNvPr>
          <p:cNvSpPr>
            <a:spLocks noGrp="1"/>
          </p:cNvSpPr>
          <p:nvPr>
            <p:custDataLst>
              <p:tags r:id="rId31"/>
            </p:custDataLst>
          </p:nvPr>
        </p:nvSpPr>
        <p:spPr bwMode="gray">
          <a:xfrm>
            <a:off x="8016875" y="3175000"/>
            <a:ext cx="2921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numCol="1" spcCol="0" rtlCol="0" anchor="b"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r>
              <a:rPr lang="en-US" altLang="en-US" sz="900" b="1"/>
              <a:t>&gt;350</a:t>
            </a:r>
            <a:endParaRPr lang="en-US" sz="900" b="1"/>
          </a:p>
        </p:txBody>
      </p:sp>
      <p:sp>
        <p:nvSpPr>
          <p:cNvPr id="417" name="Text Placeholder 2">
            <a:extLst>
              <a:ext uri="{FF2B5EF4-FFF2-40B4-BE49-F238E27FC236}">
                <a16:creationId xmlns:a16="http://schemas.microsoft.com/office/drawing/2014/main" id="{E18E5DC7-BA8A-4B66-060C-4EE880A4A8C2}"/>
              </a:ext>
            </a:extLst>
          </p:cNvPr>
          <p:cNvSpPr>
            <a:spLocks noGrp="1"/>
          </p:cNvSpPr>
          <p:nvPr>
            <p:custDataLst>
              <p:tags r:id="rId32"/>
            </p:custDataLst>
          </p:nvPr>
        </p:nvSpPr>
        <p:spPr bwMode="gray">
          <a:xfrm>
            <a:off x="6342063" y="3911600"/>
            <a:ext cx="161925" cy="123825"/>
          </a:xfrm>
          <a:prstGeom prst="rect">
            <a:avLst/>
          </a:prstGeom>
          <a:solidFill>
            <a:schemeClr val="accent6"/>
          </a:solidFill>
          <a:ln>
            <a:noFill/>
          </a:ln>
          <a:effectLst/>
        </p:spPr>
        <p:txBody>
          <a:bodyPr vert="horz" wrap="none" lIns="17463" tIns="0" rIns="1746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DDCB7A97-9024-4CA5-BA25-FE7AF8F06536}" type="datetime'''''''''''''3''''''7'''''''''''">
              <a:rPr lang="en-US" altLang="en-US" sz="900" smtClean="0">
                <a:solidFill>
                  <a:schemeClr val="bg1"/>
                </a:solidFill>
                <a:effectLst/>
              </a:rPr>
              <a:pPr marL="0" lvl="0" indent="0" algn="ctr">
                <a:spcBef>
                  <a:spcPct val="0"/>
                </a:spcBef>
                <a:spcAft>
                  <a:spcPct val="0"/>
                </a:spcAft>
                <a:buNone/>
              </a:pPr>
              <a:t>37</a:t>
            </a:fld>
            <a:endParaRPr lang="en-US" sz="900" dirty="0">
              <a:solidFill>
                <a:schemeClr val="bg1"/>
              </a:solidFill>
            </a:endParaRPr>
          </a:p>
        </p:txBody>
      </p:sp>
      <p:sp>
        <p:nvSpPr>
          <p:cNvPr id="418" name="Text Placeholder 2">
            <a:extLst>
              <a:ext uri="{FF2B5EF4-FFF2-40B4-BE49-F238E27FC236}">
                <a16:creationId xmlns:a16="http://schemas.microsoft.com/office/drawing/2014/main" id="{2EF1EC3F-C98E-5913-BBBF-59B4EA3B673B}"/>
              </a:ext>
            </a:extLst>
          </p:cNvPr>
          <p:cNvSpPr>
            <a:spLocks noGrp="1"/>
          </p:cNvSpPr>
          <p:nvPr>
            <p:custDataLst>
              <p:tags r:id="rId33"/>
            </p:custDataLst>
          </p:nvPr>
        </p:nvSpPr>
        <p:spPr bwMode="gray">
          <a:xfrm>
            <a:off x="6894513" y="3870325"/>
            <a:ext cx="215900" cy="165100"/>
          </a:xfrm>
          <a:prstGeom prst="rect">
            <a:avLst/>
          </a:prstGeom>
          <a:solidFill>
            <a:schemeClr val="accent6"/>
          </a:solidFill>
          <a:ln>
            <a:noFill/>
          </a:ln>
          <a:effectLst/>
        </p:spPr>
        <p:txBody>
          <a:bodyPr vert="horz" wrap="none" lIns="23813" tIns="0" rIns="238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E20A4219-3559-45CA-BA04-EFD26C6FE693}" type="datetime'''''''''''''''''''''''''''''''''''5''9'''''''''''''''''''">
              <a:rPr lang="en-US" altLang="en-US" sz="1200" smtClean="0">
                <a:solidFill>
                  <a:schemeClr val="bg1"/>
                </a:solidFill>
                <a:effectLst/>
              </a:rPr>
              <a:pPr marL="0" lvl="0" indent="0" algn="ctr">
                <a:spcBef>
                  <a:spcPct val="0"/>
                </a:spcBef>
                <a:spcAft>
                  <a:spcPct val="0"/>
                </a:spcAft>
                <a:buNone/>
              </a:pPr>
              <a:t>59</a:t>
            </a:fld>
            <a:endParaRPr lang="en-US" sz="1200" dirty="0">
              <a:solidFill>
                <a:schemeClr val="bg1"/>
              </a:solidFill>
            </a:endParaRPr>
          </a:p>
        </p:txBody>
      </p:sp>
      <p:sp>
        <p:nvSpPr>
          <p:cNvPr id="419" name="Text Placeholder 2">
            <a:extLst>
              <a:ext uri="{FF2B5EF4-FFF2-40B4-BE49-F238E27FC236}">
                <a16:creationId xmlns:a16="http://schemas.microsoft.com/office/drawing/2014/main" id="{D7843C91-E67A-8C2B-9BBA-3B43A86CACE0}"/>
              </a:ext>
            </a:extLst>
          </p:cNvPr>
          <p:cNvSpPr>
            <a:spLocks noGrp="1"/>
          </p:cNvSpPr>
          <p:nvPr>
            <p:custDataLst>
              <p:tags r:id="rId34"/>
            </p:custDataLst>
          </p:nvPr>
        </p:nvSpPr>
        <p:spPr bwMode="gray">
          <a:xfrm>
            <a:off x="8054975" y="3298825"/>
            <a:ext cx="215900" cy="165100"/>
          </a:xfrm>
          <a:prstGeom prst="rect">
            <a:avLst/>
          </a:prstGeom>
          <a:solidFill>
            <a:srgbClr val="F3F4F5"/>
          </a:solidFill>
          <a:ln>
            <a:noFill/>
          </a:ln>
          <a:effectLst/>
        </p:spPr>
        <p:txBody>
          <a:bodyPr vert="horz" wrap="none" lIns="23813" tIns="0" rIns="23813"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AE7C41CF-08E7-4399-8C76-BCE5EE0A7896}" type="datetime'''''''''''''''''''''''''''6''''''''''''''2'''''''''''''''''''">
              <a:rPr lang="en-US" altLang="en-US" sz="1200" smtClean="0">
                <a:effectLst/>
              </a:rPr>
              <a:pPr marL="0" lvl="0" indent="0" algn="ctr">
                <a:spcBef>
                  <a:spcPct val="0"/>
                </a:spcBef>
                <a:spcAft>
                  <a:spcPct val="0"/>
                </a:spcAft>
                <a:buNone/>
              </a:pPr>
              <a:t>62</a:t>
            </a:fld>
            <a:endParaRPr lang="en-US" sz="1200" dirty="0"/>
          </a:p>
        </p:txBody>
      </p:sp>
      <p:sp>
        <p:nvSpPr>
          <p:cNvPr id="420" name="Oval 547">
            <a:extLst>
              <a:ext uri="{FF2B5EF4-FFF2-40B4-BE49-F238E27FC236}">
                <a16:creationId xmlns:a16="http://schemas.microsoft.com/office/drawing/2014/main" id="{D38AC57C-B90C-FB95-2E74-4D99C634D09D}"/>
              </a:ext>
            </a:extLst>
          </p:cNvPr>
          <p:cNvSpPr/>
          <p:nvPr/>
        </p:nvSpPr>
        <p:spPr>
          <a:xfrm>
            <a:off x="796925" y="2362200"/>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421" name="Oval 548">
            <a:extLst>
              <a:ext uri="{FF2B5EF4-FFF2-40B4-BE49-F238E27FC236}">
                <a16:creationId xmlns:a16="http://schemas.microsoft.com/office/drawing/2014/main" id="{DCF3F055-370E-5973-043D-E863435677BF}"/>
              </a:ext>
            </a:extLst>
          </p:cNvPr>
          <p:cNvSpPr/>
          <p:nvPr/>
        </p:nvSpPr>
        <p:spPr>
          <a:xfrm>
            <a:off x="1058863" y="2452688"/>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422" name="Oval 549">
            <a:extLst>
              <a:ext uri="{FF2B5EF4-FFF2-40B4-BE49-F238E27FC236}">
                <a16:creationId xmlns:a16="http://schemas.microsoft.com/office/drawing/2014/main" id="{339A808A-C174-0779-2E5D-83C645BCE119}"/>
              </a:ext>
            </a:extLst>
          </p:cNvPr>
          <p:cNvSpPr/>
          <p:nvPr/>
        </p:nvSpPr>
        <p:spPr>
          <a:xfrm>
            <a:off x="990600" y="2474913"/>
            <a:ext cx="49213"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423" name="Oval 550">
            <a:extLst>
              <a:ext uri="{FF2B5EF4-FFF2-40B4-BE49-F238E27FC236}">
                <a16:creationId xmlns:a16="http://schemas.microsoft.com/office/drawing/2014/main" id="{F1A26E7C-D26A-CDA4-518C-BC0A16DE14C8}"/>
              </a:ext>
            </a:extLst>
          </p:cNvPr>
          <p:cNvSpPr/>
          <p:nvPr/>
        </p:nvSpPr>
        <p:spPr>
          <a:xfrm>
            <a:off x="925514" y="1982788"/>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424" name="Oval 551">
            <a:extLst>
              <a:ext uri="{FF2B5EF4-FFF2-40B4-BE49-F238E27FC236}">
                <a16:creationId xmlns:a16="http://schemas.microsoft.com/office/drawing/2014/main" id="{DA9BEB5D-7B4E-CBFA-8ACE-D3642A10D0B5}"/>
              </a:ext>
            </a:extLst>
          </p:cNvPr>
          <p:cNvSpPr/>
          <p:nvPr/>
        </p:nvSpPr>
        <p:spPr>
          <a:xfrm>
            <a:off x="909639" y="2022475"/>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sp>
        <p:nvSpPr>
          <p:cNvPr id="425" name="Oval 552">
            <a:extLst>
              <a:ext uri="{FF2B5EF4-FFF2-40B4-BE49-F238E27FC236}">
                <a16:creationId xmlns:a16="http://schemas.microsoft.com/office/drawing/2014/main" id="{8A685EE2-2D88-50D3-A591-3BA60C0EDC36}"/>
              </a:ext>
            </a:extLst>
          </p:cNvPr>
          <p:cNvSpPr/>
          <p:nvPr/>
        </p:nvSpPr>
        <p:spPr>
          <a:xfrm>
            <a:off x="1016001" y="2058988"/>
            <a:ext cx="47625" cy="52388"/>
          </a:xfrm>
          <a:prstGeom prst="ellipse">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sym typeface="+mn-lt"/>
            </a:endParaRPr>
          </a:p>
        </p:txBody>
      </p:sp>
      <p:grpSp>
        <p:nvGrpSpPr>
          <p:cNvPr id="426" name="Group 476">
            <a:extLst>
              <a:ext uri="{FF2B5EF4-FFF2-40B4-BE49-F238E27FC236}">
                <a16:creationId xmlns:a16="http://schemas.microsoft.com/office/drawing/2014/main" id="{D28EEDCE-5CBE-FDDD-280F-9EB819DA9F67}"/>
              </a:ext>
            </a:extLst>
          </p:cNvPr>
          <p:cNvGrpSpPr/>
          <p:nvPr/>
        </p:nvGrpSpPr>
        <p:grpSpPr>
          <a:xfrm>
            <a:off x="267604" y="-985"/>
            <a:ext cx="1821103" cy="246221"/>
            <a:chOff x="267604" y="3778"/>
            <a:chExt cx="1821103" cy="246221"/>
          </a:xfrm>
        </p:grpSpPr>
        <p:sp>
          <p:nvSpPr>
            <p:cNvPr id="427" name="Oval 479">
              <a:extLst>
                <a:ext uri="{FF2B5EF4-FFF2-40B4-BE49-F238E27FC236}">
                  <a16:creationId xmlns:a16="http://schemas.microsoft.com/office/drawing/2014/main" id="{A69FB9B5-10D4-C0EB-1325-B4E655F2D65C}"/>
                </a:ext>
              </a:extLst>
            </p:cNvPr>
            <p:cNvSpPr/>
            <p:nvPr/>
          </p:nvSpPr>
          <p:spPr>
            <a:xfrm>
              <a:off x="267604" y="45746"/>
              <a:ext cx="162285" cy="162285"/>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RB Office"/>
                  <a:ea typeface="Microsoft YaHei"/>
                  <a:cs typeface="Calibri"/>
                </a:rPr>
                <a:t>C</a:t>
              </a:r>
            </a:p>
          </p:txBody>
        </p:sp>
        <p:sp>
          <p:nvSpPr>
            <p:cNvPr id="428" name="TextBox 481">
              <a:extLst>
                <a:ext uri="{FF2B5EF4-FFF2-40B4-BE49-F238E27FC236}">
                  <a16:creationId xmlns:a16="http://schemas.microsoft.com/office/drawing/2014/main" id="{45184571-F501-6CD0-170F-A2C5B1B97C4A}"/>
                </a:ext>
              </a:extLst>
            </p:cNvPr>
            <p:cNvSpPr txBox="1"/>
            <p:nvPr/>
          </p:nvSpPr>
          <p:spPr>
            <a:xfrm>
              <a:off x="362201" y="3778"/>
              <a:ext cx="1726506" cy="246221"/>
            </a:xfrm>
            <a:prstGeom prst="rect">
              <a:avLst/>
            </a:prstGeom>
            <a:noFill/>
          </p:spPr>
          <p:txBody>
            <a:bodyPr wrap="square" rtlCol="0" anchor="ctr">
              <a:spAutoFit/>
            </a:bodyPr>
            <a:lstStyle/>
            <a:p>
              <a:r>
                <a:rPr lang="en-GB" sz="1000" dirty="0"/>
                <a:t>CO</a:t>
              </a:r>
              <a:r>
                <a:rPr lang="en-GB" sz="1000" baseline="-25000" dirty="0"/>
                <a:t>2 </a:t>
              </a:r>
              <a:r>
                <a:rPr lang="en-GB" sz="1000" dirty="0"/>
                <a:t>infrastructure</a:t>
              </a:r>
            </a:p>
          </p:txBody>
        </p:sp>
      </p:grpSp>
      <p:sp>
        <p:nvSpPr>
          <p:cNvPr id="429" name="TextBox 487">
            <a:extLst>
              <a:ext uri="{FF2B5EF4-FFF2-40B4-BE49-F238E27FC236}">
                <a16:creationId xmlns:a16="http://schemas.microsoft.com/office/drawing/2014/main" id="{EEDF8AA8-382B-3699-8574-D1CDF39C5B1D}"/>
              </a:ext>
            </a:extLst>
          </p:cNvPr>
          <p:cNvSpPr txBox="1"/>
          <p:nvPr/>
        </p:nvSpPr>
        <p:spPr>
          <a:xfrm>
            <a:off x="182059" y="1189852"/>
            <a:ext cx="7579731" cy="276999"/>
          </a:xfrm>
          <a:prstGeom prst="rect">
            <a:avLst/>
          </a:prstGeom>
          <a:noFill/>
        </p:spPr>
        <p:txBody>
          <a:bodyPr wrap="square">
            <a:spAutoFit/>
          </a:bodyPr>
          <a:lstStyle/>
          <a:p>
            <a:r>
              <a:rPr lang="en-US" sz="1200" dirty="0">
                <a:solidFill>
                  <a:schemeClr val="tx2"/>
                </a:solidFill>
                <a:latin typeface="+mj-lt"/>
                <a:cs typeface="+mj-cs"/>
                <a:sym typeface="+mn-lt"/>
              </a:rPr>
              <a:t>Operational and expected ramp up of CCUS facilities</a:t>
            </a:r>
          </a:p>
        </p:txBody>
      </p:sp>
    </p:spTree>
    <p:extLst>
      <p:ext uri="{BB962C8B-B14F-4D97-AF65-F5344CB8AC3E}">
        <p14:creationId xmlns:p14="http://schemas.microsoft.com/office/powerpoint/2010/main" val="23967604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CFA8C-8323-0F12-2D22-2F93245836AF}"/>
              </a:ext>
            </a:extLst>
          </p:cNvPr>
          <p:cNvSpPr txBox="1">
            <a:spLocks/>
          </p:cNvSpPr>
          <p:nvPr/>
        </p:nvSpPr>
        <p:spPr>
          <a:xfrm>
            <a:off x="146049" y="850999"/>
            <a:ext cx="7251698" cy="576000"/>
          </a:xfrm>
          <a:prstGeom prst="rect">
            <a:avLst/>
          </a:prstGeom>
        </p:spPr>
        <p:txBody>
          <a:bodyPr vert="horz"/>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r>
              <a:rPr lang="en-US" sz="1600" dirty="0"/>
              <a:t>Current incentives and rising CO2 prices combined with a projected CCS cost reduction support CCS business case</a:t>
            </a:r>
            <a:endParaRPr lang="en-GB" sz="1600" dirty="0"/>
          </a:p>
        </p:txBody>
      </p:sp>
      <p:sp>
        <p:nvSpPr>
          <p:cNvPr id="3" name="Rectangle 2">
            <a:extLst>
              <a:ext uri="{FF2B5EF4-FFF2-40B4-BE49-F238E27FC236}">
                <a16:creationId xmlns:a16="http://schemas.microsoft.com/office/drawing/2014/main" id="{BDC0584E-E40E-D97F-D6D4-C0E49FE7A76C}"/>
              </a:ext>
            </a:extLst>
          </p:cNvPr>
          <p:cNvSpPr>
            <a:spLocks/>
          </p:cNvSpPr>
          <p:nvPr/>
        </p:nvSpPr>
        <p:spPr>
          <a:xfrm>
            <a:off x="3402873" y="2596299"/>
            <a:ext cx="5435135" cy="1101108"/>
          </a:xfrm>
          <a:prstGeom prst="rect">
            <a:avLst/>
          </a:prstGeom>
          <a:solidFill>
            <a:schemeClr val="bg1">
              <a:lumMod val="95000"/>
            </a:schemeClr>
          </a:solidFill>
          <a:ln w="6350">
            <a:noFill/>
            <a:extLst>
              <a:ext uri="{C807C97D-BFC1-408E-A445-0C87EB9F89A2}">
                <ask:lineSketchStyleProps xmlns:ask="http://schemas.microsoft.com/office/drawing/2018/sketchyshapes" sd="3231442054">
                  <a:custGeom>
                    <a:avLst/>
                    <a:gdLst>
                      <a:gd name="connsiteX0" fmla="*/ 0 w 7438436"/>
                      <a:gd name="connsiteY0" fmla="*/ 0 h 1543211"/>
                      <a:gd name="connsiteX1" fmla="*/ 676221 w 7438436"/>
                      <a:gd name="connsiteY1" fmla="*/ 0 h 1543211"/>
                      <a:gd name="connsiteX2" fmla="*/ 1278059 w 7438436"/>
                      <a:gd name="connsiteY2" fmla="*/ 0 h 1543211"/>
                      <a:gd name="connsiteX3" fmla="*/ 1954280 w 7438436"/>
                      <a:gd name="connsiteY3" fmla="*/ 0 h 1543211"/>
                      <a:gd name="connsiteX4" fmla="*/ 2407348 w 7438436"/>
                      <a:gd name="connsiteY4" fmla="*/ 0 h 1543211"/>
                      <a:gd name="connsiteX5" fmla="*/ 3083570 w 7438436"/>
                      <a:gd name="connsiteY5" fmla="*/ 0 h 1543211"/>
                      <a:gd name="connsiteX6" fmla="*/ 3536638 w 7438436"/>
                      <a:gd name="connsiteY6" fmla="*/ 0 h 1543211"/>
                      <a:gd name="connsiteX7" fmla="*/ 4138475 w 7438436"/>
                      <a:gd name="connsiteY7" fmla="*/ 0 h 1543211"/>
                      <a:gd name="connsiteX8" fmla="*/ 4591544 w 7438436"/>
                      <a:gd name="connsiteY8" fmla="*/ 0 h 1543211"/>
                      <a:gd name="connsiteX9" fmla="*/ 5044612 w 7438436"/>
                      <a:gd name="connsiteY9" fmla="*/ 0 h 1543211"/>
                      <a:gd name="connsiteX10" fmla="*/ 5646449 w 7438436"/>
                      <a:gd name="connsiteY10" fmla="*/ 0 h 1543211"/>
                      <a:gd name="connsiteX11" fmla="*/ 6248286 w 7438436"/>
                      <a:gd name="connsiteY11" fmla="*/ 0 h 1543211"/>
                      <a:gd name="connsiteX12" fmla="*/ 6775739 w 7438436"/>
                      <a:gd name="connsiteY12" fmla="*/ 0 h 1543211"/>
                      <a:gd name="connsiteX13" fmla="*/ 7438436 w 7438436"/>
                      <a:gd name="connsiteY13" fmla="*/ 0 h 1543211"/>
                      <a:gd name="connsiteX14" fmla="*/ 7438436 w 7438436"/>
                      <a:gd name="connsiteY14" fmla="*/ 483539 h 1543211"/>
                      <a:gd name="connsiteX15" fmla="*/ 7438436 w 7438436"/>
                      <a:gd name="connsiteY15" fmla="*/ 997943 h 1543211"/>
                      <a:gd name="connsiteX16" fmla="*/ 7438436 w 7438436"/>
                      <a:gd name="connsiteY16" fmla="*/ 1543211 h 1543211"/>
                      <a:gd name="connsiteX17" fmla="*/ 6613446 w 7438436"/>
                      <a:gd name="connsiteY17" fmla="*/ 1543211 h 1543211"/>
                      <a:gd name="connsiteX18" fmla="*/ 5788456 w 7438436"/>
                      <a:gd name="connsiteY18" fmla="*/ 1543211 h 1543211"/>
                      <a:gd name="connsiteX19" fmla="*/ 5335387 w 7438436"/>
                      <a:gd name="connsiteY19" fmla="*/ 1543211 h 1543211"/>
                      <a:gd name="connsiteX20" fmla="*/ 4584781 w 7438436"/>
                      <a:gd name="connsiteY20" fmla="*/ 1543211 h 1543211"/>
                      <a:gd name="connsiteX21" fmla="*/ 4131713 w 7438436"/>
                      <a:gd name="connsiteY21" fmla="*/ 1543211 h 1543211"/>
                      <a:gd name="connsiteX22" fmla="*/ 3455492 w 7438436"/>
                      <a:gd name="connsiteY22" fmla="*/ 1543211 h 1543211"/>
                      <a:gd name="connsiteX23" fmla="*/ 2928039 w 7438436"/>
                      <a:gd name="connsiteY23" fmla="*/ 1543211 h 1543211"/>
                      <a:gd name="connsiteX24" fmla="*/ 2177433 w 7438436"/>
                      <a:gd name="connsiteY24" fmla="*/ 1543211 h 1543211"/>
                      <a:gd name="connsiteX25" fmla="*/ 1724365 w 7438436"/>
                      <a:gd name="connsiteY25" fmla="*/ 1543211 h 1543211"/>
                      <a:gd name="connsiteX26" fmla="*/ 1196912 w 7438436"/>
                      <a:gd name="connsiteY26" fmla="*/ 1543211 h 1543211"/>
                      <a:gd name="connsiteX27" fmla="*/ 743844 w 7438436"/>
                      <a:gd name="connsiteY27" fmla="*/ 1543211 h 1543211"/>
                      <a:gd name="connsiteX28" fmla="*/ 0 w 7438436"/>
                      <a:gd name="connsiteY28" fmla="*/ 1543211 h 1543211"/>
                      <a:gd name="connsiteX29" fmla="*/ 0 w 7438436"/>
                      <a:gd name="connsiteY29" fmla="*/ 1044239 h 1543211"/>
                      <a:gd name="connsiteX30" fmla="*/ 0 w 7438436"/>
                      <a:gd name="connsiteY30" fmla="*/ 560700 h 1543211"/>
                      <a:gd name="connsiteX31" fmla="*/ 0 w 7438436"/>
                      <a:gd name="connsiteY31" fmla="*/ 0 h 154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438436" h="1543211" fill="none" extrusionOk="0">
                        <a:moveTo>
                          <a:pt x="0" y="0"/>
                        </a:moveTo>
                        <a:cubicBezTo>
                          <a:pt x="236265" y="23154"/>
                          <a:pt x="525588" y="2969"/>
                          <a:pt x="676221" y="0"/>
                        </a:cubicBezTo>
                        <a:cubicBezTo>
                          <a:pt x="826854" y="-2969"/>
                          <a:pt x="1068021" y="-13430"/>
                          <a:pt x="1278059" y="0"/>
                        </a:cubicBezTo>
                        <a:cubicBezTo>
                          <a:pt x="1488097" y="13430"/>
                          <a:pt x="1728155" y="568"/>
                          <a:pt x="1954280" y="0"/>
                        </a:cubicBezTo>
                        <a:cubicBezTo>
                          <a:pt x="2180405" y="-568"/>
                          <a:pt x="2227468" y="19433"/>
                          <a:pt x="2407348" y="0"/>
                        </a:cubicBezTo>
                        <a:cubicBezTo>
                          <a:pt x="2587228" y="-19433"/>
                          <a:pt x="2772620" y="11532"/>
                          <a:pt x="3083570" y="0"/>
                        </a:cubicBezTo>
                        <a:cubicBezTo>
                          <a:pt x="3394520" y="-11532"/>
                          <a:pt x="3340422" y="-8506"/>
                          <a:pt x="3536638" y="0"/>
                        </a:cubicBezTo>
                        <a:cubicBezTo>
                          <a:pt x="3732854" y="8506"/>
                          <a:pt x="3863025" y="2728"/>
                          <a:pt x="4138475" y="0"/>
                        </a:cubicBezTo>
                        <a:cubicBezTo>
                          <a:pt x="4413925" y="-2728"/>
                          <a:pt x="4464665" y="22586"/>
                          <a:pt x="4591544" y="0"/>
                        </a:cubicBezTo>
                        <a:cubicBezTo>
                          <a:pt x="4718423" y="-22586"/>
                          <a:pt x="4832475" y="1808"/>
                          <a:pt x="5044612" y="0"/>
                        </a:cubicBezTo>
                        <a:cubicBezTo>
                          <a:pt x="5256749" y="-1808"/>
                          <a:pt x="5483748" y="6674"/>
                          <a:pt x="5646449" y="0"/>
                        </a:cubicBezTo>
                        <a:cubicBezTo>
                          <a:pt x="5809150" y="-6674"/>
                          <a:pt x="6103980" y="-15396"/>
                          <a:pt x="6248286" y="0"/>
                        </a:cubicBezTo>
                        <a:cubicBezTo>
                          <a:pt x="6392592" y="15396"/>
                          <a:pt x="6608924" y="-3001"/>
                          <a:pt x="6775739" y="0"/>
                        </a:cubicBezTo>
                        <a:cubicBezTo>
                          <a:pt x="6942554" y="3001"/>
                          <a:pt x="7243557" y="-13954"/>
                          <a:pt x="7438436" y="0"/>
                        </a:cubicBezTo>
                        <a:cubicBezTo>
                          <a:pt x="7458428" y="166303"/>
                          <a:pt x="7435908" y="312194"/>
                          <a:pt x="7438436" y="483539"/>
                        </a:cubicBezTo>
                        <a:cubicBezTo>
                          <a:pt x="7440964" y="654884"/>
                          <a:pt x="7432323" y="818645"/>
                          <a:pt x="7438436" y="997943"/>
                        </a:cubicBezTo>
                        <a:cubicBezTo>
                          <a:pt x="7444549" y="1177241"/>
                          <a:pt x="7452275" y="1336961"/>
                          <a:pt x="7438436" y="1543211"/>
                        </a:cubicBezTo>
                        <a:cubicBezTo>
                          <a:pt x="7151746" y="1525969"/>
                          <a:pt x="6806392" y="1533844"/>
                          <a:pt x="6613446" y="1543211"/>
                        </a:cubicBezTo>
                        <a:cubicBezTo>
                          <a:pt x="6420500" y="1552579"/>
                          <a:pt x="5979826" y="1569976"/>
                          <a:pt x="5788456" y="1543211"/>
                        </a:cubicBezTo>
                        <a:cubicBezTo>
                          <a:pt x="5597086" y="1516447"/>
                          <a:pt x="5540650" y="1551764"/>
                          <a:pt x="5335387" y="1543211"/>
                        </a:cubicBezTo>
                        <a:cubicBezTo>
                          <a:pt x="5130124" y="1534658"/>
                          <a:pt x="4756707" y="1527821"/>
                          <a:pt x="4584781" y="1543211"/>
                        </a:cubicBezTo>
                        <a:cubicBezTo>
                          <a:pt x="4412855" y="1558601"/>
                          <a:pt x="4293983" y="1535026"/>
                          <a:pt x="4131713" y="1543211"/>
                        </a:cubicBezTo>
                        <a:cubicBezTo>
                          <a:pt x="3969443" y="1551396"/>
                          <a:pt x="3736810" y="1510078"/>
                          <a:pt x="3455492" y="1543211"/>
                        </a:cubicBezTo>
                        <a:cubicBezTo>
                          <a:pt x="3174174" y="1576344"/>
                          <a:pt x="3113653" y="1537295"/>
                          <a:pt x="2928039" y="1543211"/>
                        </a:cubicBezTo>
                        <a:cubicBezTo>
                          <a:pt x="2742425" y="1549127"/>
                          <a:pt x="2429496" y="1533724"/>
                          <a:pt x="2177433" y="1543211"/>
                        </a:cubicBezTo>
                        <a:cubicBezTo>
                          <a:pt x="1925370" y="1552698"/>
                          <a:pt x="1874819" y="1552802"/>
                          <a:pt x="1724365" y="1543211"/>
                        </a:cubicBezTo>
                        <a:cubicBezTo>
                          <a:pt x="1573911" y="1533620"/>
                          <a:pt x="1367517" y="1553975"/>
                          <a:pt x="1196912" y="1543211"/>
                        </a:cubicBezTo>
                        <a:cubicBezTo>
                          <a:pt x="1026307" y="1532447"/>
                          <a:pt x="887681" y="1550548"/>
                          <a:pt x="743844" y="1543211"/>
                        </a:cubicBezTo>
                        <a:cubicBezTo>
                          <a:pt x="600007" y="1535874"/>
                          <a:pt x="284474" y="1564384"/>
                          <a:pt x="0" y="1543211"/>
                        </a:cubicBezTo>
                        <a:cubicBezTo>
                          <a:pt x="-3594" y="1326681"/>
                          <a:pt x="-13123" y="1184468"/>
                          <a:pt x="0" y="1044239"/>
                        </a:cubicBezTo>
                        <a:cubicBezTo>
                          <a:pt x="13123" y="904010"/>
                          <a:pt x="-5574" y="668451"/>
                          <a:pt x="0" y="560700"/>
                        </a:cubicBezTo>
                        <a:cubicBezTo>
                          <a:pt x="5574" y="452949"/>
                          <a:pt x="2688" y="192229"/>
                          <a:pt x="0" y="0"/>
                        </a:cubicBezTo>
                        <a:close/>
                      </a:path>
                      <a:path w="7438436" h="1543211" stroke="0" extrusionOk="0">
                        <a:moveTo>
                          <a:pt x="0" y="0"/>
                        </a:moveTo>
                        <a:cubicBezTo>
                          <a:pt x="306316" y="-20955"/>
                          <a:pt x="459029" y="2979"/>
                          <a:pt x="824990" y="0"/>
                        </a:cubicBezTo>
                        <a:cubicBezTo>
                          <a:pt x="1190951" y="-2979"/>
                          <a:pt x="1140405" y="366"/>
                          <a:pt x="1426827" y="0"/>
                        </a:cubicBezTo>
                        <a:cubicBezTo>
                          <a:pt x="1713249" y="-366"/>
                          <a:pt x="1912105" y="-18700"/>
                          <a:pt x="2103049" y="0"/>
                        </a:cubicBezTo>
                        <a:cubicBezTo>
                          <a:pt x="2293993" y="18700"/>
                          <a:pt x="2418482" y="10643"/>
                          <a:pt x="2704886" y="0"/>
                        </a:cubicBezTo>
                        <a:cubicBezTo>
                          <a:pt x="2991290" y="-10643"/>
                          <a:pt x="2989239" y="-16926"/>
                          <a:pt x="3157954" y="0"/>
                        </a:cubicBezTo>
                        <a:cubicBezTo>
                          <a:pt x="3326669" y="16926"/>
                          <a:pt x="3719448" y="7899"/>
                          <a:pt x="3908560" y="0"/>
                        </a:cubicBezTo>
                        <a:cubicBezTo>
                          <a:pt x="4097672" y="-7899"/>
                          <a:pt x="4295497" y="-15290"/>
                          <a:pt x="4510397" y="0"/>
                        </a:cubicBezTo>
                        <a:cubicBezTo>
                          <a:pt x="4725297" y="15290"/>
                          <a:pt x="5020429" y="-9919"/>
                          <a:pt x="5186619" y="0"/>
                        </a:cubicBezTo>
                        <a:cubicBezTo>
                          <a:pt x="5352809" y="9919"/>
                          <a:pt x="5527492" y="16455"/>
                          <a:pt x="5639687" y="0"/>
                        </a:cubicBezTo>
                        <a:cubicBezTo>
                          <a:pt x="5751882" y="-16455"/>
                          <a:pt x="6186488" y="11649"/>
                          <a:pt x="6464677" y="0"/>
                        </a:cubicBezTo>
                        <a:cubicBezTo>
                          <a:pt x="6742866" y="-11649"/>
                          <a:pt x="7156690" y="6571"/>
                          <a:pt x="7438436" y="0"/>
                        </a:cubicBezTo>
                        <a:cubicBezTo>
                          <a:pt x="7419303" y="207693"/>
                          <a:pt x="7458237" y="359580"/>
                          <a:pt x="7438436" y="483539"/>
                        </a:cubicBezTo>
                        <a:cubicBezTo>
                          <a:pt x="7418635" y="607498"/>
                          <a:pt x="7421073" y="750063"/>
                          <a:pt x="7438436" y="1013375"/>
                        </a:cubicBezTo>
                        <a:cubicBezTo>
                          <a:pt x="7455799" y="1276687"/>
                          <a:pt x="7431058" y="1377994"/>
                          <a:pt x="7438436" y="1543211"/>
                        </a:cubicBezTo>
                        <a:cubicBezTo>
                          <a:pt x="7290497" y="1571116"/>
                          <a:pt x="7009470" y="1514631"/>
                          <a:pt x="6836599" y="1543211"/>
                        </a:cubicBezTo>
                        <a:cubicBezTo>
                          <a:pt x="6663728" y="1571791"/>
                          <a:pt x="6391497" y="1506059"/>
                          <a:pt x="6085993" y="1543211"/>
                        </a:cubicBezTo>
                        <a:cubicBezTo>
                          <a:pt x="5780489" y="1580363"/>
                          <a:pt x="5803948" y="1552866"/>
                          <a:pt x="5632925" y="1543211"/>
                        </a:cubicBezTo>
                        <a:cubicBezTo>
                          <a:pt x="5461902" y="1533556"/>
                          <a:pt x="5162830" y="1567319"/>
                          <a:pt x="4956703" y="1543211"/>
                        </a:cubicBezTo>
                        <a:cubicBezTo>
                          <a:pt x="4750576" y="1519103"/>
                          <a:pt x="4453698" y="1535476"/>
                          <a:pt x="4280482" y="1543211"/>
                        </a:cubicBezTo>
                        <a:cubicBezTo>
                          <a:pt x="4107266" y="1550946"/>
                          <a:pt x="3884621" y="1547672"/>
                          <a:pt x="3604260" y="1543211"/>
                        </a:cubicBezTo>
                        <a:cubicBezTo>
                          <a:pt x="3323899" y="1538750"/>
                          <a:pt x="3333858" y="1562030"/>
                          <a:pt x="3151192" y="1543211"/>
                        </a:cubicBezTo>
                        <a:cubicBezTo>
                          <a:pt x="2968526" y="1524392"/>
                          <a:pt x="2763127" y="1551521"/>
                          <a:pt x="2623739" y="1543211"/>
                        </a:cubicBezTo>
                        <a:cubicBezTo>
                          <a:pt x="2484351" y="1534901"/>
                          <a:pt x="2168547" y="1570168"/>
                          <a:pt x="2021902" y="1543211"/>
                        </a:cubicBezTo>
                        <a:cubicBezTo>
                          <a:pt x="1875257" y="1516254"/>
                          <a:pt x="1684715" y="1546304"/>
                          <a:pt x="1420065" y="1543211"/>
                        </a:cubicBezTo>
                        <a:cubicBezTo>
                          <a:pt x="1155415" y="1540118"/>
                          <a:pt x="846025" y="1572756"/>
                          <a:pt x="669459" y="1543211"/>
                        </a:cubicBezTo>
                        <a:cubicBezTo>
                          <a:pt x="492893" y="1513666"/>
                          <a:pt x="255622" y="1565839"/>
                          <a:pt x="0" y="1543211"/>
                        </a:cubicBezTo>
                        <a:cubicBezTo>
                          <a:pt x="-16183" y="1335804"/>
                          <a:pt x="12375" y="1161732"/>
                          <a:pt x="0" y="1013375"/>
                        </a:cubicBezTo>
                        <a:cubicBezTo>
                          <a:pt x="-12375" y="865018"/>
                          <a:pt x="13341" y="641287"/>
                          <a:pt x="0" y="529836"/>
                        </a:cubicBezTo>
                        <a:cubicBezTo>
                          <a:pt x="-13341" y="418385"/>
                          <a:pt x="5551" y="206460"/>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latin typeface="+mj-lt"/>
              <a:sym typeface="+mn-lt"/>
            </a:endParaRPr>
          </a:p>
        </p:txBody>
      </p:sp>
      <p:sp>
        <p:nvSpPr>
          <p:cNvPr id="4" name="Formatted_text">
            <a:extLst>
              <a:ext uri="{FF2B5EF4-FFF2-40B4-BE49-F238E27FC236}">
                <a16:creationId xmlns:a16="http://schemas.microsoft.com/office/drawing/2014/main" id="{AA180B73-B71E-7E95-D1B1-BE25EB7FA672}"/>
              </a:ext>
            </a:extLst>
          </p:cNvPr>
          <p:cNvSpPr txBox="1">
            <a:spLocks/>
          </p:cNvSpPr>
          <p:nvPr/>
        </p:nvSpPr>
        <p:spPr>
          <a:xfrm>
            <a:off x="3554147" y="2662057"/>
            <a:ext cx="5185992" cy="771493"/>
          </a:xfrm>
          <a:prstGeom prst="rect">
            <a:avLst/>
          </a:prstGeom>
          <a:noFill/>
          <a:ln w="9525">
            <a:noFill/>
          </a:ln>
        </p:spPr>
        <p:txBody>
          <a:bodyPr vert="horz" wrap="square" lIns="0" tIns="0" rIns="0" bIns="0" rtlCol="0" anchor="t">
            <a:spAutoFit/>
          </a:bodyPr>
          <a:lstStyle/>
          <a:p>
            <a:pPr>
              <a:lnSpc>
                <a:spcPct val="90000"/>
              </a:lnSpc>
              <a:spcBef>
                <a:spcPts val="150"/>
              </a:spcBef>
              <a:buClr>
                <a:srgbClr val="000000"/>
              </a:buClr>
              <a:buSzPct val="100000"/>
              <a:buFont typeface=""/>
            </a:pPr>
            <a:r>
              <a:rPr lang="en-US" sz="1200" b="1" dirty="0">
                <a:solidFill>
                  <a:schemeClr val="accent5"/>
                </a:solidFill>
                <a:latin typeface="+mj-lt"/>
                <a:sym typeface="+mn-lt"/>
              </a:rPr>
              <a:t>US Policy incentives</a:t>
            </a:r>
          </a:p>
          <a:p>
            <a:pPr marL="93970" lvl="1" indent="-93970">
              <a:lnSpc>
                <a:spcPct val="90000"/>
              </a:lnSpc>
              <a:spcBef>
                <a:spcPts val="150"/>
              </a:spcBef>
              <a:buClr>
                <a:srgbClr val="000000"/>
              </a:buClr>
              <a:buSzPct val="100000"/>
              <a:buFont typeface="+mn-lt"/>
              <a:buChar char="•"/>
            </a:pPr>
            <a:r>
              <a:rPr lang="en-US" sz="1000" dirty="0">
                <a:latin typeface="+mj-lt"/>
              </a:rPr>
              <a:t>IRA: historic investment of USD 369 billion in climate change and energy funding</a:t>
            </a:r>
            <a:endParaRPr lang="en-US" sz="1000" dirty="0">
              <a:latin typeface="+mj-lt"/>
              <a:sym typeface="+mn-lt"/>
            </a:endParaRPr>
          </a:p>
          <a:p>
            <a:pPr marL="93970" lvl="1" indent="-93970">
              <a:lnSpc>
                <a:spcPct val="90000"/>
              </a:lnSpc>
              <a:spcBef>
                <a:spcPts val="150"/>
              </a:spcBef>
              <a:buClr>
                <a:srgbClr val="000000"/>
              </a:buClr>
              <a:buSzPct val="100000"/>
              <a:buFont typeface="+mn-lt"/>
              <a:buChar char="•"/>
            </a:pPr>
            <a:r>
              <a:rPr lang="en-US" sz="1000" dirty="0" err="1">
                <a:latin typeface="+mj-lt"/>
                <a:sym typeface="+mn-lt"/>
              </a:rPr>
              <a:t>45Q</a:t>
            </a:r>
            <a:r>
              <a:rPr lang="en-US" sz="1000" dirty="0">
                <a:latin typeface="+mj-lt"/>
                <a:sym typeface="+mn-lt"/>
              </a:rPr>
              <a:t> Federal tax credit: USD 60/CO</a:t>
            </a:r>
            <a:r>
              <a:rPr lang="en-US" sz="1000" baseline="-25000" dirty="0">
                <a:latin typeface="+mj-lt"/>
                <a:sym typeface="+mn-lt"/>
              </a:rPr>
              <a:t>2 </a:t>
            </a:r>
            <a:r>
              <a:rPr lang="en-US" sz="1000" dirty="0">
                <a:latin typeface="+mj-lt"/>
                <a:sym typeface="+mn-lt"/>
              </a:rPr>
              <a:t>ton for EOR and to USD 85 for permanent storage, USD 130 for DAC (used for EOR or utilization) and USD 180 for DAC (direct sequestration)</a:t>
            </a:r>
            <a:endParaRPr lang="en-US" sz="1000" dirty="0">
              <a:latin typeface="+mj-lt"/>
            </a:endParaRPr>
          </a:p>
        </p:txBody>
      </p:sp>
      <p:sp>
        <p:nvSpPr>
          <p:cNvPr id="5" name="Rectangle 4">
            <a:extLst>
              <a:ext uri="{FF2B5EF4-FFF2-40B4-BE49-F238E27FC236}">
                <a16:creationId xmlns:a16="http://schemas.microsoft.com/office/drawing/2014/main" id="{A6431D59-D86C-BB2D-00CA-CDFBF2F5DEAD}"/>
              </a:ext>
            </a:extLst>
          </p:cNvPr>
          <p:cNvSpPr>
            <a:spLocks/>
          </p:cNvSpPr>
          <p:nvPr/>
        </p:nvSpPr>
        <p:spPr>
          <a:xfrm>
            <a:off x="3402873" y="1529365"/>
            <a:ext cx="5435135" cy="988196"/>
          </a:xfrm>
          <a:prstGeom prst="rect">
            <a:avLst/>
          </a:prstGeom>
          <a:solidFill>
            <a:schemeClr val="bg1">
              <a:lumMod val="95000"/>
            </a:schemeClr>
          </a:solidFill>
          <a:ln w="6350">
            <a:noFill/>
            <a:extLst>
              <a:ext uri="{C807C97D-BFC1-408E-A445-0C87EB9F89A2}">
                <ask:lineSketchStyleProps xmlns:ask="http://schemas.microsoft.com/office/drawing/2018/sketchyshapes" sd="1802156438">
                  <a:custGeom>
                    <a:avLst/>
                    <a:gdLst>
                      <a:gd name="connsiteX0" fmla="*/ 0 w 7438436"/>
                      <a:gd name="connsiteY0" fmla="*/ 0 h 1574998"/>
                      <a:gd name="connsiteX1" fmla="*/ 750606 w 7438436"/>
                      <a:gd name="connsiteY1" fmla="*/ 0 h 1574998"/>
                      <a:gd name="connsiteX2" fmla="*/ 1575596 w 7438436"/>
                      <a:gd name="connsiteY2" fmla="*/ 0 h 1574998"/>
                      <a:gd name="connsiteX3" fmla="*/ 2103049 w 7438436"/>
                      <a:gd name="connsiteY3" fmla="*/ 0 h 1574998"/>
                      <a:gd name="connsiteX4" fmla="*/ 2853655 w 7438436"/>
                      <a:gd name="connsiteY4" fmla="*/ 0 h 1574998"/>
                      <a:gd name="connsiteX5" fmla="*/ 3529876 w 7438436"/>
                      <a:gd name="connsiteY5" fmla="*/ 0 h 1574998"/>
                      <a:gd name="connsiteX6" fmla="*/ 4354866 w 7438436"/>
                      <a:gd name="connsiteY6" fmla="*/ 0 h 1574998"/>
                      <a:gd name="connsiteX7" fmla="*/ 4882319 w 7438436"/>
                      <a:gd name="connsiteY7" fmla="*/ 0 h 1574998"/>
                      <a:gd name="connsiteX8" fmla="*/ 5632925 w 7438436"/>
                      <a:gd name="connsiteY8" fmla="*/ 0 h 1574998"/>
                      <a:gd name="connsiteX9" fmla="*/ 6160377 w 7438436"/>
                      <a:gd name="connsiteY9" fmla="*/ 0 h 1574998"/>
                      <a:gd name="connsiteX10" fmla="*/ 6836599 w 7438436"/>
                      <a:gd name="connsiteY10" fmla="*/ 0 h 1574998"/>
                      <a:gd name="connsiteX11" fmla="*/ 7438436 w 7438436"/>
                      <a:gd name="connsiteY11" fmla="*/ 0 h 1574998"/>
                      <a:gd name="connsiteX12" fmla="*/ 7438436 w 7438436"/>
                      <a:gd name="connsiteY12" fmla="*/ 524999 h 1574998"/>
                      <a:gd name="connsiteX13" fmla="*/ 7438436 w 7438436"/>
                      <a:gd name="connsiteY13" fmla="*/ 1018499 h 1574998"/>
                      <a:gd name="connsiteX14" fmla="*/ 7438436 w 7438436"/>
                      <a:gd name="connsiteY14" fmla="*/ 1574998 h 1574998"/>
                      <a:gd name="connsiteX15" fmla="*/ 6762215 w 7438436"/>
                      <a:gd name="connsiteY15" fmla="*/ 1574998 h 1574998"/>
                      <a:gd name="connsiteX16" fmla="*/ 6234762 w 7438436"/>
                      <a:gd name="connsiteY16" fmla="*/ 1574998 h 1574998"/>
                      <a:gd name="connsiteX17" fmla="*/ 5707309 w 7438436"/>
                      <a:gd name="connsiteY17" fmla="*/ 1574998 h 1574998"/>
                      <a:gd name="connsiteX18" fmla="*/ 5105472 w 7438436"/>
                      <a:gd name="connsiteY18" fmla="*/ 1574998 h 1574998"/>
                      <a:gd name="connsiteX19" fmla="*/ 4429251 w 7438436"/>
                      <a:gd name="connsiteY19" fmla="*/ 1574998 h 1574998"/>
                      <a:gd name="connsiteX20" fmla="*/ 3827413 w 7438436"/>
                      <a:gd name="connsiteY20" fmla="*/ 1574998 h 1574998"/>
                      <a:gd name="connsiteX21" fmla="*/ 3299961 w 7438436"/>
                      <a:gd name="connsiteY21" fmla="*/ 1574998 h 1574998"/>
                      <a:gd name="connsiteX22" fmla="*/ 2474971 w 7438436"/>
                      <a:gd name="connsiteY22" fmla="*/ 1574998 h 1574998"/>
                      <a:gd name="connsiteX23" fmla="*/ 1724365 w 7438436"/>
                      <a:gd name="connsiteY23" fmla="*/ 1574998 h 1574998"/>
                      <a:gd name="connsiteX24" fmla="*/ 1271296 w 7438436"/>
                      <a:gd name="connsiteY24" fmla="*/ 1574998 h 1574998"/>
                      <a:gd name="connsiteX25" fmla="*/ 743844 w 7438436"/>
                      <a:gd name="connsiteY25" fmla="*/ 1574998 h 1574998"/>
                      <a:gd name="connsiteX26" fmla="*/ 0 w 7438436"/>
                      <a:gd name="connsiteY26" fmla="*/ 1574998 h 1574998"/>
                      <a:gd name="connsiteX27" fmla="*/ 0 w 7438436"/>
                      <a:gd name="connsiteY27" fmla="*/ 1065749 h 1574998"/>
                      <a:gd name="connsiteX28" fmla="*/ 0 w 7438436"/>
                      <a:gd name="connsiteY28" fmla="*/ 556499 h 1574998"/>
                      <a:gd name="connsiteX29" fmla="*/ 0 w 7438436"/>
                      <a:gd name="connsiteY29" fmla="*/ 0 h 1574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438436" h="1574998" fill="none" extrusionOk="0">
                        <a:moveTo>
                          <a:pt x="0" y="0"/>
                        </a:moveTo>
                        <a:cubicBezTo>
                          <a:pt x="189344" y="-26230"/>
                          <a:pt x="552551" y="18283"/>
                          <a:pt x="750606" y="0"/>
                        </a:cubicBezTo>
                        <a:cubicBezTo>
                          <a:pt x="948661" y="-18283"/>
                          <a:pt x="1232260" y="-15341"/>
                          <a:pt x="1575596" y="0"/>
                        </a:cubicBezTo>
                        <a:cubicBezTo>
                          <a:pt x="1918932" y="15341"/>
                          <a:pt x="1849028" y="-25890"/>
                          <a:pt x="2103049" y="0"/>
                        </a:cubicBezTo>
                        <a:cubicBezTo>
                          <a:pt x="2357070" y="25890"/>
                          <a:pt x="2667261" y="7429"/>
                          <a:pt x="2853655" y="0"/>
                        </a:cubicBezTo>
                        <a:cubicBezTo>
                          <a:pt x="3040049" y="-7429"/>
                          <a:pt x="3329360" y="-30147"/>
                          <a:pt x="3529876" y="0"/>
                        </a:cubicBezTo>
                        <a:cubicBezTo>
                          <a:pt x="3730392" y="30147"/>
                          <a:pt x="4083538" y="-35460"/>
                          <a:pt x="4354866" y="0"/>
                        </a:cubicBezTo>
                        <a:cubicBezTo>
                          <a:pt x="4626194" y="35460"/>
                          <a:pt x="4665790" y="-23894"/>
                          <a:pt x="4882319" y="0"/>
                        </a:cubicBezTo>
                        <a:cubicBezTo>
                          <a:pt x="5098848" y="23894"/>
                          <a:pt x="5358504" y="35710"/>
                          <a:pt x="5632925" y="0"/>
                        </a:cubicBezTo>
                        <a:cubicBezTo>
                          <a:pt x="5907346" y="-35710"/>
                          <a:pt x="5989828" y="-18644"/>
                          <a:pt x="6160377" y="0"/>
                        </a:cubicBezTo>
                        <a:cubicBezTo>
                          <a:pt x="6330926" y="18644"/>
                          <a:pt x="6537038" y="-10692"/>
                          <a:pt x="6836599" y="0"/>
                        </a:cubicBezTo>
                        <a:cubicBezTo>
                          <a:pt x="7136160" y="10692"/>
                          <a:pt x="7179946" y="29468"/>
                          <a:pt x="7438436" y="0"/>
                        </a:cubicBezTo>
                        <a:cubicBezTo>
                          <a:pt x="7427354" y="152931"/>
                          <a:pt x="7457869" y="329147"/>
                          <a:pt x="7438436" y="524999"/>
                        </a:cubicBezTo>
                        <a:cubicBezTo>
                          <a:pt x="7419003" y="720851"/>
                          <a:pt x="7432426" y="779610"/>
                          <a:pt x="7438436" y="1018499"/>
                        </a:cubicBezTo>
                        <a:cubicBezTo>
                          <a:pt x="7444446" y="1257388"/>
                          <a:pt x="7461511" y="1414704"/>
                          <a:pt x="7438436" y="1574998"/>
                        </a:cubicBezTo>
                        <a:cubicBezTo>
                          <a:pt x="7300889" y="1603985"/>
                          <a:pt x="6929954" y="1603388"/>
                          <a:pt x="6762215" y="1574998"/>
                        </a:cubicBezTo>
                        <a:cubicBezTo>
                          <a:pt x="6594476" y="1546608"/>
                          <a:pt x="6364127" y="1583166"/>
                          <a:pt x="6234762" y="1574998"/>
                        </a:cubicBezTo>
                        <a:cubicBezTo>
                          <a:pt x="6105397" y="1566830"/>
                          <a:pt x="5850381" y="1599459"/>
                          <a:pt x="5707309" y="1574998"/>
                        </a:cubicBezTo>
                        <a:cubicBezTo>
                          <a:pt x="5564237" y="1550537"/>
                          <a:pt x="5258354" y="1569276"/>
                          <a:pt x="5105472" y="1574998"/>
                        </a:cubicBezTo>
                        <a:cubicBezTo>
                          <a:pt x="4952590" y="1580720"/>
                          <a:pt x="4662714" y="1565594"/>
                          <a:pt x="4429251" y="1574998"/>
                        </a:cubicBezTo>
                        <a:cubicBezTo>
                          <a:pt x="4195788" y="1584402"/>
                          <a:pt x="4006329" y="1573054"/>
                          <a:pt x="3827413" y="1574998"/>
                        </a:cubicBezTo>
                        <a:cubicBezTo>
                          <a:pt x="3648497" y="1576942"/>
                          <a:pt x="3451678" y="1600099"/>
                          <a:pt x="3299961" y="1574998"/>
                        </a:cubicBezTo>
                        <a:cubicBezTo>
                          <a:pt x="3148244" y="1549897"/>
                          <a:pt x="2641114" y="1599283"/>
                          <a:pt x="2474971" y="1574998"/>
                        </a:cubicBezTo>
                        <a:cubicBezTo>
                          <a:pt x="2308828" y="1550714"/>
                          <a:pt x="1974058" y="1572079"/>
                          <a:pt x="1724365" y="1574998"/>
                        </a:cubicBezTo>
                        <a:cubicBezTo>
                          <a:pt x="1474672" y="1577917"/>
                          <a:pt x="1484804" y="1596223"/>
                          <a:pt x="1271296" y="1574998"/>
                        </a:cubicBezTo>
                        <a:cubicBezTo>
                          <a:pt x="1057788" y="1553773"/>
                          <a:pt x="925851" y="1566956"/>
                          <a:pt x="743844" y="1574998"/>
                        </a:cubicBezTo>
                        <a:cubicBezTo>
                          <a:pt x="561837" y="1583040"/>
                          <a:pt x="207574" y="1540728"/>
                          <a:pt x="0" y="1574998"/>
                        </a:cubicBezTo>
                        <a:cubicBezTo>
                          <a:pt x="-15698" y="1458645"/>
                          <a:pt x="14649" y="1193667"/>
                          <a:pt x="0" y="1065749"/>
                        </a:cubicBezTo>
                        <a:cubicBezTo>
                          <a:pt x="-14649" y="937831"/>
                          <a:pt x="-10195" y="795971"/>
                          <a:pt x="0" y="556499"/>
                        </a:cubicBezTo>
                        <a:cubicBezTo>
                          <a:pt x="10195" y="317027"/>
                          <a:pt x="20822" y="143214"/>
                          <a:pt x="0" y="0"/>
                        </a:cubicBezTo>
                        <a:close/>
                      </a:path>
                      <a:path w="7438436" h="1574998" stroke="0" extrusionOk="0">
                        <a:moveTo>
                          <a:pt x="0" y="0"/>
                        </a:moveTo>
                        <a:cubicBezTo>
                          <a:pt x="233432" y="29482"/>
                          <a:pt x="473021" y="-18311"/>
                          <a:pt x="824990" y="0"/>
                        </a:cubicBezTo>
                        <a:cubicBezTo>
                          <a:pt x="1176959" y="18311"/>
                          <a:pt x="1184259" y="-18131"/>
                          <a:pt x="1278059" y="0"/>
                        </a:cubicBezTo>
                        <a:cubicBezTo>
                          <a:pt x="1371859" y="18131"/>
                          <a:pt x="1808475" y="-378"/>
                          <a:pt x="1954280" y="0"/>
                        </a:cubicBezTo>
                        <a:cubicBezTo>
                          <a:pt x="2100085" y="378"/>
                          <a:pt x="2352555" y="15203"/>
                          <a:pt x="2630501" y="0"/>
                        </a:cubicBezTo>
                        <a:cubicBezTo>
                          <a:pt x="2908447" y="-15203"/>
                          <a:pt x="3136139" y="30339"/>
                          <a:pt x="3381107" y="0"/>
                        </a:cubicBezTo>
                        <a:cubicBezTo>
                          <a:pt x="3626075" y="-30339"/>
                          <a:pt x="3690621" y="7831"/>
                          <a:pt x="3834176" y="0"/>
                        </a:cubicBezTo>
                        <a:cubicBezTo>
                          <a:pt x="3977731" y="-7831"/>
                          <a:pt x="4173317" y="335"/>
                          <a:pt x="4287244" y="0"/>
                        </a:cubicBezTo>
                        <a:cubicBezTo>
                          <a:pt x="4401171" y="-335"/>
                          <a:pt x="4521125" y="18222"/>
                          <a:pt x="4740312" y="0"/>
                        </a:cubicBezTo>
                        <a:cubicBezTo>
                          <a:pt x="4959499" y="-18222"/>
                          <a:pt x="5153198" y="-5533"/>
                          <a:pt x="5342149" y="0"/>
                        </a:cubicBezTo>
                        <a:cubicBezTo>
                          <a:pt x="5531100" y="5533"/>
                          <a:pt x="5897537" y="9210"/>
                          <a:pt x="6092755" y="0"/>
                        </a:cubicBezTo>
                        <a:cubicBezTo>
                          <a:pt x="6287973" y="-9210"/>
                          <a:pt x="6510145" y="-312"/>
                          <a:pt x="6620208" y="0"/>
                        </a:cubicBezTo>
                        <a:cubicBezTo>
                          <a:pt x="6730271" y="312"/>
                          <a:pt x="7098412" y="-26185"/>
                          <a:pt x="7438436" y="0"/>
                        </a:cubicBezTo>
                        <a:cubicBezTo>
                          <a:pt x="7421061" y="175768"/>
                          <a:pt x="7461968" y="303549"/>
                          <a:pt x="7438436" y="477749"/>
                        </a:cubicBezTo>
                        <a:cubicBezTo>
                          <a:pt x="7414904" y="651949"/>
                          <a:pt x="7455582" y="814939"/>
                          <a:pt x="7438436" y="986999"/>
                        </a:cubicBezTo>
                        <a:cubicBezTo>
                          <a:pt x="7421291" y="1159059"/>
                          <a:pt x="7441560" y="1452330"/>
                          <a:pt x="7438436" y="1574998"/>
                        </a:cubicBezTo>
                        <a:cubicBezTo>
                          <a:pt x="7293619" y="1565643"/>
                          <a:pt x="7047547" y="1563385"/>
                          <a:pt x="6910983" y="1574998"/>
                        </a:cubicBezTo>
                        <a:cubicBezTo>
                          <a:pt x="6774419" y="1586611"/>
                          <a:pt x="6494107" y="1543720"/>
                          <a:pt x="6234762" y="1574998"/>
                        </a:cubicBezTo>
                        <a:cubicBezTo>
                          <a:pt x="5975417" y="1606276"/>
                          <a:pt x="5705790" y="1604665"/>
                          <a:pt x="5484156" y="1574998"/>
                        </a:cubicBezTo>
                        <a:cubicBezTo>
                          <a:pt x="5262522" y="1545331"/>
                          <a:pt x="5171493" y="1589635"/>
                          <a:pt x="5031088" y="1574998"/>
                        </a:cubicBezTo>
                        <a:cubicBezTo>
                          <a:pt x="4890683" y="1560361"/>
                          <a:pt x="4521557" y="1568279"/>
                          <a:pt x="4354866" y="1574998"/>
                        </a:cubicBezTo>
                        <a:cubicBezTo>
                          <a:pt x="4188175" y="1581717"/>
                          <a:pt x="3981708" y="1597981"/>
                          <a:pt x="3827413" y="1574998"/>
                        </a:cubicBezTo>
                        <a:cubicBezTo>
                          <a:pt x="3673118" y="1552015"/>
                          <a:pt x="3557000" y="1583091"/>
                          <a:pt x="3374345" y="1574998"/>
                        </a:cubicBezTo>
                        <a:cubicBezTo>
                          <a:pt x="3191690" y="1566905"/>
                          <a:pt x="2719401" y="1548206"/>
                          <a:pt x="2549355" y="1574998"/>
                        </a:cubicBezTo>
                        <a:cubicBezTo>
                          <a:pt x="2379309" y="1601791"/>
                          <a:pt x="2219123" y="1572779"/>
                          <a:pt x="2021902" y="1574998"/>
                        </a:cubicBezTo>
                        <a:cubicBezTo>
                          <a:pt x="1824681" y="1577217"/>
                          <a:pt x="1436293" y="1569475"/>
                          <a:pt x="1271296" y="1574998"/>
                        </a:cubicBezTo>
                        <a:cubicBezTo>
                          <a:pt x="1106299" y="1580521"/>
                          <a:pt x="902614" y="1549663"/>
                          <a:pt x="669459" y="1574998"/>
                        </a:cubicBezTo>
                        <a:cubicBezTo>
                          <a:pt x="436304" y="1600333"/>
                          <a:pt x="205914" y="1575532"/>
                          <a:pt x="0" y="1574998"/>
                        </a:cubicBezTo>
                        <a:cubicBezTo>
                          <a:pt x="7619" y="1378928"/>
                          <a:pt x="19203" y="1278836"/>
                          <a:pt x="0" y="1018499"/>
                        </a:cubicBezTo>
                        <a:cubicBezTo>
                          <a:pt x="-19203" y="758162"/>
                          <a:pt x="2921" y="727734"/>
                          <a:pt x="0" y="493499"/>
                        </a:cubicBezTo>
                        <a:cubicBezTo>
                          <a:pt x="-2921" y="259264"/>
                          <a:pt x="10393" y="163668"/>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latin typeface="+mj-lt"/>
              <a:sym typeface="+mn-lt"/>
            </a:endParaRPr>
          </a:p>
        </p:txBody>
      </p:sp>
      <p:sp>
        <p:nvSpPr>
          <p:cNvPr id="6" name="Formatted_text">
            <a:extLst>
              <a:ext uri="{FF2B5EF4-FFF2-40B4-BE49-F238E27FC236}">
                <a16:creationId xmlns:a16="http://schemas.microsoft.com/office/drawing/2014/main" id="{2DECB6E2-BA80-C751-67A8-C00CC39A753E}"/>
              </a:ext>
            </a:extLst>
          </p:cNvPr>
          <p:cNvSpPr txBox="1">
            <a:spLocks/>
          </p:cNvSpPr>
          <p:nvPr/>
        </p:nvSpPr>
        <p:spPr>
          <a:xfrm>
            <a:off x="3554148" y="1600222"/>
            <a:ext cx="4966419" cy="468846"/>
          </a:xfrm>
          <a:prstGeom prst="rect">
            <a:avLst/>
          </a:prstGeom>
          <a:noFill/>
          <a:ln w="9525">
            <a:noFill/>
          </a:ln>
        </p:spPr>
        <p:txBody>
          <a:bodyPr vert="horz" wrap="square" lIns="0" tIns="0" rIns="0" bIns="0" rtlCol="0">
            <a:spAutoFit/>
          </a:bodyPr>
          <a:lstStyle>
            <a:defPPr>
              <a:defRPr lang="en-EN"/>
            </a:defPPr>
            <a:lvl1pPr>
              <a:lnSpc>
                <a:spcPct val="90000"/>
              </a:lnSpc>
              <a:spcBef>
                <a:spcPts val="400"/>
              </a:spcBef>
              <a:buClr>
                <a:srgbClr val="000000"/>
              </a:buClr>
              <a:buSzPct val="100000"/>
              <a:buFont typeface=""/>
              <a:defRPr sz="1400">
                <a:latin typeface="+mn-lt"/>
              </a:defRPr>
            </a:lvl1pPr>
            <a:lvl2pPr marL="146175" lvl="1" indent="-146175">
              <a:spcBef>
                <a:spcPts val="600"/>
              </a:spcBef>
              <a:buClr>
                <a:srgbClr val="000000"/>
              </a:buClr>
              <a:buSzPct val="100000"/>
              <a:buFont typeface="+mn-lt"/>
              <a:buChar char="•"/>
              <a:defRPr sz="1400" b="0">
                <a:latin typeface="+mn-lt"/>
              </a:defRPr>
            </a:lvl2pPr>
            <a:lvl3pPr marL="278314" lvl="2" indent="-135002">
              <a:spcBef>
                <a:spcPts val="600"/>
              </a:spcBef>
              <a:buClr>
                <a:srgbClr val="000000"/>
              </a:buClr>
              <a:buSzPct val="100000"/>
              <a:buFont typeface="+mn-lt"/>
              <a:buChar char="–"/>
              <a:defRPr sz="1400" b="0">
                <a:latin typeface="+mn-lt"/>
              </a:defRPr>
            </a:lvl3pPr>
          </a:lstStyle>
          <a:p>
            <a:pPr>
              <a:spcBef>
                <a:spcPts val="150"/>
              </a:spcBef>
            </a:pPr>
            <a:r>
              <a:rPr lang="en-US" sz="1200" b="1" dirty="0">
                <a:solidFill>
                  <a:schemeClr val="accent5"/>
                </a:solidFill>
                <a:latin typeface="+mj-lt"/>
                <a:sym typeface="+mn-lt"/>
              </a:rPr>
              <a:t>EU Policy incentives </a:t>
            </a:r>
            <a:endParaRPr lang="en-US" sz="1000" dirty="0">
              <a:latin typeface="+mj-lt"/>
              <a:sym typeface="+mn-lt"/>
            </a:endParaRPr>
          </a:p>
          <a:p>
            <a:pPr marL="0" lvl="1" indent="0">
              <a:lnSpc>
                <a:spcPct val="90000"/>
              </a:lnSpc>
              <a:spcBef>
                <a:spcPts val="150"/>
              </a:spcBef>
              <a:buNone/>
            </a:pPr>
            <a:r>
              <a:rPr lang="en-US" sz="1000" dirty="0">
                <a:latin typeface="+mj-lt"/>
                <a:sym typeface="+mn-lt"/>
              </a:rPr>
              <a:t>EU emissions trading scheme carbon price. EUR 38 billion Innovation Fund, 4 CCS projects funded</a:t>
            </a:r>
          </a:p>
        </p:txBody>
      </p:sp>
      <p:sp>
        <p:nvSpPr>
          <p:cNvPr id="7" name="Rectangle 6">
            <a:extLst>
              <a:ext uri="{FF2B5EF4-FFF2-40B4-BE49-F238E27FC236}">
                <a16:creationId xmlns:a16="http://schemas.microsoft.com/office/drawing/2014/main" id="{6811933B-0BB5-88F2-3B98-5EE1641BACAD}"/>
              </a:ext>
            </a:extLst>
          </p:cNvPr>
          <p:cNvSpPr>
            <a:spLocks/>
          </p:cNvSpPr>
          <p:nvPr/>
        </p:nvSpPr>
        <p:spPr>
          <a:xfrm>
            <a:off x="3402873" y="3776146"/>
            <a:ext cx="5435135" cy="772259"/>
          </a:xfrm>
          <a:prstGeom prst="rect">
            <a:avLst/>
          </a:prstGeom>
          <a:solidFill>
            <a:schemeClr val="bg1">
              <a:lumMod val="95000"/>
            </a:schemeClr>
          </a:solidFill>
          <a:ln w="6350">
            <a:noFill/>
            <a:extLst>
              <a:ext uri="{C807C97D-BFC1-408E-A445-0C87EB9F89A2}">
                <ask:lineSketchStyleProps xmlns:ask="http://schemas.microsoft.com/office/drawing/2018/sketchyshapes" sd="3231442054">
                  <a:custGeom>
                    <a:avLst/>
                    <a:gdLst>
                      <a:gd name="connsiteX0" fmla="*/ 0 w 7438436"/>
                      <a:gd name="connsiteY0" fmla="*/ 0 h 1035210"/>
                      <a:gd name="connsiteX1" fmla="*/ 527453 w 7438436"/>
                      <a:gd name="connsiteY1" fmla="*/ 0 h 1035210"/>
                      <a:gd name="connsiteX2" fmla="*/ 980521 w 7438436"/>
                      <a:gd name="connsiteY2" fmla="*/ 0 h 1035210"/>
                      <a:gd name="connsiteX3" fmla="*/ 1805511 w 7438436"/>
                      <a:gd name="connsiteY3" fmla="*/ 0 h 1035210"/>
                      <a:gd name="connsiteX4" fmla="*/ 2332964 w 7438436"/>
                      <a:gd name="connsiteY4" fmla="*/ 0 h 1035210"/>
                      <a:gd name="connsiteX5" fmla="*/ 2934801 w 7438436"/>
                      <a:gd name="connsiteY5" fmla="*/ 0 h 1035210"/>
                      <a:gd name="connsiteX6" fmla="*/ 3611023 w 7438436"/>
                      <a:gd name="connsiteY6" fmla="*/ 0 h 1035210"/>
                      <a:gd name="connsiteX7" fmla="*/ 4064091 w 7438436"/>
                      <a:gd name="connsiteY7" fmla="*/ 0 h 1035210"/>
                      <a:gd name="connsiteX8" fmla="*/ 4740312 w 7438436"/>
                      <a:gd name="connsiteY8" fmla="*/ 0 h 1035210"/>
                      <a:gd name="connsiteX9" fmla="*/ 5193381 w 7438436"/>
                      <a:gd name="connsiteY9" fmla="*/ 0 h 1035210"/>
                      <a:gd name="connsiteX10" fmla="*/ 5795218 w 7438436"/>
                      <a:gd name="connsiteY10" fmla="*/ 0 h 1035210"/>
                      <a:gd name="connsiteX11" fmla="*/ 6248286 w 7438436"/>
                      <a:gd name="connsiteY11" fmla="*/ 0 h 1035210"/>
                      <a:gd name="connsiteX12" fmla="*/ 6701355 w 7438436"/>
                      <a:gd name="connsiteY12" fmla="*/ 0 h 1035210"/>
                      <a:gd name="connsiteX13" fmla="*/ 7438436 w 7438436"/>
                      <a:gd name="connsiteY13" fmla="*/ 0 h 1035210"/>
                      <a:gd name="connsiteX14" fmla="*/ 7438436 w 7438436"/>
                      <a:gd name="connsiteY14" fmla="*/ 507253 h 1035210"/>
                      <a:gd name="connsiteX15" fmla="*/ 7438436 w 7438436"/>
                      <a:gd name="connsiteY15" fmla="*/ 1035210 h 1035210"/>
                      <a:gd name="connsiteX16" fmla="*/ 6910983 w 7438436"/>
                      <a:gd name="connsiteY16" fmla="*/ 1035210 h 1035210"/>
                      <a:gd name="connsiteX17" fmla="*/ 6160377 w 7438436"/>
                      <a:gd name="connsiteY17" fmla="*/ 1035210 h 1035210"/>
                      <a:gd name="connsiteX18" fmla="*/ 5558540 w 7438436"/>
                      <a:gd name="connsiteY18" fmla="*/ 1035210 h 1035210"/>
                      <a:gd name="connsiteX19" fmla="*/ 4807935 w 7438436"/>
                      <a:gd name="connsiteY19" fmla="*/ 1035210 h 1035210"/>
                      <a:gd name="connsiteX20" fmla="*/ 4280482 w 7438436"/>
                      <a:gd name="connsiteY20" fmla="*/ 1035210 h 1035210"/>
                      <a:gd name="connsiteX21" fmla="*/ 3455492 w 7438436"/>
                      <a:gd name="connsiteY21" fmla="*/ 1035210 h 1035210"/>
                      <a:gd name="connsiteX22" fmla="*/ 3002423 w 7438436"/>
                      <a:gd name="connsiteY22" fmla="*/ 1035210 h 1035210"/>
                      <a:gd name="connsiteX23" fmla="*/ 2251817 w 7438436"/>
                      <a:gd name="connsiteY23" fmla="*/ 1035210 h 1035210"/>
                      <a:gd name="connsiteX24" fmla="*/ 1798749 w 7438436"/>
                      <a:gd name="connsiteY24" fmla="*/ 1035210 h 1035210"/>
                      <a:gd name="connsiteX25" fmla="*/ 1122528 w 7438436"/>
                      <a:gd name="connsiteY25" fmla="*/ 1035210 h 1035210"/>
                      <a:gd name="connsiteX26" fmla="*/ 595075 w 7438436"/>
                      <a:gd name="connsiteY26" fmla="*/ 1035210 h 1035210"/>
                      <a:gd name="connsiteX27" fmla="*/ 0 w 7438436"/>
                      <a:gd name="connsiteY27" fmla="*/ 1035210 h 1035210"/>
                      <a:gd name="connsiteX28" fmla="*/ 0 w 7438436"/>
                      <a:gd name="connsiteY28" fmla="*/ 548661 h 1035210"/>
                      <a:gd name="connsiteX29" fmla="*/ 0 w 7438436"/>
                      <a:gd name="connsiteY29" fmla="*/ 0 h 1035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438436" h="1035210" fill="none" extrusionOk="0">
                        <a:moveTo>
                          <a:pt x="0" y="0"/>
                        </a:moveTo>
                        <a:cubicBezTo>
                          <a:pt x="130198" y="571"/>
                          <a:pt x="318021" y="-13056"/>
                          <a:pt x="527453" y="0"/>
                        </a:cubicBezTo>
                        <a:cubicBezTo>
                          <a:pt x="736885" y="13056"/>
                          <a:pt x="831947" y="3609"/>
                          <a:pt x="980521" y="0"/>
                        </a:cubicBezTo>
                        <a:cubicBezTo>
                          <a:pt x="1129095" y="-3609"/>
                          <a:pt x="1471897" y="-33285"/>
                          <a:pt x="1805511" y="0"/>
                        </a:cubicBezTo>
                        <a:cubicBezTo>
                          <a:pt x="2139125" y="33285"/>
                          <a:pt x="2071778" y="-7048"/>
                          <a:pt x="2332964" y="0"/>
                        </a:cubicBezTo>
                        <a:cubicBezTo>
                          <a:pt x="2594150" y="7048"/>
                          <a:pt x="2728651" y="-10464"/>
                          <a:pt x="2934801" y="0"/>
                        </a:cubicBezTo>
                        <a:cubicBezTo>
                          <a:pt x="3140951" y="10464"/>
                          <a:pt x="3384676" y="-995"/>
                          <a:pt x="3611023" y="0"/>
                        </a:cubicBezTo>
                        <a:cubicBezTo>
                          <a:pt x="3837370" y="995"/>
                          <a:pt x="3884211" y="19433"/>
                          <a:pt x="4064091" y="0"/>
                        </a:cubicBezTo>
                        <a:cubicBezTo>
                          <a:pt x="4243971" y="-19433"/>
                          <a:pt x="4432624" y="12452"/>
                          <a:pt x="4740312" y="0"/>
                        </a:cubicBezTo>
                        <a:cubicBezTo>
                          <a:pt x="5048000" y="-12452"/>
                          <a:pt x="4989808" y="-10295"/>
                          <a:pt x="5193381" y="0"/>
                        </a:cubicBezTo>
                        <a:cubicBezTo>
                          <a:pt x="5396954" y="10295"/>
                          <a:pt x="5519768" y="2728"/>
                          <a:pt x="5795218" y="0"/>
                        </a:cubicBezTo>
                        <a:cubicBezTo>
                          <a:pt x="6070668" y="-2728"/>
                          <a:pt x="6126837" y="-15460"/>
                          <a:pt x="6248286" y="0"/>
                        </a:cubicBezTo>
                        <a:cubicBezTo>
                          <a:pt x="6369735" y="15460"/>
                          <a:pt x="6485085" y="686"/>
                          <a:pt x="6701355" y="0"/>
                        </a:cubicBezTo>
                        <a:cubicBezTo>
                          <a:pt x="6917625" y="-686"/>
                          <a:pt x="7258916" y="-17841"/>
                          <a:pt x="7438436" y="0"/>
                        </a:cubicBezTo>
                        <a:cubicBezTo>
                          <a:pt x="7458439" y="208620"/>
                          <a:pt x="7443941" y="362386"/>
                          <a:pt x="7438436" y="507253"/>
                        </a:cubicBezTo>
                        <a:cubicBezTo>
                          <a:pt x="7432931" y="652120"/>
                          <a:pt x="7436709" y="895834"/>
                          <a:pt x="7438436" y="1035210"/>
                        </a:cubicBezTo>
                        <a:cubicBezTo>
                          <a:pt x="7186228" y="1040413"/>
                          <a:pt x="7086222" y="1041659"/>
                          <a:pt x="6910983" y="1035210"/>
                        </a:cubicBezTo>
                        <a:cubicBezTo>
                          <a:pt x="6735744" y="1028761"/>
                          <a:pt x="6393163" y="1024749"/>
                          <a:pt x="6160377" y="1035210"/>
                        </a:cubicBezTo>
                        <a:cubicBezTo>
                          <a:pt x="5927591" y="1045671"/>
                          <a:pt x="5764416" y="1056493"/>
                          <a:pt x="5558540" y="1035210"/>
                        </a:cubicBezTo>
                        <a:cubicBezTo>
                          <a:pt x="5352664" y="1013927"/>
                          <a:pt x="5108113" y="1062290"/>
                          <a:pt x="4807935" y="1035210"/>
                        </a:cubicBezTo>
                        <a:cubicBezTo>
                          <a:pt x="4507757" y="1008130"/>
                          <a:pt x="4442153" y="1012560"/>
                          <a:pt x="4280482" y="1035210"/>
                        </a:cubicBezTo>
                        <a:cubicBezTo>
                          <a:pt x="4118811" y="1057860"/>
                          <a:pt x="3646862" y="1061975"/>
                          <a:pt x="3455492" y="1035210"/>
                        </a:cubicBezTo>
                        <a:cubicBezTo>
                          <a:pt x="3264122" y="1008446"/>
                          <a:pt x="3207686" y="1043763"/>
                          <a:pt x="3002423" y="1035210"/>
                        </a:cubicBezTo>
                        <a:cubicBezTo>
                          <a:pt x="2797160" y="1026657"/>
                          <a:pt x="2423743" y="1019820"/>
                          <a:pt x="2251817" y="1035210"/>
                        </a:cubicBezTo>
                        <a:cubicBezTo>
                          <a:pt x="2079891" y="1050600"/>
                          <a:pt x="1961019" y="1027025"/>
                          <a:pt x="1798749" y="1035210"/>
                        </a:cubicBezTo>
                        <a:cubicBezTo>
                          <a:pt x="1636479" y="1043395"/>
                          <a:pt x="1403846" y="1002077"/>
                          <a:pt x="1122528" y="1035210"/>
                        </a:cubicBezTo>
                        <a:cubicBezTo>
                          <a:pt x="841210" y="1068343"/>
                          <a:pt x="780689" y="1029294"/>
                          <a:pt x="595075" y="1035210"/>
                        </a:cubicBezTo>
                        <a:cubicBezTo>
                          <a:pt x="409461" y="1041126"/>
                          <a:pt x="267968" y="1063910"/>
                          <a:pt x="0" y="1035210"/>
                        </a:cubicBezTo>
                        <a:cubicBezTo>
                          <a:pt x="11617" y="835869"/>
                          <a:pt x="-11810" y="697152"/>
                          <a:pt x="0" y="548661"/>
                        </a:cubicBezTo>
                        <a:cubicBezTo>
                          <a:pt x="11810" y="400170"/>
                          <a:pt x="8384" y="132856"/>
                          <a:pt x="0" y="0"/>
                        </a:cubicBezTo>
                        <a:close/>
                      </a:path>
                      <a:path w="7438436" h="1035210" stroke="0" extrusionOk="0">
                        <a:moveTo>
                          <a:pt x="0" y="0"/>
                        </a:moveTo>
                        <a:cubicBezTo>
                          <a:pt x="306316" y="-20955"/>
                          <a:pt x="459029" y="2979"/>
                          <a:pt x="824990" y="0"/>
                        </a:cubicBezTo>
                        <a:cubicBezTo>
                          <a:pt x="1190951" y="-2979"/>
                          <a:pt x="1140405" y="366"/>
                          <a:pt x="1426827" y="0"/>
                        </a:cubicBezTo>
                        <a:cubicBezTo>
                          <a:pt x="1713249" y="-366"/>
                          <a:pt x="1912105" y="-18700"/>
                          <a:pt x="2103049" y="0"/>
                        </a:cubicBezTo>
                        <a:cubicBezTo>
                          <a:pt x="2293993" y="18700"/>
                          <a:pt x="2418482" y="10643"/>
                          <a:pt x="2704886" y="0"/>
                        </a:cubicBezTo>
                        <a:cubicBezTo>
                          <a:pt x="2991290" y="-10643"/>
                          <a:pt x="2989239" y="-16926"/>
                          <a:pt x="3157954" y="0"/>
                        </a:cubicBezTo>
                        <a:cubicBezTo>
                          <a:pt x="3326669" y="16926"/>
                          <a:pt x="3719448" y="7899"/>
                          <a:pt x="3908560" y="0"/>
                        </a:cubicBezTo>
                        <a:cubicBezTo>
                          <a:pt x="4097672" y="-7899"/>
                          <a:pt x="4295497" y="-15290"/>
                          <a:pt x="4510397" y="0"/>
                        </a:cubicBezTo>
                        <a:cubicBezTo>
                          <a:pt x="4725297" y="15290"/>
                          <a:pt x="5020429" y="-9919"/>
                          <a:pt x="5186619" y="0"/>
                        </a:cubicBezTo>
                        <a:cubicBezTo>
                          <a:pt x="5352809" y="9919"/>
                          <a:pt x="5527492" y="16455"/>
                          <a:pt x="5639687" y="0"/>
                        </a:cubicBezTo>
                        <a:cubicBezTo>
                          <a:pt x="5751882" y="-16455"/>
                          <a:pt x="6186488" y="11649"/>
                          <a:pt x="6464677" y="0"/>
                        </a:cubicBezTo>
                        <a:cubicBezTo>
                          <a:pt x="6742866" y="-11649"/>
                          <a:pt x="7156690" y="6571"/>
                          <a:pt x="7438436" y="0"/>
                        </a:cubicBezTo>
                        <a:cubicBezTo>
                          <a:pt x="7451258" y="172905"/>
                          <a:pt x="7430846" y="387060"/>
                          <a:pt x="7438436" y="496901"/>
                        </a:cubicBezTo>
                        <a:cubicBezTo>
                          <a:pt x="7446026" y="606742"/>
                          <a:pt x="7449059" y="799412"/>
                          <a:pt x="7438436" y="1035210"/>
                        </a:cubicBezTo>
                        <a:cubicBezTo>
                          <a:pt x="7270731" y="1051744"/>
                          <a:pt x="6901287" y="1066169"/>
                          <a:pt x="6613446" y="1035210"/>
                        </a:cubicBezTo>
                        <a:cubicBezTo>
                          <a:pt x="6325605" y="1004252"/>
                          <a:pt x="6189903" y="1056140"/>
                          <a:pt x="5937224" y="1035210"/>
                        </a:cubicBezTo>
                        <a:cubicBezTo>
                          <a:pt x="5684545" y="1014280"/>
                          <a:pt x="5487658" y="1068179"/>
                          <a:pt x="5186619" y="1035210"/>
                        </a:cubicBezTo>
                        <a:cubicBezTo>
                          <a:pt x="4885580" y="1002241"/>
                          <a:pt x="4906852" y="1049135"/>
                          <a:pt x="4733550" y="1035210"/>
                        </a:cubicBezTo>
                        <a:cubicBezTo>
                          <a:pt x="4560248" y="1021285"/>
                          <a:pt x="4262668" y="1054150"/>
                          <a:pt x="4057329" y="1035210"/>
                        </a:cubicBezTo>
                        <a:cubicBezTo>
                          <a:pt x="3851990" y="1016270"/>
                          <a:pt x="3558908" y="1029086"/>
                          <a:pt x="3381107" y="1035210"/>
                        </a:cubicBezTo>
                        <a:cubicBezTo>
                          <a:pt x="3203306" y="1041334"/>
                          <a:pt x="2984017" y="1034403"/>
                          <a:pt x="2704886" y="1035210"/>
                        </a:cubicBezTo>
                        <a:cubicBezTo>
                          <a:pt x="2425755" y="1036017"/>
                          <a:pt x="2436914" y="1017720"/>
                          <a:pt x="2251817" y="1035210"/>
                        </a:cubicBezTo>
                        <a:cubicBezTo>
                          <a:pt x="2066720" y="1052700"/>
                          <a:pt x="1862202" y="1040506"/>
                          <a:pt x="1724365" y="1035210"/>
                        </a:cubicBezTo>
                        <a:cubicBezTo>
                          <a:pt x="1586528" y="1029914"/>
                          <a:pt x="1269173" y="1062167"/>
                          <a:pt x="1122528" y="1035210"/>
                        </a:cubicBezTo>
                        <a:cubicBezTo>
                          <a:pt x="975883" y="1008253"/>
                          <a:pt x="277747" y="991056"/>
                          <a:pt x="0" y="1035210"/>
                        </a:cubicBezTo>
                        <a:cubicBezTo>
                          <a:pt x="21805" y="850341"/>
                          <a:pt x="21050" y="623827"/>
                          <a:pt x="0" y="507253"/>
                        </a:cubicBezTo>
                        <a:cubicBezTo>
                          <a:pt x="-21050" y="390679"/>
                          <a:pt x="19343" y="149954"/>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latin typeface="+mj-lt"/>
              <a:sym typeface="+mn-lt"/>
            </a:endParaRPr>
          </a:p>
        </p:txBody>
      </p:sp>
      <p:sp>
        <p:nvSpPr>
          <p:cNvPr id="8" name="Formatted_text">
            <a:extLst>
              <a:ext uri="{FF2B5EF4-FFF2-40B4-BE49-F238E27FC236}">
                <a16:creationId xmlns:a16="http://schemas.microsoft.com/office/drawing/2014/main" id="{86DF61F8-3252-20FA-D169-31F4C952AAC7}"/>
              </a:ext>
            </a:extLst>
          </p:cNvPr>
          <p:cNvSpPr txBox="1">
            <a:spLocks/>
          </p:cNvSpPr>
          <p:nvPr/>
        </p:nvSpPr>
        <p:spPr>
          <a:xfrm>
            <a:off x="3554149" y="3810208"/>
            <a:ext cx="4894526" cy="579646"/>
          </a:xfrm>
          <a:prstGeom prst="rect">
            <a:avLst/>
          </a:prstGeom>
          <a:noFill/>
          <a:ln w="9525">
            <a:noFill/>
          </a:ln>
        </p:spPr>
        <p:txBody>
          <a:bodyPr vert="horz" wrap="square" lIns="0" tIns="0" rIns="0" bIns="0" rtlCol="0" anchor="t">
            <a:spAutoFit/>
          </a:bodyPr>
          <a:lstStyle/>
          <a:p>
            <a:pPr>
              <a:lnSpc>
                <a:spcPct val="90000"/>
              </a:lnSpc>
              <a:spcBef>
                <a:spcPts val="150"/>
              </a:spcBef>
              <a:buClr>
                <a:srgbClr val="000000"/>
              </a:buClr>
              <a:buSzPct val="100000"/>
              <a:buFont typeface=""/>
            </a:pPr>
            <a:r>
              <a:rPr lang="en-US" sz="1000" b="1" dirty="0">
                <a:solidFill>
                  <a:schemeClr val="accent5"/>
                </a:solidFill>
                <a:latin typeface="+mj-lt"/>
                <a:sym typeface="+mn-lt"/>
              </a:rPr>
              <a:t>China Policy incentives</a:t>
            </a:r>
          </a:p>
          <a:p>
            <a:pPr marL="93970" lvl="1" indent="-93970">
              <a:lnSpc>
                <a:spcPct val="90000"/>
              </a:lnSpc>
              <a:spcBef>
                <a:spcPts val="150"/>
              </a:spcBef>
              <a:buClr>
                <a:srgbClr val="000000"/>
              </a:buClr>
              <a:buSzPct val="100000"/>
              <a:buFont typeface="+mn-lt"/>
              <a:buChar char="•"/>
            </a:pPr>
            <a:r>
              <a:rPr lang="en-US" sz="1000" dirty="0">
                <a:latin typeface="+mj-lt"/>
                <a:sym typeface="+mn-lt"/>
              </a:rPr>
              <a:t>The People’s Bank of China launched a carbon emissions reduction facility, a structural monetary policy instrument providing banks with low-cost loans to support decarbonization projects, including CC(U)S</a:t>
            </a:r>
            <a:endParaRPr lang="en-US" sz="1000" dirty="0">
              <a:latin typeface="+mj-lt"/>
            </a:endParaRPr>
          </a:p>
        </p:txBody>
      </p:sp>
      <p:pic>
        <p:nvPicPr>
          <p:cNvPr id="9" name="Graphic 8">
            <a:extLst>
              <a:ext uri="{FF2B5EF4-FFF2-40B4-BE49-F238E27FC236}">
                <a16:creationId xmlns:a16="http://schemas.microsoft.com/office/drawing/2014/main" id="{797E11B1-F1F5-E554-3A12-248E5D49A888}"/>
              </a:ext>
            </a:extLst>
          </p:cNvPr>
          <p:cNvPicPr>
            <a:picLocks/>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8495107" y="1546169"/>
            <a:ext cx="303711" cy="303711"/>
          </a:xfrm>
          <a:prstGeom prst="rect">
            <a:avLst/>
          </a:prstGeom>
        </p:spPr>
      </p:pic>
      <p:pic>
        <p:nvPicPr>
          <p:cNvPr id="10" name="Graphic 9">
            <a:extLst>
              <a:ext uri="{FF2B5EF4-FFF2-40B4-BE49-F238E27FC236}">
                <a16:creationId xmlns:a16="http://schemas.microsoft.com/office/drawing/2014/main" id="{3CEDF1D8-46C5-18EE-B291-F6BF4A169DBD}"/>
              </a:ext>
            </a:extLst>
          </p:cNvPr>
          <p:cNvPicPr>
            <a:picLocks/>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8495107" y="3802273"/>
            <a:ext cx="303711" cy="303711"/>
          </a:xfrm>
          <a:prstGeom prst="rect">
            <a:avLst/>
          </a:prstGeom>
        </p:spPr>
      </p:pic>
      <p:pic>
        <p:nvPicPr>
          <p:cNvPr id="11" name="Graphic 10">
            <a:extLst>
              <a:ext uri="{FF2B5EF4-FFF2-40B4-BE49-F238E27FC236}">
                <a16:creationId xmlns:a16="http://schemas.microsoft.com/office/drawing/2014/main" id="{9ECB8919-019B-BDBE-1E9B-42B6B9D9D514}"/>
              </a:ext>
            </a:extLst>
          </p:cNvPr>
          <p:cNvPicPr>
            <a:picLocks/>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495107" y="2622426"/>
            <a:ext cx="303711" cy="303711"/>
          </a:xfrm>
          <a:prstGeom prst="rect">
            <a:avLst/>
          </a:prstGeom>
        </p:spPr>
      </p:pic>
      <p:cxnSp>
        <p:nvCxnSpPr>
          <p:cNvPr id="12" name="Straight Connector 24">
            <a:extLst>
              <a:ext uri="{FF2B5EF4-FFF2-40B4-BE49-F238E27FC236}">
                <a16:creationId xmlns:a16="http://schemas.microsoft.com/office/drawing/2014/main" id="{8EE05615-249D-6A9D-C17E-5F5B693AA2E7}"/>
              </a:ext>
            </a:extLst>
          </p:cNvPr>
          <p:cNvCxnSpPr/>
          <p:nvPr>
            <p:custDataLst>
              <p:tags r:id="rId1"/>
            </p:custDataLst>
          </p:nvPr>
        </p:nvCxnSpPr>
        <p:spPr bwMode="gray">
          <a:xfrm>
            <a:off x="587374" y="4068598"/>
            <a:ext cx="2420938" cy="0"/>
          </a:xfrm>
          <a:prstGeom prst="line">
            <a:avLst/>
          </a:prstGeom>
          <a:ln w="6350" cap="flat" cmpd="sng" algn="ctr">
            <a:solidFill>
              <a:srgbClr val="F3F4F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25">
            <a:extLst>
              <a:ext uri="{FF2B5EF4-FFF2-40B4-BE49-F238E27FC236}">
                <a16:creationId xmlns:a16="http://schemas.microsoft.com/office/drawing/2014/main" id="{2B9A6ED4-2C9E-8A95-3219-39EF649CB30A}"/>
              </a:ext>
            </a:extLst>
          </p:cNvPr>
          <p:cNvCxnSpPr/>
          <p:nvPr>
            <p:custDataLst>
              <p:tags r:id="rId2"/>
            </p:custDataLst>
          </p:nvPr>
        </p:nvCxnSpPr>
        <p:spPr bwMode="gray">
          <a:xfrm>
            <a:off x="587374" y="3666961"/>
            <a:ext cx="2420938" cy="0"/>
          </a:xfrm>
          <a:prstGeom prst="line">
            <a:avLst/>
          </a:prstGeom>
          <a:ln w="6350" cap="flat" cmpd="sng" algn="ctr">
            <a:solidFill>
              <a:srgbClr val="F3F4F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26">
            <a:extLst>
              <a:ext uri="{FF2B5EF4-FFF2-40B4-BE49-F238E27FC236}">
                <a16:creationId xmlns:a16="http://schemas.microsoft.com/office/drawing/2014/main" id="{99C74252-A744-807A-30B3-29AAF05D29CC}"/>
              </a:ext>
            </a:extLst>
          </p:cNvPr>
          <p:cNvCxnSpPr/>
          <p:nvPr>
            <p:custDataLst>
              <p:tags r:id="rId3"/>
            </p:custDataLst>
          </p:nvPr>
        </p:nvCxnSpPr>
        <p:spPr bwMode="gray">
          <a:xfrm>
            <a:off x="587374" y="3263736"/>
            <a:ext cx="2420938" cy="0"/>
          </a:xfrm>
          <a:prstGeom prst="line">
            <a:avLst/>
          </a:prstGeom>
          <a:ln w="6350" cap="flat" cmpd="sng" algn="ctr">
            <a:solidFill>
              <a:srgbClr val="F3F4F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27">
            <a:extLst>
              <a:ext uri="{FF2B5EF4-FFF2-40B4-BE49-F238E27FC236}">
                <a16:creationId xmlns:a16="http://schemas.microsoft.com/office/drawing/2014/main" id="{7E8DEE1D-26C0-02CB-26BD-0EEE8BE59752}"/>
              </a:ext>
            </a:extLst>
          </p:cNvPr>
          <p:cNvCxnSpPr/>
          <p:nvPr>
            <p:custDataLst>
              <p:tags r:id="rId4"/>
            </p:custDataLst>
          </p:nvPr>
        </p:nvCxnSpPr>
        <p:spPr bwMode="gray">
          <a:xfrm>
            <a:off x="587374" y="2860511"/>
            <a:ext cx="2420938" cy="0"/>
          </a:xfrm>
          <a:prstGeom prst="line">
            <a:avLst/>
          </a:prstGeom>
          <a:ln w="6350" cap="flat" cmpd="sng" algn="ctr">
            <a:solidFill>
              <a:srgbClr val="F3F4F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28">
            <a:extLst>
              <a:ext uri="{FF2B5EF4-FFF2-40B4-BE49-F238E27FC236}">
                <a16:creationId xmlns:a16="http://schemas.microsoft.com/office/drawing/2014/main" id="{C61D506B-394C-F9EC-B4E9-A6555BB3C4D4}"/>
              </a:ext>
            </a:extLst>
          </p:cNvPr>
          <p:cNvCxnSpPr/>
          <p:nvPr>
            <p:custDataLst>
              <p:tags r:id="rId5"/>
            </p:custDataLst>
          </p:nvPr>
        </p:nvCxnSpPr>
        <p:spPr bwMode="gray">
          <a:xfrm>
            <a:off x="587374" y="2457286"/>
            <a:ext cx="2420938" cy="0"/>
          </a:xfrm>
          <a:prstGeom prst="line">
            <a:avLst/>
          </a:prstGeom>
          <a:ln w="6350" cap="flat" cmpd="sng" algn="ctr">
            <a:solidFill>
              <a:srgbClr val="F3F4F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29">
            <a:extLst>
              <a:ext uri="{FF2B5EF4-FFF2-40B4-BE49-F238E27FC236}">
                <a16:creationId xmlns:a16="http://schemas.microsoft.com/office/drawing/2014/main" id="{511E1CF6-F207-A112-938F-ABB8977F6E37}"/>
              </a:ext>
            </a:extLst>
          </p:cNvPr>
          <p:cNvCxnSpPr/>
          <p:nvPr>
            <p:custDataLst>
              <p:tags r:id="rId6"/>
            </p:custDataLst>
          </p:nvPr>
        </p:nvCxnSpPr>
        <p:spPr bwMode="gray">
          <a:xfrm>
            <a:off x="587374" y="2055648"/>
            <a:ext cx="2420938" cy="0"/>
          </a:xfrm>
          <a:prstGeom prst="line">
            <a:avLst/>
          </a:prstGeom>
          <a:ln w="6350" cap="flat" cmpd="sng" algn="ctr">
            <a:solidFill>
              <a:srgbClr val="F3F4F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30">
            <a:extLst>
              <a:ext uri="{FF2B5EF4-FFF2-40B4-BE49-F238E27FC236}">
                <a16:creationId xmlns:a16="http://schemas.microsoft.com/office/drawing/2014/main" id="{6952CBA2-87D0-77E2-8D34-91DB7F940555}"/>
              </a:ext>
            </a:extLst>
          </p:cNvPr>
          <p:cNvCxnSpPr/>
          <p:nvPr>
            <p:custDataLst>
              <p:tags r:id="rId7"/>
            </p:custDataLst>
          </p:nvPr>
        </p:nvCxnSpPr>
        <p:spPr bwMode="gray">
          <a:xfrm>
            <a:off x="587374" y="1652423"/>
            <a:ext cx="2420938" cy="0"/>
          </a:xfrm>
          <a:prstGeom prst="line">
            <a:avLst/>
          </a:prstGeom>
          <a:ln w="6350" cap="flat" cmpd="sng" algn="ctr">
            <a:solidFill>
              <a:srgbClr val="F3F4F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9" name="Chart 12">
            <a:extLst>
              <a:ext uri="{FF2B5EF4-FFF2-40B4-BE49-F238E27FC236}">
                <a16:creationId xmlns:a16="http://schemas.microsoft.com/office/drawing/2014/main" id="{F59CE0DF-4CEB-57D1-F68F-05C7267B7F24}"/>
              </a:ext>
            </a:extLst>
          </p:cNvPr>
          <p:cNvGraphicFramePr/>
          <p:nvPr>
            <p:custDataLst>
              <p:tags r:id="rId8"/>
            </p:custDataLst>
            <p:extLst>
              <p:ext uri="{D42A27DB-BD31-4B8C-83A1-F6EECF244321}">
                <p14:modId xmlns:p14="http://schemas.microsoft.com/office/powerpoint/2010/main" val="2003698471"/>
              </p:ext>
            </p:extLst>
          </p:nvPr>
        </p:nvGraphicFramePr>
        <p:xfrm>
          <a:off x="146049" y="1496848"/>
          <a:ext cx="2944813" cy="3130550"/>
        </p:xfrm>
        <a:graphic>
          <a:graphicData uri="http://schemas.openxmlformats.org/drawingml/2006/chart">
            <c:chart xmlns:c="http://schemas.openxmlformats.org/drawingml/2006/chart" xmlns:r="http://schemas.openxmlformats.org/officeDocument/2006/relationships" r:id="rId18"/>
          </a:graphicData>
        </a:graphic>
      </p:graphicFrame>
      <p:sp>
        <p:nvSpPr>
          <p:cNvPr id="20" name="Text Placeholder">
            <a:extLst>
              <a:ext uri="{FF2B5EF4-FFF2-40B4-BE49-F238E27FC236}">
                <a16:creationId xmlns:a16="http://schemas.microsoft.com/office/drawing/2014/main" id="{3A3593B5-2181-ADB0-4F60-FFBE6540EFD5}"/>
              </a:ext>
            </a:extLst>
          </p:cNvPr>
          <p:cNvSpPr>
            <a:spLocks noGrp="1"/>
          </p:cNvSpPr>
          <p:nvPr>
            <p:custDataLst>
              <p:tags r:id="rId9"/>
            </p:custDataLst>
          </p:nvPr>
        </p:nvSpPr>
        <p:spPr bwMode="auto">
          <a:xfrm>
            <a:off x="1058862" y="4509923"/>
            <a:ext cx="2667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r>
              <a:rPr lang="en-US" altLang="en-US" sz="900" b="1"/>
              <a:t>2023</a:t>
            </a:r>
            <a:endParaRPr lang="en-US" sz="900" b="1"/>
          </a:p>
        </p:txBody>
      </p:sp>
      <p:sp>
        <p:nvSpPr>
          <p:cNvPr id="21" name="Text Placeholder">
            <a:extLst>
              <a:ext uri="{FF2B5EF4-FFF2-40B4-BE49-F238E27FC236}">
                <a16:creationId xmlns:a16="http://schemas.microsoft.com/office/drawing/2014/main" id="{6528D9E4-EC76-7EF0-2CBA-3C223ED14539}"/>
              </a:ext>
            </a:extLst>
          </p:cNvPr>
          <p:cNvSpPr>
            <a:spLocks noGrp="1"/>
          </p:cNvSpPr>
          <p:nvPr>
            <p:custDataLst>
              <p:tags r:id="rId10"/>
            </p:custDataLst>
          </p:nvPr>
        </p:nvSpPr>
        <p:spPr bwMode="auto">
          <a:xfrm>
            <a:off x="2236787" y="4509923"/>
            <a:ext cx="334963"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buSzPct val="100000"/>
              <a:buFont typeface=""/>
            </a:pPr>
            <a:fld id="{2B03BA29-7083-4706-BADB-452B76E0A5DB}" type="datetime'''''''''''''2''''''0''''''''''''''''''''''''''''''3''''''0'">
              <a:rPr lang="en-US" altLang="en-US" sz="900" b="1" smtClean="0"/>
              <a:pPr/>
              <a:t>2030</a:t>
            </a:fld>
            <a:r>
              <a:rPr lang="en-US" altLang="en-US" sz="900" b="1" baseline="30000"/>
              <a:t>4)</a:t>
            </a:r>
            <a:endParaRPr lang="en-US" sz="900" b="1" baseline="30000"/>
          </a:p>
        </p:txBody>
      </p:sp>
      <p:sp>
        <p:nvSpPr>
          <p:cNvPr id="22" name="Speech Bubble: Rectangle 41">
            <a:extLst>
              <a:ext uri="{FF2B5EF4-FFF2-40B4-BE49-F238E27FC236}">
                <a16:creationId xmlns:a16="http://schemas.microsoft.com/office/drawing/2014/main" id="{6108D64B-128E-DFB1-08BB-807F00CB5DF4}"/>
              </a:ext>
            </a:extLst>
          </p:cNvPr>
          <p:cNvSpPr/>
          <p:nvPr/>
        </p:nvSpPr>
        <p:spPr>
          <a:xfrm>
            <a:off x="1456134" y="3090698"/>
            <a:ext cx="629841" cy="228600"/>
          </a:xfrm>
          <a:prstGeom prst="wedgeRectCallout">
            <a:avLst>
              <a:gd name="adj1" fmla="val 33111"/>
              <a:gd name="adj2" fmla="val -119268"/>
            </a:avLst>
          </a:prstGeom>
          <a:solidFill>
            <a:schemeClr val="bg1"/>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chorCtr="0"/>
          <a:lstStyle/>
          <a:p>
            <a:pPr fontAlgn="base">
              <a:lnSpc>
                <a:spcPct val="90000"/>
              </a:lnSpc>
              <a:spcBef>
                <a:spcPts val="300"/>
              </a:spcBef>
              <a:spcAft>
                <a:spcPct val="0"/>
              </a:spcAft>
              <a:buSzPct val="100000"/>
            </a:pPr>
            <a:r>
              <a:rPr lang="en-US" sz="600" dirty="0">
                <a:solidFill>
                  <a:schemeClr val="accent6"/>
                </a:solidFill>
                <a:latin typeface="+mj-lt"/>
                <a:sym typeface="+mn-lt"/>
              </a:rPr>
              <a:t>Decreasing CCS costs</a:t>
            </a:r>
          </a:p>
        </p:txBody>
      </p:sp>
      <p:sp>
        <p:nvSpPr>
          <p:cNvPr id="23" name="Speech Bubble: Rectangle 42">
            <a:extLst>
              <a:ext uri="{FF2B5EF4-FFF2-40B4-BE49-F238E27FC236}">
                <a16:creationId xmlns:a16="http://schemas.microsoft.com/office/drawing/2014/main" id="{47D4AC59-72E1-9CFB-D117-9E62BF6F9FB8}"/>
              </a:ext>
            </a:extLst>
          </p:cNvPr>
          <p:cNvSpPr/>
          <p:nvPr/>
        </p:nvSpPr>
        <p:spPr>
          <a:xfrm>
            <a:off x="1458515" y="2187411"/>
            <a:ext cx="558404" cy="209550"/>
          </a:xfrm>
          <a:prstGeom prst="wedgeRectCallout">
            <a:avLst>
              <a:gd name="adj1" fmla="val 34635"/>
              <a:gd name="adj2" fmla="val 106677"/>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chorCtr="0"/>
          <a:lstStyle/>
          <a:p>
            <a:pPr fontAlgn="base">
              <a:lnSpc>
                <a:spcPct val="90000"/>
              </a:lnSpc>
              <a:spcBef>
                <a:spcPts val="300"/>
              </a:spcBef>
              <a:spcAft>
                <a:spcPct val="0"/>
              </a:spcAft>
              <a:buSzPct val="100000"/>
            </a:pPr>
            <a:r>
              <a:rPr lang="en-US" sz="600" dirty="0">
                <a:solidFill>
                  <a:schemeClr val="tx2"/>
                </a:solidFill>
                <a:latin typeface="+mj-lt"/>
                <a:sym typeface="+mn-lt"/>
              </a:rPr>
              <a:t>Increasing CO</a:t>
            </a:r>
            <a:r>
              <a:rPr lang="en-US" sz="600" baseline="-25000" dirty="0">
                <a:solidFill>
                  <a:schemeClr val="tx2"/>
                </a:solidFill>
                <a:latin typeface="+mj-lt"/>
                <a:sym typeface="+mn-lt"/>
              </a:rPr>
              <a:t>2</a:t>
            </a:r>
            <a:r>
              <a:rPr lang="en-US" sz="600" dirty="0">
                <a:solidFill>
                  <a:schemeClr val="tx2"/>
                </a:solidFill>
                <a:latin typeface="+mj-lt"/>
                <a:sym typeface="+mn-lt"/>
              </a:rPr>
              <a:t> prices</a:t>
            </a:r>
          </a:p>
        </p:txBody>
      </p:sp>
      <p:grpSp>
        <p:nvGrpSpPr>
          <p:cNvPr id="24" name="Group 43">
            <a:extLst>
              <a:ext uri="{FF2B5EF4-FFF2-40B4-BE49-F238E27FC236}">
                <a16:creationId xmlns:a16="http://schemas.microsoft.com/office/drawing/2014/main" id="{8585634E-3452-F014-1396-366663ED0A1E}"/>
              </a:ext>
            </a:extLst>
          </p:cNvPr>
          <p:cNvGrpSpPr/>
          <p:nvPr/>
        </p:nvGrpSpPr>
        <p:grpSpPr>
          <a:xfrm>
            <a:off x="1301353" y="2192173"/>
            <a:ext cx="1020366" cy="987425"/>
            <a:chOff x="1592580" y="2895600"/>
            <a:chExt cx="1166126" cy="1316909"/>
          </a:xfrm>
        </p:grpSpPr>
        <p:cxnSp>
          <p:nvCxnSpPr>
            <p:cNvPr id="25" name="Straight Arrow Connector 44">
              <a:extLst>
                <a:ext uri="{FF2B5EF4-FFF2-40B4-BE49-F238E27FC236}">
                  <a16:creationId xmlns:a16="http://schemas.microsoft.com/office/drawing/2014/main" id="{EF4A85FF-2140-24E3-A0E0-E73C07362FDE}"/>
                </a:ext>
              </a:extLst>
            </p:cNvPr>
            <p:cNvCxnSpPr>
              <a:cxnSpLocks/>
            </p:cNvCxnSpPr>
            <p:nvPr/>
          </p:nvCxnSpPr>
          <p:spPr>
            <a:xfrm>
              <a:off x="1790700" y="3257550"/>
              <a:ext cx="725137" cy="680192"/>
            </a:xfrm>
            <a:prstGeom prst="straightConnector1">
              <a:avLst/>
            </a:prstGeom>
            <a:ln w="19050" cmpd="sng">
              <a:solidFill>
                <a:schemeClr val="accent5"/>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45">
              <a:extLst>
                <a:ext uri="{FF2B5EF4-FFF2-40B4-BE49-F238E27FC236}">
                  <a16:creationId xmlns:a16="http://schemas.microsoft.com/office/drawing/2014/main" id="{3121FF00-F8C5-24E1-27DB-DFED74773A90}"/>
                </a:ext>
              </a:extLst>
            </p:cNvPr>
            <p:cNvCxnSpPr>
              <a:cxnSpLocks/>
            </p:cNvCxnSpPr>
            <p:nvPr/>
          </p:nvCxnSpPr>
          <p:spPr>
            <a:xfrm flipV="1">
              <a:off x="1592580" y="2895600"/>
              <a:ext cx="1166126" cy="1316909"/>
            </a:xfrm>
            <a:prstGeom prst="straightConnector1">
              <a:avLst/>
            </a:prstGeom>
            <a:ln w="19050" cmpd="sng">
              <a:solidFill>
                <a:schemeClr val="tx2"/>
              </a:solidFill>
              <a:headEnd type="none" w="med" len="med"/>
              <a:tailEnd type="triangle"/>
            </a:ln>
          </p:spPr>
          <p:style>
            <a:lnRef idx="1">
              <a:schemeClr val="accent1"/>
            </a:lnRef>
            <a:fillRef idx="0">
              <a:schemeClr val="accent1"/>
            </a:fillRef>
            <a:effectRef idx="0">
              <a:schemeClr val="accent1"/>
            </a:effectRef>
            <a:fontRef idx="minor">
              <a:schemeClr val="tx1"/>
            </a:fontRef>
          </p:style>
        </p:cxnSp>
      </p:grpSp>
      <p:pic>
        <p:nvPicPr>
          <p:cNvPr id="27" name="Graphic 46">
            <a:extLst>
              <a:ext uri="{FF2B5EF4-FFF2-40B4-BE49-F238E27FC236}">
                <a16:creationId xmlns:a16="http://schemas.microsoft.com/office/drawing/2014/main" id="{EF614B59-4604-73F4-C1FC-0DBE98E39255}"/>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914399" y="1800061"/>
            <a:ext cx="162112" cy="106363"/>
          </a:xfrm>
          <a:prstGeom prst="rect">
            <a:avLst/>
          </a:prstGeom>
        </p:spPr>
      </p:pic>
      <p:pic>
        <p:nvPicPr>
          <p:cNvPr id="28" name="Graphic 47">
            <a:extLst>
              <a:ext uri="{FF2B5EF4-FFF2-40B4-BE49-F238E27FC236}">
                <a16:creationId xmlns:a16="http://schemas.microsoft.com/office/drawing/2014/main" id="{F4C9911D-CC80-B004-7AD6-AB78DD3F5633}"/>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913209" y="3751098"/>
            <a:ext cx="162112" cy="106363"/>
          </a:xfrm>
          <a:prstGeom prst="rect">
            <a:avLst/>
          </a:prstGeom>
        </p:spPr>
      </p:pic>
      <p:pic>
        <p:nvPicPr>
          <p:cNvPr id="29" name="Graphic 48">
            <a:extLst>
              <a:ext uri="{FF2B5EF4-FFF2-40B4-BE49-F238E27FC236}">
                <a16:creationId xmlns:a16="http://schemas.microsoft.com/office/drawing/2014/main" id="{84FE2663-74B4-0081-52F0-146FC1E5DFC5}"/>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21543" y="3971761"/>
            <a:ext cx="162112" cy="106363"/>
          </a:xfrm>
          <a:prstGeom prst="rect">
            <a:avLst/>
          </a:prstGeom>
        </p:spPr>
      </p:pic>
      <p:pic>
        <p:nvPicPr>
          <p:cNvPr id="30" name="Graphic 49">
            <a:extLst>
              <a:ext uri="{FF2B5EF4-FFF2-40B4-BE49-F238E27FC236}">
                <a16:creationId xmlns:a16="http://schemas.microsoft.com/office/drawing/2014/main" id="{26E6C0C6-3E13-3C69-FB87-AFAE17A9DD41}"/>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919162" y="4281323"/>
            <a:ext cx="162112" cy="106363"/>
          </a:xfrm>
          <a:prstGeom prst="rect">
            <a:avLst/>
          </a:prstGeom>
        </p:spPr>
      </p:pic>
      <p:sp>
        <p:nvSpPr>
          <p:cNvPr id="31" name="TextBox 50">
            <a:extLst>
              <a:ext uri="{FF2B5EF4-FFF2-40B4-BE49-F238E27FC236}">
                <a16:creationId xmlns:a16="http://schemas.microsoft.com/office/drawing/2014/main" id="{43806D9B-1CBA-9FBF-FE06-DBCCDFBE6FE9}"/>
              </a:ext>
            </a:extLst>
          </p:cNvPr>
          <p:cNvSpPr txBox="1"/>
          <p:nvPr/>
        </p:nvSpPr>
        <p:spPr>
          <a:xfrm>
            <a:off x="2656284" y="2660486"/>
            <a:ext cx="434579" cy="374650"/>
          </a:xfrm>
          <a:prstGeom prst="rect">
            <a:avLst/>
          </a:prstGeom>
          <a:solidFill>
            <a:schemeClr val="bg1"/>
          </a:solidFill>
          <a:ln w="9525">
            <a:noFill/>
          </a:ln>
        </p:spPr>
        <p:txBody>
          <a:bodyPr vert="horz" wrap="square" lIns="0" tIns="0" rIns="0" bIns="0" rtlCol="0">
            <a:spAutoFit/>
          </a:bodyPr>
          <a:lstStyle/>
          <a:p>
            <a:pPr fontAlgn="base">
              <a:lnSpc>
                <a:spcPct val="90000"/>
              </a:lnSpc>
              <a:spcBef>
                <a:spcPts val="300"/>
              </a:spcBef>
              <a:spcAft>
                <a:spcPct val="0"/>
              </a:spcAft>
              <a:buSzPct val="100000"/>
            </a:pPr>
            <a:r>
              <a:rPr lang="en-US" sz="900">
                <a:solidFill>
                  <a:schemeClr val="accent5"/>
                </a:solidFill>
                <a:latin typeface="+mj-lt"/>
                <a:sym typeface="+mn-lt"/>
              </a:rPr>
              <a:t>CCS cost range</a:t>
            </a:r>
          </a:p>
        </p:txBody>
      </p:sp>
      <p:sp>
        <p:nvSpPr>
          <p:cNvPr id="32" name="TextBox 52">
            <a:extLst>
              <a:ext uri="{FF2B5EF4-FFF2-40B4-BE49-F238E27FC236}">
                <a16:creationId xmlns:a16="http://schemas.microsoft.com/office/drawing/2014/main" id="{0CBF0B78-34C7-5581-DBB5-325CD0835389}"/>
              </a:ext>
            </a:extLst>
          </p:cNvPr>
          <p:cNvSpPr txBox="1"/>
          <p:nvPr/>
        </p:nvSpPr>
        <p:spPr>
          <a:xfrm>
            <a:off x="2200779" y="2485861"/>
            <a:ext cx="593112" cy="622300"/>
          </a:xfrm>
          <a:prstGeom prst="rect">
            <a:avLst/>
          </a:prstGeom>
          <a:noFill/>
          <a:ln w="9525">
            <a:noFill/>
          </a:ln>
        </p:spPr>
        <p:txBody>
          <a:bodyPr vert="horz" wrap="none" lIns="0" tIns="0" rIns="0" bIns="0" rtlCol="0" anchor="ctr">
            <a:spAutoFit/>
          </a:bodyPr>
          <a:lstStyle/>
          <a:p>
            <a:pPr algn="ctr" fontAlgn="base">
              <a:lnSpc>
                <a:spcPct val="90000"/>
              </a:lnSpc>
              <a:spcBef>
                <a:spcPts val="300"/>
              </a:spcBef>
              <a:spcAft>
                <a:spcPct val="0"/>
              </a:spcAft>
              <a:buSzPct val="100000"/>
            </a:pPr>
            <a:r>
              <a:rPr lang="en-US" sz="4500">
                <a:solidFill>
                  <a:schemeClr val="accent6"/>
                </a:solidFill>
                <a:latin typeface="+mj-lt"/>
                <a:sym typeface="+mn-lt"/>
              </a:rPr>
              <a:t>✓ </a:t>
            </a:r>
          </a:p>
        </p:txBody>
      </p:sp>
      <p:grpSp>
        <p:nvGrpSpPr>
          <p:cNvPr id="33" name="Group 6">
            <a:extLst>
              <a:ext uri="{FF2B5EF4-FFF2-40B4-BE49-F238E27FC236}">
                <a16:creationId xmlns:a16="http://schemas.microsoft.com/office/drawing/2014/main" id="{7E9A7B9E-1FFE-874B-F169-F15E9DF31CED}"/>
              </a:ext>
            </a:extLst>
          </p:cNvPr>
          <p:cNvGrpSpPr>
            <a:grpSpLocks/>
          </p:cNvGrpSpPr>
          <p:nvPr/>
        </p:nvGrpSpPr>
        <p:grpSpPr>
          <a:xfrm>
            <a:off x="695324" y="4281323"/>
            <a:ext cx="177404" cy="101600"/>
            <a:chOff x="171449" y="1157572"/>
            <a:chExt cx="1440000" cy="720000"/>
          </a:xfrm>
        </p:grpSpPr>
        <p:pic>
          <p:nvPicPr>
            <p:cNvPr id="34" name="Picture 3" descr="d:\Documents and settings\Marc_Robisch\Desktop\Flaggen_gross\mx-lgflag.gif">
              <a:extLst>
                <a:ext uri="{FF2B5EF4-FFF2-40B4-BE49-F238E27FC236}">
                  <a16:creationId xmlns:a16="http://schemas.microsoft.com/office/drawing/2014/main" id="{492E2384-04E1-E19A-C411-CB940D62E431}"/>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l="304" t="386" r="579" b="938"/>
            <a:stretch>
              <a:fillRect/>
            </a:stretch>
          </p:blipFill>
          <p:spPr bwMode="auto">
            <a:xfrm>
              <a:off x="171449" y="1163110"/>
              <a:ext cx="1440000" cy="714462"/>
            </a:xfrm>
            <a:prstGeom prst="rect">
              <a:avLst/>
            </a:prstGeom>
            <a:noFill/>
          </p:spPr>
        </p:pic>
        <p:sp>
          <p:nvSpPr>
            <p:cNvPr id="35" name="Rectangle 3">
              <a:extLst>
                <a:ext uri="{FF2B5EF4-FFF2-40B4-BE49-F238E27FC236}">
                  <a16:creationId xmlns:a16="http://schemas.microsoft.com/office/drawing/2014/main" id="{A6D3FA53-16E9-3642-D639-A0CFDA7DFBDE}"/>
                </a:ext>
              </a:extLst>
            </p:cNvPr>
            <p:cNvSpPr/>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75">
                <a:solidFill>
                  <a:schemeClr val="tx1"/>
                </a:solidFill>
                <a:latin typeface="+mj-lt"/>
                <a:cs typeface="Arial" pitchFamily="34" charset="0"/>
              </a:endParaRPr>
            </a:p>
          </p:txBody>
        </p:sp>
      </p:grpSp>
      <p:cxnSp>
        <p:nvCxnSpPr>
          <p:cNvPr id="36" name="Straight Connector 56">
            <a:extLst>
              <a:ext uri="{FF2B5EF4-FFF2-40B4-BE49-F238E27FC236}">
                <a16:creationId xmlns:a16="http://schemas.microsoft.com/office/drawing/2014/main" id="{6A884A68-8144-6F22-36A0-EE1DAE321DE5}"/>
              </a:ext>
            </a:extLst>
          </p:cNvPr>
          <p:cNvCxnSpPr>
            <a:cxnSpLocks/>
          </p:cNvCxnSpPr>
          <p:nvPr/>
        </p:nvCxnSpPr>
        <p:spPr>
          <a:xfrm>
            <a:off x="2397918" y="1609561"/>
            <a:ext cx="0" cy="1030288"/>
          </a:xfrm>
          <a:prstGeom prst="line">
            <a:avLst/>
          </a:prstGeom>
          <a:ln w="19050" cmpd="sng">
            <a:solidFill>
              <a:schemeClr val="tx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Rectangle 57">
            <a:extLst>
              <a:ext uri="{FF2B5EF4-FFF2-40B4-BE49-F238E27FC236}">
                <a16:creationId xmlns:a16="http://schemas.microsoft.com/office/drawing/2014/main" id="{14850A03-A7C9-0792-9EBA-50A5814B07C5}"/>
              </a:ext>
            </a:extLst>
          </p:cNvPr>
          <p:cNvSpPr/>
          <p:nvPr/>
        </p:nvSpPr>
        <p:spPr>
          <a:xfrm>
            <a:off x="2366963" y="2544598"/>
            <a:ext cx="59531" cy="52388"/>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latin typeface="+mj-lt"/>
              <a:sym typeface="+mn-lt"/>
            </a:endParaRPr>
          </a:p>
        </p:txBody>
      </p:sp>
      <p:sp>
        <p:nvSpPr>
          <p:cNvPr id="38" name="Rectangle 58">
            <a:extLst>
              <a:ext uri="{FF2B5EF4-FFF2-40B4-BE49-F238E27FC236}">
                <a16:creationId xmlns:a16="http://schemas.microsoft.com/office/drawing/2014/main" id="{32686967-9DE4-E290-8A2B-B1C3CCBB508E}"/>
              </a:ext>
            </a:extLst>
          </p:cNvPr>
          <p:cNvSpPr/>
          <p:nvPr/>
        </p:nvSpPr>
        <p:spPr>
          <a:xfrm>
            <a:off x="2366963" y="2341398"/>
            <a:ext cx="59531" cy="52388"/>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latin typeface="+mj-lt"/>
              <a:sym typeface="+mn-lt"/>
            </a:endParaRPr>
          </a:p>
        </p:txBody>
      </p:sp>
      <p:sp>
        <p:nvSpPr>
          <p:cNvPr id="39" name="Rectangle 59">
            <a:extLst>
              <a:ext uri="{FF2B5EF4-FFF2-40B4-BE49-F238E27FC236}">
                <a16:creationId xmlns:a16="http://schemas.microsoft.com/office/drawing/2014/main" id="{8C456067-196B-EF30-BE75-9CB5C133FF53}"/>
              </a:ext>
            </a:extLst>
          </p:cNvPr>
          <p:cNvSpPr/>
          <p:nvPr/>
        </p:nvSpPr>
        <p:spPr>
          <a:xfrm>
            <a:off x="2366963" y="2138198"/>
            <a:ext cx="59531" cy="52388"/>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latin typeface="+mj-lt"/>
              <a:sym typeface="+mn-lt"/>
            </a:endParaRPr>
          </a:p>
        </p:txBody>
      </p:sp>
      <p:sp>
        <p:nvSpPr>
          <p:cNvPr id="40" name="Rectangle 60">
            <a:extLst>
              <a:ext uri="{FF2B5EF4-FFF2-40B4-BE49-F238E27FC236}">
                <a16:creationId xmlns:a16="http://schemas.microsoft.com/office/drawing/2014/main" id="{88D4C8BF-BC8B-5EA7-9DE8-B0644331B8E1}"/>
              </a:ext>
            </a:extLst>
          </p:cNvPr>
          <p:cNvSpPr/>
          <p:nvPr/>
        </p:nvSpPr>
        <p:spPr>
          <a:xfrm>
            <a:off x="2366963" y="1936586"/>
            <a:ext cx="59531" cy="52388"/>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latin typeface="+mj-lt"/>
              <a:sym typeface="+mn-lt"/>
            </a:endParaRPr>
          </a:p>
        </p:txBody>
      </p:sp>
      <p:sp>
        <p:nvSpPr>
          <p:cNvPr id="41" name="Rectangle 61">
            <a:extLst>
              <a:ext uri="{FF2B5EF4-FFF2-40B4-BE49-F238E27FC236}">
                <a16:creationId xmlns:a16="http://schemas.microsoft.com/office/drawing/2014/main" id="{3E01DD7A-119E-F673-314F-9020E2DE8AD4}"/>
              </a:ext>
            </a:extLst>
          </p:cNvPr>
          <p:cNvSpPr/>
          <p:nvPr/>
        </p:nvSpPr>
        <p:spPr>
          <a:xfrm>
            <a:off x="2366963" y="1733386"/>
            <a:ext cx="59531" cy="52388"/>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latin typeface="+mj-lt"/>
              <a:sym typeface="+mn-lt"/>
            </a:endParaRPr>
          </a:p>
        </p:txBody>
      </p:sp>
      <p:sp>
        <p:nvSpPr>
          <p:cNvPr id="42" name="TextBox 62">
            <a:extLst>
              <a:ext uri="{FF2B5EF4-FFF2-40B4-BE49-F238E27FC236}">
                <a16:creationId xmlns:a16="http://schemas.microsoft.com/office/drawing/2014/main" id="{87DD92F3-ECE0-F1DF-6BA0-EB7BB92E256D}"/>
              </a:ext>
            </a:extLst>
          </p:cNvPr>
          <p:cNvSpPr txBox="1"/>
          <p:nvPr/>
        </p:nvSpPr>
        <p:spPr>
          <a:xfrm>
            <a:off x="2474118" y="1868323"/>
            <a:ext cx="434579" cy="373063"/>
          </a:xfrm>
          <a:prstGeom prst="rect">
            <a:avLst/>
          </a:prstGeom>
          <a:solidFill>
            <a:schemeClr val="bg1"/>
          </a:solidFill>
          <a:ln w="9525">
            <a:noFill/>
          </a:ln>
        </p:spPr>
        <p:txBody>
          <a:bodyPr vert="horz" wrap="square" lIns="0" tIns="0" rIns="0" bIns="0" rtlCol="0">
            <a:spAutoFit/>
          </a:bodyPr>
          <a:lstStyle/>
          <a:p>
            <a:pPr fontAlgn="base">
              <a:lnSpc>
                <a:spcPct val="90000"/>
              </a:lnSpc>
              <a:spcBef>
                <a:spcPts val="300"/>
              </a:spcBef>
              <a:spcAft>
                <a:spcPct val="0"/>
              </a:spcAft>
              <a:buSzPct val="100000"/>
            </a:pPr>
            <a:r>
              <a:rPr lang="en-US" sz="900">
                <a:solidFill>
                  <a:schemeClr val="tx2"/>
                </a:solidFill>
                <a:latin typeface="+mj-lt"/>
                <a:sym typeface="+mn-lt"/>
              </a:rPr>
              <a:t>CO</a:t>
            </a:r>
            <a:r>
              <a:rPr lang="en-US" sz="900" baseline="-25000">
                <a:solidFill>
                  <a:schemeClr val="tx2"/>
                </a:solidFill>
                <a:latin typeface="+mj-lt"/>
                <a:sym typeface="+mn-lt"/>
              </a:rPr>
              <a:t>2 </a:t>
            </a:r>
            <a:r>
              <a:rPr lang="en-US" sz="900">
                <a:solidFill>
                  <a:schemeClr val="tx2"/>
                </a:solidFill>
                <a:latin typeface="+mj-lt"/>
                <a:sym typeface="+mn-lt"/>
              </a:rPr>
              <a:t>price range</a:t>
            </a:r>
          </a:p>
        </p:txBody>
      </p:sp>
      <p:cxnSp>
        <p:nvCxnSpPr>
          <p:cNvPr id="43" name="Straight Connector 63">
            <a:extLst>
              <a:ext uri="{FF2B5EF4-FFF2-40B4-BE49-F238E27FC236}">
                <a16:creationId xmlns:a16="http://schemas.microsoft.com/office/drawing/2014/main" id="{07ED3B31-E6EA-5539-70E4-4D58C19BA076}"/>
              </a:ext>
            </a:extLst>
          </p:cNvPr>
          <p:cNvCxnSpPr>
            <a:cxnSpLocks/>
          </p:cNvCxnSpPr>
          <p:nvPr/>
        </p:nvCxnSpPr>
        <p:spPr>
          <a:xfrm>
            <a:off x="1189434" y="1817523"/>
            <a:ext cx="0" cy="2509838"/>
          </a:xfrm>
          <a:prstGeom prst="line">
            <a:avLst/>
          </a:prstGeom>
          <a:ln w="19050" cmpd="sng">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4" name="Graphic 67">
            <a:extLst>
              <a:ext uri="{FF2B5EF4-FFF2-40B4-BE49-F238E27FC236}">
                <a16:creationId xmlns:a16="http://schemas.microsoft.com/office/drawing/2014/main" id="{07EFEAE9-E08A-6FA7-9228-AE439BC06CC9}"/>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877755" y="2717636"/>
            <a:ext cx="159691" cy="104775"/>
          </a:xfrm>
          <a:prstGeom prst="rect">
            <a:avLst/>
          </a:prstGeom>
        </p:spPr>
      </p:pic>
      <p:pic>
        <p:nvPicPr>
          <p:cNvPr id="45" name="Graphic 68">
            <a:extLst>
              <a:ext uri="{FF2B5EF4-FFF2-40B4-BE49-F238E27FC236}">
                <a16:creationId xmlns:a16="http://schemas.microsoft.com/office/drawing/2014/main" id="{5633B5B3-084D-2FFA-6EB5-AF751C86908D}"/>
              </a:ext>
            </a:extLst>
          </p:cNvPr>
          <p:cNvPicPr>
            <a:picLocks noChangeAspect="1"/>
          </p:cNvPicPr>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881327" y="2577936"/>
            <a:ext cx="162111" cy="106363"/>
          </a:xfrm>
          <a:prstGeom prst="rect">
            <a:avLst/>
          </a:prstGeom>
        </p:spPr>
      </p:pic>
      <p:sp>
        <p:nvSpPr>
          <p:cNvPr id="46" name="TextBox 69">
            <a:extLst>
              <a:ext uri="{FF2B5EF4-FFF2-40B4-BE49-F238E27FC236}">
                <a16:creationId xmlns:a16="http://schemas.microsoft.com/office/drawing/2014/main" id="{572CE8BC-1F52-3E74-7352-4E037E74A7DB}"/>
              </a:ext>
            </a:extLst>
          </p:cNvPr>
          <p:cNvSpPr txBox="1"/>
          <p:nvPr/>
        </p:nvSpPr>
        <p:spPr>
          <a:xfrm>
            <a:off x="1042060" y="2701761"/>
            <a:ext cx="68930" cy="82550"/>
          </a:xfrm>
          <a:prstGeom prst="rect">
            <a:avLst/>
          </a:prstGeom>
          <a:noFill/>
          <a:ln w="9525">
            <a:noFill/>
          </a:ln>
        </p:spPr>
        <p:txBody>
          <a:bodyPr vert="horz" wrap="none" lIns="0" tIns="0" rIns="0" bIns="0" rtlCol="0">
            <a:spAutoFit/>
          </a:bodyPr>
          <a:lstStyle/>
          <a:p>
            <a:pPr fontAlgn="base">
              <a:lnSpc>
                <a:spcPct val="90000"/>
              </a:lnSpc>
              <a:spcBef>
                <a:spcPts val="300"/>
              </a:spcBef>
              <a:spcAft>
                <a:spcPct val="0"/>
              </a:spcAft>
              <a:buSzPct val="100000"/>
            </a:pPr>
            <a:r>
              <a:rPr lang="en-US" sz="900" baseline="30000">
                <a:latin typeface="+mj-lt"/>
                <a:sym typeface="+mn-lt"/>
              </a:rPr>
              <a:t>1)</a:t>
            </a:r>
          </a:p>
        </p:txBody>
      </p:sp>
      <p:sp>
        <p:nvSpPr>
          <p:cNvPr id="47" name="TextBox 75">
            <a:extLst>
              <a:ext uri="{FF2B5EF4-FFF2-40B4-BE49-F238E27FC236}">
                <a16:creationId xmlns:a16="http://schemas.microsoft.com/office/drawing/2014/main" id="{261464AB-8DF9-1D3A-DBE3-98AA08A3246A}"/>
              </a:ext>
            </a:extLst>
          </p:cNvPr>
          <p:cNvSpPr txBox="1"/>
          <p:nvPr/>
        </p:nvSpPr>
        <p:spPr>
          <a:xfrm>
            <a:off x="1097913" y="4015661"/>
            <a:ext cx="68930" cy="83100"/>
          </a:xfrm>
          <a:prstGeom prst="rect">
            <a:avLst/>
          </a:prstGeom>
          <a:noFill/>
          <a:ln w="9525">
            <a:noFill/>
          </a:ln>
        </p:spPr>
        <p:txBody>
          <a:bodyPr vert="horz" wrap="none" lIns="0" tIns="0" rIns="0" bIns="0" rtlCol="0">
            <a:spAutoFit/>
          </a:bodyPr>
          <a:lstStyle/>
          <a:p>
            <a:pPr fontAlgn="base">
              <a:lnSpc>
                <a:spcPct val="90000"/>
              </a:lnSpc>
              <a:spcBef>
                <a:spcPts val="300"/>
              </a:spcBef>
              <a:spcAft>
                <a:spcPct val="0"/>
              </a:spcAft>
              <a:buSzPct val="100000"/>
            </a:pPr>
            <a:r>
              <a:rPr lang="en-US" sz="900" baseline="30000" dirty="0">
                <a:latin typeface="+mj-lt"/>
                <a:sym typeface="+mn-lt"/>
              </a:rPr>
              <a:t>2)</a:t>
            </a:r>
          </a:p>
        </p:txBody>
      </p:sp>
      <p:sp>
        <p:nvSpPr>
          <p:cNvPr id="48" name="TextBox 76">
            <a:extLst>
              <a:ext uri="{FF2B5EF4-FFF2-40B4-BE49-F238E27FC236}">
                <a16:creationId xmlns:a16="http://schemas.microsoft.com/office/drawing/2014/main" id="{07AC59D1-1337-8675-7228-7D59DCF82550}"/>
              </a:ext>
            </a:extLst>
          </p:cNvPr>
          <p:cNvSpPr txBox="1"/>
          <p:nvPr/>
        </p:nvSpPr>
        <p:spPr>
          <a:xfrm>
            <a:off x="1094205" y="4327361"/>
            <a:ext cx="68930" cy="83100"/>
          </a:xfrm>
          <a:prstGeom prst="rect">
            <a:avLst/>
          </a:prstGeom>
          <a:noFill/>
          <a:ln w="9525">
            <a:noFill/>
          </a:ln>
        </p:spPr>
        <p:txBody>
          <a:bodyPr vert="horz" wrap="none" lIns="0" tIns="0" rIns="0" bIns="0" rtlCol="0">
            <a:spAutoFit/>
          </a:bodyPr>
          <a:lstStyle/>
          <a:p>
            <a:pPr fontAlgn="base">
              <a:lnSpc>
                <a:spcPct val="90000"/>
              </a:lnSpc>
              <a:spcBef>
                <a:spcPts val="300"/>
              </a:spcBef>
              <a:spcAft>
                <a:spcPct val="0"/>
              </a:spcAft>
              <a:buSzPct val="100000"/>
            </a:pPr>
            <a:r>
              <a:rPr lang="en-US" sz="900" baseline="30000" dirty="0">
                <a:latin typeface="+mj-lt"/>
                <a:sym typeface="+mn-lt"/>
              </a:rPr>
              <a:t>3)</a:t>
            </a:r>
          </a:p>
        </p:txBody>
      </p:sp>
      <p:sp>
        <p:nvSpPr>
          <p:cNvPr id="49" name="Source">
            <a:extLst>
              <a:ext uri="{FF2B5EF4-FFF2-40B4-BE49-F238E27FC236}">
                <a16:creationId xmlns:a16="http://schemas.microsoft.com/office/drawing/2014/main" id="{AA971486-F450-2EE2-6FAA-439669E73D34}"/>
              </a:ext>
            </a:extLst>
          </p:cNvPr>
          <p:cNvSpPr txBox="1"/>
          <p:nvPr/>
        </p:nvSpPr>
        <p:spPr>
          <a:xfrm>
            <a:off x="1792556" y="721358"/>
            <a:ext cx="4615046"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dirty="0">
                <a:sym typeface="+mn-lt"/>
              </a:rPr>
              <a:t>Source: World Bank, Global CCS Institute, IEA, Infrastructure Bill 2022, European Commission, CARB, Congressional research service</a:t>
            </a:r>
          </a:p>
        </p:txBody>
      </p:sp>
      <p:sp>
        <p:nvSpPr>
          <p:cNvPr id="50" name="Notes">
            <a:extLst>
              <a:ext uri="{FF2B5EF4-FFF2-40B4-BE49-F238E27FC236}">
                <a16:creationId xmlns:a16="http://schemas.microsoft.com/office/drawing/2014/main" id="{61EB7D08-3575-39AD-2687-1746EBC07438}"/>
              </a:ext>
            </a:extLst>
          </p:cNvPr>
          <p:cNvSpPr txBox="1">
            <a:spLocks/>
          </p:cNvSpPr>
          <p:nvPr/>
        </p:nvSpPr>
        <p:spPr>
          <a:xfrm>
            <a:off x="1791188" y="567082"/>
            <a:ext cx="6889707" cy="92333"/>
          </a:xfrm>
          <a:prstGeom prst="rect">
            <a:avLst/>
          </a:prstGeom>
          <a:noFill/>
          <a:ln w="9525">
            <a:noFill/>
          </a:ln>
        </p:spPr>
        <p:txBody>
          <a:bodyPr vert="horz" wrap="none" lIns="0" tIns="0" rIns="0" bIns="0" rtlCol="0" anchor="b" anchorCtr="0">
            <a:spAutoFit/>
          </a:bodyPr>
          <a:lstStyle>
            <a:defPPr>
              <a:defRPr lang="en-EN"/>
            </a:defPPr>
            <a:lvl1pPr lvl="0">
              <a:lnSpc>
                <a:spcPct val="100000"/>
              </a:lnSpc>
              <a:spcBef>
                <a:spcPts val="0"/>
              </a:spcBef>
              <a:spcAft>
                <a:spcPts val="0"/>
              </a:spcAft>
              <a:buSzPct val="100000"/>
              <a:defRPr sz="800" b="0">
                <a:solidFill>
                  <a:schemeClr val="tx2"/>
                </a:solidFill>
                <a:latin typeface="+mn-lt"/>
              </a:defRPr>
            </a:lvl1pPr>
          </a:lstStyle>
          <a:p>
            <a:r>
              <a:rPr lang="en-US" sz="600" dirty="0">
                <a:sym typeface="+mn-lt"/>
              </a:rPr>
              <a:t>1) ) Highest EU ETS price in 2022; 2) USA denotes price under California </a:t>
            </a:r>
            <a:r>
              <a:rPr lang="en-US" sz="600" dirty="0" err="1">
                <a:sym typeface="+mn-lt"/>
              </a:rPr>
              <a:t>CaT</a:t>
            </a:r>
            <a:r>
              <a:rPr lang="en-US" sz="600" dirty="0">
                <a:sym typeface="+mn-lt"/>
              </a:rPr>
              <a:t>; 3) China denotes Shanghai pilot ETS; 4) CO2 price forecast corridor based on assumptions in IEA net zero scenario </a:t>
            </a:r>
          </a:p>
        </p:txBody>
      </p:sp>
      <p:sp>
        <p:nvSpPr>
          <p:cNvPr id="51" name="TextBox 93">
            <a:extLst>
              <a:ext uri="{FF2B5EF4-FFF2-40B4-BE49-F238E27FC236}">
                <a16:creationId xmlns:a16="http://schemas.microsoft.com/office/drawing/2014/main" id="{D6EAEA28-C72C-C02C-C940-A0C61D25919F}"/>
              </a:ext>
            </a:extLst>
          </p:cNvPr>
          <p:cNvSpPr txBox="1"/>
          <p:nvPr/>
        </p:nvSpPr>
        <p:spPr>
          <a:xfrm>
            <a:off x="146049" y="1323831"/>
            <a:ext cx="7579731" cy="276999"/>
          </a:xfrm>
          <a:prstGeom prst="rect">
            <a:avLst/>
          </a:prstGeom>
          <a:noFill/>
        </p:spPr>
        <p:txBody>
          <a:bodyPr wrap="square">
            <a:spAutoFit/>
          </a:bodyPr>
          <a:lstStyle/>
          <a:p>
            <a:r>
              <a:rPr lang="en-US" sz="1200" dirty="0">
                <a:solidFill>
                  <a:schemeClr val="tx2"/>
                </a:solidFill>
                <a:latin typeface="+mj-lt"/>
                <a:cs typeface="+mj-cs"/>
                <a:sym typeface="+mn-lt"/>
              </a:rPr>
              <a:t>Current CCS costs and carbon prices [USD/t] and policy incentives</a:t>
            </a:r>
          </a:p>
        </p:txBody>
      </p:sp>
      <p:grpSp>
        <p:nvGrpSpPr>
          <p:cNvPr id="52" name="Group 97">
            <a:extLst>
              <a:ext uri="{FF2B5EF4-FFF2-40B4-BE49-F238E27FC236}">
                <a16:creationId xmlns:a16="http://schemas.microsoft.com/office/drawing/2014/main" id="{DEB68D98-5D12-9237-C0B5-374486385582}"/>
              </a:ext>
            </a:extLst>
          </p:cNvPr>
          <p:cNvGrpSpPr/>
          <p:nvPr/>
        </p:nvGrpSpPr>
        <p:grpSpPr>
          <a:xfrm>
            <a:off x="267604" y="-985"/>
            <a:ext cx="1821103" cy="246221"/>
            <a:chOff x="267604" y="3778"/>
            <a:chExt cx="1821103" cy="246221"/>
          </a:xfrm>
        </p:grpSpPr>
        <p:sp>
          <p:nvSpPr>
            <p:cNvPr id="53" name="Oval 98">
              <a:extLst>
                <a:ext uri="{FF2B5EF4-FFF2-40B4-BE49-F238E27FC236}">
                  <a16:creationId xmlns:a16="http://schemas.microsoft.com/office/drawing/2014/main" id="{43872DD0-F959-DBE6-AF86-CD43D36C0165}"/>
                </a:ext>
              </a:extLst>
            </p:cNvPr>
            <p:cNvSpPr/>
            <p:nvPr/>
          </p:nvSpPr>
          <p:spPr>
            <a:xfrm>
              <a:off x="267604" y="45746"/>
              <a:ext cx="162285" cy="162285"/>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RB Office"/>
                  <a:ea typeface="Microsoft YaHei"/>
                  <a:cs typeface="Calibri"/>
                </a:rPr>
                <a:t>C</a:t>
              </a:r>
            </a:p>
          </p:txBody>
        </p:sp>
        <p:sp>
          <p:nvSpPr>
            <p:cNvPr id="54" name="TextBox 99">
              <a:extLst>
                <a:ext uri="{FF2B5EF4-FFF2-40B4-BE49-F238E27FC236}">
                  <a16:creationId xmlns:a16="http://schemas.microsoft.com/office/drawing/2014/main" id="{4B34CC95-14F7-E231-B062-843E4B60C601}"/>
                </a:ext>
              </a:extLst>
            </p:cNvPr>
            <p:cNvSpPr txBox="1"/>
            <p:nvPr/>
          </p:nvSpPr>
          <p:spPr>
            <a:xfrm>
              <a:off x="362201" y="3778"/>
              <a:ext cx="1726506" cy="246221"/>
            </a:xfrm>
            <a:prstGeom prst="rect">
              <a:avLst/>
            </a:prstGeom>
            <a:noFill/>
          </p:spPr>
          <p:txBody>
            <a:bodyPr wrap="square" rtlCol="0" anchor="ctr">
              <a:spAutoFit/>
            </a:bodyPr>
            <a:lstStyle/>
            <a:p>
              <a:r>
                <a:rPr lang="en-GB" sz="1000" dirty="0"/>
                <a:t>CO</a:t>
              </a:r>
              <a:r>
                <a:rPr lang="en-GB" sz="1000" baseline="-25000" dirty="0"/>
                <a:t>2 </a:t>
              </a:r>
              <a:r>
                <a:rPr lang="en-GB" sz="1000" dirty="0"/>
                <a:t>infrastructure</a:t>
              </a:r>
            </a:p>
          </p:txBody>
        </p:sp>
      </p:grpSp>
    </p:spTree>
    <p:extLst>
      <p:ext uri="{BB962C8B-B14F-4D97-AF65-F5344CB8AC3E}">
        <p14:creationId xmlns:p14="http://schemas.microsoft.com/office/powerpoint/2010/main" val="27867955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CE688-9BA4-4809-8B30-91D0CC22D521}"/>
              </a:ext>
            </a:extLst>
          </p:cNvPr>
          <p:cNvSpPr txBox="1">
            <a:spLocks/>
          </p:cNvSpPr>
          <p:nvPr/>
        </p:nvSpPr>
        <p:spPr>
          <a:xfrm>
            <a:off x="200352" y="807584"/>
            <a:ext cx="8670557" cy="576000"/>
          </a:xfrm>
          <a:prstGeom prst="rect">
            <a:avLst/>
          </a:prstGeom>
        </p:spPr>
        <p:txBody>
          <a:bodyPr vert="horz"/>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r>
              <a:rPr lang="en-US" sz="1400" dirty="0"/>
              <a:t>Pipeline is expected to become the best transportation option – Several projects already ongoing, particularly in North America</a:t>
            </a:r>
            <a:endParaRPr lang="en-GB" sz="1400" dirty="0"/>
          </a:p>
        </p:txBody>
      </p:sp>
      <p:sp>
        <p:nvSpPr>
          <p:cNvPr id="3" name="Rectangle 2">
            <a:extLst>
              <a:ext uri="{FF2B5EF4-FFF2-40B4-BE49-F238E27FC236}">
                <a16:creationId xmlns:a16="http://schemas.microsoft.com/office/drawing/2014/main" id="{855D0D74-5099-DCF3-73DC-958E5CC1894D}"/>
              </a:ext>
            </a:extLst>
          </p:cNvPr>
          <p:cNvSpPr/>
          <p:nvPr/>
        </p:nvSpPr>
        <p:spPr>
          <a:xfrm>
            <a:off x="1114203" y="1421728"/>
            <a:ext cx="1556484" cy="3119437"/>
          </a:xfrm>
          <a:prstGeom prst="rect">
            <a:avLst/>
          </a:prstGeom>
          <a:noFill/>
          <a:ln w="25400" cmpd="sng">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a:solidFill>
                <a:schemeClr val="tx1"/>
              </a:solidFill>
              <a:latin typeface="+mj-lt"/>
              <a:sym typeface="+mn-lt"/>
            </a:endParaRPr>
          </a:p>
        </p:txBody>
      </p:sp>
      <p:cxnSp>
        <p:nvCxnSpPr>
          <p:cNvPr id="4" name="Straight Connector 3">
            <a:extLst>
              <a:ext uri="{FF2B5EF4-FFF2-40B4-BE49-F238E27FC236}">
                <a16:creationId xmlns:a16="http://schemas.microsoft.com/office/drawing/2014/main" id="{3CFBC1CF-5461-B10B-CD3B-20DD6C5C9E0D}"/>
              </a:ext>
            </a:extLst>
          </p:cNvPr>
          <p:cNvCxnSpPr>
            <a:cxnSpLocks/>
          </p:cNvCxnSpPr>
          <p:nvPr/>
        </p:nvCxnSpPr>
        <p:spPr>
          <a:xfrm>
            <a:off x="282835" y="3047962"/>
            <a:ext cx="8532911" cy="0"/>
          </a:xfrm>
          <a:prstGeom prst="line">
            <a:avLst/>
          </a:prstGeom>
          <a:ln w="9525">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3BCEA6E-3606-7C3B-FFF0-61174F6B1823}"/>
              </a:ext>
            </a:extLst>
          </p:cNvPr>
          <p:cNvCxnSpPr>
            <a:cxnSpLocks/>
          </p:cNvCxnSpPr>
          <p:nvPr/>
        </p:nvCxnSpPr>
        <p:spPr>
          <a:xfrm>
            <a:off x="282835" y="3496078"/>
            <a:ext cx="8532911" cy="0"/>
          </a:xfrm>
          <a:prstGeom prst="line">
            <a:avLst/>
          </a:prstGeom>
          <a:ln w="9525">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3367557-75D9-E02B-6942-6FD1562B0CD2}"/>
              </a:ext>
            </a:extLst>
          </p:cNvPr>
          <p:cNvCxnSpPr>
            <a:cxnSpLocks/>
          </p:cNvCxnSpPr>
          <p:nvPr/>
        </p:nvCxnSpPr>
        <p:spPr>
          <a:xfrm>
            <a:off x="282835" y="4160051"/>
            <a:ext cx="8532911" cy="0"/>
          </a:xfrm>
          <a:prstGeom prst="line">
            <a:avLst/>
          </a:prstGeom>
          <a:ln w="9525">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7" name="RBContent48">
            <a:extLst>
              <a:ext uri="{FF2B5EF4-FFF2-40B4-BE49-F238E27FC236}">
                <a16:creationId xmlns:a16="http://schemas.microsoft.com/office/drawing/2014/main" id="{75EC61B1-5DC4-830C-03A6-9CA2F0CC7C6D}"/>
              </a:ext>
            </a:extLst>
          </p:cNvPr>
          <p:cNvSpPr txBox="1">
            <a:spLocks/>
          </p:cNvSpPr>
          <p:nvPr/>
        </p:nvSpPr>
        <p:spPr>
          <a:xfrm>
            <a:off x="282835" y="4195090"/>
            <a:ext cx="720932" cy="137345"/>
          </a:xfrm>
          <a:prstGeom prst="rect">
            <a:avLst/>
          </a:prstGeom>
          <a:noFill/>
          <a:ln w="9525">
            <a:noFill/>
          </a:ln>
        </p:spPr>
        <p:txBody>
          <a:bodyPr vert="horz" wrap="square" lIns="0" tIns="0" rIns="0" bIns="0" rtlCol="0">
            <a:spAutoFit/>
          </a:bodyPr>
          <a:lstStyle/>
          <a:p>
            <a:pPr>
              <a:lnSpc>
                <a:spcPct val="85000"/>
              </a:lnSpc>
              <a:spcBef>
                <a:spcPts val="244"/>
              </a:spcBef>
              <a:buSzPct val="100000"/>
            </a:pPr>
            <a:r>
              <a:rPr lang="en-US" sz="1050" b="1">
                <a:latin typeface="+mj-lt"/>
                <a:sym typeface="+mn-lt"/>
              </a:rPr>
              <a:t>Flexibility</a:t>
            </a:r>
            <a:endParaRPr lang="en-US" sz="1050" b="1">
              <a:latin typeface="+mj-lt"/>
              <a:cs typeface="Arial" panose="020B0604020202020204" pitchFamily="34" charset="0"/>
              <a:sym typeface="+mn-lt"/>
            </a:endParaRPr>
          </a:p>
        </p:txBody>
      </p:sp>
      <p:sp>
        <p:nvSpPr>
          <p:cNvPr id="8" name="RBContent48">
            <a:extLst>
              <a:ext uri="{FF2B5EF4-FFF2-40B4-BE49-F238E27FC236}">
                <a16:creationId xmlns:a16="http://schemas.microsoft.com/office/drawing/2014/main" id="{DD636D1F-BD4F-3CB8-25E9-6A296C4BF890}"/>
              </a:ext>
            </a:extLst>
          </p:cNvPr>
          <p:cNvSpPr txBox="1">
            <a:spLocks/>
          </p:cNvSpPr>
          <p:nvPr/>
        </p:nvSpPr>
        <p:spPr>
          <a:xfrm>
            <a:off x="282835" y="3119108"/>
            <a:ext cx="720932" cy="137345"/>
          </a:xfrm>
          <a:prstGeom prst="rect">
            <a:avLst/>
          </a:prstGeom>
          <a:noFill/>
          <a:ln w="9525">
            <a:noFill/>
          </a:ln>
        </p:spPr>
        <p:txBody>
          <a:bodyPr vert="horz" wrap="square" lIns="0" tIns="0" rIns="0" bIns="0" rtlCol="0">
            <a:spAutoFit/>
          </a:bodyPr>
          <a:lstStyle/>
          <a:p>
            <a:pPr>
              <a:lnSpc>
                <a:spcPct val="85000"/>
              </a:lnSpc>
              <a:spcBef>
                <a:spcPts val="244"/>
              </a:spcBef>
              <a:buSzPct val="100000"/>
            </a:pPr>
            <a:r>
              <a:rPr lang="en-US" sz="1050" b="1">
                <a:latin typeface="+mj-lt"/>
                <a:sym typeface="+mn-lt"/>
              </a:rPr>
              <a:t>Volume</a:t>
            </a:r>
            <a:endParaRPr lang="en-US" sz="1050" b="1">
              <a:latin typeface="+mj-lt"/>
              <a:cs typeface="Arial" panose="020B0604020202020204" pitchFamily="34" charset="0"/>
              <a:sym typeface="+mn-lt"/>
            </a:endParaRPr>
          </a:p>
        </p:txBody>
      </p:sp>
      <p:sp>
        <p:nvSpPr>
          <p:cNvPr id="9" name="RBContent48">
            <a:extLst>
              <a:ext uri="{FF2B5EF4-FFF2-40B4-BE49-F238E27FC236}">
                <a16:creationId xmlns:a16="http://schemas.microsoft.com/office/drawing/2014/main" id="{24E308A2-060E-9D61-B6AA-8F8EFB3BCBAC}"/>
              </a:ext>
            </a:extLst>
          </p:cNvPr>
          <p:cNvSpPr txBox="1">
            <a:spLocks/>
          </p:cNvSpPr>
          <p:nvPr/>
        </p:nvSpPr>
        <p:spPr>
          <a:xfrm>
            <a:off x="282835" y="3567225"/>
            <a:ext cx="669388" cy="274691"/>
          </a:xfrm>
          <a:prstGeom prst="rect">
            <a:avLst/>
          </a:prstGeom>
          <a:noFill/>
          <a:ln w="9525">
            <a:noFill/>
          </a:ln>
        </p:spPr>
        <p:txBody>
          <a:bodyPr vert="horz" wrap="square" lIns="0" tIns="0" rIns="0" bIns="0" rtlCol="0">
            <a:spAutoFit/>
          </a:bodyPr>
          <a:lstStyle/>
          <a:p>
            <a:pPr>
              <a:lnSpc>
                <a:spcPct val="85000"/>
              </a:lnSpc>
              <a:spcBef>
                <a:spcPts val="244"/>
              </a:spcBef>
              <a:buSzPct val="100000"/>
            </a:pPr>
            <a:r>
              <a:rPr lang="en-US" sz="1050" b="1">
                <a:latin typeface="+mj-lt"/>
                <a:sym typeface="+mn-lt"/>
              </a:rPr>
              <a:t>Invest-ment cost</a:t>
            </a:r>
            <a:endParaRPr lang="en-US" sz="1050" b="1">
              <a:latin typeface="+mj-lt"/>
              <a:cs typeface="Arial" panose="020B0604020202020204" pitchFamily="34" charset="0"/>
              <a:sym typeface="+mn-lt"/>
            </a:endParaRPr>
          </a:p>
        </p:txBody>
      </p:sp>
      <p:sp>
        <p:nvSpPr>
          <p:cNvPr id="10" name="LegendIcon">
            <a:extLst>
              <a:ext uri="{FF2B5EF4-FFF2-40B4-BE49-F238E27FC236}">
                <a16:creationId xmlns:a16="http://schemas.microsoft.com/office/drawing/2014/main" id="{53011B61-13D1-B5A7-679B-638BB4F7ED36}"/>
              </a:ext>
            </a:extLst>
          </p:cNvPr>
          <p:cNvSpPr>
            <a:spLocks/>
          </p:cNvSpPr>
          <p:nvPr/>
        </p:nvSpPr>
        <p:spPr>
          <a:xfrm>
            <a:off x="7248049" y="4547833"/>
            <a:ext cx="102601" cy="102600"/>
          </a:xfrm>
          <a:prstGeom prst="rect">
            <a:avLst/>
          </a:prstGeom>
          <a:noFill/>
          <a:ln w="19050" cmpd="sng">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a:lnSpc>
                <a:spcPct val="90000"/>
              </a:lnSpc>
              <a:spcBef>
                <a:spcPts val="300"/>
              </a:spcBef>
              <a:buSzPct val="100000"/>
            </a:pPr>
            <a:endParaRPr lang="en-US" sz="1350">
              <a:solidFill>
                <a:schemeClr val="tx1"/>
              </a:solidFill>
              <a:latin typeface="+mj-lt"/>
              <a:sym typeface="+mn-lt"/>
            </a:endParaRPr>
          </a:p>
        </p:txBody>
      </p:sp>
      <p:sp>
        <p:nvSpPr>
          <p:cNvPr id="11" name="LegendText">
            <a:extLst>
              <a:ext uri="{FF2B5EF4-FFF2-40B4-BE49-F238E27FC236}">
                <a16:creationId xmlns:a16="http://schemas.microsoft.com/office/drawing/2014/main" id="{FDB632FB-42E2-55E5-B16D-A7472B4FC7EE}"/>
              </a:ext>
            </a:extLst>
          </p:cNvPr>
          <p:cNvSpPr txBox="1">
            <a:spLocks/>
          </p:cNvSpPr>
          <p:nvPr/>
        </p:nvSpPr>
        <p:spPr>
          <a:xfrm>
            <a:off x="7389735" y="4547197"/>
            <a:ext cx="1481175" cy="103875"/>
          </a:xfrm>
          <a:prstGeom prst="rect">
            <a:avLst/>
          </a:prstGeom>
          <a:noFill/>
          <a:ln w="9525">
            <a:noFill/>
          </a:ln>
        </p:spPr>
        <p:txBody>
          <a:bodyPr vert="horz" wrap="none" lIns="0" tIns="0" rIns="0" bIns="0" rtlCol="0" anchor="t" anchorCtr="0">
            <a:spAutoFit/>
          </a:bodyPr>
          <a:lstStyle>
            <a:defPPr>
              <a:defRPr lang="en-EN"/>
            </a:defPPr>
            <a:lvl1pPr marL="0" marR="0" lvl="0" indent="0" defTabSz="914400" eaLnBrk="1" fontAlgn="auto" latinLnBrk="0" hangingPunct="1">
              <a:lnSpc>
                <a:spcPct val="100000"/>
              </a:lnSpc>
              <a:spcBef>
                <a:spcPts val="0"/>
              </a:spcBef>
              <a:spcAft>
                <a:spcPts val="0"/>
              </a:spcAft>
              <a:buClr>
                <a:srgbClr val="000000"/>
              </a:buClr>
              <a:buSzPct val="100000"/>
              <a:buFontTx/>
              <a:buNone/>
              <a:tabLst/>
              <a:defRPr kumimoji="0" sz="900" b="0" i="0" u="none" strike="noStrike" kern="0" cap="none" spc="0" normalizeH="0" baseline="0">
                <a:ln>
                  <a:noFill/>
                </a:ln>
                <a:effectLst/>
                <a:uLnTx/>
                <a:uFillTx/>
                <a:latin typeface="+mn-lt"/>
              </a:defRPr>
            </a:lvl1pPr>
          </a:lstStyle>
          <a:p>
            <a:r>
              <a:rPr lang="en-US" sz="675">
                <a:sym typeface="+mn-lt"/>
              </a:rPr>
              <a:t>Main CO2 transport method applicable</a:t>
            </a:r>
          </a:p>
        </p:txBody>
      </p:sp>
      <p:sp>
        <p:nvSpPr>
          <p:cNvPr id="12" name="RBContent48">
            <a:extLst>
              <a:ext uri="{FF2B5EF4-FFF2-40B4-BE49-F238E27FC236}">
                <a16:creationId xmlns:a16="http://schemas.microsoft.com/office/drawing/2014/main" id="{90169356-4E88-904D-91E8-391FE8F13C5E}"/>
              </a:ext>
            </a:extLst>
          </p:cNvPr>
          <p:cNvSpPr txBox="1">
            <a:spLocks/>
          </p:cNvSpPr>
          <p:nvPr/>
        </p:nvSpPr>
        <p:spPr>
          <a:xfrm>
            <a:off x="282835" y="2552493"/>
            <a:ext cx="665212" cy="412036"/>
          </a:xfrm>
          <a:prstGeom prst="rect">
            <a:avLst/>
          </a:prstGeom>
          <a:noFill/>
          <a:ln w="9525">
            <a:noFill/>
          </a:ln>
        </p:spPr>
        <p:txBody>
          <a:bodyPr vert="horz" wrap="square" lIns="0" tIns="0" rIns="0" bIns="0" rtlCol="0">
            <a:spAutoFit/>
          </a:bodyPr>
          <a:lstStyle/>
          <a:p>
            <a:pPr>
              <a:lnSpc>
                <a:spcPct val="85000"/>
              </a:lnSpc>
              <a:spcBef>
                <a:spcPts val="244"/>
              </a:spcBef>
              <a:buSzPct val="100000"/>
            </a:pPr>
            <a:r>
              <a:rPr lang="en-US" sz="1050" b="1" dirty="0">
                <a:latin typeface="+mj-lt"/>
                <a:sym typeface="+mn-lt"/>
              </a:rPr>
              <a:t>Techno-logical status</a:t>
            </a:r>
            <a:endParaRPr lang="en-US" sz="1050" b="1" dirty="0">
              <a:latin typeface="+mj-lt"/>
              <a:cs typeface="Arial" panose="020B0604020202020204" pitchFamily="34" charset="0"/>
              <a:sym typeface="+mn-lt"/>
            </a:endParaRPr>
          </a:p>
        </p:txBody>
      </p:sp>
      <p:sp>
        <p:nvSpPr>
          <p:cNvPr id="13" name="Title55">
            <a:extLst>
              <a:ext uri="{FF2B5EF4-FFF2-40B4-BE49-F238E27FC236}">
                <a16:creationId xmlns:a16="http://schemas.microsoft.com/office/drawing/2014/main" id="{C58C92E8-00C6-C777-DF9F-DBBE4327D2C5}"/>
              </a:ext>
            </a:extLst>
          </p:cNvPr>
          <p:cNvSpPr txBox="1">
            <a:spLocks/>
          </p:cNvSpPr>
          <p:nvPr/>
        </p:nvSpPr>
        <p:spPr>
          <a:xfrm>
            <a:off x="1207273" y="1506334"/>
            <a:ext cx="1393769" cy="209863"/>
          </a:xfrm>
          <a:prstGeom prst="rect">
            <a:avLst/>
          </a:prstGeom>
          <a:noFill/>
          <a:ln w="9525">
            <a:noFill/>
          </a:ln>
        </p:spPr>
        <p:txBody>
          <a:bodyPr vert="horz" wrap="square" lIns="0" tIns="0" rIns="0" bIns="43241" rtlCol="0" anchor="b">
            <a:spAutoFit/>
          </a:bodyPr>
          <a:lstStyle/>
          <a:p>
            <a:pPr>
              <a:lnSpc>
                <a:spcPct val="90000"/>
              </a:lnSpc>
              <a:spcBef>
                <a:spcPts val="244"/>
              </a:spcBef>
              <a:buSzPct val="100000"/>
            </a:pPr>
            <a:r>
              <a:rPr lang="en-US" sz="1200" b="1">
                <a:solidFill>
                  <a:schemeClr val="accent5"/>
                </a:solidFill>
                <a:latin typeface="+mj-lt"/>
                <a:cs typeface="Arial Narrow" pitchFamily="34" charset="0"/>
              </a:rPr>
              <a:t>Pipeline (gas)</a:t>
            </a:r>
          </a:p>
        </p:txBody>
      </p:sp>
      <p:pic>
        <p:nvPicPr>
          <p:cNvPr id="14" name="Picture 13" descr="A row of cars on a sandy beach&#10;&#10;Description automatically generated">
            <a:extLst>
              <a:ext uri="{FF2B5EF4-FFF2-40B4-BE49-F238E27FC236}">
                <a16:creationId xmlns:a16="http://schemas.microsoft.com/office/drawing/2014/main" id="{CA89BCAA-79E7-E701-31A3-EEAB7B16AC56}"/>
              </a:ext>
            </a:extLst>
          </p:cNvPr>
          <p:cNvPicPr>
            <a:picLocks/>
          </p:cNvPicPr>
          <p:nvPr/>
        </p:nvPicPr>
        <p:blipFill rotWithShape="1">
          <a:blip r:embed="rId6" cstate="screen">
            <a:extLst>
              <a:ext uri="{28A0092B-C50C-407E-A947-70E740481C1C}">
                <a14:useLocalDpi xmlns:a14="http://schemas.microsoft.com/office/drawing/2010/main"/>
              </a:ext>
            </a:extLst>
          </a:blip>
          <a:srcRect t="-1"/>
          <a:stretch/>
        </p:blipFill>
        <p:spPr>
          <a:xfrm>
            <a:off x="1207273" y="1724823"/>
            <a:ext cx="1393769" cy="756523"/>
          </a:xfrm>
          <a:prstGeom prst="rect">
            <a:avLst/>
          </a:prstGeom>
          <a:ln>
            <a:solidFill>
              <a:schemeClr val="bg2"/>
            </a:solidFill>
          </a:ln>
        </p:spPr>
      </p:pic>
      <p:sp>
        <p:nvSpPr>
          <p:cNvPr id="15" name="RBContent19">
            <a:extLst>
              <a:ext uri="{FF2B5EF4-FFF2-40B4-BE49-F238E27FC236}">
                <a16:creationId xmlns:a16="http://schemas.microsoft.com/office/drawing/2014/main" id="{87BEAC2C-9D71-5A23-8AB6-79F8C5F38DF7}"/>
              </a:ext>
            </a:extLst>
          </p:cNvPr>
          <p:cNvSpPr txBox="1">
            <a:spLocks/>
          </p:cNvSpPr>
          <p:nvPr/>
        </p:nvSpPr>
        <p:spPr>
          <a:xfrm>
            <a:off x="1207273" y="4195090"/>
            <a:ext cx="1391912" cy="294311"/>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Both the source and offtaker need to be located near the pipeline</a:t>
            </a:r>
          </a:p>
        </p:txBody>
      </p:sp>
      <p:sp>
        <p:nvSpPr>
          <p:cNvPr id="16" name="RBContent19">
            <a:extLst>
              <a:ext uri="{FF2B5EF4-FFF2-40B4-BE49-F238E27FC236}">
                <a16:creationId xmlns:a16="http://schemas.microsoft.com/office/drawing/2014/main" id="{1DDE94DE-28EC-CB08-324C-B4AC96ED6ED8}"/>
              </a:ext>
            </a:extLst>
          </p:cNvPr>
          <p:cNvSpPr txBox="1">
            <a:spLocks/>
          </p:cNvSpPr>
          <p:nvPr/>
        </p:nvSpPr>
        <p:spPr>
          <a:xfrm>
            <a:off x="1207273" y="3119108"/>
            <a:ext cx="1391912" cy="196208"/>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Unlimited, multiple pipelines </a:t>
            </a:r>
            <a:r>
              <a:rPr lang="en-US" sz="750" spc="-18">
                <a:latin typeface="+mj-lt"/>
                <a:cs typeface="Arial" panose="020B0604020202020204" pitchFamily="34" charset="0"/>
                <a:sym typeface="+mn-lt"/>
              </a:rPr>
              <a:t>can be constructed in parallel</a:t>
            </a:r>
          </a:p>
        </p:txBody>
      </p:sp>
      <p:sp>
        <p:nvSpPr>
          <p:cNvPr id="17" name="RBContent19">
            <a:extLst>
              <a:ext uri="{FF2B5EF4-FFF2-40B4-BE49-F238E27FC236}">
                <a16:creationId xmlns:a16="http://schemas.microsoft.com/office/drawing/2014/main" id="{B06FB644-098C-0134-E285-2E9D333FA028}"/>
              </a:ext>
            </a:extLst>
          </p:cNvPr>
          <p:cNvSpPr txBox="1">
            <a:spLocks/>
          </p:cNvSpPr>
          <p:nvPr/>
        </p:nvSpPr>
        <p:spPr>
          <a:xfrm>
            <a:off x="1207273" y="3567225"/>
            <a:ext cx="1391912" cy="490519"/>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High CAPEX required for new pipelines e.g., 0.5 to 1.5 EUR m / km for new CO</a:t>
            </a:r>
            <a:r>
              <a:rPr lang="en-US" sz="750" baseline="-25000">
                <a:latin typeface="+mj-lt"/>
                <a:cs typeface="Arial" panose="020B0604020202020204" pitchFamily="34" charset="0"/>
                <a:sym typeface="+mn-lt"/>
              </a:rPr>
              <a:t>2 </a:t>
            </a:r>
            <a:r>
              <a:rPr lang="en-US" sz="750">
                <a:latin typeface="+mj-lt"/>
                <a:cs typeface="Arial" panose="020B0604020202020204" pitchFamily="34" charset="0"/>
                <a:sym typeface="+mn-lt"/>
              </a:rPr>
              <a:t>pipe (CAPEX level for 'dense'/high pressure CO</a:t>
            </a:r>
            <a:r>
              <a:rPr lang="en-US" sz="750" baseline="-25000">
                <a:latin typeface="+mj-lt"/>
                <a:cs typeface="Arial" panose="020B0604020202020204" pitchFamily="34" charset="0"/>
                <a:sym typeface="+mn-lt"/>
              </a:rPr>
              <a:t>2</a:t>
            </a:r>
            <a:r>
              <a:rPr lang="en-US" sz="750">
                <a:latin typeface="+mj-lt"/>
                <a:cs typeface="Arial" panose="020B0604020202020204" pitchFamily="34" charset="0"/>
                <a:sym typeface="+mn-lt"/>
              </a:rPr>
              <a:t>)</a:t>
            </a:r>
          </a:p>
        </p:txBody>
      </p:sp>
      <p:sp>
        <p:nvSpPr>
          <p:cNvPr id="18" name="RBContent19">
            <a:extLst>
              <a:ext uri="{FF2B5EF4-FFF2-40B4-BE49-F238E27FC236}">
                <a16:creationId xmlns:a16="http://schemas.microsoft.com/office/drawing/2014/main" id="{7C89C22D-8FCE-32FC-5329-0081A3F43F48}"/>
              </a:ext>
            </a:extLst>
          </p:cNvPr>
          <p:cNvSpPr txBox="1">
            <a:spLocks/>
          </p:cNvSpPr>
          <p:nvPr/>
        </p:nvSpPr>
        <p:spPr>
          <a:xfrm>
            <a:off x="1207273" y="2552492"/>
            <a:ext cx="1312881" cy="98104"/>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Commercially available</a:t>
            </a:r>
          </a:p>
        </p:txBody>
      </p:sp>
      <p:sp>
        <p:nvSpPr>
          <p:cNvPr id="19" name="RBContent19">
            <a:extLst>
              <a:ext uri="{FF2B5EF4-FFF2-40B4-BE49-F238E27FC236}">
                <a16:creationId xmlns:a16="http://schemas.microsoft.com/office/drawing/2014/main" id="{34FEF2BA-D6F3-DB90-A2FF-D1AAD0AE6D40}"/>
              </a:ext>
            </a:extLst>
          </p:cNvPr>
          <p:cNvSpPr txBox="1">
            <a:spLocks/>
          </p:cNvSpPr>
          <p:nvPr/>
        </p:nvSpPr>
        <p:spPr>
          <a:xfrm>
            <a:off x="1455473" y="2774001"/>
            <a:ext cx="1092687" cy="184666"/>
          </a:xfrm>
          <a:prstGeom prst="rect">
            <a:avLst/>
          </a:prstGeom>
          <a:noFill/>
          <a:ln w="9525">
            <a:noFill/>
          </a:ln>
        </p:spPr>
        <p:txBody>
          <a:bodyPr vert="horz" wrap="square" lIns="0" tIns="0" rIns="0" bIns="0" rtlCol="0">
            <a:spAutoFit/>
          </a:bodyPr>
          <a:lstStyle/>
          <a:p>
            <a:pPr defTabSz="614502">
              <a:spcBef>
                <a:spcPts val="244"/>
              </a:spcBef>
              <a:buSzPct val="100000"/>
            </a:pPr>
            <a:r>
              <a:rPr lang="en-US" sz="600">
                <a:latin typeface="+mj-lt"/>
                <a:cs typeface="Arial" panose="020B0604020202020204" pitchFamily="34" charset="0"/>
                <a:sym typeface="+mn-lt"/>
              </a:rPr>
              <a:t>USA infrastructure existing for many years</a:t>
            </a:r>
            <a:endParaRPr lang="en-US" sz="600" spc="-18">
              <a:latin typeface="+mj-lt"/>
              <a:cs typeface="Arial" panose="020B0604020202020204" pitchFamily="34" charset="0"/>
              <a:sym typeface="+mn-lt"/>
            </a:endParaRPr>
          </a:p>
        </p:txBody>
      </p:sp>
      <p:grpSp>
        <p:nvGrpSpPr>
          <p:cNvPr id="20" name="HarveyBall18">
            <a:extLst>
              <a:ext uri="{FF2B5EF4-FFF2-40B4-BE49-F238E27FC236}">
                <a16:creationId xmlns:a16="http://schemas.microsoft.com/office/drawing/2014/main" id="{843FEE17-CCF1-FE30-4784-044353C54057}"/>
              </a:ext>
            </a:extLst>
          </p:cNvPr>
          <p:cNvGrpSpPr>
            <a:grpSpLocks noChangeAspect="1"/>
          </p:cNvGrpSpPr>
          <p:nvPr/>
        </p:nvGrpSpPr>
        <p:grpSpPr>
          <a:xfrm>
            <a:off x="1207273" y="2757409"/>
            <a:ext cx="192786" cy="192024"/>
            <a:chOff x="2411984" y="889000"/>
            <a:chExt cx="257048" cy="256032"/>
          </a:xfrm>
        </p:grpSpPr>
        <p:sp>
          <p:nvSpPr>
            <p:cNvPr id="21" name="HarveyBase15">
              <a:extLst>
                <a:ext uri="{FF2B5EF4-FFF2-40B4-BE49-F238E27FC236}">
                  <a16:creationId xmlns:a16="http://schemas.microsoft.com/office/drawing/2014/main" id="{94265C8A-C87B-A62D-F56B-A7DE67FD888E}"/>
                </a:ext>
              </a:extLst>
            </p:cNvPr>
            <p:cNvSpPr/>
            <p:nvPr/>
          </p:nvSpPr>
          <p:spPr>
            <a:xfrm>
              <a:off x="2413000" y="889000"/>
              <a:ext cx="256032" cy="256032"/>
            </a:xfrm>
            <a:prstGeom prst="ellipse">
              <a:avLst/>
            </a:prstGeom>
            <a:solidFill>
              <a:schemeClr val="bg1"/>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noAutofit/>
            </a:bodyPr>
            <a:lstStyle/>
            <a:p>
              <a:pPr fontAlgn="base">
                <a:spcBef>
                  <a:spcPts val="300"/>
                </a:spcBef>
                <a:spcAft>
                  <a:spcPct val="0"/>
                </a:spcAft>
                <a:buSzPct val="100000"/>
              </a:pPr>
              <a:endParaRPr lang="en-US" sz="900" err="1">
                <a:solidFill>
                  <a:schemeClr val="tx1"/>
                </a:solidFill>
                <a:sym typeface="+mn-lt"/>
              </a:endParaRPr>
            </a:p>
          </p:txBody>
        </p:sp>
        <p:sp>
          <p:nvSpPr>
            <p:cNvPr id="22" name="HarveyState17">
              <a:extLst>
                <a:ext uri="{FF2B5EF4-FFF2-40B4-BE49-F238E27FC236}">
                  <a16:creationId xmlns:a16="http://schemas.microsoft.com/office/drawing/2014/main" id="{77EAF63F-BE41-00C1-6DBA-F50B4A3E88C1}"/>
                </a:ext>
              </a:extLst>
            </p:cNvPr>
            <p:cNvSpPr/>
            <p:nvPr>
              <p:custDataLst>
                <p:tags r:id="rId4"/>
              </p:custDataLst>
            </p:nvPr>
          </p:nvSpPr>
          <p:spPr>
            <a:xfrm>
              <a:off x="2411984" y="889000"/>
              <a:ext cx="256032" cy="256032"/>
            </a:xfrm>
            <a:prstGeom prst="arc">
              <a:avLst>
                <a:gd name="adj1" fmla="val 16200000"/>
                <a:gd name="adj2" fmla="val 16200000"/>
              </a:avLst>
            </a:prstGeom>
            <a:solidFill>
              <a:schemeClr val="accent5"/>
            </a:solidFill>
            <a:ln w="6350" cmpd="sng">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350"/>
            </a:p>
          </p:txBody>
        </p:sp>
      </p:grpSp>
      <p:pic>
        <p:nvPicPr>
          <p:cNvPr id="23" name="Picture 22" descr="A large ship in a body of water&#10;&#10;Description automatically generated">
            <a:extLst>
              <a:ext uri="{FF2B5EF4-FFF2-40B4-BE49-F238E27FC236}">
                <a16:creationId xmlns:a16="http://schemas.microsoft.com/office/drawing/2014/main" id="{7872C0FF-269E-C6F2-F1DE-70245A769BE6}"/>
              </a:ext>
            </a:extLst>
          </p:cNvPr>
          <p:cNvPicPr>
            <a:picLocks/>
          </p:cNvPicPr>
          <p:nvPr/>
        </p:nvPicPr>
        <p:blipFill rotWithShape="1">
          <a:blip r:embed="rId7" cstate="screen">
            <a:extLst>
              <a:ext uri="{28A0092B-C50C-407E-A947-70E740481C1C}">
                <a14:useLocalDpi xmlns:a14="http://schemas.microsoft.com/office/drawing/2010/main"/>
              </a:ext>
            </a:extLst>
          </a:blip>
          <a:srcRect/>
          <a:stretch/>
        </p:blipFill>
        <p:spPr>
          <a:xfrm>
            <a:off x="2740089" y="1724209"/>
            <a:ext cx="1390054" cy="757749"/>
          </a:xfrm>
          <a:prstGeom prst="rect">
            <a:avLst/>
          </a:prstGeom>
          <a:ln>
            <a:solidFill>
              <a:schemeClr val="bg2"/>
            </a:solidFill>
          </a:ln>
        </p:spPr>
      </p:pic>
      <p:sp>
        <p:nvSpPr>
          <p:cNvPr id="24" name="RBContent19">
            <a:extLst>
              <a:ext uri="{FF2B5EF4-FFF2-40B4-BE49-F238E27FC236}">
                <a16:creationId xmlns:a16="http://schemas.microsoft.com/office/drawing/2014/main" id="{07E4DA0E-5D9E-1B9C-8ECD-CA002B97BD3A}"/>
              </a:ext>
            </a:extLst>
          </p:cNvPr>
          <p:cNvSpPr txBox="1">
            <a:spLocks/>
          </p:cNvSpPr>
          <p:nvPr/>
        </p:nvSpPr>
        <p:spPr>
          <a:xfrm>
            <a:off x="2740088" y="4195090"/>
            <a:ext cx="1391912" cy="196208"/>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Both source and offtaker need to be located at a port</a:t>
            </a:r>
          </a:p>
        </p:txBody>
      </p:sp>
      <p:sp>
        <p:nvSpPr>
          <p:cNvPr id="25" name="RBContent19">
            <a:extLst>
              <a:ext uri="{FF2B5EF4-FFF2-40B4-BE49-F238E27FC236}">
                <a16:creationId xmlns:a16="http://schemas.microsoft.com/office/drawing/2014/main" id="{AF3CA0B9-B368-CAA0-D2E9-3D3C2643ADD4}"/>
              </a:ext>
            </a:extLst>
          </p:cNvPr>
          <p:cNvSpPr txBox="1">
            <a:spLocks/>
          </p:cNvSpPr>
          <p:nvPr/>
        </p:nvSpPr>
        <p:spPr>
          <a:xfrm>
            <a:off x="2740088" y="3119109"/>
            <a:ext cx="1391912" cy="294311"/>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Up to ~1,800 ton per vessel tank today, could be feasible up to volumes of LPG carrier vessels</a:t>
            </a:r>
          </a:p>
        </p:txBody>
      </p:sp>
      <p:sp>
        <p:nvSpPr>
          <p:cNvPr id="26" name="RBContent19">
            <a:extLst>
              <a:ext uri="{FF2B5EF4-FFF2-40B4-BE49-F238E27FC236}">
                <a16:creationId xmlns:a16="http://schemas.microsoft.com/office/drawing/2014/main" id="{03613882-77D1-6923-0B81-F453A7D2AB00}"/>
              </a:ext>
            </a:extLst>
          </p:cNvPr>
          <p:cNvSpPr txBox="1">
            <a:spLocks/>
          </p:cNvSpPr>
          <p:nvPr/>
        </p:nvSpPr>
        <p:spPr>
          <a:xfrm>
            <a:off x="2740088" y="3567225"/>
            <a:ext cx="1391912" cy="294311"/>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High CAPEX required for vessels, liquefactions, and loading/unloading terminals</a:t>
            </a:r>
          </a:p>
        </p:txBody>
      </p:sp>
      <p:sp>
        <p:nvSpPr>
          <p:cNvPr id="27" name="Title55">
            <a:extLst>
              <a:ext uri="{FF2B5EF4-FFF2-40B4-BE49-F238E27FC236}">
                <a16:creationId xmlns:a16="http://schemas.microsoft.com/office/drawing/2014/main" id="{FA934F77-3B6B-CE8A-07EA-3C6A8547CF82}"/>
              </a:ext>
            </a:extLst>
          </p:cNvPr>
          <p:cNvSpPr txBox="1">
            <a:spLocks/>
          </p:cNvSpPr>
          <p:nvPr/>
        </p:nvSpPr>
        <p:spPr>
          <a:xfrm>
            <a:off x="2740089" y="1500076"/>
            <a:ext cx="1218051" cy="209863"/>
          </a:xfrm>
          <a:prstGeom prst="rect">
            <a:avLst/>
          </a:prstGeom>
          <a:noFill/>
          <a:ln w="9525">
            <a:noFill/>
          </a:ln>
        </p:spPr>
        <p:txBody>
          <a:bodyPr vert="horz" wrap="square" lIns="0" tIns="0" rIns="0" bIns="43241" rtlCol="0" anchor="b">
            <a:spAutoFit/>
          </a:bodyPr>
          <a:lstStyle/>
          <a:p>
            <a:pPr>
              <a:lnSpc>
                <a:spcPct val="90000"/>
              </a:lnSpc>
              <a:spcBef>
                <a:spcPts val="244"/>
              </a:spcBef>
              <a:buSzPct val="100000"/>
            </a:pPr>
            <a:r>
              <a:rPr lang="en-US" sz="1200" b="1">
                <a:solidFill>
                  <a:schemeClr val="accent5"/>
                </a:solidFill>
                <a:latin typeface="+mj-lt"/>
                <a:cs typeface="Arial Narrow" pitchFamily="34" charset="0"/>
              </a:rPr>
              <a:t>Ship</a:t>
            </a:r>
          </a:p>
        </p:txBody>
      </p:sp>
      <p:sp>
        <p:nvSpPr>
          <p:cNvPr id="28" name="RBContent19">
            <a:extLst>
              <a:ext uri="{FF2B5EF4-FFF2-40B4-BE49-F238E27FC236}">
                <a16:creationId xmlns:a16="http://schemas.microsoft.com/office/drawing/2014/main" id="{F3C2674A-803D-8DD0-DC74-6426FE5150EC}"/>
              </a:ext>
            </a:extLst>
          </p:cNvPr>
          <p:cNvSpPr txBox="1">
            <a:spLocks/>
          </p:cNvSpPr>
          <p:nvPr/>
        </p:nvSpPr>
        <p:spPr>
          <a:xfrm>
            <a:off x="2740089" y="2552492"/>
            <a:ext cx="1312881" cy="98104"/>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Commercially available</a:t>
            </a:r>
          </a:p>
        </p:txBody>
      </p:sp>
      <p:sp>
        <p:nvSpPr>
          <p:cNvPr id="29" name="RBContent19">
            <a:extLst>
              <a:ext uri="{FF2B5EF4-FFF2-40B4-BE49-F238E27FC236}">
                <a16:creationId xmlns:a16="http://schemas.microsoft.com/office/drawing/2014/main" id="{B7456EB1-F882-2798-67DD-A43B0BE83622}"/>
              </a:ext>
            </a:extLst>
          </p:cNvPr>
          <p:cNvSpPr txBox="1">
            <a:spLocks/>
          </p:cNvSpPr>
          <p:nvPr/>
        </p:nvSpPr>
        <p:spPr>
          <a:xfrm>
            <a:off x="2988288" y="2774001"/>
            <a:ext cx="1092687" cy="184666"/>
          </a:xfrm>
          <a:prstGeom prst="rect">
            <a:avLst/>
          </a:prstGeom>
          <a:noFill/>
          <a:ln w="9525">
            <a:noFill/>
          </a:ln>
        </p:spPr>
        <p:txBody>
          <a:bodyPr vert="horz" wrap="square" lIns="0" tIns="0" rIns="0" bIns="0" rtlCol="0">
            <a:spAutoFit/>
          </a:bodyPr>
          <a:lstStyle/>
          <a:p>
            <a:pPr defTabSz="614502">
              <a:spcBef>
                <a:spcPts val="244"/>
              </a:spcBef>
              <a:buSzPct val="100000"/>
            </a:pPr>
            <a:r>
              <a:rPr lang="en-US" sz="600">
                <a:latin typeface="+mj-lt"/>
                <a:cs typeface="Arial" panose="020B0604020202020204" pitchFamily="34" charset="0"/>
                <a:sym typeface="+mn-lt"/>
              </a:rPr>
              <a:t>Worldwide, only four small ships used for this purpose</a:t>
            </a:r>
            <a:endParaRPr lang="en-US" sz="600" spc="-18">
              <a:latin typeface="+mj-lt"/>
              <a:cs typeface="Arial" panose="020B0604020202020204" pitchFamily="34" charset="0"/>
              <a:sym typeface="+mn-lt"/>
            </a:endParaRPr>
          </a:p>
        </p:txBody>
      </p:sp>
      <p:grpSp>
        <p:nvGrpSpPr>
          <p:cNvPr id="30" name="HarveyBall18">
            <a:extLst>
              <a:ext uri="{FF2B5EF4-FFF2-40B4-BE49-F238E27FC236}">
                <a16:creationId xmlns:a16="http://schemas.microsoft.com/office/drawing/2014/main" id="{3ED0C5E5-E60A-16AF-922A-3C9DE8960507}"/>
              </a:ext>
            </a:extLst>
          </p:cNvPr>
          <p:cNvGrpSpPr>
            <a:grpSpLocks noChangeAspect="1"/>
          </p:cNvGrpSpPr>
          <p:nvPr/>
        </p:nvGrpSpPr>
        <p:grpSpPr>
          <a:xfrm>
            <a:off x="2740089" y="2757409"/>
            <a:ext cx="192786" cy="192024"/>
            <a:chOff x="2411984" y="889000"/>
            <a:chExt cx="257048" cy="256032"/>
          </a:xfrm>
        </p:grpSpPr>
        <p:sp>
          <p:nvSpPr>
            <p:cNvPr id="31" name="HarveyBase15">
              <a:extLst>
                <a:ext uri="{FF2B5EF4-FFF2-40B4-BE49-F238E27FC236}">
                  <a16:creationId xmlns:a16="http://schemas.microsoft.com/office/drawing/2014/main" id="{2A766A7E-DBA8-D584-87F5-06CBFA3DF273}"/>
                </a:ext>
              </a:extLst>
            </p:cNvPr>
            <p:cNvSpPr/>
            <p:nvPr/>
          </p:nvSpPr>
          <p:spPr>
            <a:xfrm>
              <a:off x="2413000" y="889000"/>
              <a:ext cx="256032" cy="256032"/>
            </a:xfrm>
            <a:prstGeom prst="ellipse">
              <a:avLst/>
            </a:prstGeom>
            <a:solidFill>
              <a:schemeClr val="bg1"/>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noAutofit/>
            </a:bodyPr>
            <a:lstStyle/>
            <a:p>
              <a:pPr fontAlgn="base">
                <a:spcBef>
                  <a:spcPts val="300"/>
                </a:spcBef>
                <a:spcAft>
                  <a:spcPct val="0"/>
                </a:spcAft>
                <a:buSzPct val="100000"/>
              </a:pPr>
              <a:endParaRPr lang="en-US" sz="900" err="1">
                <a:solidFill>
                  <a:schemeClr val="tx1"/>
                </a:solidFill>
                <a:sym typeface="+mn-lt"/>
              </a:endParaRPr>
            </a:p>
          </p:txBody>
        </p:sp>
        <p:sp>
          <p:nvSpPr>
            <p:cNvPr id="32" name="HarveyState17">
              <a:extLst>
                <a:ext uri="{FF2B5EF4-FFF2-40B4-BE49-F238E27FC236}">
                  <a16:creationId xmlns:a16="http://schemas.microsoft.com/office/drawing/2014/main" id="{6F25C21B-6B11-FCA7-370F-A3CFB1860D28}"/>
                </a:ext>
              </a:extLst>
            </p:cNvPr>
            <p:cNvSpPr/>
            <p:nvPr/>
          </p:nvSpPr>
          <p:spPr>
            <a:xfrm>
              <a:off x="2411984" y="889000"/>
              <a:ext cx="256032" cy="256032"/>
            </a:xfrm>
            <a:prstGeom prst="arc">
              <a:avLst>
                <a:gd name="adj1" fmla="val 16200000"/>
                <a:gd name="adj2" fmla="val 5400000"/>
              </a:avLst>
            </a:prstGeom>
            <a:solidFill>
              <a:schemeClr val="accent5"/>
            </a:solidFill>
            <a:ln w="6350" cmpd="sng">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350"/>
            </a:p>
          </p:txBody>
        </p:sp>
      </p:grpSp>
      <p:pic>
        <p:nvPicPr>
          <p:cNvPr id="33" name="Picture 32">
            <a:extLst>
              <a:ext uri="{FF2B5EF4-FFF2-40B4-BE49-F238E27FC236}">
                <a16:creationId xmlns:a16="http://schemas.microsoft.com/office/drawing/2014/main" id="{52BB8FFA-3F22-3201-4828-C75D61A32146}"/>
              </a:ext>
            </a:extLst>
          </p:cNvPr>
          <p:cNvPicPr>
            <a:picLocks noChangeAspect="1"/>
          </p:cNvPicPr>
          <p:nvPr/>
        </p:nvPicPr>
        <p:blipFill rotWithShape="1">
          <a:blip r:embed="rId8" r:link="rId9" cstate="screen">
            <a:extLst>
              <a:ext uri="{28A0092B-C50C-407E-A947-70E740481C1C}">
                <a14:useLocalDpi xmlns:a14="http://schemas.microsoft.com/office/drawing/2010/main"/>
              </a:ext>
            </a:extLst>
          </a:blip>
          <a:srcRect/>
          <a:stretch>
            <a:fillRect/>
          </a:stretch>
        </p:blipFill>
        <p:spPr>
          <a:xfrm>
            <a:off x="4271048" y="1720474"/>
            <a:ext cx="1410293" cy="756047"/>
          </a:xfrm>
          <a:prstGeom prst="rect">
            <a:avLst/>
          </a:prstGeom>
          <a:ln>
            <a:solidFill>
              <a:schemeClr val="bg2"/>
            </a:solidFill>
          </a:ln>
        </p:spPr>
      </p:pic>
      <p:sp>
        <p:nvSpPr>
          <p:cNvPr id="34" name="RBContent19">
            <a:extLst>
              <a:ext uri="{FF2B5EF4-FFF2-40B4-BE49-F238E27FC236}">
                <a16:creationId xmlns:a16="http://schemas.microsoft.com/office/drawing/2014/main" id="{EAAB0146-1CEC-AB1B-5530-1F8D873A1B1D}"/>
              </a:ext>
            </a:extLst>
          </p:cNvPr>
          <p:cNvSpPr txBox="1">
            <a:spLocks/>
          </p:cNvSpPr>
          <p:nvPr/>
        </p:nvSpPr>
        <p:spPr>
          <a:xfrm>
            <a:off x="4271047" y="4195090"/>
            <a:ext cx="1391841" cy="196208"/>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Medium, rail infrastructure necessary </a:t>
            </a:r>
          </a:p>
        </p:txBody>
      </p:sp>
      <p:sp>
        <p:nvSpPr>
          <p:cNvPr id="35" name="RBContent19">
            <a:extLst>
              <a:ext uri="{FF2B5EF4-FFF2-40B4-BE49-F238E27FC236}">
                <a16:creationId xmlns:a16="http://schemas.microsoft.com/office/drawing/2014/main" id="{4DF2CDB0-E982-AB76-041B-C6AD24F80431}"/>
              </a:ext>
            </a:extLst>
          </p:cNvPr>
          <p:cNvSpPr txBox="1">
            <a:spLocks/>
          </p:cNvSpPr>
          <p:nvPr/>
        </p:nvSpPr>
        <p:spPr>
          <a:xfrm>
            <a:off x="4271047" y="3119109"/>
            <a:ext cx="1391841" cy="319959"/>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Up to ~60 t per wagon</a:t>
            </a:r>
          </a:p>
          <a:p>
            <a:pPr defTabSz="614502">
              <a:lnSpc>
                <a:spcPct val="85000"/>
              </a:lnSpc>
              <a:spcBef>
                <a:spcPts val="244"/>
              </a:spcBef>
              <a:buSzPct val="100000"/>
            </a:pPr>
            <a:r>
              <a:rPr lang="en-US" sz="750" b="1">
                <a:solidFill>
                  <a:srgbClr val="212121"/>
                </a:solidFill>
                <a:latin typeface="+mj-lt"/>
                <a:cs typeface="Arial" panose="020B0604020202020204" pitchFamily="34" charset="0"/>
                <a:sym typeface="+mn-lt"/>
              </a:rPr>
              <a:t>Up to 40 tons for intermodal cars, so 800 tons per train</a:t>
            </a:r>
            <a:endParaRPr lang="en-US" sz="750">
              <a:solidFill>
                <a:srgbClr val="212121"/>
              </a:solidFill>
              <a:latin typeface="+mj-lt"/>
              <a:cs typeface="Arial" panose="020B0604020202020204" pitchFamily="34" charset="0"/>
              <a:sym typeface="+mn-lt"/>
            </a:endParaRPr>
          </a:p>
        </p:txBody>
      </p:sp>
      <p:sp>
        <p:nvSpPr>
          <p:cNvPr id="36" name="RBContent19">
            <a:extLst>
              <a:ext uri="{FF2B5EF4-FFF2-40B4-BE49-F238E27FC236}">
                <a16:creationId xmlns:a16="http://schemas.microsoft.com/office/drawing/2014/main" id="{A518BE97-557F-7309-3DAE-7D4FE8ADC3E9}"/>
              </a:ext>
            </a:extLst>
          </p:cNvPr>
          <p:cNvSpPr txBox="1">
            <a:spLocks/>
          </p:cNvSpPr>
          <p:nvPr/>
        </p:nvSpPr>
        <p:spPr>
          <a:xfrm>
            <a:off x="4271047" y="3567225"/>
            <a:ext cx="1391841" cy="418063"/>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Some investment required in wagons, OPEX twice as much as transport by pipeline</a:t>
            </a:r>
          </a:p>
          <a:p>
            <a:pPr defTabSz="614502">
              <a:lnSpc>
                <a:spcPct val="85000"/>
              </a:lnSpc>
              <a:spcBef>
                <a:spcPts val="244"/>
              </a:spcBef>
              <a:buSzPct val="100000"/>
            </a:pPr>
            <a:endParaRPr lang="en-US" sz="750">
              <a:highlight>
                <a:srgbClr val="FFFF00"/>
              </a:highlight>
              <a:latin typeface="+mj-lt"/>
              <a:cs typeface="Arial" panose="020B0604020202020204" pitchFamily="34" charset="0"/>
              <a:sym typeface="+mn-lt"/>
            </a:endParaRPr>
          </a:p>
        </p:txBody>
      </p:sp>
      <p:sp>
        <p:nvSpPr>
          <p:cNvPr id="37" name="Title55">
            <a:extLst>
              <a:ext uri="{FF2B5EF4-FFF2-40B4-BE49-F238E27FC236}">
                <a16:creationId xmlns:a16="http://schemas.microsoft.com/office/drawing/2014/main" id="{EB4A6477-D344-1E80-C5F2-761017CF36D8}"/>
              </a:ext>
            </a:extLst>
          </p:cNvPr>
          <p:cNvSpPr txBox="1">
            <a:spLocks/>
          </p:cNvSpPr>
          <p:nvPr/>
        </p:nvSpPr>
        <p:spPr>
          <a:xfrm>
            <a:off x="4271047" y="1500076"/>
            <a:ext cx="1218051" cy="209863"/>
          </a:xfrm>
          <a:prstGeom prst="rect">
            <a:avLst/>
          </a:prstGeom>
          <a:noFill/>
          <a:ln w="9525">
            <a:noFill/>
          </a:ln>
        </p:spPr>
        <p:txBody>
          <a:bodyPr vert="horz" wrap="square" lIns="0" tIns="0" rIns="0" bIns="43241" rtlCol="0" anchor="b">
            <a:spAutoFit/>
          </a:bodyPr>
          <a:lstStyle/>
          <a:p>
            <a:pPr>
              <a:lnSpc>
                <a:spcPct val="90000"/>
              </a:lnSpc>
              <a:spcBef>
                <a:spcPts val="244"/>
              </a:spcBef>
              <a:buSzPct val="100000"/>
            </a:pPr>
            <a:r>
              <a:rPr lang="en-US" sz="1200" b="1">
                <a:solidFill>
                  <a:schemeClr val="accent5"/>
                </a:solidFill>
                <a:latin typeface="+mj-lt"/>
                <a:cs typeface="Arial Narrow" pitchFamily="34" charset="0"/>
              </a:rPr>
              <a:t>Train</a:t>
            </a:r>
          </a:p>
        </p:txBody>
      </p:sp>
      <p:sp>
        <p:nvSpPr>
          <p:cNvPr id="38" name="RBContent19">
            <a:extLst>
              <a:ext uri="{FF2B5EF4-FFF2-40B4-BE49-F238E27FC236}">
                <a16:creationId xmlns:a16="http://schemas.microsoft.com/office/drawing/2014/main" id="{C85C2C17-8209-6775-6007-6CA74567F106}"/>
              </a:ext>
            </a:extLst>
          </p:cNvPr>
          <p:cNvSpPr txBox="1">
            <a:spLocks/>
          </p:cNvSpPr>
          <p:nvPr/>
        </p:nvSpPr>
        <p:spPr>
          <a:xfrm>
            <a:off x="4271047" y="2552492"/>
            <a:ext cx="1313260" cy="98104"/>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Commercially available</a:t>
            </a:r>
          </a:p>
        </p:txBody>
      </p:sp>
      <p:sp>
        <p:nvSpPr>
          <p:cNvPr id="39" name="RBContent19">
            <a:extLst>
              <a:ext uri="{FF2B5EF4-FFF2-40B4-BE49-F238E27FC236}">
                <a16:creationId xmlns:a16="http://schemas.microsoft.com/office/drawing/2014/main" id="{C06373C7-BE5E-42CE-702A-BE095F0EA9EB}"/>
              </a:ext>
            </a:extLst>
          </p:cNvPr>
          <p:cNvSpPr txBox="1">
            <a:spLocks/>
          </p:cNvSpPr>
          <p:nvPr/>
        </p:nvSpPr>
        <p:spPr>
          <a:xfrm>
            <a:off x="4519247" y="2774001"/>
            <a:ext cx="1092994" cy="184666"/>
          </a:xfrm>
          <a:prstGeom prst="rect">
            <a:avLst/>
          </a:prstGeom>
          <a:noFill/>
          <a:ln w="9525">
            <a:noFill/>
          </a:ln>
        </p:spPr>
        <p:txBody>
          <a:bodyPr vert="horz" wrap="square" lIns="0" tIns="0" rIns="0" bIns="0" rtlCol="0">
            <a:spAutoFit/>
          </a:bodyPr>
          <a:lstStyle/>
          <a:p>
            <a:pPr defTabSz="614502">
              <a:spcBef>
                <a:spcPts val="244"/>
              </a:spcBef>
              <a:buSzPct val="100000"/>
            </a:pPr>
            <a:r>
              <a:rPr lang="en-US" sz="600">
                <a:latin typeface="+mj-lt"/>
                <a:cs typeface="Arial" panose="020B0604020202020204" pitchFamily="34" charset="0"/>
                <a:sym typeface="+mn-lt"/>
              </a:rPr>
              <a:t>Not yet developed for large scale transport</a:t>
            </a:r>
            <a:endParaRPr lang="en-US" sz="600" spc="-18">
              <a:latin typeface="+mj-lt"/>
              <a:cs typeface="Arial" panose="020B0604020202020204" pitchFamily="34" charset="0"/>
              <a:sym typeface="+mn-lt"/>
            </a:endParaRPr>
          </a:p>
        </p:txBody>
      </p:sp>
      <p:grpSp>
        <p:nvGrpSpPr>
          <p:cNvPr id="40" name="HarveyBall18">
            <a:extLst>
              <a:ext uri="{FF2B5EF4-FFF2-40B4-BE49-F238E27FC236}">
                <a16:creationId xmlns:a16="http://schemas.microsoft.com/office/drawing/2014/main" id="{35C33AF3-61EA-8CE8-9AD7-C5F0E01D0DA4}"/>
              </a:ext>
            </a:extLst>
          </p:cNvPr>
          <p:cNvGrpSpPr>
            <a:grpSpLocks noChangeAspect="1"/>
          </p:cNvGrpSpPr>
          <p:nvPr/>
        </p:nvGrpSpPr>
        <p:grpSpPr>
          <a:xfrm>
            <a:off x="4271047" y="2757409"/>
            <a:ext cx="192786" cy="192024"/>
            <a:chOff x="2411984" y="889000"/>
            <a:chExt cx="257048" cy="256032"/>
          </a:xfrm>
        </p:grpSpPr>
        <p:sp>
          <p:nvSpPr>
            <p:cNvPr id="41" name="HarveyBase15">
              <a:extLst>
                <a:ext uri="{FF2B5EF4-FFF2-40B4-BE49-F238E27FC236}">
                  <a16:creationId xmlns:a16="http://schemas.microsoft.com/office/drawing/2014/main" id="{79D5379A-F023-18F2-E6D8-A1B761DBC498}"/>
                </a:ext>
              </a:extLst>
            </p:cNvPr>
            <p:cNvSpPr/>
            <p:nvPr/>
          </p:nvSpPr>
          <p:spPr>
            <a:xfrm>
              <a:off x="2413000" y="889000"/>
              <a:ext cx="256032" cy="256032"/>
            </a:xfrm>
            <a:prstGeom prst="ellipse">
              <a:avLst/>
            </a:prstGeom>
            <a:solidFill>
              <a:schemeClr val="bg1"/>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noAutofit/>
            </a:bodyPr>
            <a:lstStyle/>
            <a:p>
              <a:pPr fontAlgn="base">
                <a:spcBef>
                  <a:spcPts val="300"/>
                </a:spcBef>
                <a:spcAft>
                  <a:spcPct val="0"/>
                </a:spcAft>
                <a:buSzPct val="100000"/>
              </a:pPr>
              <a:endParaRPr lang="en-US" sz="900" err="1">
                <a:solidFill>
                  <a:schemeClr val="tx1"/>
                </a:solidFill>
                <a:sym typeface="+mn-lt"/>
              </a:endParaRPr>
            </a:p>
          </p:txBody>
        </p:sp>
        <p:sp>
          <p:nvSpPr>
            <p:cNvPr id="42" name="HarveyState17">
              <a:extLst>
                <a:ext uri="{FF2B5EF4-FFF2-40B4-BE49-F238E27FC236}">
                  <a16:creationId xmlns:a16="http://schemas.microsoft.com/office/drawing/2014/main" id="{6DA5E138-6E83-7C8C-C43E-BC74689CD3C0}"/>
                </a:ext>
              </a:extLst>
            </p:cNvPr>
            <p:cNvSpPr/>
            <p:nvPr>
              <p:custDataLst>
                <p:tags r:id="rId3"/>
              </p:custDataLst>
            </p:nvPr>
          </p:nvSpPr>
          <p:spPr>
            <a:xfrm>
              <a:off x="2411984" y="889000"/>
              <a:ext cx="256032" cy="256032"/>
            </a:xfrm>
            <a:prstGeom prst="arc">
              <a:avLst>
                <a:gd name="adj1" fmla="val 16200000"/>
                <a:gd name="adj2" fmla="val 0"/>
              </a:avLst>
            </a:prstGeom>
            <a:solidFill>
              <a:schemeClr val="accent5"/>
            </a:solidFill>
            <a:ln w="6350" cmpd="sng">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350"/>
            </a:p>
          </p:txBody>
        </p:sp>
      </p:grpSp>
      <p:pic>
        <p:nvPicPr>
          <p:cNvPr id="43" name="Picture 42" descr="A large white truck&#10;&#10;Description automatically generated">
            <a:extLst>
              <a:ext uri="{FF2B5EF4-FFF2-40B4-BE49-F238E27FC236}">
                <a16:creationId xmlns:a16="http://schemas.microsoft.com/office/drawing/2014/main" id="{E59C8976-984B-37E6-7278-E336CCFDA262}"/>
              </a:ext>
            </a:extLst>
          </p:cNvPr>
          <p:cNvPicPr>
            <a:picLocks/>
          </p:cNvPicPr>
          <p:nvPr/>
        </p:nvPicPr>
        <p:blipFill rotWithShape="1">
          <a:blip r:embed="rId10" cstate="screen">
            <a:extLst>
              <a:ext uri="{28A0092B-C50C-407E-A947-70E740481C1C}">
                <a14:useLocalDpi xmlns:a14="http://schemas.microsoft.com/office/drawing/2010/main"/>
              </a:ext>
            </a:extLst>
          </a:blip>
          <a:srcRect/>
          <a:stretch/>
        </p:blipFill>
        <p:spPr>
          <a:xfrm>
            <a:off x="5820387" y="1720474"/>
            <a:ext cx="1396604" cy="756047"/>
          </a:xfrm>
          <a:prstGeom prst="rect">
            <a:avLst/>
          </a:prstGeom>
          <a:ln>
            <a:solidFill>
              <a:schemeClr val="bg2"/>
            </a:solidFill>
          </a:ln>
        </p:spPr>
      </p:pic>
      <p:sp>
        <p:nvSpPr>
          <p:cNvPr id="44" name="RBContent19">
            <a:extLst>
              <a:ext uri="{FF2B5EF4-FFF2-40B4-BE49-F238E27FC236}">
                <a16:creationId xmlns:a16="http://schemas.microsoft.com/office/drawing/2014/main" id="{72AEE0BE-30DB-65D4-8DF5-E8C0E1A5E637}"/>
              </a:ext>
            </a:extLst>
          </p:cNvPr>
          <p:cNvSpPr txBox="1">
            <a:spLocks/>
          </p:cNvSpPr>
          <p:nvPr/>
        </p:nvSpPr>
        <p:spPr>
          <a:xfrm>
            <a:off x="5820387" y="4195090"/>
            <a:ext cx="1391841" cy="196208"/>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Flexible as long as there is access by road</a:t>
            </a:r>
          </a:p>
        </p:txBody>
      </p:sp>
      <p:sp>
        <p:nvSpPr>
          <p:cNvPr id="45" name="RBContent19">
            <a:extLst>
              <a:ext uri="{FF2B5EF4-FFF2-40B4-BE49-F238E27FC236}">
                <a16:creationId xmlns:a16="http://schemas.microsoft.com/office/drawing/2014/main" id="{70014F6C-D233-3313-DCE8-378167A49544}"/>
              </a:ext>
            </a:extLst>
          </p:cNvPr>
          <p:cNvSpPr txBox="1">
            <a:spLocks/>
          </p:cNvSpPr>
          <p:nvPr/>
        </p:nvSpPr>
        <p:spPr>
          <a:xfrm>
            <a:off x="5820387" y="3119108"/>
            <a:ext cx="1391841" cy="98104"/>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Up to ~40 ton per truck</a:t>
            </a:r>
          </a:p>
        </p:txBody>
      </p:sp>
      <p:sp>
        <p:nvSpPr>
          <p:cNvPr id="46" name="RBContent19">
            <a:extLst>
              <a:ext uri="{FF2B5EF4-FFF2-40B4-BE49-F238E27FC236}">
                <a16:creationId xmlns:a16="http://schemas.microsoft.com/office/drawing/2014/main" id="{F03DEFA4-AC76-8031-6143-1A21E2F95117}"/>
              </a:ext>
            </a:extLst>
          </p:cNvPr>
          <p:cNvSpPr txBox="1">
            <a:spLocks/>
          </p:cNvSpPr>
          <p:nvPr/>
        </p:nvSpPr>
        <p:spPr>
          <a:xfrm>
            <a:off x="5820387" y="3567225"/>
            <a:ext cx="1391841" cy="294311"/>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Some investment required in trucks, OPEX twice as much as transport by pipeline</a:t>
            </a:r>
          </a:p>
        </p:txBody>
      </p:sp>
      <p:sp>
        <p:nvSpPr>
          <p:cNvPr id="47" name="Title55">
            <a:extLst>
              <a:ext uri="{FF2B5EF4-FFF2-40B4-BE49-F238E27FC236}">
                <a16:creationId xmlns:a16="http://schemas.microsoft.com/office/drawing/2014/main" id="{9FE3A913-BDAC-CCE2-93FD-3E71FD08A4D5}"/>
              </a:ext>
            </a:extLst>
          </p:cNvPr>
          <p:cNvSpPr txBox="1">
            <a:spLocks/>
          </p:cNvSpPr>
          <p:nvPr/>
        </p:nvSpPr>
        <p:spPr>
          <a:xfrm>
            <a:off x="5820387" y="1500076"/>
            <a:ext cx="1218051" cy="209863"/>
          </a:xfrm>
          <a:prstGeom prst="rect">
            <a:avLst/>
          </a:prstGeom>
          <a:noFill/>
          <a:ln w="9525">
            <a:noFill/>
          </a:ln>
        </p:spPr>
        <p:txBody>
          <a:bodyPr vert="horz" wrap="square" lIns="0" tIns="0" rIns="0" bIns="43241" rtlCol="0" anchor="b">
            <a:spAutoFit/>
          </a:bodyPr>
          <a:lstStyle/>
          <a:p>
            <a:pPr>
              <a:lnSpc>
                <a:spcPct val="90000"/>
              </a:lnSpc>
              <a:spcBef>
                <a:spcPts val="244"/>
              </a:spcBef>
              <a:buSzPct val="100000"/>
            </a:pPr>
            <a:r>
              <a:rPr lang="en-US" sz="1200" b="1">
                <a:solidFill>
                  <a:schemeClr val="accent5"/>
                </a:solidFill>
                <a:latin typeface="+mj-lt"/>
                <a:cs typeface="Arial Narrow" pitchFamily="34" charset="0"/>
              </a:rPr>
              <a:t>Truck</a:t>
            </a:r>
          </a:p>
        </p:txBody>
      </p:sp>
      <p:sp>
        <p:nvSpPr>
          <p:cNvPr id="48" name="RBContent19">
            <a:extLst>
              <a:ext uri="{FF2B5EF4-FFF2-40B4-BE49-F238E27FC236}">
                <a16:creationId xmlns:a16="http://schemas.microsoft.com/office/drawing/2014/main" id="{E6C92932-E53E-B2D0-E93D-B6F21798BE1D}"/>
              </a:ext>
            </a:extLst>
          </p:cNvPr>
          <p:cNvSpPr txBox="1">
            <a:spLocks/>
          </p:cNvSpPr>
          <p:nvPr/>
        </p:nvSpPr>
        <p:spPr>
          <a:xfrm>
            <a:off x="5820388" y="2552492"/>
            <a:ext cx="1313260" cy="98104"/>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Commercially available</a:t>
            </a:r>
          </a:p>
        </p:txBody>
      </p:sp>
      <p:sp>
        <p:nvSpPr>
          <p:cNvPr id="49" name="RBContent19">
            <a:extLst>
              <a:ext uri="{FF2B5EF4-FFF2-40B4-BE49-F238E27FC236}">
                <a16:creationId xmlns:a16="http://schemas.microsoft.com/office/drawing/2014/main" id="{307DC377-DE5D-5846-FEE2-4E1F4713FBB3}"/>
              </a:ext>
            </a:extLst>
          </p:cNvPr>
          <p:cNvSpPr txBox="1">
            <a:spLocks/>
          </p:cNvSpPr>
          <p:nvPr/>
        </p:nvSpPr>
        <p:spPr>
          <a:xfrm>
            <a:off x="6068587" y="2813243"/>
            <a:ext cx="1092994" cy="92333"/>
          </a:xfrm>
          <a:prstGeom prst="rect">
            <a:avLst/>
          </a:prstGeom>
          <a:noFill/>
          <a:ln w="9525">
            <a:noFill/>
          </a:ln>
        </p:spPr>
        <p:txBody>
          <a:bodyPr vert="horz" wrap="square" lIns="0" tIns="0" rIns="0" bIns="0" rtlCol="0">
            <a:spAutoFit/>
          </a:bodyPr>
          <a:lstStyle/>
          <a:p>
            <a:pPr defTabSz="614502">
              <a:spcBef>
                <a:spcPts val="244"/>
              </a:spcBef>
              <a:buSzPct val="100000"/>
            </a:pPr>
            <a:r>
              <a:rPr lang="en-US" sz="600">
                <a:latin typeface="+mj-lt"/>
                <a:cs typeface="Arial" panose="020B0604020202020204" pitchFamily="34" charset="0"/>
                <a:sym typeface="+mn-lt"/>
              </a:rPr>
              <a:t>Specialized transport exists</a:t>
            </a:r>
            <a:endParaRPr lang="en-US" sz="600" spc="-18">
              <a:latin typeface="+mj-lt"/>
              <a:cs typeface="Arial" panose="020B0604020202020204" pitchFamily="34" charset="0"/>
              <a:sym typeface="+mn-lt"/>
            </a:endParaRPr>
          </a:p>
        </p:txBody>
      </p:sp>
      <p:grpSp>
        <p:nvGrpSpPr>
          <p:cNvPr id="50" name="HarveyBall18">
            <a:extLst>
              <a:ext uri="{FF2B5EF4-FFF2-40B4-BE49-F238E27FC236}">
                <a16:creationId xmlns:a16="http://schemas.microsoft.com/office/drawing/2014/main" id="{B6D4E1C0-9E18-3286-FEA7-05022FFE0051}"/>
              </a:ext>
            </a:extLst>
          </p:cNvPr>
          <p:cNvGrpSpPr>
            <a:grpSpLocks noChangeAspect="1"/>
          </p:cNvGrpSpPr>
          <p:nvPr/>
        </p:nvGrpSpPr>
        <p:grpSpPr>
          <a:xfrm>
            <a:off x="5820387" y="2757409"/>
            <a:ext cx="192786" cy="192024"/>
            <a:chOff x="2411984" y="889000"/>
            <a:chExt cx="257048" cy="256032"/>
          </a:xfrm>
        </p:grpSpPr>
        <p:sp>
          <p:nvSpPr>
            <p:cNvPr id="51" name="HarveyBase15">
              <a:extLst>
                <a:ext uri="{FF2B5EF4-FFF2-40B4-BE49-F238E27FC236}">
                  <a16:creationId xmlns:a16="http://schemas.microsoft.com/office/drawing/2014/main" id="{E97F92A2-3C0B-E15E-7F00-AD0F292F01DF}"/>
                </a:ext>
              </a:extLst>
            </p:cNvPr>
            <p:cNvSpPr/>
            <p:nvPr/>
          </p:nvSpPr>
          <p:spPr>
            <a:xfrm>
              <a:off x="2413000" y="889000"/>
              <a:ext cx="256032" cy="256032"/>
            </a:xfrm>
            <a:prstGeom prst="ellipse">
              <a:avLst/>
            </a:prstGeom>
            <a:solidFill>
              <a:schemeClr val="bg1"/>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noAutofit/>
            </a:bodyPr>
            <a:lstStyle/>
            <a:p>
              <a:pPr fontAlgn="base">
                <a:spcBef>
                  <a:spcPts val="300"/>
                </a:spcBef>
                <a:spcAft>
                  <a:spcPct val="0"/>
                </a:spcAft>
                <a:buSzPct val="100000"/>
              </a:pPr>
              <a:endParaRPr lang="en-US" sz="900" err="1">
                <a:solidFill>
                  <a:schemeClr val="tx1"/>
                </a:solidFill>
                <a:sym typeface="+mn-lt"/>
              </a:endParaRPr>
            </a:p>
          </p:txBody>
        </p:sp>
        <p:sp>
          <p:nvSpPr>
            <p:cNvPr id="52" name="HarveyState17">
              <a:extLst>
                <a:ext uri="{FF2B5EF4-FFF2-40B4-BE49-F238E27FC236}">
                  <a16:creationId xmlns:a16="http://schemas.microsoft.com/office/drawing/2014/main" id="{B16A94F1-D591-90F3-672E-E9CB0C1A849F}"/>
                </a:ext>
              </a:extLst>
            </p:cNvPr>
            <p:cNvSpPr/>
            <p:nvPr>
              <p:custDataLst>
                <p:tags r:id="rId2"/>
              </p:custDataLst>
            </p:nvPr>
          </p:nvSpPr>
          <p:spPr>
            <a:xfrm>
              <a:off x="2411984" y="889000"/>
              <a:ext cx="256032" cy="256032"/>
            </a:xfrm>
            <a:prstGeom prst="arc">
              <a:avLst>
                <a:gd name="adj1" fmla="val 16200000"/>
                <a:gd name="adj2" fmla="val 10800000"/>
              </a:avLst>
            </a:prstGeom>
            <a:solidFill>
              <a:schemeClr val="accent5"/>
            </a:solidFill>
            <a:ln w="6350" cmpd="sng">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350"/>
            </a:p>
          </p:txBody>
        </p:sp>
      </p:grpSp>
      <p:grpSp>
        <p:nvGrpSpPr>
          <p:cNvPr id="53" name="Group 52">
            <a:extLst>
              <a:ext uri="{FF2B5EF4-FFF2-40B4-BE49-F238E27FC236}">
                <a16:creationId xmlns:a16="http://schemas.microsoft.com/office/drawing/2014/main" id="{923B417E-6034-9CC4-6801-A7629E19EB75}"/>
              </a:ext>
            </a:extLst>
          </p:cNvPr>
          <p:cNvGrpSpPr/>
          <p:nvPr/>
        </p:nvGrpSpPr>
        <p:grpSpPr>
          <a:xfrm>
            <a:off x="7356039" y="1720474"/>
            <a:ext cx="1394222" cy="756047"/>
            <a:chOff x="9858375" y="2411278"/>
            <a:chExt cx="1858963" cy="1008063"/>
          </a:xfrm>
        </p:grpSpPr>
        <p:pic>
          <p:nvPicPr>
            <p:cNvPr id="54" name="Picture 53" descr="A bottle of wine&#10;&#10;Description automatically generated">
              <a:extLst>
                <a:ext uri="{FF2B5EF4-FFF2-40B4-BE49-F238E27FC236}">
                  <a16:creationId xmlns:a16="http://schemas.microsoft.com/office/drawing/2014/main" id="{8B228C49-0668-CC48-1B08-09152333212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210470" y="2451759"/>
              <a:ext cx="1154772" cy="927100"/>
            </a:xfrm>
            <a:prstGeom prst="rect">
              <a:avLst/>
            </a:prstGeom>
          </p:spPr>
        </p:pic>
        <p:pic>
          <p:nvPicPr>
            <p:cNvPr id="55" name="Picture 54" descr="A row of cars on a sandy beach&#10;&#10;Description automatically generated">
              <a:extLst>
                <a:ext uri="{FF2B5EF4-FFF2-40B4-BE49-F238E27FC236}">
                  <a16:creationId xmlns:a16="http://schemas.microsoft.com/office/drawing/2014/main" id="{A8FEFD1D-97D4-27F1-76E6-E937D2128404}"/>
                </a:ext>
              </a:extLst>
            </p:cNvPr>
            <p:cNvPicPr>
              <a:picLocks/>
            </p:cNvPicPr>
            <p:nvPr/>
          </p:nvPicPr>
          <p:blipFill rotWithShape="1">
            <a:blip r:embed="rId6" cstate="screen">
              <a:alphaModFix amt="5000"/>
              <a:extLst>
                <a:ext uri="{28A0092B-C50C-407E-A947-70E740481C1C}">
                  <a14:useLocalDpi xmlns:a14="http://schemas.microsoft.com/office/drawing/2010/main"/>
                </a:ext>
              </a:extLst>
            </a:blip>
            <a:srcRect t="-1"/>
            <a:stretch/>
          </p:blipFill>
          <p:spPr>
            <a:xfrm>
              <a:off x="9858375" y="2411278"/>
              <a:ext cx="1858963" cy="1008063"/>
            </a:xfrm>
            <a:prstGeom prst="rect">
              <a:avLst/>
            </a:prstGeom>
            <a:ln>
              <a:solidFill>
                <a:schemeClr val="bg2"/>
              </a:solidFill>
            </a:ln>
          </p:spPr>
        </p:pic>
      </p:grpSp>
      <p:sp>
        <p:nvSpPr>
          <p:cNvPr id="56" name="RBContent19">
            <a:extLst>
              <a:ext uri="{FF2B5EF4-FFF2-40B4-BE49-F238E27FC236}">
                <a16:creationId xmlns:a16="http://schemas.microsoft.com/office/drawing/2014/main" id="{2479CC7A-6823-1B74-D586-08E6C2B05B26}"/>
              </a:ext>
            </a:extLst>
          </p:cNvPr>
          <p:cNvSpPr txBox="1">
            <a:spLocks/>
          </p:cNvSpPr>
          <p:nvPr/>
        </p:nvSpPr>
        <p:spPr>
          <a:xfrm>
            <a:off x="7356039" y="4195090"/>
            <a:ext cx="1391841" cy="196208"/>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Flexible as long as there is access by road</a:t>
            </a:r>
          </a:p>
        </p:txBody>
      </p:sp>
      <p:sp>
        <p:nvSpPr>
          <p:cNvPr id="57" name="RBContent19">
            <a:extLst>
              <a:ext uri="{FF2B5EF4-FFF2-40B4-BE49-F238E27FC236}">
                <a16:creationId xmlns:a16="http://schemas.microsoft.com/office/drawing/2014/main" id="{32D92FF5-CD37-6586-B6FB-63D1045BCF70}"/>
              </a:ext>
            </a:extLst>
          </p:cNvPr>
          <p:cNvSpPr txBox="1">
            <a:spLocks/>
          </p:cNvSpPr>
          <p:nvPr/>
        </p:nvSpPr>
        <p:spPr>
          <a:xfrm>
            <a:off x="7356039" y="3119108"/>
            <a:ext cx="1391841" cy="98104"/>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Up to ~100 kg per cylinder</a:t>
            </a:r>
          </a:p>
        </p:txBody>
      </p:sp>
      <p:sp>
        <p:nvSpPr>
          <p:cNvPr id="58" name="RBContent19">
            <a:extLst>
              <a:ext uri="{FF2B5EF4-FFF2-40B4-BE49-F238E27FC236}">
                <a16:creationId xmlns:a16="http://schemas.microsoft.com/office/drawing/2014/main" id="{C343B961-AD07-1068-D0AF-E94A2C05FEF8}"/>
              </a:ext>
            </a:extLst>
          </p:cNvPr>
          <p:cNvSpPr txBox="1">
            <a:spLocks/>
          </p:cNvSpPr>
          <p:nvPr/>
        </p:nvSpPr>
        <p:spPr>
          <a:xfrm>
            <a:off x="7356039" y="3567225"/>
            <a:ext cx="1391841" cy="196208"/>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Low cost: standardized cylinders available on the market </a:t>
            </a:r>
          </a:p>
        </p:txBody>
      </p:sp>
      <p:sp>
        <p:nvSpPr>
          <p:cNvPr id="59" name="Title55">
            <a:extLst>
              <a:ext uri="{FF2B5EF4-FFF2-40B4-BE49-F238E27FC236}">
                <a16:creationId xmlns:a16="http://schemas.microsoft.com/office/drawing/2014/main" id="{2430853A-34B3-1C97-C709-18EAD7805A0C}"/>
              </a:ext>
            </a:extLst>
          </p:cNvPr>
          <p:cNvSpPr txBox="1">
            <a:spLocks/>
          </p:cNvSpPr>
          <p:nvPr/>
        </p:nvSpPr>
        <p:spPr>
          <a:xfrm>
            <a:off x="7356039" y="1500076"/>
            <a:ext cx="1218051" cy="209863"/>
          </a:xfrm>
          <a:prstGeom prst="rect">
            <a:avLst/>
          </a:prstGeom>
          <a:noFill/>
          <a:ln w="9525">
            <a:noFill/>
          </a:ln>
        </p:spPr>
        <p:txBody>
          <a:bodyPr vert="horz" wrap="square" lIns="0" tIns="0" rIns="0" bIns="43241" rtlCol="0" anchor="b">
            <a:spAutoFit/>
          </a:bodyPr>
          <a:lstStyle/>
          <a:p>
            <a:pPr>
              <a:lnSpc>
                <a:spcPct val="90000"/>
              </a:lnSpc>
              <a:spcBef>
                <a:spcPts val="244"/>
              </a:spcBef>
              <a:buSzPct val="100000"/>
            </a:pPr>
            <a:r>
              <a:rPr lang="en-US" sz="1200" b="1">
                <a:solidFill>
                  <a:schemeClr val="accent5"/>
                </a:solidFill>
                <a:latin typeface="+mj-lt"/>
                <a:cs typeface="Arial Narrow" pitchFamily="34" charset="0"/>
              </a:rPr>
              <a:t>Cylinder</a:t>
            </a:r>
          </a:p>
        </p:txBody>
      </p:sp>
      <p:sp>
        <p:nvSpPr>
          <p:cNvPr id="60" name="RBContent19">
            <a:extLst>
              <a:ext uri="{FF2B5EF4-FFF2-40B4-BE49-F238E27FC236}">
                <a16:creationId xmlns:a16="http://schemas.microsoft.com/office/drawing/2014/main" id="{978524E9-2502-C584-3342-FD477071895F}"/>
              </a:ext>
            </a:extLst>
          </p:cNvPr>
          <p:cNvSpPr txBox="1">
            <a:spLocks/>
          </p:cNvSpPr>
          <p:nvPr/>
        </p:nvSpPr>
        <p:spPr>
          <a:xfrm>
            <a:off x="7356039" y="2552492"/>
            <a:ext cx="1312069" cy="98104"/>
          </a:xfrm>
          <a:prstGeom prst="rect">
            <a:avLst/>
          </a:prstGeom>
          <a:noFill/>
          <a:ln w="9525">
            <a:noFill/>
          </a:ln>
        </p:spPr>
        <p:txBody>
          <a:bodyPr vert="horz" wrap="square" lIns="0" tIns="0" rIns="0" bIns="0" rtlCol="0">
            <a:spAutoFit/>
          </a:bodyPr>
          <a:lstStyle/>
          <a:p>
            <a:pPr defTabSz="614502">
              <a:lnSpc>
                <a:spcPct val="85000"/>
              </a:lnSpc>
              <a:spcBef>
                <a:spcPts val="244"/>
              </a:spcBef>
              <a:buSzPct val="100000"/>
            </a:pPr>
            <a:r>
              <a:rPr lang="en-US" sz="750">
                <a:latin typeface="+mj-lt"/>
                <a:cs typeface="Arial" panose="020B0604020202020204" pitchFamily="34" charset="0"/>
                <a:sym typeface="+mn-lt"/>
              </a:rPr>
              <a:t>Commercially available</a:t>
            </a:r>
          </a:p>
        </p:txBody>
      </p:sp>
      <p:sp>
        <p:nvSpPr>
          <p:cNvPr id="61" name="RBContent19">
            <a:extLst>
              <a:ext uri="{FF2B5EF4-FFF2-40B4-BE49-F238E27FC236}">
                <a16:creationId xmlns:a16="http://schemas.microsoft.com/office/drawing/2014/main" id="{0E51FC52-AD04-F383-AA64-12D3AFD76CB0}"/>
              </a:ext>
            </a:extLst>
          </p:cNvPr>
          <p:cNvSpPr txBox="1">
            <a:spLocks/>
          </p:cNvSpPr>
          <p:nvPr/>
        </p:nvSpPr>
        <p:spPr>
          <a:xfrm>
            <a:off x="7604238" y="2774001"/>
            <a:ext cx="1091804" cy="92333"/>
          </a:xfrm>
          <a:prstGeom prst="rect">
            <a:avLst/>
          </a:prstGeom>
          <a:noFill/>
          <a:ln w="9525">
            <a:noFill/>
          </a:ln>
        </p:spPr>
        <p:txBody>
          <a:bodyPr vert="horz" wrap="square" lIns="0" tIns="0" rIns="0" bIns="0" rtlCol="0">
            <a:spAutoFit/>
          </a:bodyPr>
          <a:lstStyle/>
          <a:p>
            <a:pPr defTabSz="614502">
              <a:spcBef>
                <a:spcPts val="244"/>
              </a:spcBef>
              <a:buSzPct val="100000"/>
            </a:pPr>
            <a:r>
              <a:rPr lang="en-US" sz="600">
                <a:latin typeface="+mj-lt"/>
                <a:cs typeface="Arial" panose="020B0604020202020204" pitchFamily="34" charset="0"/>
                <a:sym typeface="+mn-lt"/>
              </a:rPr>
              <a:t>Not designed for large volumes</a:t>
            </a:r>
            <a:endParaRPr lang="en-US" sz="600" spc="-18">
              <a:latin typeface="+mj-lt"/>
              <a:cs typeface="Arial" panose="020B0604020202020204" pitchFamily="34" charset="0"/>
              <a:sym typeface="+mn-lt"/>
            </a:endParaRPr>
          </a:p>
        </p:txBody>
      </p:sp>
      <p:grpSp>
        <p:nvGrpSpPr>
          <p:cNvPr id="62" name="HarveyBall18">
            <a:extLst>
              <a:ext uri="{FF2B5EF4-FFF2-40B4-BE49-F238E27FC236}">
                <a16:creationId xmlns:a16="http://schemas.microsoft.com/office/drawing/2014/main" id="{46E0A729-7E63-22FC-DC1A-519741819CCE}"/>
              </a:ext>
            </a:extLst>
          </p:cNvPr>
          <p:cNvGrpSpPr>
            <a:grpSpLocks noChangeAspect="1"/>
          </p:cNvGrpSpPr>
          <p:nvPr/>
        </p:nvGrpSpPr>
        <p:grpSpPr>
          <a:xfrm>
            <a:off x="7356039" y="2757409"/>
            <a:ext cx="192786" cy="192024"/>
            <a:chOff x="2411984" y="889000"/>
            <a:chExt cx="257048" cy="256032"/>
          </a:xfrm>
        </p:grpSpPr>
        <p:sp>
          <p:nvSpPr>
            <p:cNvPr id="63" name="HarveyBase15">
              <a:extLst>
                <a:ext uri="{FF2B5EF4-FFF2-40B4-BE49-F238E27FC236}">
                  <a16:creationId xmlns:a16="http://schemas.microsoft.com/office/drawing/2014/main" id="{811757BF-6D72-7D55-7647-A8E783B73282}"/>
                </a:ext>
              </a:extLst>
            </p:cNvPr>
            <p:cNvSpPr/>
            <p:nvPr/>
          </p:nvSpPr>
          <p:spPr>
            <a:xfrm>
              <a:off x="2413000" y="889000"/>
              <a:ext cx="256032" cy="256032"/>
            </a:xfrm>
            <a:prstGeom prst="ellipse">
              <a:avLst/>
            </a:prstGeom>
            <a:solidFill>
              <a:schemeClr val="bg1"/>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noAutofit/>
            </a:bodyPr>
            <a:lstStyle/>
            <a:p>
              <a:pPr fontAlgn="base">
                <a:spcBef>
                  <a:spcPts val="300"/>
                </a:spcBef>
                <a:spcAft>
                  <a:spcPct val="0"/>
                </a:spcAft>
                <a:buSzPct val="100000"/>
              </a:pPr>
              <a:endParaRPr lang="en-US" sz="900" err="1">
                <a:solidFill>
                  <a:schemeClr val="tx1"/>
                </a:solidFill>
                <a:sym typeface="+mn-lt"/>
              </a:endParaRPr>
            </a:p>
          </p:txBody>
        </p:sp>
        <p:sp>
          <p:nvSpPr>
            <p:cNvPr id="64" name="HarveyState17">
              <a:extLst>
                <a:ext uri="{FF2B5EF4-FFF2-40B4-BE49-F238E27FC236}">
                  <a16:creationId xmlns:a16="http://schemas.microsoft.com/office/drawing/2014/main" id="{26282A4E-BBBC-963B-9B3E-050322871DF5}"/>
                </a:ext>
              </a:extLst>
            </p:cNvPr>
            <p:cNvSpPr/>
            <p:nvPr>
              <p:custDataLst>
                <p:tags r:id="rId1"/>
              </p:custDataLst>
            </p:nvPr>
          </p:nvSpPr>
          <p:spPr>
            <a:xfrm>
              <a:off x="2411984" y="889000"/>
              <a:ext cx="256032" cy="256032"/>
            </a:xfrm>
            <a:prstGeom prst="arc">
              <a:avLst>
                <a:gd name="adj1" fmla="val 16200000"/>
                <a:gd name="adj2" fmla="val 10800000"/>
              </a:avLst>
            </a:prstGeom>
            <a:solidFill>
              <a:schemeClr val="accent5"/>
            </a:solidFill>
            <a:ln w="6350" cmpd="sng">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350"/>
            </a:p>
          </p:txBody>
        </p:sp>
      </p:grpSp>
      <p:sp>
        <p:nvSpPr>
          <p:cNvPr id="65" name="Source">
            <a:extLst>
              <a:ext uri="{FF2B5EF4-FFF2-40B4-BE49-F238E27FC236}">
                <a16:creationId xmlns:a16="http://schemas.microsoft.com/office/drawing/2014/main" id="{341EACCC-01C2-FBD7-F0FA-4748EAAD4586}"/>
              </a:ext>
            </a:extLst>
          </p:cNvPr>
          <p:cNvSpPr txBox="1"/>
          <p:nvPr/>
        </p:nvSpPr>
        <p:spPr>
          <a:xfrm>
            <a:off x="7815722" y="1329785"/>
            <a:ext cx="1218282"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dirty="0">
                <a:sym typeface="+mn-lt"/>
              </a:rPr>
              <a:t>Source: </a:t>
            </a:r>
            <a:r>
              <a:rPr lang="sv-SE" sz="600" dirty="0">
                <a:sym typeface="+mn-lt"/>
              </a:rPr>
              <a:t>IPCC, Yara, Roland Berger</a:t>
            </a:r>
            <a:endParaRPr lang="en-US" sz="600" dirty="0">
              <a:sym typeface="+mn-lt"/>
            </a:endParaRPr>
          </a:p>
        </p:txBody>
      </p:sp>
      <p:sp>
        <p:nvSpPr>
          <p:cNvPr id="66" name="TextBox 65">
            <a:extLst>
              <a:ext uri="{FF2B5EF4-FFF2-40B4-BE49-F238E27FC236}">
                <a16:creationId xmlns:a16="http://schemas.microsoft.com/office/drawing/2014/main" id="{0E9638F4-3BE9-1723-B324-6BB114247D36}"/>
              </a:ext>
            </a:extLst>
          </p:cNvPr>
          <p:cNvSpPr txBox="1"/>
          <p:nvPr/>
        </p:nvSpPr>
        <p:spPr>
          <a:xfrm>
            <a:off x="168274" y="1166813"/>
            <a:ext cx="7579731" cy="276999"/>
          </a:xfrm>
          <a:prstGeom prst="rect">
            <a:avLst/>
          </a:prstGeom>
          <a:noFill/>
        </p:spPr>
        <p:txBody>
          <a:bodyPr wrap="square">
            <a:spAutoFit/>
          </a:bodyPr>
          <a:lstStyle/>
          <a:p>
            <a:r>
              <a:rPr lang="en-US" sz="1200" dirty="0">
                <a:solidFill>
                  <a:schemeClr val="tx2"/>
                </a:solidFill>
                <a:latin typeface="+mj-lt"/>
                <a:cs typeface="+mj-cs"/>
                <a:sym typeface="+mn-lt"/>
              </a:rPr>
              <a:t>CO2 transportation options</a:t>
            </a:r>
          </a:p>
        </p:txBody>
      </p:sp>
      <p:grpSp>
        <p:nvGrpSpPr>
          <p:cNvPr id="67" name="Group 68">
            <a:extLst>
              <a:ext uri="{FF2B5EF4-FFF2-40B4-BE49-F238E27FC236}">
                <a16:creationId xmlns:a16="http://schemas.microsoft.com/office/drawing/2014/main" id="{AEC2F24A-74CD-CC0B-9C21-C4AFB203AC62}"/>
              </a:ext>
            </a:extLst>
          </p:cNvPr>
          <p:cNvGrpSpPr/>
          <p:nvPr/>
        </p:nvGrpSpPr>
        <p:grpSpPr>
          <a:xfrm>
            <a:off x="267604" y="-985"/>
            <a:ext cx="1821103" cy="246221"/>
            <a:chOff x="267604" y="3778"/>
            <a:chExt cx="1821103" cy="246221"/>
          </a:xfrm>
        </p:grpSpPr>
        <p:sp>
          <p:nvSpPr>
            <p:cNvPr id="68" name="Oval 69">
              <a:extLst>
                <a:ext uri="{FF2B5EF4-FFF2-40B4-BE49-F238E27FC236}">
                  <a16:creationId xmlns:a16="http://schemas.microsoft.com/office/drawing/2014/main" id="{3331D364-02CF-90A8-4592-F6D2DCB6F484}"/>
                </a:ext>
              </a:extLst>
            </p:cNvPr>
            <p:cNvSpPr/>
            <p:nvPr/>
          </p:nvSpPr>
          <p:spPr>
            <a:xfrm>
              <a:off x="267604" y="45746"/>
              <a:ext cx="162285" cy="162285"/>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RB Office"/>
                  <a:ea typeface="Microsoft YaHei"/>
                  <a:cs typeface="Calibri"/>
                </a:rPr>
                <a:t>C</a:t>
              </a:r>
            </a:p>
          </p:txBody>
        </p:sp>
        <p:sp>
          <p:nvSpPr>
            <p:cNvPr id="69" name="TextBox 70">
              <a:extLst>
                <a:ext uri="{FF2B5EF4-FFF2-40B4-BE49-F238E27FC236}">
                  <a16:creationId xmlns:a16="http://schemas.microsoft.com/office/drawing/2014/main" id="{B08D6724-1E08-DBE9-F3EA-A6A30AE89F37}"/>
                </a:ext>
              </a:extLst>
            </p:cNvPr>
            <p:cNvSpPr txBox="1"/>
            <p:nvPr/>
          </p:nvSpPr>
          <p:spPr>
            <a:xfrm>
              <a:off x="362201" y="3778"/>
              <a:ext cx="1726506" cy="246221"/>
            </a:xfrm>
            <a:prstGeom prst="rect">
              <a:avLst/>
            </a:prstGeom>
            <a:noFill/>
          </p:spPr>
          <p:txBody>
            <a:bodyPr wrap="square" rtlCol="0" anchor="ctr">
              <a:spAutoFit/>
            </a:bodyPr>
            <a:lstStyle/>
            <a:p>
              <a:r>
                <a:rPr lang="en-GB" sz="1000" dirty="0"/>
                <a:t>CO</a:t>
              </a:r>
              <a:r>
                <a:rPr lang="en-GB" sz="1000" baseline="-25000" dirty="0"/>
                <a:t>2 </a:t>
              </a:r>
              <a:r>
                <a:rPr lang="en-GB" sz="1000" dirty="0"/>
                <a:t>infrastructure</a:t>
              </a:r>
            </a:p>
          </p:txBody>
        </p:sp>
      </p:grpSp>
    </p:spTree>
    <p:extLst>
      <p:ext uri="{BB962C8B-B14F-4D97-AF65-F5344CB8AC3E}">
        <p14:creationId xmlns:p14="http://schemas.microsoft.com/office/powerpoint/2010/main" val="32978949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37471-BA50-DD41-6B78-BFE3A3539276}"/>
              </a:ext>
            </a:extLst>
          </p:cNvPr>
          <p:cNvSpPr txBox="1">
            <a:spLocks/>
          </p:cNvSpPr>
          <p:nvPr/>
        </p:nvSpPr>
        <p:spPr>
          <a:xfrm>
            <a:off x="317977" y="869547"/>
            <a:ext cx="8575197" cy="576000"/>
          </a:xfrm>
          <a:prstGeom prst="rect">
            <a:avLst/>
          </a:prstGeom>
        </p:spPr>
        <p:txBody>
          <a:bodyPr vert="horz" wrap="square" lIns="0" tIns="0" rIns="0" bIns="0" rtlCol="0" anchor="t" anchorCtr="0">
            <a:noAutofit/>
          </a:bodyPr>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pPr defTabSz="844083">
              <a:lnSpc>
                <a:spcPct val="100000"/>
              </a:lnSpc>
            </a:pPr>
            <a:r>
              <a:rPr lang="en-US" sz="1200" dirty="0"/>
              <a:t>Nuclear is experiencing a short-term revival in EU and Asia Accessibility for new players requires inorganic moves </a:t>
            </a:r>
            <a:endParaRPr lang="en-US" sz="1200" dirty="0">
              <a:solidFill>
                <a:srgbClr val="FF0000"/>
              </a:solidFill>
              <a:sym typeface="+mn-lt"/>
            </a:endParaRPr>
          </a:p>
        </p:txBody>
      </p:sp>
      <p:sp>
        <p:nvSpPr>
          <p:cNvPr id="3" name="Source">
            <a:extLst>
              <a:ext uri="{FF2B5EF4-FFF2-40B4-BE49-F238E27FC236}">
                <a16:creationId xmlns:a16="http://schemas.microsoft.com/office/drawing/2014/main" id="{41090A6F-17B1-12D3-01D4-C31625D909CC}"/>
              </a:ext>
            </a:extLst>
          </p:cNvPr>
          <p:cNvSpPr txBox="1"/>
          <p:nvPr/>
        </p:nvSpPr>
        <p:spPr>
          <a:xfrm>
            <a:off x="6861364" y="1335098"/>
            <a:ext cx="3929318" cy="83100"/>
          </a:xfrm>
          <a:prstGeom prst="rect">
            <a:avLst/>
          </a:prstGeom>
          <a:noFill/>
          <a:ln w="9525">
            <a:noFill/>
          </a:ln>
        </p:spPr>
        <p:txBody>
          <a:bodyPr vert="horz" wrap="squar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dirty="0">
                <a:sym typeface="+mn-lt"/>
              </a:rPr>
              <a:t>Source: </a:t>
            </a:r>
            <a:r>
              <a:rPr lang="sv-SE" sz="600" dirty="0">
                <a:sym typeface="+mn-lt"/>
              </a:rPr>
              <a:t>IEA, World Nuclear, Association, Roland Berger</a:t>
            </a:r>
            <a:endParaRPr lang="en-US" sz="600" dirty="0">
              <a:sym typeface="+mn-lt"/>
            </a:endParaRPr>
          </a:p>
        </p:txBody>
      </p:sp>
      <p:sp>
        <p:nvSpPr>
          <p:cNvPr id="4" name="Freeform: Shape 46">
            <a:extLst>
              <a:ext uri="{FF2B5EF4-FFF2-40B4-BE49-F238E27FC236}">
                <a16:creationId xmlns:a16="http://schemas.microsoft.com/office/drawing/2014/main" id="{18FD3259-2209-A730-EBBB-EF50BC981552}"/>
              </a:ext>
            </a:extLst>
          </p:cNvPr>
          <p:cNvSpPr>
            <a:spLocks noChangeAspect="1"/>
          </p:cNvSpPr>
          <p:nvPr/>
        </p:nvSpPr>
        <p:spPr>
          <a:xfrm>
            <a:off x="5309102" y="2201744"/>
            <a:ext cx="997107" cy="964940"/>
          </a:xfrm>
          <a:custGeom>
            <a:avLst/>
            <a:gdLst>
              <a:gd name="connsiteX0" fmla="*/ 1659113 w 3173476"/>
              <a:gd name="connsiteY0" fmla="*/ 2866365 h 3071105"/>
              <a:gd name="connsiteX1" fmla="*/ 1740293 w 3173476"/>
              <a:gd name="connsiteY1" fmla="*/ 2866365 h 3071105"/>
              <a:gd name="connsiteX2" fmla="*/ 1740293 w 3173476"/>
              <a:gd name="connsiteY2" fmla="*/ 3071105 h 3071105"/>
              <a:gd name="connsiteX3" fmla="*/ 1454373 w 3173476"/>
              <a:gd name="connsiteY3" fmla="*/ 3071105 h 3071105"/>
              <a:gd name="connsiteX4" fmla="*/ 1352002 w 3173476"/>
              <a:gd name="connsiteY4" fmla="*/ 2866365 h 3071105"/>
              <a:gd name="connsiteX5" fmla="*/ 1514362 w 3173476"/>
              <a:gd name="connsiteY5" fmla="*/ 2866365 h 3071105"/>
              <a:gd name="connsiteX6" fmla="*/ 1309621 w 3173476"/>
              <a:gd name="connsiteY6" fmla="*/ 3071105 h 3071105"/>
              <a:gd name="connsiteX7" fmla="*/ 1147262 w 3173476"/>
              <a:gd name="connsiteY7" fmla="*/ 3071105 h 3071105"/>
              <a:gd name="connsiteX8" fmla="*/ 1044892 w 3173476"/>
              <a:gd name="connsiteY8" fmla="*/ 2866365 h 3071105"/>
              <a:gd name="connsiteX9" fmla="*/ 1207252 w 3173476"/>
              <a:gd name="connsiteY9" fmla="*/ 2866365 h 3071105"/>
              <a:gd name="connsiteX10" fmla="*/ 1002511 w 3173476"/>
              <a:gd name="connsiteY10" fmla="*/ 3071105 h 3071105"/>
              <a:gd name="connsiteX11" fmla="*/ 840152 w 3173476"/>
              <a:gd name="connsiteY11" fmla="*/ 3071105 h 3071105"/>
              <a:gd name="connsiteX12" fmla="*/ 737781 w 3173476"/>
              <a:gd name="connsiteY12" fmla="*/ 2866365 h 3071105"/>
              <a:gd name="connsiteX13" fmla="*/ 900141 w 3173476"/>
              <a:gd name="connsiteY13" fmla="*/ 2866365 h 3071105"/>
              <a:gd name="connsiteX14" fmla="*/ 695400 w 3173476"/>
              <a:gd name="connsiteY14" fmla="*/ 3071105 h 3071105"/>
              <a:gd name="connsiteX15" fmla="*/ 533041 w 3173476"/>
              <a:gd name="connsiteY15" fmla="*/ 3071105 h 3071105"/>
              <a:gd name="connsiteX16" fmla="*/ 430671 w 3173476"/>
              <a:gd name="connsiteY16" fmla="*/ 2866365 h 3071105"/>
              <a:gd name="connsiteX17" fmla="*/ 593031 w 3173476"/>
              <a:gd name="connsiteY17" fmla="*/ 2866365 h 3071105"/>
              <a:gd name="connsiteX18" fmla="*/ 388290 w 3173476"/>
              <a:gd name="connsiteY18" fmla="*/ 3071105 h 3071105"/>
              <a:gd name="connsiteX19" fmla="*/ 225931 w 3173476"/>
              <a:gd name="connsiteY19" fmla="*/ 3071105 h 3071105"/>
              <a:gd name="connsiteX20" fmla="*/ 102370 w 3173476"/>
              <a:gd name="connsiteY20" fmla="*/ 2866365 h 3071105"/>
              <a:gd name="connsiteX21" fmla="*/ 285920 w 3173476"/>
              <a:gd name="connsiteY21" fmla="*/ 2866365 h 3071105"/>
              <a:gd name="connsiteX22" fmla="*/ 102370 w 3173476"/>
              <a:gd name="connsiteY22" fmla="*/ 3049915 h 3071105"/>
              <a:gd name="connsiteX23" fmla="*/ 2989925 w 3173476"/>
              <a:gd name="connsiteY23" fmla="*/ 2763995 h 3071105"/>
              <a:gd name="connsiteX24" fmla="*/ 3071105 w 3173476"/>
              <a:gd name="connsiteY24" fmla="*/ 2763995 h 3071105"/>
              <a:gd name="connsiteX25" fmla="*/ 3071105 w 3173476"/>
              <a:gd name="connsiteY25" fmla="*/ 2968735 h 3071105"/>
              <a:gd name="connsiteX26" fmla="*/ 2785185 w 3173476"/>
              <a:gd name="connsiteY26" fmla="*/ 2968735 h 3071105"/>
              <a:gd name="connsiteX27" fmla="*/ 2682815 w 3173476"/>
              <a:gd name="connsiteY27" fmla="*/ 2763995 h 3071105"/>
              <a:gd name="connsiteX28" fmla="*/ 2845174 w 3173476"/>
              <a:gd name="connsiteY28" fmla="*/ 2763995 h 3071105"/>
              <a:gd name="connsiteX29" fmla="*/ 2640434 w 3173476"/>
              <a:gd name="connsiteY29" fmla="*/ 2968735 h 3071105"/>
              <a:gd name="connsiteX30" fmla="*/ 2478075 w 3173476"/>
              <a:gd name="connsiteY30" fmla="*/ 2968735 h 3071105"/>
              <a:gd name="connsiteX31" fmla="*/ 2375704 w 3173476"/>
              <a:gd name="connsiteY31" fmla="*/ 2763995 h 3071105"/>
              <a:gd name="connsiteX32" fmla="*/ 2538063 w 3173476"/>
              <a:gd name="connsiteY32" fmla="*/ 2763995 h 3071105"/>
              <a:gd name="connsiteX33" fmla="*/ 2333323 w 3173476"/>
              <a:gd name="connsiteY33" fmla="*/ 2968735 h 3071105"/>
              <a:gd name="connsiteX34" fmla="*/ 2170964 w 3173476"/>
              <a:gd name="connsiteY34" fmla="*/ 2968735 h 3071105"/>
              <a:gd name="connsiteX35" fmla="*/ 2068594 w 3173476"/>
              <a:gd name="connsiteY35" fmla="*/ 2763995 h 3071105"/>
              <a:gd name="connsiteX36" fmla="*/ 2230953 w 3173476"/>
              <a:gd name="connsiteY36" fmla="*/ 2763995 h 3071105"/>
              <a:gd name="connsiteX37" fmla="*/ 2026213 w 3173476"/>
              <a:gd name="connsiteY37" fmla="*/ 2968735 h 3071105"/>
              <a:gd name="connsiteX38" fmla="*/ 1863854 w 3173476"/>
              <a:gd name="connsiteY38" fmla="*/ 2968735 h 3071105"/>
              <a:gd name="connsiteX39" fmla="*/ 1836674 w 3173476"/>
              <a:gd name="connsiteY39" fmla="*/ 2763995 h 3071105"/>
              <a:gd name="connsiteX40" fmla="*/ 1923842 w 3173476"/>
              <a:gd name="connsiteY40" fmla="*/ 2763995 h 3071105"/>
              <a:gd name="connsiteX41" fmla="*/ 1842663 w 3173476"/>
              <a:gd name="connsiteY41" fmla="*/ 2845174 h 3071105"/>
              <a:gd name="connsiteX42" fmla="*/ 1842663 w 3173476"/>
              <a:gd name="connsiteY42" fmla="*/ 2815180 h 3071105"/>
              <a:gd name="connsiteX43" fmla="*/ 2099766 w 3173476"/>
              <a:gd name="connsiteY43" fmla="*/ 2559254 h 3071105"/>
              <a:gd name="connsiteX44" fmla="*/ 2406877 w 3173476"/>
              <a:gd name="connsiteY44" fmla="*/ 2559254 h 3071105"/>
              <a:gd name="connsiteX45" fmla="*/ 2406877 w 3173476"/>
              <a:gd name="connsiteY45" fmla="*/ 2661624 h 3071105"/>
              <a:gd name="connsiteX46" fmla="*/ 2099766 w 3173476"/>
              <a:gd name="connsiteY46" fmla="*/ 2661624 h 3071105"/>
              <a:gd name="connsiteX47" fmla="*/ 767776 w 3173476"/>
              <a:gd name="connsiteY47" fmla="*/ 2559254 h 3071105"/>
              <a:gd name="connsiteX48" fmla="*/ 1074887 w 3173476"/>
              <a:gd name="connsiteY48" fmla="*/ 2559254 h 3071105"/>
              <a:gd name="connsiteX49" fmla="*/ 1074887 w 3173476"/>
              <a:gd name="connsiteY49" fmla="*/ 2763994 h 3071105"/>
              <a:gd name="connsiteX50" fmla="*/ 767776 w 3173476"/>
              <a:gd name="connsiteY50" fmla="*/ 2763994 h 3071105"/>
              <a:gd name="connsiteX51" fmla="*/ 2099766 w 3173476"/>
              <a:gd name="connsiteY51" fmla="*/ 2354514 h 3071105"/>
              <a:gd name="connsiteX52" fmla="*/ 2406877 w 3173476"/>
              <a:gd name="connsiteY52" fmla="*/ 2354514 h 3071105"/>
              <a:gd name="connsiteX53" fmla="*/ 2406877 w 3173476"/>
              <a:gd name="connsiteY53" fmla="*/ 2456884 h 3071105"/>
              <a:gd name="connsiteX54" fmla="*/ 2099766 w 3173476"/>
              <a:gd name="connsiteY54" fmla="*/ 2456884 h 3071105"/>
              <a:gd name="connsiteX55" fmla="*/ 767776 w 3173476"/>
              <a:gd name="connsiteY55" fmla="*/ 2354514 h 3071105"/>
              <a:gd name="connsiteX56" fmla="*/ 1074887 w 3173476"/>
              <a:gd name="connsiteY56" fmla="*/ 2354514 h 3071105"/>
              <a:gd name="connsiteX57" fmla="*/ 1074887 w 3173476"/>
              <a:gd name="connsiteY57" fmla="*/ 2456884 h 3071105"/>
              <a:gd name="connsiteX58" fmla="*/ 767776 w 3173476"/>
              <a:gd name="connsiteY58" fmla="*/ 2456884 h 3071105"/>
              <a:gd name="connsiteX59" fmla="*/ 2099766 w 3173476"/>
              <a:gd name="connsiteY59" fmla="*/ 2149774 h 3071105"/>
              <a:gd name="connsiteX60" fmla="*/ 2406877 w 3173476"/>
              <a:gd name="connsiteY60" fmla="*/ 2149774 h 3071105"/>
              <a:gd name="connsiteX61" fmla="*/ 2406877 w 3173476"/>
              <a:gd name="connsiteY61" fmla="*/ 2252144 h 3071105"/>
              <a:gd name="connsiteX62" fmla="*/ 2099766 w 3173476"/>
              <a:gd name="connsiteY62" fmla="*/ 2252144 h 3071105"/>
              <a:gd name="connsiteX63" fmla="*/ 767776 w 3173476"/>
              <a:gd name="connsiteY63" fmla="*/ 2149774 h 3071105"/>
              <a:gd name="connsiteX64" fmla="*/ 1074887 w 3173476"/>
              <a:gd name="connsiteY64" fmla="*/ 2149774 h 3071105"/>
              <a:gd name="connsiteX65" fmla="*/ 1074887 w 3173476"/>
              <a:gd name="connsiteY65" fmla="*/ 2252144 h 3071105"/>
              <a:gd name="connsiteX66" fmla="*/ 767776 w 3173476"/>
              <a:gd name="connsiteY66" fmla="*/ 2252144 h 3071105"/>
              <a:gd name="connsiteX67" fmla="*/ 2099766 w 3173476"/>
              <a:gd name="connsiteY67" fmla="*/ 1945033 h 3071105"/>
              <a:gd name="connsiteX68" fmla="*/ 2406877 w 3173476"/>
              <a:gd name="connsiteY68" fmla="*/ 1945033 h 3071105"/>
              <a:gd name="connsiteX69" fmla="*/ 2406877 w 3173476"/>
              <a:gd name="connsiteY69" fmla="*/ 2047403 h 3071105"/>
              <a:gd name="connsiteX70" fmla="*/ 2099766 w 3173476"/>
              <a:gd name="connsiteY70" fmla="*/ 2047403 h 3071105"/>
              <a:gd name="connsiteX71" fmla="*/ 767776 w 3173476"/>
              <a:gd name="connsiteY71" fmla="*/ 1945033 h 3071105"/>
              <a:gd name="connsiteX72" fmla="*/ 1074887 w 3173476"/>
              <a:gd name="connsiteY72" fmla="*/ 1945033 h 3071105"/>
              <a:gd name="connsiteX73" fmla="*/ 1074887 w 3173476"/>
              <a:gd name="connsiteY73" fmla="*/ 2047403 h 3071105"/>
              <a:gd name="connsiteX74" fmla="*/ 767776 w 3173476"/>
              <a:gd name="connsiteY74" fmla="*/ 2047403 h 3071105"/>
              <a:gd name="connsiteX75" fmla="*/ 2099766 w 3173476"/>
              <a:gd name="connsiteY75" fmla="*/ 1740293 h 3071105"/>
              <a:gd name="connsiteX76" fmla="*/ 2406877 w 3173476"/>
              <a:gd name="connsiteY76" fmla="*/ 1740293 h 3071105"/>
              <a:gd name="connsiteX77" fmla="*/ 2406877 w 3173476"/>
              <a:gd name="connsiteY77" fmla="*/ 1842663 h 3071105"/>
              <a:gd name="connsiteX78" fmla="*/ 2099766 w 3173476"/>
              <a:gd name="connsiteY78" fmla="*/ 1842663 h 3071105"/>
              <a:gd name="connsiteX79" fmla="*/ 767776 w 3173476"/>
              <a:gd name="connsiteY79" fmla="*/ 1740293 h 3071105"/>
              <a:gd name="connsiteX80" fmla="*/ 1074887 w 3173476"/>
              <a:gd name="connsiteY80" fmla="*/ 1740293 h 3071105"/>
              <a:gd name="connsiteX81" fmla="*/ 1074887 w 3173476"/>
              <a:gd name="connsiteY81" fmla="*/ 1842663 h 3071105"/>
              <a:gd name="connsiteX82" fmla="*/ 767776 w 3173476"/>
              <a:gd name="connsiteY82" fmla="*/ 1842663 h 3071105"/>
              <a:gd name="connsiteX83" fmla="*/ 2509246 w 3173476"/>
              <a:gd name="connsiteY83" fmla="*/ 1535552 h 3071105"/>
              <a:gd name="connsiteX84" fmla="*/ 2874196 w 3173476"/>
              <a:gd name="connsiteY84" fmla="*/ 1535552 h 3071105"/>
              <a:gd name="connsiteX85" fmla="*/ 3061892 w 3173476"/>
              <a:gd name="connsiteY85" fmla="*/ 2661624 h 3071105"/>
              <a:gd name="connsiteX86" fmla="*/ 2509246 w 3173476"/>
              <a:gd name="connsiteY86" fmla="*/ 2661624 h 3071105"/>
              <a:gd name="connsiteX87" fmla="*/ 2099766 w 3173476"/>
              <a:gd name="connsiteY87" fmla="*/ 1535552 h 3071105"/>
              <a:gd name="connsiteX88" fmla="*/ 2406877 w 3173476"/>
              <a:gd name="connsiteY88" fmla="*/ 1535552 h 3071105"/>
              <a:gd name="connsiteX89" fmla="*/ 2406877 w 3173476"/>
              <a:gd name="connsiteY89" fmla="*/ 1637922 h 3071105"/>
              <a:gd name="connsiteX90" fmla="*/ 2099766 w 3173476"/>
              <a:gd name="connsiteY90" fmla="*/ 1637922 h 3071105"/>
              <a:gd name="connsiteX91" fmla="*/ 1692383 w 3173476"/>
              <a:gd name="connsiteY91" fmla="*/ 1535552 h 3071105"/>
              <a:gd name="connsiteX92" fmla="*/ 1997395 w 3173476"/>
              <a:gd name="connsiteY92" fmla="*/ 1535552 h 3071105"/>
              <a:gd name="connsiteX93" fmla="*/ 1997395 w 3173476"/>
              <a:gd name="connsiteY93" fmla="*/ 2661624 h 3071105"/>
              <a:gd name="connsiteX94" fmla="*/ 1824645 w 3173476"/>
              <a:gd name="connsiteY94" fmla="*/ 2661624 h 3071105"/>
              <a:gd name="connsiteX95" fmla="*/ 767776 w 3173476"/>
              <a:gd name="connsiteY95" fmla="*/ 1535552 h 3071105"/>
              <a:gd name="connsiteX96" fmla="*/ 1074887 w 3173476"/>
              <a:gd name="connsiteY96" fmla="*/ 1535552 h 3071105"/>
              <a:gd name="connsiteX97" fmla="*/ 1074887 w 3173476"/>
              <a:gd name="connsiteY97" fmla="*/ 1637922 h 3071105"/>
              <a:gd name="connsiteX98" fmla="*/ 767776 w 3173476"/>
              <a:gd name="connsiteY98" fmla="*/ 1637922 h 3071105"/>
              <a:gd name="connsiteX99" fmla="*/ 767776 w 3173476"/>
              <a:gd name="connsiteY99" fmla="*/ 1330812 h 3071105"/>
              <a:gd name="connsiteX100" fmla="*/ 1074887 w 3173476"/>
              <a:gd name="connsiteY100" fmla="*/ 1330812 h 3071105"/>
              <a:gd name="connsiteX101" fmla="*/ 1074887 w 3173476"/>
              <a:gd name="connsiteY101" fmla="*/ 1433182 h 3071105"/>
              <a:gd name="connsiteX102" fmla="*/ 767776 w 3173476"/>
              <a:gd name="connsiteY102" fmla="*/ 1433182 h 3071105"/>
              <a:gd name="connsiteX103" fmla="*/ 1656298 w 3173476"/>
              <a:gd name="connsiteY103" fmla="*/ 1228442 h 3071105"/>
              <a:gd name="connsiteX104" fmla="*/ 2964794 w 3173476"/>
              <a:gd name="connsiteY104" fmla="*/ 1228442 h 3071105"/>
              <a:gd name="connsiteX105" fmla="*/ 2882898 w 3173476"/>
              <a:gd name="connsiteY105" fmla="*/ 1433182 h 3071105"/>
              <a:gd name="connsiteX106" fmla="*/ 1680355 w 3173476"/>
              <a:gd name="connsiteY106" fmla="*/ 1433182 h 3071105"/>
              <a:gd name="connsiteX107" fmla="*/ 1177257 w 3173476"/>
              <a:gd name="connsiteY107" fmla="*/ 1126072 h 3071105"/>
              <a:gd name="connsiteX108" fmla="*/ 1541234 w 3173476"/>
              <a:gd name="connsiteY108" fmla="*/ 1126072 h 3071105"/>
              <a:gd name="connsiteX109" fmla="*/ 1733895 w 3173476"/>
              <a:gd name="connsiteY109" fmla="*/ 2763995 h 3071105"/>
              <a:gd name="connsiteX110" fmla="*/ 1177257 w 3173476"/>
              <a:gd name="connsiteY110" fmla="*/ 2763995 h 3071105"/>
              <a:gd name="connsiteX111" fmla="*/ 767776 w 3173476"/>
              <a:gd name="connsiteY111" fmla="*/ 1126072 h 3071105"/>
              <a:gd name="connsiteX112" fmla="*/ 1074887 w 3173476"/>
              <a:gd name="connsiteY112" fmla="*/ 1126072 h 3071105"/>
              <a:gd name="connsiteX113" fmla="*/ 1074887 w 3173476"/>
              <a:gd name="connsiteY113" fmla="*/ 1228442 h 3071105"/>
              <a:gd name="connsiteX114" fmla="*/ 767776 w 3173476"/>
              <a:gd name="connsiteY114" fmla="*/ 1228442 h 3071105"/>
              <a:gd name="connsiteX115" fmla="*/ 301429 w 3173476"/>
              <a:gd name="connsiteY115" fmla="*/ 1126072 h 3071105"/>
              <a:gd name="connsiteX116" fmla="*/ 665406 w 3173476"/>
              <a:gd name="connsiteY116" fmla="*/ 1126072 h 3071105"/>
              <a:gd name="connsiteX117" fmla="*/ 665406 w 3173476"/>
              <a:gd name="connsiteY117" fmla="*/ 2763995 h 3071105"/>
              <a:gd name="connsiteX118" fmla="*/ 108768 w 3173476"/>
              <a:gd name="connsiteY118" fmla="*/ 2763995 h 3071105"/>
              <a:gd name="connsiteX119" fmla="*/ 208681 w 3173476"/>
              <a:gd name="connsiteY119" fmla="*/ 818961 h 3071105"/>
              <a:gd name="connsiteX120" fmla="*/ 1633981 w 3173476"/>
              <a:gd name="connsiteY120" fmla="*/ 818961 h 3071105"/>
              <a:gd name="connsiteX121" fmla="*/ 1552085 w 3173476"/>
              <a:gd name="connsiteY121" fmla="*/ 1023701 h 3071105"/>
              <a:gd name="connsiteX122" fmla="*/ 290577 w 3173476"/>
              <a:gd name="connsiteY122" fmla="*/ 1023701 h 3071105"/>
              <a:gd name="connsiteX123" fmla="*/ 1842663 w 3173476"/>
              <a:gd name="connsiteY123" fmla="*/ 460665 h 3071105"/>
              <a:gd name="connsiteX124" fmla="*/ 3019921 w 3173476"/>
              <a:gd name="connsiteY124" fmla="*/ 460665 h 3071105"/>
              <a:gd name="connsiteX125" fmla="*/ 3173476 w 3173476"/>
              <a:gd name="connsiteY125" fmla="*/ 614220 h 3071105"/>
              <a:gd name="connsiteX126" fmla="*/ 3019921 w 3173476"/>
              <a:gd name="connsiteY126" fmla="*/ 767776 h 3071105"/>
              <a:gd name="connsiteX127" fmla="*/ 2752785 w 3173476"/>
              <a:gd name="connsiteY127" fmla="*/ 767776 h 3071105"/>
              <a:gd name="connsiteX128" fmla="*/ 2750073 w 3173476"/>
              <a:gd name="connsiteY128" fmla="*/ 778678 h 3071105"/>
              <a:gd name="connsiteX129" fmla="*/ 2501774 w 3173476"/>
              <a:gd name="connsiteY129" fmla="*/ 972516 h 3071105"/>
              <a:gd name="connsiteX130" fmla="*/ 2456884 w 3173476"/>
              <a:gd name="connsiteY130" fmla="*/ 972516 h 3071105"/>
              <a:gd name="connsiteX131" fmla="*/ 2405699 w 3173476"/>
              <a:gd name="connsiteY131" fmla="*/ 1023701 h 3071105"/>
              <a:gd name="connsiteX132" fmla="*/ 2405699 w 3173476"/>
              <a:gd name="connsiteY132" fmla="*/ 1074886 h 3071105"/>
              <a:gd name="connsiteX133" fmla="*/ 2303329 w 3173476"/>
              <a:gd name="connsiteY133" fmla="*/ 1074886 h 3071105"/>
              <a:gd name="connsiteX134" fmla="*/ 2303329 w 3173476"/>
              <a:gd name="connsiteY134" fmla="*/ 1023701 h 3071105"/>
              <a:gd name="connsiteX135" fmla="*/ 2456884 w 3173476"/>
              <a:gd name="connsiteY135" fmla="*/ 870146 h 3071105"/>
              <a:gd name="connsiteX136" fmla="*/ 2501774 w 3173476"/>
              <a:gd name="connsiteY136" fmla="*/ 870146 h 3071105"/>
              <a:gd name="connsiteX137" fmla="*/ 2650722 w 3173476"/>
              <a:gd name="connsiteY137" fmla="*/ 753853 h 3071105"/>
              <a:gd name="connsiteX138" fmla="*/ 2672834 w 3173476"/>
              <a:gd name="connsiteY138" fmla="*/ 665405 h 3071105"/>
              <a:gd name="connsiteX139" fmla="*/ 3019921 w 3173476"/>
              <a:gd name="connsiteY139" fmla="*/ 665405 h 3071105"/>
              <a:gd name="connsiteX140" fmla="*/ 3071106 w 3173476"/>
              <a:gd name="connsiteY140" fmla="*/ 614220 h 3071105"/>
              <a:gd name="connsiteX141" fmla="*/ 3019921 w 3173476"/>
              <a:gd name="connsiteY141" fmla="*/ 563035 h 3071105"/>
              <a:gd name="connsiteX142" fmla="*/ 1842663 w 3173476"/>
              <a:gd name="connsiteY142" fmla="*/ 563035 h 3071105"/>
              <a:gd name="connsiteX143" fmla="*/ 1791478 w 3173476"/>
              <a:gd name="connsiteY143" fmla="*/ 614220 h 3071105"/>
              <a:gd name="connsiteX144" fmla="*/ 1842663 w 3173476"/>
              <a:gd name="connsiteY144" fmla="*/ 665405 h 3071105"/>
              <a:gd name="connsiteX145" fmla="*/ 2047404 w 3173476"/>
              <a:gd name="connsiteY145" fmla="*/ 665405 h 3071105"/>
              <a:gd name="connsiteX146" fmla="*/ 2200959 w 3173476"/>
              <a:gd name="connsiteY146" fmla="*/ 665405 h 3071105"/>
              <a:gd name="connsiteX147" fmla="*/ 2303329 w 3173476"/>
              <a:gd name="connsiteY147" fmla="*/ 665405 h 3071105"/>
              <a:gd name="connsiteX148" fmla="*/ 2303329 w 3173476"/>
              <a:gd name="connsiteY148" fmla="*/ 767776 h 3071105"/>
              <a:gd name="connsiteX149" fmla="*/ 2200959 w 3173476"/>
              <a:gd name="connsiteY149" fmla="*/ 767776 h 3071105"/>
              <a:gd name="connsiteX150" fmla="*/ 2047404 w 3173476"/>
              <a:gd name="connsiteY150" fmla="*/ 767776 h 3071105"/>
              <a:gd name="connsiteX151" fmla="*/ 1996219 w 3173476"/>
              <a:gd name="connsiteY151" fmla="*/ 818961 h 3071105"/>
              <a:gd name="connsiteX152" fmla="*/ 2047404 w 3173476"/>
              <a:gd name="connsiteY152" fmla="*/ 870146 h 3071105"/>
              <a:gd name="connsiteX153" fmla="*/ 2200959 w 3173476"/>
              <a:gd name="connsiteY153" fmla="*/ 1023701 h 3071105"/>
              <a:gd name="connsiteX154" fmla="*/ 2200959 w 3173476"/>
              <a:gd name="connsiteY154" fmla="*/ 1074886 h 3071105"/>
              <a:gd name="connsiteX155" fmla="*/ 2098589 w 3173476"/>
              <a:gd name="connsiteY155" fmla="*/ 1074886 h 3071105"/>
              <a:gd name="connsiteX156" fmla="*/ 2098589 w 3173476"/>
              <a:gd name="connsiteY156" fmla="*/ 1023701 h 3071105"/>
              <a:gd name="connsiteX157" fmla="*/ 2047404 w 3173476"/>
              <a:gd name="connsiteY157" fmla="*/ 972516 h 3071105"/>
              <a:gd name="connsiteX158" fmla="*/ 1893848 w 3173476"/>
              <a:gd name="connsiteY158" fmla="*/ 818961 h 3071105"/>
              <a:gd name="connsiteX159" fmla="*/ 1903266 w 3173476"/>
              <a:gd name="connsiteY159" fmla="*/ 767776 h 3071105"/>
              <a:gd name="connsiteX160" fmla="*/ 1842663 w 3173476"/>
              <a:gd name="connsiteY160" fmla="*/ 767776 h 3071105"/>
              <a:gd name="connsiteX161" fmla="*/ 1689108 w 3173476"/>
              <a:gd name="connsiteY161" fmla="*/ 614220 h 3071105"/>
              <a:gd name="connsiteX162" fmla="*/ 1842663 w 3173476"/>
              <a:gd name="connsiteY162" fmla="*/ 460665 h 3071105"/>
              <a:gd name="connsiteX163" fmla="*/ 614221 w 3173476"/>
              <a:gd name="connsiteY163" fmla="*/ 0 h 3071105"/>
              <a:gd name="connsiteX164" fmla="*/ 1893849 w 3173476"/>
              <a:gd name="connsiteY164" fmla="*/ 0 h 3071105"/>
              <a:gd name="connsiteX165" fmla="*/ 2047404 w 3173476"/>
              <a:gd name="connsiteY165" fmla="*/ 153555 h 3071105"/>
              <a:gd name="connsiteX166" fmla="*/ 1893849 w 3173476"/>
              <a:gd name="connsiteY166" fmla="*/ 307111 h 3071105"/>
              <a:gd name="connsiteX167" fmla="*/ 1575528 w 3173476"/>
              <a:gd name="connsiteY167" fmla="*/ 307111 h 3071105"/>
              <a:gd name="connsiteX168" fmla="*/ 1572816 w 3173476"/>
              <a:gd name="connsiteY168" fmla="*/ 318013 h 3071105"/>
              <a:gd name="connsiteX169" fmla="*/ 1324517 w 3173476"/>
              <a:gd name="connsiteY169" fmla="*/ 511851 h 3071105"/>
              <a:gd name="connsiteX170" fmla="*/ 1126072 w 3173476"/>
              <a:gd name="connsiteY170" fmla="*/ 511851 h 3071105"/>
              <a:gd name="connsiteX171" fmla="*/ 1074887 w 3173476"/>
              <a:gd name="connsiteY171" fmla="*/ 563036 h 3071105"/>
              <a:gd name="connsiteX172" fmla="*/ 1074887 w 3173476"/>
              <a:gd name="connsiteY172" fmla="*/ 614221 h 3071105"/>
              <a:gd name="connsiteX173" fmla="*/ 972517 w 3173476"/>
              <a:gd name="connsiteY173" fmla="*/ 614221 h 3071105"/>
              <a:gd name="connsiteX174" fmla="*/ 972517 w 3173476"/>
              <a:gd name="connsiteY174" fmla="*/ 563036 h 3071105"/>
              <a:gd name="connsiteX175" fmla="*/ 1126072 w 3173476"/>
              <a:gd name="connsiteY175" fmla="*/ 409481 h 3071105"/>
              <a:gd name="connsiteX176" fmla="*/ 1324517 w 3173476"/>
              <a:gd name="connsiteY176" fmla="*/ 409481 h 3071105"/>
              <a:gd name="connsiteX177" fmla="*/ 1473465 w 3173476"/>
              <a:gd name="connsiteY177" fmla="*/ 293188 h 3071105"/>
              <a:gd name="connsiteX178" fmla="*/ 1495577 w 3173476"/>
              <a:gd name="connsiteY178" fmla="*/ 204740 h 3071105"/>
              <a:gd name="connsiteX179" fmla="*/ 1893849 w 3173476"/>
              <a:gd name="connsiteY179" fmla="*/ 204740 h 3071105"/>
              <a:gd name="connsiteX180" fmla="*/ 1945034 w 3173476"/>
              <a:gd name="connsiteY180" fmla="*/ 153555 h 3071105"/>
              <a:gd name="connsiteX181" fmla="*/ 1893849 w 3173476"/>
              <a:gd name="connsiteY181" fmla="*/ 102370 h 3071105"/>
              <a:gd name="connsiteX182" fmla="*/ 614221 w 3173476"/>
              <a:gd name="connsiteY182" fmla="*/ 102370 h 3071105"/>
              <a:gd name="connsiteX183" fmla="*/ 563036 w 3173476"/>
              <a:gd name="connsiteY183" fmla="*/ 153555 h 3071105"/>
              <a:gd name="connsiteX184" fmla="*/ 614221 w 3173476"/>
              <a:gd name="connsiteY184" fmla="*/ 204740 h 3071105"/>
              <a:gd name="connsiteX185" fmla="*/ 767776 w 3173476"/>
              <a:gd name="connsiteY185" fmla="*/ 204740 h 3071105"/>
              <a:gd name="connsiteX186" fmla="*/ 1023702 w 3173476"/>
              <a:gd name="connsiteY186" fmla="*/ 204740 h 3071105"/>
              <a:gd name="connsiteX187" fmla="*/ 1023702 w 3173476"/>
              <a:gd name="connsiteY187" fmla="*/ 307111 h 3071105"/>
              <a:gd name="connsiteX188" fmla="*/ 767776 w 3173476"/>
              <a:gd name="connsiteY188" fmla="*/ 307111 h 3071105"/>
              <a:gd name="connsiteX189" fmla="*/ 614221 w 3173476"/>
              <a:gd name="connsiteY189" fmla="*/ 307111 h 3071105"/>
              <a:gd name="connsiteX190" fmla="*/ 153555 w 3173476"/>
              <a:gd name="connsiteY190" fmla="*/ 307111 h 3071105"/>
              <a:gd name="connsiteX191" fmla="*/ 102370 w 3173476"/>
              <a:gd name="connsiteY191" fmla="*/ 358296 h 3071105"/>
              <a:gd name="connsiteX192" fmla="*/ 153555 w 3173476"/>
              <a:gd name="connsiteY192" fmla="*/ 409481 h 3071105"/>
              <a:gd name="connsiteX193" fmla="*/ 716591 w 3173476"/>
              <a:gd name="connsiteY193" fmla="*/ 409481 h 3071105"/>
              <a:gd name="connsiteX194" fmla="*/ 870147 w 3173476"/>
              <a:gd name="connsiteY194" fmla="*/ 563036 h 3071105"/>
              <a:gd name="connsiteX195" fmla="*/ 870147 w 3173476"/>
              <a:gd name="connsiteY195" fmla="*/ 614221 h 3071105"/>
              <a:gd name="connsiteX196" fmla="*/ 767776 w 3173476"/>
              <a:gd name="connsiteY196" fmla="*/ 614221 h 3071105"/>
              <a:gd name="connsiteX197" fmla="*/ 767776 w 3173476"/>
              <a:gd name="connsiteY197" fmla="*/ 563036 h 3071105"/>
              <a:gd name="connsiteX198" fmla="*/ 716591 w 3173476"/>
              <a:gd name="connsiteY198" fmla="*/ 511851 h 3071105"/>
              <a:gd name="connsiteX199" fmla="*/ 153555 w 3173476"/>
              <a:gd name="connsiteY199" fmla="*/ 511851 h 3071105"/>
              <a:gd name="connsiteX200" fmla="*/ 0 w 3173476"/>
              <a:gd name="connsiteY200" fmla="*/ 358296 h 3071105"/>
              <a:gd name="connsiteX201" fmla="*/ 153555 w 3173476"/>
              <a:gd name="connsiteY201" fmla="*/ 204740 h 3071105"/>
              <a:gd name="connsiteX202" fmla="*/ 470084 w 3173476"/>
              <a:gd name="connsiteY202" fmla="*/ 204740 h 3071105"/>
              <a:gd name="connsiteX203" fmla="*/ 460666 w 3173476"/>
              <a:gd name="connsiteY203" fmla="*/ 153555 h 3071105"/>
              <a:gd name="connsiteX204" fmla="*/ 614221 w 3173476"/>
              <a:gd name="connsiteY204" fmla="*/ 0 h 3071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Lst>
            <a:rect l="l" t="t" r="r" b="b"/>
            <a:pathLst>
              <a:path w="3173476" h="3071105">
                <a:moveTo>
                  <a:pt x="1659113" y="2866365"/>
                </a:moveTo>
                <a:lnTo>
                  <a:pt x="1740293" y="2866365"/>
                </a:lnTo>
                <a:lnTo>
                  <a:pt x="1740293" y="3071105"/>
                </a:lnTo>
                <a:lnTo>
                  <a:pt x="1454373" y="3071105"/>
                </a:lnTo>
                <a:close/>
                <a:moveTo>
                  <a:pt x="1352002" y="2866365"/>
                </a:moveTo>
                <a:lnTo>
                  <a:pt x="1514362" y="2866365"/>
                </a:lnTo>
                <a:lnTo>
                  <a:pt x="1309621" y="3071105"/>
                </a:lnTo>
                <a:lnTo>
                  <a:pt x="1147262" y="3071105"/>
                </a:lnTo>
                <a:close/>
                <a:moveTo>
                  <a:pt x="1044892" y="2866365"/>
                </a:moveTo>
                <a:lnTo>
                  <a:pt x="1207252" y="2866365"/>
                </a:lnTo>
                <a:lnTo>
                  <a:pt x="1002511" y="3071105"/>
                </a:lnTo>
                <a:lnTo>
                  <a:pt x="840152" y="3071105"/>
                </a:lnTo>
                <a:close/>
                <a:moveTo>
                  <a:pt x="737781" y="2866365"/>
                </a:moveTo>
                <a:lnTo>
                  <a:pt x="900141" y="2866365"/>
                </a:lnTo>
                <a:lnTo>
                  <a:pt x="695400" y="3071105"/>
                </a:lnTo>
                <a:lnTo>
                  <a:pt x="533041" y="3071105"/>
                </a:lnTo>
                <a:close/>
                <a:moveTo>
                  <a:pt x="430671" y="2866365"/>
                </a:moveTo>
                <a:lnTo>
                  <a:pt x="593031" y="2866365"/>
                </a:lnTo>
                <a:lnTo>
                  <a:pt x="388290" y="3071105"/>
                </a:lnTo>
                <a:lnTo>
                  <a:pt x="225931" y="3071105"/>
                </a:lnTo>
                <a:close/>
                <a:moveTo>
                  <a:pt x="102370" y="2866365"/>
                </a:moveTo>
                <a:lnTo>
                  <a:pt x="285920" y="2866365"/>
                </a:lnTo>
                <a:lnTo>
                  <a:pt x="102370" y="3049915"/>
                </a:lnTo>
                <a:close/>
                <a:moveTo>
                  <a:pt x="2989925" y="2763995"/>
                </a:moveTo>
                <a:lnTo>
                  <a:pt x="3071105" y="2763995"/>
                </a:lnTo>
                <a:lnTo>
                  <a:pt x="3071105" y="2968735"/>
                </a:lnTo>
                <a:lnTo>
                  <a:pt x="2785185" y="2968735"/>
                </a:lnTo>
                <a:close/>
                <a:moveTo>
                  <a:pt x="2682815" y="2763995"/>
                </a:moveTo>
                <a:lnTo>
                  <a:pt x="2845174" y="2763995"/>
                </a:lnTo>
                <a:lnTo>
                  <a:pt x="2640434" y="2968735"/>
                </a:lnTo>
                <a:lnTo>
                  <a:pt x="2478075" y="2968735"/>
                </a:lnTo>
                <a:close/>
                <a:moveTo>
                  <a:pt x="2375704" y="2763995"/>
                </a:moveTo>
                <a:lnTo>
                  <a:pt x="2538063" y="2763995"/>
                </a:lnTo>
                <a:lnTo>
                  <a:pt x="2333323" y="2968735"/>
                </a:lnTo>
                <a:lnTo>
                  <a:pt x="2170964" y="2968735"/>
                </a:lnTo>
                <a:close/>
                <a:moveTo>
                  <a:pt x="2068594" y="2763995"/>
                </a:moveTo>
                <a:lnTo>
                  <a:pt x="2230953" y="2763995"/>
                </a:lnTo>
                <a:lnTo>
                  <a:pt x="2026213" y="2968735"/>
                </a:lnTo>
                <a:lnTo>
                  <a:pt x="1863854" y="2968735"/>
                </a:lnTo>
                <a:close/>
                <a:moveTo>
                  <a:pt x="1836674" y="2763995"/>
                </a:moveTo>
                <a:lnTo>
                  <a:pt x="1923842" y="2763995"/>
                </a:lnTo>
                <a:lnTo>
                  <a:pt x="1842663" y="2845174"/>
                </a:lnTo>
                <a:lnTo>
                  <a:pt x="1842663" y="2815180"/>
                </a:lnTo>
                <a:close/>
                <a:moveTo>
                  <a:pt x="2099766" y="2559254"/>
                </a:moveTo>
                <a:lnTo>
                  <a:pt x="2406877" y="2559254"/>
                </a:lnTo>
                <a:lnTo>
                  <a:pt x="2406877" y="2661624"/>
                </a:lnTo>
                <a:lnTo>
                  <a:pt x="2099766" y="2661624"/>
                </a:lnTo>
                <a:close/>
                <a:moveTo>
                  <a:pt x="767776" y="2559254"/>
                </a:moveTo>
                <a:lnTo>
                  <a:pt x="1074887" y="2559254"/>
                </a:lnTo>
                <a:lnTo>
                  <a:pt x="1074887" y="2763994"/>
                </a:lnTo>
                <a:lnTo>
                  <a:pt x="767776" y="2763994"/>
                </a:lnTo>
                <a:close/>
                <a:moveTo>
                  <a:pt x="2099766" y="2354514"/>
                </a:moveTo>
                <a:lnTo>
                  <a:pt x="2406877" y="2354514"/>
                </a:lnTo>
                <a:lnTo>
                  <a:pt x="2406877" y="2456884"/>
                </a:lnTo>
                <a:lnTo>
                  <a:pt x="2099766" y="2456884"/>
                </a:lnTo>
                <a:close/>
                <a:moveTo>
                  <a:pt x="767776" y="2354514"/>
                </a:moveTo>
                <a:lnTo>
                  <a:pt x="1074887" y="2354514"/>
                </a:lnTo>
                <a:lnTo>
                  <a:pt x="1074887" y="2456884"/>
                </a:lnTo>
                <a:lnTo>
                  <a:pt x="767776" y="2456884"/>
                </a:lnTo>
                <a:close/>
                <a:moveTo>
                  <a:pt x="2099766" y="2149774"/>
                </a:moveTo>
                <a:lnTo>
                  <a:pt x="2406877" y="2149774"/>
                </a:lnTo>
                <a:lnTo>
                  <a:pt x="2406877" y="2252144"/>
                </a:lnTo>
                <a:lnTo>
                  <a:pt x="2099766" y="2252144"/>
                </a:lnTo>
                <a:close/>
                <a:moveTo>
                  <a:pt x="767776" y="2149774"/>
                </a:moveTo>
                <a:lnTo>
                  <a:pt x="1074887" y="2149774"/>
                </a:lnTo>
                <a:lnTo>
                  <a:pt x="1074887" y="2252144"/>
                </a:lnTo>
                <a:lnTo>
                  <a:pt x="767776" y="2252144"/>
                </a:lnTo>
                <a:close/>
                <a:moveTo>
                  <a:pt x="2099766" y="1945033"/>
                </a:moveTo>
                <a:lnTo>
                  <a:pt x="2406877" y="1945033"/>
                </a:lnTo>
                <a:lnTo>
                  <a:pt x="2406877" y="2047403"/>
                </a:lnTo>
                <a:lnTo>
                  <a:pt x="2099766" y="2047403"/>
                </a:lnTo>
                <a:close/>
                <a:moveTo>
                  <a:pt x="767776" y="1945033"/>
                </a:moveTo>
                <a:lnTo>
                  <a:pt x="1074887" y="1945033"/>
                </a:lnTo>
                <a:lnTo>
                  <a:pt x="1074887" y="2047403"/>
                </a:lnTo>
                <a:lnTo>
                  <a:pt x="767776" y="2047403"/>
                </a:lnTo>
                <a:close/>
                <a:moveTo>
                  <a:pt x="2099766" y="1740293"/>
                </a:moveTo>
                <a:lnTo>
                  <a:pt x="2406877" y="1740293"/>
                </a:lnTo>
                <a:lnTo>
                  <a:pt x="2406877" y="1842663"/>
                </a:lnTo>
                <a:lnTo>
                  <a:pt x="2099766" y="1842663"/>
                </a:lnTo>
                <a:close/>
                <a:moveTo>
                  <a:pt x="767776" y="1740293"/>
                </a:moveTo>
                <a:lnTo>
                  <a:pt x="1074887" y="1740293"/>
                </a:lnTo>
                <a:lnTo>
                  <a:pt x="1074887" y="1842663"/>
                </a:lnTo>
                <a:lnTo>
                  <a:pt x="767776" y="1842663"/>
                </a:lnTo>
                <a:close/>
                <a:moveTo>
                  <a:pt x="2509246" y="1535552"/>
                </a:moveTo>
                <a:lnTo>
                  <a:pt x="2874196" y="1535552"/>
                </a:lnTo>
                <a:lnTo>
                  <a:pt x="3061892" y="2661624"/>
                </a:lnTo>
                <a:lnTo>
                  <a:pt x="2509246" y="2661624"/>
                </a:lnTo>
                <a:close/>
                <a:moveTo>
                  <a:pt x="2099766" y="1535552"/>
                </a:moveTo>
                <a:lnTo>
                  <a:pt x="2406877" y="1535552"/>
                </a:lnTo>
                <a:lnTo>
                  <a:pt x="2406877" y="1637922"/>
                </a:lnTo>
                <a:lnTo>
                  <a:pt x="2099766" y="1637922"/>
                </a:lnTo>
                <a:close/>
                <a:moveTo>
                  <a:pt x="1692383" y="1535552"/>
                </a:moveTo>
                <a:lnTo>
                  <a:pt x="1997395" y="1535552"/>
                </a:lnTo>
                <a:lnTo>
                  <a:pt x="1997395" y="2661624"/>
                </a:lnTo>
                <a:lnTo>
                  <a:pt x="1824645" y="2661624"/>
                </a:lnTo>
                <a:close/>
                <a:moveTo>
                  <a:pt x="767776" y="1535552"/>
                </a:moveTo>
                <a:lnTo>
                  <a:pt x="1074887" y="1535552"/>
                </a:lnTo>
                <a:lnTo>
                  <a:pt x="1074887" y="1637922"/>
                </a:lnTo>
                <a:lnTo>
                  <a:pt x="767776" y="1637922"/>
                </a:lnTo>
                <a:close/>
                <a:moveTo>
                  <a:pt x="767776" y="1330812"/>
                </a:moveTo>
                <a:lnTo>
                  <a:pt x="1074887" y="1330812"/>
                </a:lnTo>
                <a:lnTo>
                  <a:pt x="1074887" y="1433182"/>
                </a:lnTo>
                <a:lnTo>
                  <a:pt x="767776" y="1433182"/>
                </a:lnTo>
                <a:close/>
                <a:moveTo>
                  <a:pt x="1656298" y="1228442"/>
                </a:moveTo>
                <a:lnTo>
                  <a:pt x="2964794" y="1228442"/>
                </a:lnTo>
                <a:lnTo>
                  <a:pt x="2882898" y="1433182"/>
                </a:lnTo>
                <a:lnTo>
                  <a:pt x="1680355" y="1433182"/>
                </a:lnTo>
                <a:close/>
                <a:moveTo>
                  <a:pt x="1177257" y="1126072"/>
                </a:moveTo>
                <a:lnTo>
                  <a:pt x="1541234" y="1126072"/>
                </a:lnTo>
                <a:lnTo>
                  <a:pt x="1733895" y="2763995"/>
                </a:lnTo>
                <a:lnTo>
                  <a:pt x="1177257" y="2763995"/>
                </a:lnTo>
                <a:close/>
                <a:moveTo>
                  <a:pt x="767776" y="1126072"/>
                </a:moveTo>
                <a:lnTo>
                  <a:pt x="1074887" y="1126072"/>
                </a:lnTo>
                <a:lnTo>
                  <a:pt x="1074887" y="1228442"/>
                </a:lnTo>
                <a:lnTo>
                  <a:pt x="767776" y="1228442"/>
                </a:lnTo>
                <a:close/>
                <a:moveTo>
                  <a:pt x="301429" y="1126072"/>
                </a:moveTo>
                <a:lnTo>
                  <a:pt x="665406" y="1126072"/>
                </a:lnTo>
                <a:lnTo>
                  <a:pt x="665406" y="2763995"/>
                </a:lnTo>
                <a:lnTo>
                  <a:pt x="108768" y="2763995"/>
                </a:lnTo>
                <a:close/>
                <a:moveTo>
                  <a:pt x="208681" y="818961"/>
                </a:moveTo>
                <a:lnTo>
                  <a:pt x="1633981" y="818961"/>
                </a:lnTo>
                <a:lnTo>
                  <a:pt x="1552085" y="1023701"/>
                </a:lnTo>
                <a:lnTo>
                  <a:pt x="290577" y="1023701"/>
                </a:lnTo>
                <a:close/>
                <a:moveTo>
                  <a:pt x="1842663" y="460665"/>
                </a:moveTo>
                <a:lnTo>
                  <a:pt x="3019921" y="460665"/>
                </a:lnTo>
                <a:cubicBezTo>
                  <a:pt x="3104581" y="460665"/>
                  <a:pt x="3173476" y="529560"/>
                  <a:pt x="3173476" y="614220"/>
                </a:cubicBezTo>
                <a:cubicBezTo>
                  <a:pt x="3173476" y="698880"/>
                  <a:pt x="3104581" y="767776"/>
                  <a:pt x="3019921" y="767776"/>
                </a:cubicBezTo>
                <a:lnTo>
                  <a:pt x="2752785" y="767776"/>
                </a:lnTo>
                <a:lnTo>
                  <a:pt x="2750073" y="778678"/>
                </a:lnTo>
                <a:cubicBezTo>
                  <a:pt x="2721511" y="892770"/>
                  <a:pt x="2619448" y="972516"/>
                  <a:pt x="2501774" y="972516"/>
                </a:cubicBezTo>
                <a:lnTo>
                  <a:pt x="2456884" y="972516"/>
                </a:lnTo>
                <a:cubicBezTo>
                  <a:pt x="2428682" y="972516"/>
                  <a:pt x="2405699" y="995447"/>
                  <a:pt x="2405699" y="1023701"/>
                </a:cubicBezTo>
                <a:lnTo>
                  <a:pt x="2405699" y="1074886"/>
                </a:lnTo>
                <a:lnTo>
                  <a:pt x="2303329" y="1074886"/>
                </a:lnTo>
                <a:lnTo>
                  <a:pt x="2303329" y="1023701"/>
                </a:lnTo>
                <a:cubicBezTo>
                  <a:pt x="2303329" y="939041"/>
                  <a:pt x="2372224" y="870146"/>
                  <a:pt x="2456884" y="870146"/>
                </a:cubicBezTo>
                <a:lnTo>
                  <a:pt x="2501774" y="870146"/>
                </a:lnTo>
                <a:cubicBezTo>
                  <a:pt x="2572358" y="870146"/>
                  <a:pt x="2633627" y="822288"/>
                  <a:pt x="2650722" y="753853"/>
                </a:cubicBezTo>
                <a:lnTo>
                  <a:pt x="2672834" y="665405"/>
                </a:lnTo>
                <a:lnTo>
                  <a:pt x="3019921" y="665405"/>
                </a:lnTo>
                <a:cubicBezTo>
                  <a:pt x="3048123" y="665405"/>
                  <a:pt x="3071106" y="642474"/>
                  <a:pt x="3071106" y="614220"/>
                </a:cubicBezTo>
                <a:cubicBezTo>
                  <a:pt x="3071106" y="585966"/>
                  <a:pt x="3048123" y="563035"/>
                  <a:pt x="3019921" y="563035"/>
                </a:cubicBezTo>
                <a:lnTo>
                  <a:pt x="1842663" y="563035"/>
                </a:lnTo>
                <a:cubicBezTo>
                  <a:pt x="1814460" y="563035"/>
                  <a:pt x="1791478" y="585966"/>
                  <a:pt x="1791478" y="614220"/>
                </a:cubicBezTo>
                <a:cubicBezTo>
                  <a:pt x="1791478" y="642474"/>
                  <a:pt x="1814460" y="665405"/>
                  <a:pt x="1842663" y="665405"/>
                </a:cubicBezTo>
                <a:lnTo>
                  <a:pt x="2047404" y="665405"/>
                </a:lnTo>
                <a:lnTo>
                  <a:pt x="2200959" y="665405"/>
                </a:lnTo>
                <a:lnTo>
                  <a:pt x="2303329" y="665405"/>
                </a:lnTo>
                <a:lnTo>
                  <a:pt x="2303329" y="767776"/>
                </a:lnTo>
                <a:lnTo>
                  <a:pt x="2200959" y="767776"/>
                </a:lnTo>
                <a:lnTo>
                  <a:pt x="2047404" y="767776"/>
                </a:lnTo>
                <a:cubicBezTo>
                  <a:pt x="2019201" y="767776"/>
                  <a:pt x="1996219" y="790706"/>
                  <a:pt x="1996219" y="818961"/>
                </a:cubicBezTo>
                <a:cubicBezTo>
                  <a:pt x="1996219" y="847215"/>
                  <a:pt x="2019201" y="870146"/>
                  <a:pt x="2047404" y="870146"/>
                </a:cubicBezTo>
                <a:cubicBezTo>
                  <a:pt x="2132064" y="870146"/>
                  <a:pt x="2200959" y="939041"/>
                  <a:pt x="2200959" y="1023701"/>
                </a:cubicBezTo>
                <a:lnTo>
                  <a:pt x="2200959" y="1074886"/>
                </a:lnTo>
                <a:lnTo>
                  <a:pt x="2098589" y="1074886"/>
                </a:lnTo>
                <a:lnTo>
                  <a:pt x="2098589" y="1023701"/>
                </a:lnTo>
                <a:cubicBezTo>
                  <a:pt x="2098589" y="995447"/>
                  <a:pt x="2075607" y="972516"/>
                  <a:pt x="2047404" y="972516"/>
                </a:cubicBezTo>
                <a:cubicBezTo>
                  <a:pt x="1962744" y="972516"/>
                  <a:pt x="1893848" y="903621"/>
                  <a:pt x="1893848" y="818961"/>
                </a:cubicBezTo>
                <a:cubicBezTo>
                  <a:pt x="1893848" y="800944"/>
                  <a:pt x="1897534" y="783848"/>
                  <a:pt x="1903266" y="767776"/>
                </a:cubicBezTo>
                <a:lnTo>
                  <a:pt x="1842663" y="767776"/>
                </a:lnTo>
                <a:cubicBezTo>
                  <a:pt x="1758003" y="767776"/>
                  <a:pt x="1689108" y="698880"/>
                  <a:pt x="1689108" y="614220"/>
                </a:cubicBezTo>
                <a:cubicBezTo>
                  <a:pt x="1689108" y="529560"/>
                  <a:pt x="1758003" y="460665"/>
                  <a:pt x="1842663" y="460665"/>
                </a:cubicBezTo>
                <a:close/>
                <a:moveTo>
                  <a:pt x="614221" y="0"/>
                </a:moveTo>
                <a:lnTo>
                  <a:pt x="1893849" y="0"/>
                </a:lnTo>
                <a:cubicBezTo>
                  <a:pt x="1978509" y="0"/>
                  <a:pt x="2047404" y="68895"/>
                  <a:pt x="2047404" y="153555"/>
                </a:cubicBezTo>
                <a:cubicBezTo>
                  <a:pt x="2047404" y="238215"/>
                  <a:pt x="1978509" y="307111"/>
                  <a:pt x="1893849" y="307111"/>
                </a:cubicBezTo>
                <a:lnTo>
                  <a:pt x="1575528" y="307111"/>
                </a:lnTo>
                <a:lnTo>
                  <a:pt x="1572816" y="318013"/>
                </a:lnTo>
                <a:cubicBezTo>
                  <a:pt x="1544254" y="432105"/>
                  <a:pt x="1442191" y="511851"/>
                  <a:pt x="1324517" y="511851"/>
                </a:cubicBezTo>
                <a:lnTo>
                  <a:pt x="1126072" y="511851"/>
                </a:lnTo>
                <a:cubicBezTo>
                  <a:pt x="1097869" y="511851"/>
                  <a:pt x="1074887" y="534782"/>
                  <a:pt x="1074887" y="563036"/>
                </a:cubicBezTo>
                <a:lnTo>
                  <a:pt x="1074887" y="614221"/>
                </a:lnTo>
                <a:lnTo>
                  <a:pt x="972517" y="614221"/>
                </a:lnTo>
                <a:lnTo>
                  <a:pt x="972517" y="563036"/>
                </a:lnTo>
                <a:cubicBezTo>
                  <a:pt x="972517" y="478376"/>
                  <a:pt x="1041412" y="409481"/>
                  <a:pt x="1126072" y="409481"/>
                </a:cubicBezTo>
                <a:lnTo>
                  <a:pt x="1324517" y="409481"/>
                </a:lnTo>
                <a:cubicBezTo>
                  <a:pt x="1395101" y="409481"/>
                  <a:pt x="1456369" y="361623"/>
                  <a:pt x="1473465" y="293188"/>
                </a:cubicBezTo>
                <a:lnTo>
                  <a:pt x="1495577" y="204740"/>
                </a:lnTo>
                <a:lnTo>
                  <a:pt x="1893849" y="204740"/>
                </a:lnTo>
                <a:cubicBezTo>
                  <a:pt x="1922051" y="204740"/>
                  <a:pt x="1945034" y="181809"/>
                  <a:pt x="1945034" y="153555"/>
                </a:cubicBezTo>
                <a:cubicBezTo>
                  <a:pt x="1945034" y="125301"/>
                  <a:pt x="1922051" y="102370"/>
                  <a:pt x="1893849" y="102370"/>
                </a:cubicBezTo>
                <a:lnTo>
                  <a:pt x="614221" y="102370"/>
                </a:lnTo>
                <a:cubicBezTo>
                  <a:pt x="586018" y="102370"/>
                  <a:pt x="563036" y="125301"/>
                  <a:pt x="563036" y="153555"/>
                </a:cubicBezTo>
                <a:cubicBezTo>
                  <a:pt x="563036" y="181809"/>
                  <a:pt x="586018" y="204740"/>
                  <a:pt x="614221" y="204740"/>
                </a:cubicBezTo>
                <a:lnTo>
                  <a:pt x="767776" y="204740"/>
                </a:lnTo>
                <a:lnTo>
                  <a:pt x="1023702" y="204740"/>
                </a:lnTo>
                <a:lnTo>
                  <a:pt x="1023702" y="307111"/>
                </a:lnTo>
                <a:lnTo>
                  <a:pt x="767776" y="307111"/>
                </a:lnTo>
                <a:lnTo>
                  <a:pt x="614221" y="307111"/>
                </a:lnTo>
                <a:lnTo>
                  <a:pt x="153555" y="307111"/>
                </a:lnTo>
                <a:cubicBezTo>
                  <a:pt x="125352" y="307111"/>
                  <a:pt x="102370" y="330041"/>
                  <a:pt x="102370" y="358296"/>
                </a:cubicBezTo>
                <a:cubicBezTo>
                  <a:pt x="102370" y="386550"/>
                  <a:pt x="125352" y="409481"/>
                  <a:pt x="153555" y="409481"/>
                </a:cubicBezTo>
                <a:lnTo>
                  <a:pt x="716591" y="409481"/>
                </a:lnTo>
                <a:cubicBezTo>
                  <a:pt x="801251" y="409481"/>
                  <a:pt x="870147" y="478376"/>
                  <a:pt x="870147" y="563036"/>
                </a:cubicBezTo>
                <a:lnTo>
                  <a:pt x="870147" y="614221"/>
                </a:lnTo>
                <a:lnTo>
                  <a:pt x="767776" y="614221"/>
                </a:lnTo>
                <a:lnTo>
                  <a:pt x="767776" y="563036"/>
                </a:lnTo>
                <a:cubicBezTo>
                  <a:pt x="767776" y="534782"/>
                  <a:pt x="744794" y="511851"/>
                  <a:pt x="716591" y="511851"/>
                </a:cubicBezTo>
                <a:lnTo>
                  <a:pt x="153555" y="511851"/>
                </a:lnTo>
                <a:cubicBezTo>
                  <a:pt x="68895" y="511851"/>
                  <a:pt x="0" y="442956"/>
                  <a:pt x="0" y="358296"/>
                </a:cubicBezTo>
                <a:cubicBezTo>
                  <a:pt x="0" y="273636"/>
                  <a:pt x="68895" y="204740"/>
                  <a:pt x="153555" y="204740"/>
                </a:cubicBezTo>
                <a:lnTo>
                  <a:pt x="470084" y="204740"/>
                </a:lnTo>
                <a:cubicBezTo>
                  <a:pt x="464351" y="188668"/>
                  <a:pt x="460666" y="171572"/>
                  <a:pt x="460666" y="153555"/>
                </a:cubicBezTo>
                <a:cubicBezTo>
                  <a:pt x="460666" y="68895"/>
                  <a:pt x="529561" y="0"/>
                  <a:pt x="614221" y="0"/>
                </a:cubicBezTo>
                <a:close/>
              </a:path>
            </a:pathLst>
          </a:custGeom>
          <a:gradFill flip="none" rotWithShape="1">
            <a:gsLst>
              <a:gs pos="0">
                <a:schemeClr val="accent1">
                  <a:lumMod val="5000"/>
                  <a:lumOff val="95000"/>
                </a:schemeClr>
              </a:gs>
              <a:gs pos="67000">
                <a:schemeClr val="accent1"/>
              </a:gs>
            </a:gsLst>
            <a:lin ang="18900000" scaled="1"/>
            <a:tileRect/>
          </a:gradFill>
          <a:ln w="0">
            <a:noFill/>
            <a:prstDash val="solid"/>
            <a:round/>
            <a:headEnd/>
            <a:tailEnd/>
          </a:ln>
          <a:effectLst/>
        </p:spPr>
        <p:txBody>
          <a:bodyPr rtlCol="0" anchor="ctr"/>
          <a:lstStyle/>
          <a:p>
            <a:endParaRPr lang="en-US" sz="1350"/>
          </a:p>
        </p:txBody>
      </p:sp>
      <p:graphicFrame>
        <p:nvGraphicFramePr>
          <p:cNvPr id="5" name="Chart 3">
            <a:extLst>
              <a:ext uri="{FF2B5EF4-FFF2-40B4-BE49-F238E27FC236}">
                <a16:creationId xmlns:a16="http://schemas.microsoft.com/office/drawing/2014/main" id="{42166366-A88D-4B52-4095-6094D9FFC967}"/>
              </a:ext>
            </a:extLst>
          </p:cNvPr>
          <p:cNvGraphicFramePr/>
          <p:nvPr>
            <p:custDataLst>
              <p:tags r:id="rId1"/>
            </p:custDataLst>
            <p:extLst>
              <p:ext uri="{D42A27DB-BD31-4B8C-83A1-F6EECF244321}">
                <p14:modId xmlns:p14="http://schemas.microsoft.com/office/powerpoint/2010/main" val="2676377293"/>
              </p:ext>
            </p:extLst>
          </p:nvPr>
        </p:nvGraphicFramePr>
        <p:xfrm>
          <a:off x="184152" y="1702386"/>
          <a:ext cx="3214688" cy="2951163"/>
        </p:xfrm>
        <a:graphic>
          <a:graphicData uri="http://schemas.openxmlformats.org/drawingml/2006/chart">
            <c:chart xmlns:c="http://schemas.openxmlformats.org/drawingml/2006/chart" xmlns:r="http://schemas.openxmlformats.org/officeDocument/2006/relationships" r:id="rId14"/>
          </a:graphicData>
        </a:graphic>
      </p:graphicFrame>
      <p:sp>
        <p:nvSpPr>
          <p:cNvPr id="6" name="Text Placeholder">
            <a:extLst>
              <a:ext uri="{FF2B5EF4-FFF2-40B4-BE49-F238E27FC236}">
                <a16:creationId xmlns:a16="http://schemas.microsoft.com/office/drawing/2014/main" id="{B2D120E7-CC57-363B-E0FF-F7117B1E414E}"/>
              </a:ext>
            </a:extLst>
          </p:cNvPr>
          <p:cNvSpPr>
            <a:spLocks noGrp="1"/>
          </p:cNvSpPr>
          <p:nvPr>
            <p:custDataLst>
              <p:tags r:id="rId2"/>
            </p:custDataLst>
          </p:nvPr>
        </p:nvSpPr>
        <p:spPr bwMode="auto">
          <a:xfrm>
            <a:off x="292101" y="4424950"/>
            <a:ext cx="558800"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140B660C-2601-4CD0-A7D2-9F5DBE9E1F6F}" type="datetime'''''''''''20''''''16-''''20''''''''21'''''''">
              <a:rPr lang="en-US" altLang="en-US" sz="900" smtClean="0">
                <a:sym typeface="Arial" panose="020B0604020202020204" pitchFamily="34" charset="0"/>
              </a:rPr>
              <a:pPr algn="ctr">
                <a:spcBef>
                  <a:spcPct val="0"/>
                </a:spcBef>
              </a:pPr>
              <a:t>2016-2021</a:t>
            </a:fld>
            <a:endParaRPr lang="en-US" sz="900">
              <a:sym typeface="Arial" panose="020B0604020202020204" pitchFamily="34" charset="0"/>
            </a:endParaRPr>
          </a:p>
        </p:txBody>
      </p:sp>
      <p:sp>
        <p:nvSpPr>
          <p:cNvPr id="7" name="Text Placeholder">
            <a:extLst>
              <a:ext uri="{FF2B5EF4-FFF2-40B4-BE49-F238E27FC236}">
                <a16:creationId xmlns:a16="http://schemas.microsoft.com/office/drawing/2014/main" id="{D0F6FC85-19CA-C8FF-4975-A5D13316936D}"/>
              </a:ext>
            </a:extLst>
          </p:cNvPr>
          <p:cNvSpPr>
            <a:spLocks noGrp="1"/>
          </p:cNvSpPr>
          <p:nvPr>
            <p:custDataLst>
              <p:tags r:id="rId3"/>
            </p:custDataLst>
          </p:nvPr>
        </p:nvSpPr>
        <p:spPr bwMode="auto">
          <a:xfrm>
            <a:off x="901701" y="4424950"/>
            <a:ext cx="558800"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73ABDF4F-6D78-44BA-8521-39C68B771A33}" type="datetime'''2''''''0''''2''''''''''''''2-''''''''''2''02''''5'">
              <a:rPr lang="en-US" altLang="en-US" sz="900" smtClean="0">
                <a:sym typeface="Arial" panose="020B0604020202020204" pitchFamily="34" charset="0"/>
              </a:rPr>
              <a:pPr algn="ctr">
                <a:spcBef>
                  <a:spcPct val="0"/>
                </a:spcBef>
              </a:pPr>
              <a:t>2022-2025</a:t>
            </a:fld>
            <a:endParaRPr lang="en-US" sz="900">
              <a:sym typeface="Arial" panose="020B0604020202020204" pitchFamily="34" charset="0"/>
            </a:endParaRPr>
          </a:p>
        </p:txBody>
      </p:sp>
      <p:sp>
        <p:nvSpPr>
          <p:cNvPr id="8" name="Text Placeholder">
            <a:extLst>
              <a:ext uri="{FF2B5EF4-FFF2-40B4-BE49-F238E27FC236}">
                <a16:creationId xmlns:a16="http://schemas.microsoft.com/office/drawing/2014/main" id="{7DC82142-D17B-AA8F-DB27-650B0853C924}"/>
              </a:ext>
            </a:extLst>
          </p:cNvPr>
          <p:cNvSpPr>
            <a:spLocks noGrp="1"/>
          </p:cNvSpPr>
          <p:nvPr>
            <p:custDataLst>
              <p:tags r:id="rId4"/>
            </p:custDataLst>
          </p:nvPr>
        </p:nvSpPr>
        <p:spPr bwMode="auto">
          <a:xfrm>
            <a:off x="1511301" y="4424950"/>
            <a:ext cx="558800"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984C9FC3-798F-4FC0-8D35-E010F1AC5EAB}" type="datetime'''2''''''''''''''02''''6''-''''''''''''''''2''0''3''0'''">
              <a:rPr lang="en-US" altLang="en-US" sz="900" smtClean="0">
                <a:sym typeface="Arial" panose="020B0604020202020204" pitchFamily="34" charset="0"/>
              </a:rPr>
              <a:pPr algn="ctr">
                <a:spcBef>
                  <a:spcPct val="0"/>
                </a:spcBef>
              </a:pPr>
              <a:t>2026-2030</a:t>
            </a:fld>
            <a:endParaRPr lang="en-US" sz="900">
              <a:sym typeface="Arial" panose="020B0604020202020204" pitchFamily="34" charset="0"/>
            </a:endParaRPr>
          </a:p>
        </p:txBody>
      </p:sp>
      <p:sp>
        <p:nvSpPr>
          <p:cNvPr id="9" name="Text Placeholder">
            <a:extLst>
              <a:ext uri="{FF2B5EF4-FFF2-40B4-BE49-F238E27FC236}">
                <a16:creationId xmlns:a16="http://schemas.microsoft.com/office/drawing/2014/main" id="{3A15ED70-35BC-DB1F-9258-18E2C3B78454}"/>
              </a:ext>
            </a:extLst>
          </p:cNvPr>
          <p:cNvSpPr>
            <a:spLocks noGrp="1"/>
          </p:cNvSpPr>
          <p:nvPr>
            <p:custDataLst>
              <p:tags r:id="rId5"/>
            </p:custDataLst>
          </p:nvPr>
        </p:nvSpPr>
        <p:spPr bwMode="auto">
          <a:xfrm>
            <a:off x="2122489" y="4424950"/>
            <a:ext cx="558800"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4ACA9ED6-17D1-4D70-91E8-836736DC0060}" type="datetime'''''''''''''20''''''''''''''''''3''''''1-2''''0''''4''''0'">
              <a:rPr lang="en-US" altLang="en-US" sz="900" smtClean="0">
                <a:sym typeface="Arial" panose="020B0604020202020204" pitchFamily="34" charset="0"/>
              </a:rPr>
              <a:pPr algn="ctr">
                <a:spcBef>
                  <a:spcPct val="0"/>
                </a:spcBef>
              </a:pPr>
              <a:t>2031-2040</a:t>
            </a:fld>
            <a:endParaRPr lang="en-US" sz="900">
              <a:sym typeface="Arial" panose="020B0604020202020204" pitchFamily="34" charset="0"/>
            </a:endParaRPr>
          </a:p>
        </p:txBody>
      </p:sp>
      <p:sp>
        <p:nvSpPr>
          <p:cNvPr id="10" name="Text Placeholder">
            <a:extLst>
              <a:ext uri="{FF2B5EF4-FFF2-40B4-BE49-F238E27FC236}">
                <a16:creationId xmlns:a16="http://schemas.microsoft.com/office/drawing/2014/main" id="{194F71F9-D922-8AE1-E6E8-C8FBB57849FB}"/>
              </a:ext>
            </a:extLst>
          </p:cNvPr>
          <p:cNvSpPr>
            <a:spLocks noGrp="1"/>
          </p:cNvSpPr>
          <p:nvPr>
            <p:custDataLst>
              <p:tags r:id="rId6"/>
            </p:custDataLst>
          </p:nvPr>
        </p:nvSpPr>
        <p:spPr bwMode="auto">
          <a:xfrm>
            <a:off x="2732089" y="4424950"/>
            <a:ext cx="558800"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CEA1A3B-CE07-4317-8BC4-E0DDD2AE27F6}" type="datetime'''''2''''''''''''04''''''''''1-20''5''''''''''''''''''0'''''">
              <a:rPr lang="en-US" altLang="en-US" sz="900" smtClean="0">
                <a:sym typeface="Arial" panose="020B0604020202020204" pitchFamily="34" charset="0"/>
              </a:rPr>
              <a:pPr algn="ctr">
                <a:spcBef>
                  <a:spcPct val="0"/>
                </a:spcBef>
              </a:pPr>
              <a:t>2041-2050</a:t>
            </a:fld>
            <a:endParaRPr lang="en-US" sz="900">
              <a:sym typeface="Arial" panose="020B0604020202020204" pitchFamily="34" charset="0"/>
            </a:endParaRPr>
          </a:p>
        </p:txBody>
      </p:sp>
      <p:graphicFrame>
        <p:nvGraphicFramePr>
          <p:cNvPr id="11" name="Chart 4">
            <a:extLst>
              <a:ext uri="{FF2B5EF4-FFF2-40B4-BE49-F238E27FC236}">
                <a16:creationId xmlns:a16="http://schemas.microsoft.com/office/drawing/2014/main" id="{28A61215-08AF-F217-0410-2725C4ADC319}"/>
              </a:ext>
            </a:extLst>
          </p:cNvPr>
          <p:cNvGraphicFramePr/>
          <p:nvPr>
            <p:custDataLst>
              <p:tags r:id="rId7"/>
            </p:custDataLst>
            <p:extLst>
              <p:ext uri="{D42A27DB-BD31-4B8C-83A1-F6EECF244321}">
                <p14:modId xmlns:p14="http://schemas.microsoft.com/office/powerpoint/2010/main" val="3798317031"/>
              </p:ext>
            </p:extLst>
          </p:nvPr>
        </p:nvGraphicFramePr>
        <p:xfrm>
          <a:off x="3330577" y="1702386"/>
          <a:ext cx="3065463" cy="2951163"/>
        </p:xfrm>
        <a:graphic>
          <a:graphicData uri="http://schemas.openxmlformats.org/drawingml/2006/chart">
            <c:chart xmlns:c="http://schemas.openxmlformats.org/drawingml/2006/chart" xmlns:r="http://schemas.openxmlformats.org/officeDocument/2006/relationships" r:id="rId15"/>
          </a:graphicData>
        </a:graphic>
      </p:graphicFrame>
      <p:sp>
        <p:nvSpPr>
          <p:cNvPr id="12" name="Text Placeholder">
            <a:extLst>
              <a:ext uri="{FF2B5EF4-FFF2-40B4-BE49-F238E27FC236}">
                <a16:creationId xmlns:a16="http://schemas.microsoft.com/office/drawing/2014/main" id="{2F5C6F6B-6B95-1026-AC59-59F551844B35}"/>
              </a:ext>
            </a:extLst>
          </p:cNvPr>
          <p:cNvSpPr>
            <a:spLocks noGrp="1"/>
          </p:cNvSpPr>
          <p:nvPr>
            <p:custDataLst>
              <p:tags r:id="rId8"/>
            </p:custDataLst>
          </p:nvPr>
        </p:nvSpPr>
        <p:spPr bwMode="auto">
          <a:xfrm>
            <a:off x="3524252" y="4429712"/>
            <a:ext cx="3571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8027D13-E6FA-4391-877A-C83F09282828}" type="datetime'''''''''''''''''''AP''''''''A''''''''''''''''''''''''''C'">
              <a:rPr lang="en-US" altLang="en-US" sz="1000" smtClean="0">
                <a:sym typeface="Arial" panose="020B0604020202020204" pitchFamily="34" charset="0"/>
              </a:rPr>
              <a:pPr algn="ctr">
                <a:spcBef>
                  <a:spcPct val="0"/>
                </a:spcBef>
              </a:pPr>
              <a:t>APAC</a:t>
            </a:fld>
            <a:endParaRPr lang="en-US" sz="1000">
              <a:sym typeface="Arial" panose="020B0604020202020204" pitchFamily="34" charset="0"/>
            </a:endParaRPr>
          </a:p>
        </p:txBody>
      </p:sp>
      <p:sp>
        <p:nvSpPr>
          <p:cNvPr id="13" name="Text Placeholder">
            <a:extLst>
              <a:ext uri="{FF2B5EF4-FFF2-40B4-BE49-F238E27FC236}">
                <a16:creationId xmlns:a16="http://schemas.microsoft.com/office/drawing/2014/main" id="{49DDC74A-88EA-E8CF-7B63-9A4A36916155}"/>
              </a:ext>
            </a:extLst>
          </p:cNvPr>
          <p:cNvSpPr>
            <a:spLocks noGrp="1"/>
          </p:cNvSpPr>
          <p:nvPr>
            <p:custDataLst>
              <p:tags r:id="rId9"/>
            </p:custDataLst>
          </p:nvPr>
        </p:nvSpPr>
        <p:spPr bwMode="auto">
          <a:xfrm>
            <a:off x="4073527" y="4429712"/>
            <a:ext cx="419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B19231C-9673-4026-B783-2C58CCB1DFE2}" type="datetime'''''''''''''''''''''E''u''''''r''''''o''''''''p''''''''''e'">
              <a:rPr lang="en-US" altLang="en-US" sz="1000" smtClean="0">
                <a:sym typeface="Arial" panose="020B0604020202020204" pitchFamily="34" charset="0"/>
              </a:rPr>
              <a:pPr algn="ctr">
                <a:spcBef>
                  <a:spcPct val="0"/>
                </a:spcBef>
              </a:pPr>
              <a:t>Europe</a:t>
            </a:fld>
            <a:endParaRPr lang="en-US" sz="1000">
              <a:sym typeface="Arial" panose="020B0604020202020204" pitchFamily="34" charset="0"/>
            </a:endParaRPr>
          </a:p>
        </p:txBody>
      </p:sp>
      <p:sp>
        <p:nvSpPr>
          <p:cNvPr id="14" name="Text Placeholder">
            <a:extLst>
              <a:ext uri="{FF2B5EF4-FFF2-40B4-BE49-F238E27FC236}">
                <a16:creationId xmlns:a16="http://schemas.microsoft.com/office/drawing/2014/main" id="{EDB33DE8-6D0F-9418-5DAF-08DC255E5D62}"/>
              </a:ext>
            </a:extLst>
          </p:cNvPr>
          <p:cNvSpPr>
            <a:spLocks noGrp="1"/>
          </p:cNvSpPr>
          <p:nvPr>
            <p:custDataLst>
              <p:tags r:id="rId10"/>
            </p:custDataLst>
          </p:nvPr>
        </p:nvSpPr>
        <p:spPr bwMode="auto">
          <a:xfrm>
            <a:off x="4670427" y="4429710"/>
            <a:ext cx="385763"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58FF2CAC-5C74-442D-BF51-3102C1216811}" type="datetime'M''''''''i''''''''''d''dle'' E''a''''''''''s''''''''''''''''t'">
              <a:rPr lang="en-US" altLang="en-US" sz="1000" smtClean="0">
                <a:sym typeface="Arial" panose="020B0604020202020204" pitchFamily="34" charset="0"/>
              </a:rPr>
              <a:pPr algn="ctr">
                <a:spcBef>
                  <a:spcPct val="0"/>
                </a:spcBef>
              </a:pPr>
              <a:t>Middle East</a:t>
            </a:fld>
            <a:endParaRPr lang="en-US" sz="1000">
              <a:sym typeface="Arial" panose="020B0604020202020204" pitchFamily="34" charset="0"/>
            </a:endParaRPr>
          </a:p>
        </p:txBody>
      </p:sp>
      <p:sp>
        <p:nvSpPr>
          <p:cNvPr id="15" name="Text Placeholder">
            <a:extLst>
              <a:ext uri="{FF2B5EF4-FFF2-40B4-BE49-F238E27FC236}">
                <a16:creationId xmlns:a16="http://schemas.microsoft.com/office/drawing/2014/main" id="{7A8E4F91-4461-828F-9EE3-6BB85431A746}"/>
              </a:ext>
            </a:extLst>
          </p:cNvPr>
          <p:cNvSpPr>
            <a:spLocks noGrp="1"/>
          </p:cNvSpPr>
          <p:nvPr>
            <p:custDataLst>
              <p:tags r:id="rId11"/>
            </p:custDataLst>
          </p:nvPr>
        </p:nvSpPr>
        <p:spPr bwMode="auto">
          <a:xfrm>
            <a:off x="5275265" y="4429712"/>
            <a:ext cx="3365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BB6A0747-0F0E-4637-9C8F-03A7367BC3BC}" type="datetime'''A''''''''fr''''''''''''i''''''''''''''''''''c''''''''''a'''">
              <a:rPr lang="en-US" altLang="en-US" sz="1000" smtClean="0">
                <a:sym typeface="Arial" panose="020B0604020202020204" pitchFamily="34" charset="0"/>
              </a:rPr>
              <a:pPr algn="ctr">
                <a:spcBef>
                  <a:spcPct val="0"/>
                </a:spcBef>
              </a:pPr>
              <a:t>Africa</a:t>
            </a:fld>
            <a:endParaRPr lang="en-US" sz="1000">
              <a:sym typeface="Arial" panose="020B0604020202020204" pitchFamily="34" charset="0"/>
            </a:endParaRPr>
          </a:p>
        </p:txBody>
      </p:sp>
      <p:sp>
        <p:nvSpPr>
          <p:cNvPr id="16" name="Text Placeholder">
            <a:extLst>
              <a:ext uri="{FF2B5EF4-FFF2-40B4-BE49-F238E27FC236}">
                <a16:creationId xmlns:a16="http://schemas.microsoft.com/office/drawing/2014/main" id="{B6C433EC-7928-84B6-5868-39428FD5C3D7}"/>
              </a:ext>
            </a:extLst>
          </p:cNvPr>
          <p:cNvSpPr>
            <a:spLocks noGrp="1"/>
          </p:cNvSpPr>
          <p:nvPr>
            <p:custDataLst>
              <p:tags r:id="rId12"/>
            </p:custDataLst>
          </p:nvPr>
        </p:nvSpPr>
        <p:spPr bwMode="auto">
          <a:xfrm>
            <a:off x="5753102" y="4429712"/>
            <a:ext cx="5413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0B87B31E-F319-4223-9DAB-43F297F4AD4A}" type="datetime'''A''me''''r''''''''''''''''i''''''''''''ca''''s'''''''''">
              <a:rPr lang="en-US" altLang="en-US" sz="1000" smtClean="0">
                <a:sym typeface="Arial" panose="020B0604020202020204" pitchFamily="34" charset="0"/>
              </a:rPr>
              <a:pPr algn="ctr">
                <a:spcBef>
                  <a:spcPct val="0"/>
                </a:spcBef>
              </a:pPr>
              <a:t>Americas</a:t>
            </a:fld>
            <a:endParaRPr lang="en-US" sz="1000">
              <a:sym typeface="Arial" panose="020B0604020202020204" pitchFamily="34" charset="0"/>
            </a:endParaRPr>
          </a:p>
        </p:txBody>
      </p:sp>
      <p:sp>
        <p:nvSpPr>
          <p:cNvPr id="17" name="Speech Bubble: Rectangle 60">
            <a:extLst>
              <a:ext uri="{FF2B5EF4-FFF2-40B4-BE49-F238E27FC236}">
                <a16:creationId xmlns:a16="http://schemas.microsoft.com/office/drawing/2014/main" id="{2ED54A53-2281-2B28-3EEC-71A12A80A934}"/>
              </a:ext>
            </a:extLst>
          </p:cNvPr>
          <p:cNvSpPr/>
          <p:nvPr/>
        </p:nvSpPr>
        <p:spPr>
          <a:xfrm>
            <a:off x="4033839" y="2036277"/>
            <a:ext cx="1206500" cy="412189"/>
          </a:xfrm>
          <a:prstGeom prst="roundRect">
            <a:avLst>
              <a:gd name="adj" fmla="val 12133"/>
            </a:avLst>
          </a:prstGeom>
          <a:solidFill>
            <a:schemeClr val="tx2"/>
          </a:solidFill>
          <a:ln w="63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spAutoFit/>
          </a:bodyPr>
          <a:lstStyle/>
          <a:p>
            <a:pPr algn="ctr">
              <a:lnSpc>
                <a:spcPct val="90000"/>
              </a:lnSpc>
              <a:spcBef>
                <a:spcPts val="300"/>
              </a:spcBef>
              <a:buSzPct val="100000"/>
              <a:buFont typeface=""/>
            </a:pPr>
            <a:r>
              <a:rPr lang="en-GB" sz="1000" dirty="0">
                <a:solidFill>
                  <a:schemeClr val="bg1"/>
                </a:solidFill>
                <a:sym typeface="+mn-lt"/>
              </a:rPr>
              <a:t>58 reactors under construction</a:t>
            </a:r>
          </a:p>
        </p:txBody>
      </p:sp>
      <p:grpSp>
        <p:nvGrpSpPr>
          <p:cNvPr id="18" name="Gruppieren 15">
            <a:extLst>
              <a:ext uri="{FF2B5EF4-FFF2-40B4-BE49-F238E27FC236}">
                <a16:creationId xmlns:a16="http://schemas.microsoft.com/office/drawing/2014/main" id="{C4B0FCB9-530A-7426-010F-E3072D209B82}"/>
              </a:ext>
            </a:extLst>
          </p:cNvPr>
          <p:cNvGrpSpPr>
            <a:grpSpLocks/>
          </p:cNvGrpSpPr>
          <p:nvPr/>
        </p:nvGrpSpPr>
        <p:grpSpPr>
          <a:xfrm>
            <a:off x="3413126" y="1346631"/>
            <a:ext cx="2900795" cy="376898"/>
            <a:chOff x="5653175" y="1078035"/>
            <a:chExt cx="3240000" cy="376898"/>
          </a:xfrm>
        </p:grpSpPr>
        <p:cxnSp>
          <p:nvCxnSpPr>
            <p:cNvPr id="19" name="HorizontalLine7">
              <a:extLst>
                <a:ext uri="{FF2B5EF4-FFF2-40B4-BE49-F238E27FC236}">
                  <a16:creationId xmlns:a16="http://schemas.microsoft.com/office/drawing/2014/main" id="{19634BC4-6C03-2FDD-62E3-044B3FA25CE8}"/>
                </a:ext>
              </a:extLst>
            </p:cNvPr>
            <p:cNvCxnSpPr>
              <a:cxnSpLocks/>
            </p:cNvCxnSpPr>
            <p:nvPr/>
          </p:nvCxnSpPr>
          <p:spPr>
            <a:xfrm>
              <a:off x="5653175" y="1454932"/>
              <a:ext cx="3240000"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Title66">
              <a:extLst>
                <a:ext uri="{FF2B5EF4-FFF2-40B4-BE49-F238E27FC236}">
                  <a16:creationId xmlns:a16="http://schemas.microsoft.com/office/drawing/2014/main" id="{5BB38059-0B39-CB8A-196C-0202A338632B}"/>
                </a:ext>
              </a:extLst>
            </p:cNvPr>
            <p:cNvSpPr txBox="1">
              <a:spLocks/>
            </p:cNvSpPr>
            <p:nvPr/>
          </p:nvSpPr>
          <p:spPr>
            <a:xfrm>
              <a:off x="5653175" y="1078035"/>
              <a:ext cx="3240000" cy="376898"/>
            </a:xfrm>
            <a:prstGeom prst="rect">
              <a:avLst/>
            </a:prstGeom>
            <a:noFill/>
            <a:ln w="9525">
              <a:noFill/>
            </a:ln>
          </p:spPr>
          <p:txBody>
            <a:bodyPr vert="horz" wrap="square" lIns="0" tIns="0" rIns="0" bIns="53213" rtlCol="0" anchor="b">
              <a:spAutoFit/>
            </a:bodyPr>
            <a:lstStyle/>
            <a:p>
              <a:pPr fontAlgn="base">
                <a:buSzPct val="100000"/>
              </a:pPr>
              <a:r>
                <a:rPr lang="en-US" sz="1050" b="1" dirty="0">
                  <a:sym typeface="+mn-lt"/>
                </a:rPr>
                <a:t>Reactors currently under construction</a:t>
              </a:r>
              <a:br>
                <a:rPr lang="en-US" sz="1050" b="1" dirty="0">
                  <a:sym typeface="+mn-lt"/>
                </a:rPr>
              </a:br>
              <a:r>
                <a:rPr lang="en-US" sz="1050" b="1" dirty="0">
                  <a:sym typeface="+mn-lt"/>
                </a:rPr>
                <a:t>by region </a:t>
              </a:r>
              <a:r>
                <a:rPr lang="en-US" sz="1050" dirty="0">
                  <a:sym typeface="+mn-lt"/>
                </a:rPr>
                <a:t>[#]</a:t>
              </a:r>
            </a:p>
          </p:txBody>
        </p:sp>
      </p:grpSp>
      <p:grpSp>
        <p:nvGrpSpPr>
          <p:cNvPr id="21" name="Gruppieren 18">
            <a:extLst>
              <a:ext uri="{FF2B5EF4-FFF2-40B4-BE49-F238E27FC236}">
                <a16:creationId xmlns:a16="http://schemas.microsoft.com/office/drawing/2014/main" id="{53A06946-28D4-DE7A-B0F6-51BF193290B5}"/>
              </a:ext>
            </a:extLst>
          </p:cNvPr>
          <p:cNvGrpSpPr>
            <a:grpSpLocks/>
          </p:cNvGrpSpPr>
          <p:nvPr/>
        </p:nvGrpSpPr>
        <p:grpSpPr>
          <a:xfrm>
            <a:off x="414918" y="1346631"/>
            <a:ext cx="2900794" cy="376898"/>
            <a:chOff x="5653175" y="1078035"/>
            <a:chExt cx="3240000" cy="376898"/>
          </a:xfrm>
        </p:grpSpPr>
        <p:cxnSp>
          <p:nvCxnSpPr>
            <p:cNvPr id="22" name="HorizontalLine7">
              <a:extLst>
                <a:ext uri="{FF2B5EF4-FFF2-40B4-BE49-F238E27FC236}">
                  <a16:creationId xmlns:a16="http://schemas.microsoft.com/office/drawing/2014/main" id="{6248969C-878D-6923-505A-C27DF0F0E7FE}"/>
                </a:ext>
              </a:extLst>
            </p:cNvPr>
            <p:cNvCxnSpPr>
              <a:cxnSpLocks/>
            </p:cNvCxnSpPr>
            <p:nvPr/>
          </p:nvCxnSpPr>
          <p:spPr>
            <a:xfrm>
              <a:off x="5653175" y="1454932"/>
              <a:ext cx="3240000"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itle66">
              <a:extLst>
                <a:ext uri="{FF2B5EF4-FFF2-40B4-BE49-F238E27FC236}">
                  <a16:creationId xmlns:a16="http://schemas.microsoft.com/office/drawing/2014/main" id="{4EEDB648-F8A7-D044-BA6A-BDF02C0345E2}"/>
                </a:ext>
              </a:extLst>
            </p:cNvPr>
            <p:cNvSpPr txBox="1">
              <a:spLocks/>
            </p:cNvSpPr>
            <p:nvPr/>
          </p:nvSpPr>
          <p:spPr>
            <a:xfrm>
              <a:off x="5653175" y="1078035"/>
              <a:ext cx="3240000" cy="376898"/>
            </a:xfrm>
            <a:prstGeom prst="rect">
              <a:avLst/>
            </a:prstGeom>
            <a:noFill/>
            <a:ln w="9525">
              <a:noFill/>
            </a:ln>
          </p:spPr>
          <p:txBody>
            <a:bodyPr vert="horz" wrap="square" lIns="0" tIns="0" rIns="0" bIns="53213" rtlCol="0" anchor="b">
              <a:spAutoFit/>
            </a:bodyPr>
            <a:lstStyle/>
            <a:p>
              <a:pPr fontAlgn="base">
                <a:buSzPct val="100000"/>
              </a:pPr>
              <a:r>
                <a:rPr lang="en-US" sz="1050" b="1" dirty="0">
                  <a:sym typeface="+mn-lt"/>
                </a:rPr>
                <a:t>Annual investments in nuclear energy required in the Net Zero Emission</a:t>
              </a:r>
              <a:r>
                <a:rPr lang="en-US" sz="1050" b="1" baseline="30000" dirty="0">
                  <a:sym typeface="+mn-lt"/>
                </a:rPr>
                <a:t> </a:t>
              </a:r>
              <a:r>
                <a:rPr lang="en-US" sz="1050" dirty="0">
                  <a:sym typeface="+mn-lt"/>
                </a:rPr>
                <a:t>[USD bn]</a:t>
              </a:r>
            </a:p>
          </p:txBody>
        </p:sp>
      </p:grpSp>
      <p:sp>
        <p:nvSpPr>
          <p:cNvPr id="24" name="TextBox 1">
            <a:extLst>
              <a:ext uri="{FF2B5EF4-FFF2-40B4-BE49-F238E27FC236}">
                <a16:creationId xmlns:a16="http://schemas.microsoft.com/office/drawing/2014/main" id="{F9FE8DB2-5008-F373-471E-34E3CC497727}"/>
              </a:ext>
            </a:extLst>
          </p:cNvPr>
          <p:cNvSpPr txBox="1"/>
          <p:nvPr/>
        </p:nvSpPr>
        <p:spPr>
          <a:xfrm>
            <a:off x="243973" y="1033795"/>
            <a:ext cx="7579731" cy="276999"/>
          </a:xfrm>
          <a:prstGeom prst="rect">
            <a:avLst/>
          </a:prstGeom>
          <a:noFill/>
        </p:spPr>
        <p:txBody>
          <a:bodyPr wrap="square">
            <a:spAutoFit/>
          </a:bodyPr>
          <a:lstStyle/>
          <a:p>
            <a:r>
              <a:rPr lang="en-US" sz="1200" dirty="0">
                <a:solidFill>
                  <a:schemeClr val="tx2"/>
                </a:solidFill>
                <a:latin typeface="+mj-lt"/>
                <a:cs typeface="+mj-cs"/>
                <a:sym typeface="+mn-lt"/>
              </a:rPr>
              <a:t>Nuclear energy investment and reactors under construction </a:t>
            </a:r>
            <a:endParaRPr lang="en-GB" sz="1200" dirty="0">
              <a:solidFill>
                <a:schemeClr val="tx2"/>
              </a:solidFill>
            </a:endParaRPr>
          </a:p>
        </p:txBody>
      </p:sp>
      <p:grpSp>
        <p:nvGrpSpPr>
          <p:cNvPr id="25" name="Group 10">
            <a:extLst>
              <a:ext uri="{FF2B5EF4-FFF2-40B4-BE49-F238E27FC236}">
                <a16:creationId xmlns:a16="http://schemas.microsoft.com/office/drawing/2014/main" id="{2970A6DA-A0B5-C46A-C2C5-A6FAD438E57C}"/>
              </a:ext>
            </a:extLst>
          </p:cNvPr>
          <p:cNvGrpSpPr/>
          <p:nvPr/>
        </p:nvGrpSpPr>
        <p:grpSpPr>
          <a:xfrm>
            <a:off x="267604" y="-985"/>
            <a:ext cx="1821103" cy="246221"/>
            <a:chOff x="267604" y="3778"/>
            <a:chExt cx="1821103" cy="246221"/>
          </a:xfrm>
        </p:grpSpPr>
        <p:sp>
          <p:nvSpPr>
            <p:cNvPr id="26" name="Oval 12">
              <a:extLst>
                <a:ext uri="{FF2B5EF4-FFF2-40B4-BE49-F238E27FC236}">
                  <a16:creationId xmlns:a16="http://schemas.microsoft.com/office/drawing/2014/main" id="{55A7F940-7E6D-5A6B-E692-E786EFC3257A}"/>
                </a:ext>
              </a:extLst>
            </p:cNvPr>
            <p:cNvSpPr/>
            <p:nvPr/>
          </p:nvSpPr>
          <p:spPr>
            <a:xfrm>
              <a:off x="267604" y="45746"/>
              <a:ext cx="162285" cy="162285"/>
            </a:xfrm>
            <a:prstGeom prst="ellipse">
              <a:avLst/>
            </a:prstGeom>
            <a:solidFill>
              <a:schemeClr val="tx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RB Office"/>
                  <a:ea typeface="Microsoft YaHei"/>
                  <a:cs typeface="Calibri"/>
                </a:rPr>
                <a:t>D</a:t>
              </a:r>
            </a:p>
          </p:txBody>
        </p:sp>
        <p:sp>
          <p:nvSpPr>
            <p:cNvPr id="27" name="TextBox 13">
              <a:extLst>
                <a:ext uri="{FF2B5EF4-FFF2-40B4-BE49-F238E27FC236}">
                  <a16:creationId xmlns:a16="http://schemas.microsoft.com/office/drawing/2014/main" id="{55FB3CDD-687E-59E9-C879-A9D3B1044B43}"/>
                </a:ext>
              </a:extLst>
            </p:cNvPr>
            <p:cNvSpPr txBox="1"/>
            <p:nvPr/>
          </p:nvSpPr>
          <p:spPr>
            <a:xfrm>
              <a:off x="362201" y="3778"/>
              <a:ext cx="1726506" cy="246221"/>
            </a:xfrm>
            <a:prstGeom prst="rect">
              <a:avLst/>
            </a:prstGeom>
            <a:noFill/>
          </p:spPr>
          <p:txBody>
            <a:bodyPr wrap="square" rtlCol="0" anchor="ctr">
              <a:spAutoFit/>
            </a:bodyPr>
            <a:lstStyle/>
            <a:p>
              <a:r>
                <a:rPr lang="en-GB" sz="1000" dirty="0"/>
                <a:t>Nuclear</a:t>
              </a:r>
              <a:r>
                <a:rPr lang="en-GB" sz="1000" baseline="-25000" dirty="0"/>
                <a:t> </a:t>
              </a:r>
              <a:r>
                <a:rPr lang="en-GB" sz="1000" dirty="0"/>
                <a:t>infrastructure</a:t>
              </a:r>
            </a:p>
          </p:txBody>
        </p:sp>
      </p:grpSp>
      <p:grpSp>
        <p:nvGrpSpPr>
          <p:cNvPr id="28" name="Gruppieren 15">
            <a:extLst>
              <a:ext uri="{FF2B5EF4-FFF2-40B4-BE49-F238E27FC236}">
                <a16:creationId xmlns:a16="http://schemas.microsoft.com/office/drawing/2014/main" id="{0AA99BA6-EED8-9311-6146-3B9A9C6EA719}"/>
              </a:ext>
            </a:extLst>
          </p:cNvPr>
          <p:cNvGrpSpPr>
            <a:grpSpLocks/>
          </p:cNvGrpSpPr>
          <p:nvPr/>
        </p:nvGrpSpPr>
        <p:grpSpPr>
          <a:xfrm>
            <a:off x="6411336" y="1508214"/>
            <a:ext cx="2500890" cy="215315"/>
            <a:chOff x="5653175" y="1239618"/>
            <a:chExt cx="3240000" cy="215315"/>
          </a:xfrm>
        </p:grpSpPr>
        <p:cxnSp>
          <p:nvCxnSpPr>
            <p:cNvPr id="29" name="HorizontalLine7">
              <a:extLst>
                <a:ext uri="{FF2B5EF4-FFF2-40B4-BE49-F238E27FC236}">
                  <a16:creationId xmlns:a16="http://schemas.microsoft.com/office/drawing/2014/main" id="{EC928C71-5F4D-8623-8235-0043180A30DE}"/>
                </a:ext>
              </a:extLst>
            </p:cNvPr>
            <p:cNvCxnSpPr>
              <a:cxnSpLocks/>
            </p:cNvCxnSpPr>
            <p:nvPr/>
          </p:nvCxnSpPr>
          <p:spPr>
            <a:xfrm>
              <a:off x="5653175" y="1454932"/>
              <a:ext cx="3240000"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Title66">
              <a:extLst>
                <a:ext uri="{FF2B5EF4-FFF2-40B4-BE49-F238E27FC236}">
                  <a16:creationId xmlns:a16="http://schemas.microsoft.com/office/drawing/2014/main" id="{8AEA15E2-ECCC-749C-CD38-7996C7048881}"/>
                </a:ext>
              </a:extLst>
            </p:cNvPr>
            <p:cNvSpPr txBox="1">
              <a:spLocks/>
            </p:cNvSpPr>
            <p:nvPr/>
          </p:nvSpPr>
          <p:spPr>
            <a:xfrm>
              <a:off x="5653175" y="1239618"/>
              <a:ext cx="3240000" cy="215315"/>
            </a:xfrm>
            <a:prstGeom prst="rect">
              <a:avLst/>
            </a:prstGeom>
            <a:noFill/>
            <a:ln w="9525">
              <a:noFill/>
            </a:ln>
          </p:spPr>
          <p:txBody>
            <a:bodyPr vert="horz" wrap="square" lIns="0" tIns="0" rIns="0" bIns="53213" rtlCol="0" anchor="b">
              <a:spAutoFit/>
            </a:bodyPr>
            <a:lstStyle/>
            <a:p>
              <a:pPr fontAlgn="base">
                <a:buSzPct val="100000"/>
              </a:pPr>
              <a:r>
                <a:rPr lang="en-US" sz="1050" b="1" dirty="0">
                  <a:sym typeface="+mn-lt"/>
                </a:rPr>
                <a:t>Main projects under development, 2024</a:t>
              </a:r>
              <a:endParaRPr lang="en-US" sz="1050" dirty="0">
                <a:sym typeface="+mn-lt"/>
              </a:endParaRPr>
            </a:p>
          </p:txBody>
        </p:sp>
      </p:grpSp>
      <p:sp>
        <p:nvSpPr>
          <p:cNvPr id="31" name="TextBox 38">
            <a:extLst>
              <a:ext uri="{FF2B5EF4-FFF2-40B4-BE49-F238E27FC236}">
                <a16:creationId xmlns:a16="http://schemas.microsoft.com/office/drawing/2014/main" id="{0ABB53BC-7F02-1435-88DA-E0AFF84445B6}"/>
              </a:ext>
            </a:extLst>
          </p:cNvPr>
          <p:cNvSpPr txBox="1"/>
          <p:nvPr/>
        </p:nvSpPr>
        <p:spPr>
          <a:xfrm>
            <a:off x="6435496" y="1851611"/>
            <a:ext cx="441324" cy="230832"/>
          </a:xfrm>
          <a:prstGeom prst="rect">
            <a:avLst/>
          </a:prstGeom>
          <a:noFill/>
        </p:spPr>
        <p:txBody>
          <a:bodyPr wrap="square" lIns="0" rIns="0" rtlCol="0">
            <a:spAutoFit/>
          </a:bodyPr>
          <a:lstStyle/>
          <a:p>
            <a:r>
              <a:rPr lang="en-US" sz="900" b="1" dirty="0"/>
              <a:t>Country</a:t>
            </a:r>
          </a:p>
        </p:txBody>
      </p:sp>
      <p:sp>
        <p:nvSpPr>
          <p:cNvPr id="32" name="TextBox 39">
            <a:extLst>
              <a:ext uri="{FF2B5EF4-FFF2-40B4-BE49-F238E27FC236}">
                <a16:creationId xmlns:a16="http://schemas.microsoft.com/office/drawing/2014/main" id="{DC7E2CF9-28D7-2CBD-2EF1-15018DCDF293}"/>
              </a:ext>
            </a:extLst>
          </p:cNvPr>
          <p:cNvSpPr txBox="1"/>
          <p:nvPr/>
        </p:nvSpPr>
        <p:spPr>
          <a:xfrm>
            <a:off x="7083901" y="1851957"/>
            <a:ext cx="751976" cy="230832"/>
          </a:xfrm>
          <a:prstGeom prst="rect">
            <a:avLst/>
          </a:prstGeom>
          <a:noFill/>
        </p:spPr>
        <p:txBody>
          <a:bodyPr wrap="square" lIns="0" rIns="0" rtlCol="0">
            <a:spAutoFit/>
          </a:bodyPr>
          <a:lstStyle/>
          <a:p>
            <a:r>
              <a:rPr lang="en-US" sz="900" b="1" dirty="0"/>
              <a:t>Reactor</a:t>
            </a:r>
          </a:p>
        </p:txBody>
      </p:sp>
      <p:sp>
        <p:nvSpPr>
          <p:cNvPr id="33" name="TextBox 40">
            <a:extLst>
              <a:ext uri="{FF2B5EF4-FFF2-40B4-BE49-F238E27FC236}">
                <a16:creationId xmlns:a16="http://schemas.microsoft.com/office/drawing/2014/main" id="{715349D7-92C4-B5BA-40CA-BDF632C3B2DA}"/>
              </a:ext>
            </a:extLst>
          </p:cNvPr>
          <p:cNvSpPr txBox="1"/>
          <p:nvPr/>
        </p:nvSpPr>
        <p:spPr>
          <a:xfrm>
            <a:off x="8079288" y="1723528"/>
            <a:ext cx="751976" cy="369332"/>
          </a:xfrm>
          <a:prstGeom prst="rect">
            <a:avLst/>
          </a:prstGeom>
          <a:noFill/>
        </p:spPr>
        <p:txBody>
          <a:bodyPr wrap="square" lIns="0" rIns="0" rtlCol="0">
            <a:spAutoFit/>
          </a:bodyPr>
          <a:lstStyle/>
          <a:p>
            <a:r>
              <a:rPr lang="en-US" sz="900" b="1" dirty="0"/>
              <a:t>Power</a:t>
            </a:r>
            <a:br>
              <a:rPr lang="en-US" sz="900" b="1" dirty="0"/>
            </a:br>
            <a:r>
              <a:rPr lang="en-US" sz="900" b="1" dirty="0"/>
              <a:t>[Gross MWe]</a:t>
            </a:r>
          </a:p>
        </p:txBody>
      </p:sp>
      <p:pic>
        <p:nvPicPr>
          <p:cNvPr id="34" name="Graphic 51">
            <a:extLst>
              <a:ext uri="{FF2B5EF4-FFF2-40B4-BE49-F238E27FC236}">
                <a16:creationId xmlns:a16="http://schemas.microsoft.com/office/drawing/2014/main" id="{F9D5D1E1-7FF7-43C8-3E6D-FD0C5FDAD079}"/>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6534754" y="2679061"/>
            <a:ext cx="242809" cy="242809"/>
          </a:xfrm>
          <a:prstGeom prst="rect">
            <a:avLst/>
          </a:prstGeom>
        </p:spPr>
      </p:pic>
      <p:sp>
        <p:nvSpPr>
          <p:cNvPr id="35" name="TextBox 56">
            <a:extLst>
              <a:ext uri="{FF2B5EF4-FFF2-40B4-BE49-F238E27FC236}">
                <a16:creationId xmlns:a16="http://schemas.microsoft.com/office/drawing/2014/main" id="{D7ECA20B-DAB0-B906-028A-9B43DBA3DD3E}"/>
              </a:ext>
            </a:extLst>
          </p:cNvPr>
          <p:cNvSpPr txBox="1"/>
          <p:nvPr/>
        </p:nvSpPr>
        <p:spPr>
          <a:xfrm>
            <a:off x="7083901" y="2677355"/>
            <a:ext cx="971550" cy="246221"/>
          </a:xfrm>
          <a:prstGeom prst="rect">
            <a:avLst/>
          </a:prstGeom>
          <a:noFill/>
        </p:spPr>
        <p:txBody>
          <a:bodyPr wrap="square" lIns="0" rtlCol="0">
            <a:spAutoFit/>
          </a:bodyPr>
          <a:lstStyle/>
          <a:p>
            <a:r>
              <a:rPr lang="en-US" sz="1000" err="1"/>
              <a:t>Shidaowan</a:t>
            </a:r>
            <a:r>
              <a:rPr lang="en-US" sz="1000"/>
              <a:t> 1</a:t>
            </a:r>
            <a:endParaRPr lang="en-US" sz="1200"/>
          </a:p>
        </p:txBody>
      </p:sp>
      <p:sp>
        <p:nvSpPr>
          <p:cNvPr id="36" name="TextBox 57">
            <a:extLst>
              <a:ext uri="{FF2B5EF4-FFF2-40B4-BE49-F238E27FC236}">
                <a16:creationId xmlns:a16="http://schemas.microsoft.com/office/drawing/2014/main" id="{CB881BD3-6D4F-108E-AC07-40268779FB84}"/>
              </a:ext>
            </a:extLst>
          </p:cNvPr>
          <p:cNvSpPr txBox="1"/>
          <p:nvPr/>
        </p:nvSpPr>
        <p:spPr>
          <a:xfrm>
            <a:off x="8079288" y="2677355"/>
            <a:ext cx="751976" cy="246221"/>
          </a:xfrm>
          <a:prstGeom prst="rect">
            <a:avLst/>
          </a:prstGeom>
          <a:noFill/>
        </p:spPr>
        <p:txBody>
          <a:bodyPr wrap="square" lIns="0" rtlCol="0">
            <a:spAutoFit/>
          </a:bodyPr>
          <a:lstStyle/>
          <a:p>
            <a:r>
              <a:rPr lang="en-US" sz="1000"/>
              <a:t>1,500</a:t>
            </a:r>
            <a:endParaRPr lang="en-US" sz="1200"/>
          </a:p>
        </p:txBody>
      </p:sp>
      <p:pic>
        <p:nvPicPr>
          <p:cNvPr id="37" name="Graphic 54">
            <a:extLst>
              <a:ext uri="{FF2B5EF4-FFF2-40B4-BE49-F238E27FC236}">
                <a16:creationId xmlns:a16="http://schemas.microsoft.com/office/drawing/2014/main" id="{96B05640-8D79-BFDD-A489-95686EB6235C}"/>
              </a:ext>
            </a:extLst>
          </p:cNvPr>
          <p:cNvPicPr>
            <a:picLocks/>
          </p:cNvPicPr>
          <p:nvPr/>
        </p:nvPicPr>
        <p:blipFill>
          <a:blip r:embed="rId18">
            <a:extLst>
              <a:ext uri="{96DAC541-7B7A-43D3-8B79-37D633B846F1}">
                <asvg:svgBlip xmlns:asvg="http://schemas.microsoft.com/office/drawing/2016/SVG/main" r:embed="rId19"/>
              </a:ext>
            </a:extLst>
          </a:blip>
          <a:stretch>
            <a:fillRect/>
          </a:stretch>
        </p:blipFill>
        <p:spPr>
          <a:xfrm>
            <a:off x="6534754" y="4107879"/>
            <a:ext cx="242809" cy="242809"/>
          </a:xfrm>
          <a:prstGeom prst="rect">
            <a:avLst/>
          </a:prstGeom>
        </p:spPr>
      </p:pic>
      <p:sp>
        <p:nvSpPr>
          <p:cNvPr id="38" name="TextBox 58">
            <a:extLst>
              <a:ext uri="{FF2B5EF4-FFF2-40B4-BE49-F238E27FC236}">
                <a16:creationId xmlns:a16="http://schemas.microsoft.com/office/drawing/2014/main" id="{1212AF33-B9CF-6F65-582F-3F6667194116}"/>
              </a:ext>
            </a:extLst>
          </p:cNvPr>
          <p:cNvSpPr txBox="1"/>
          <p:nvPr/>
        </p:nvSpPr>
        <p:spPr>
          <a:xfrm>
            <a:off x="7083901" y="4106173"/>
            <a:ext cx="971550" cy="246221"/>
          </a:xfrm>
          <a:prstGeom prst="rect">
            <a:avLst/>
          </a:prstGeom>
          <a:noFill/>
        </p:spPr>
        <p:txBody>
          <a:bodyPr wrap="square" lIns="0" rtlCol="0">
            <a:spAutoFit/>
          </a:bodyPr>
          <a:lstStyle/>
          <a:p>
            <a:r>
              <a:rPr lang="en-US" sz="1000" err="1"/>
              <a:t>Mochovce</a:t>
            </a:r>
            <a:r>
              <a:rPr lang="en-US" sz="1000"/>
              <a:t> 4</a:t>
            </a:r>
            <a:endParaRPr lang="en-US" sz="1200"/>
          </a:p>
        </p:txBody>
      </p:sp>
      <p:sp>
        <p:nvSpPr>
          <p:cNvPr id="39" name="TextBox 61">
            <a:extLst>
              <a:ext uri="{FF2B5EF4-FFF2-40B4-BE49-F238E27FC236}">
                <a16:creationId xmlns:a16="http://schemas.microsoft.com/office/drawing/2014/main" id="{32975536-3A7D-78E2-B597-A95FD327BF44}"/>
              </a:ext>
            </a:extLst>
          </p:cNvPr>
          <p:cNvSpPr txBox="1"/>
          <p:nvPr/>
        </p:nvSpPr>
        <p:spPr>
          <a:xfrm>
            <a:off x="8079288" y="4106173"/>
            <a:ext cx="751976" cy="246221"/>
          </a:xfrm>
          <a:prstGeom prst="rect">
            <a:avLst/>
          </a:prstGeom>
          <a:noFill/>
        </p:spPr>
        <p:txBody>
          <a:bodyPr wrap="square" lIns="0" rtlCol="0">
            <a:spAutoFit/>
          </a:bodyPr>
          <a:lstStyle/>
          <a:p>
            <a:r>
              <a:rPr lang="en-US" sz="1000"/>
              <a:t>400</a:t>
            </a:r>
            <a:endParaRPr lang="en-US" sz="1200"/>
          </a:p>
        </p:txBody>
      </p:sp>
      <p:pic>
        <p:nvPicPr>
          <p:cNvPr id="40" name="Graphic 55">
            <a:extLst>
              <a:ext uri="{FF2B5EF4-FFF2-40B4-BE49-F238E27FC236}">
                <a16:creationId xmlns:a16="http://schemas.microsoft.com/office/drawing/2014/main" id="{61E74E67-5DE5-FB4E-EEDE-8B769A1D2B92}"/>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a:off x="6534754" y="3155334"/>
            <a:ext cx="242809" cy="242809"/>
          </a:xfrm>
          <a:prstGeom prst="rect">
            <a:avLst/>
          </a:prstGeom>
        </p:spPr>
      </p:pic>
      <p:sp>
        <p:nvSpPr>
          <p:cNvPr id="41" name="TextBox 67">
            <a:extLst>
              <a:ext uri="{FF2B5EF4-FFF2-40B4-BE49-F238E27FC236}">
                <a16:creationId xmlns:a16="http://schemas.microsoft.com/office/drawing/2014/main" id="{B5511D7D-BEE2-2518-BCE8-867977F65949}"/>
              </a:ext>
            </a:extLst>
          </p:cNvPr>
          <p:cNvSpPr txBox="1"/>
          <p:nvPr/>
        </p:nvSpPr>
        <p:spPr>
          <a:xfrm>
            <a:off x="7083901" y="3153628"/>
            <a:ext cx="971550" cy="246221"/>
          </a:xfrm>
          <a:prstGeom prst="rect">
            <a:avLst/>
          </a:prstGeom>
          <a:noFill/>
        </p:spPr>
        <p:txBody>
          <a:bodyPr wrap="square" lIns="0" rtlCol="0">
            <a:spAutoFit/>
          </a:bodyPr>
          <a:lstStyle/>
          <a:p>
            <a:r>
              <a:rPr lang="en-US" sz="1000"/>
              <a:t>Seoul 3</a:t>
            </a:r>
            <a:endParaRPr lang="en-US" sz="1200"/>
          </a:p>
        </p:txBody>
      </p:sp>
      <p:sp>
        <p:nvSpPr>
          <p:cNvPr id="42" name="TextBox 73">
            <a:extLst>
              <a:ext uri="{FF2B5EF4-FFF2-40B4-BE49-F238E27FC236}">
                <a16:creationId xmlns:a16="http://schemas.microsoft.com/office/drawing/2014/main" id="{FA4D088A-123C-0A46-FA66-223320514C6C}"/>
              </a:ext>
            </a:extLst>
          </p:cNvPr>
          <p:cNvSpPr txBox="1"/>
          <p:nvPr/>
        </p:nvSpPr>
        <p:spPr>
          <a:xfrm>
            <a:off x="8079288" y="3153628"/>
            <a:ext cx="751976" cy="246221"/>
          </a:xfrm>
          <a:prstGeom prst="rect">
            <a:avLst/>
          </a:prstGeom>
          <a:noFill/>
        </p:spPr>
        <p:txBody>
          <a:bodyPr wrap="square" lIns="0" rtlCol="0">
            <a:spAutoFit/>
          </a:bodyPr>
          <a:lstStyle/>
          <a:p>
            <a:r>
              <a:rPr lang="en-US" sz="1000"/>
              <a:t>1,400</a:t>
            </a:r>
            <a:endParaRPr lang="en-US" sz="1200"/>
          </a:p>
        </p:txBody>
      </p:sp>
      <p:pic>
        <p:nvPicPr>
          <p:cNvPr id="43" name="Graphic 53">
            <a:extLst>
              <a:ext uri="{FF2B5EF4-FFF2-40B4-BE49-F238E27FC236}">
                <a16:creationId xmlns:a16="http://schemas.microsoft.com/office/drawing/2014/main" id="{6E64CB4B-82E7-3B1F-2E1A-267282D95281}"/>
              </a:ext>
            </a:extLst>
          </p:cNvPr>
          <p:cNvPicPr>
            <a:picLocks/>
          </p:cNvPicPr>
          <p:nvPr/>
        </p:nvPicPr>
        <p:blipFill>
          <a:blip r:embed="rId22">
            <a:extLst>
              <a:ext uri="{96DAC541-7B7A-43D3-8B79-37D633B846F1}">
                <asvg:svgBlip xmlns:asvg="http://schemas.microsoft.com/office/drawing/2016/SVG/main" r:embed="rId23"/>
              </a:ext>
            </a:extLst>
          </a:blip>
          <a:srcRect/>
          <a:stretch/>
        </p:blipFill>
        <p:spPr>
          <a:xfrm>
            <a:off x="6534754" y="2202788"/>
            <a:ext cx="242809" cy="242809"/>
          </a:xfrm>
          <a:prstGeom prst="rect">
            <a:avLst/>
          </a:prstGeom>
        </p:spPr>
      </p:pic>
      <p:sp>
        <p:nvSpPr>
          <p:cNvPr id="44" name="TextBox 74">
            <a:extLst>
              <a:ext uri="{FF2B5EF4-FFF2-40B4-BE49-F238E27FC236}">
                <a16:creationId xmlns:a16="http://schemas.microsoft.com/office/drawing/2014/main" id="{40EBFB73-874A-483C-108A-77C9E5A26825}"/>
              </a:ext>
            </a:extLst>
          </p:cNvPr>
          <p:cNvSpPr txBox="1"/>
          <p:nvPr/>
        </p:nvSpPr>
        <p:spPr>
          <a:xfrm>
            <a:off x="7083901" y="2201082"/>
            <a:ext cx="971550" cy="246221"/>
          </a:xfrm>
          <a:prstGeom prst="rect">
            <a:avLst/>
          </a:prstGeom>
          <a:noFill/>
        </p:spPr>
        <p:txBody>
          <a:bodyPr wrap="square" lIns="0" rtlCol="0">
            <a:spAutoFit/>
          </a:bodyPr>
          <a:lstStyle/>
          <a:p>
            <a:r>
              <a:rPr lang="en-US" sz="1000" err="1"/>
              <a:t>Flamanville</a:t>
            </a:r>
            <a:r>
              <a:rPr lang="en-US" sz="1000"/>
              <a:t> 3</a:t>
            </a:r>
            <a:endParaRPr lang="en-US" sz="1200"/>
          </a:p>
        </p:txBody>
      </p:sp>
      <p:sp>
        <p:nvSpPr>
          <p:cNvPr id="45" name="TextBox 75">
            <a:extLst>
              <a:ext uri="{FF2B5EF4-FFF2-40B4-BE49-F238E27FC236}">
                <a16:creationId xmlns:a16="http://schemas.microsoft.com/office/drawing/2014/main" id="{7F893FD0-0AC8-FE8C-5287-14B3B1937EF1}"/>
              </a:ext>
            </a:extLst>
          </p:cNvPr>
          <p:cNvSpPr txBox="1"/>
          <p:nvPr/>
        </p:nvSpPr>
        <p:spPr>
          <a:xfrm>
            <a:off x="8079288" y="2201082"/>
            <a:ext cx="751976" cy="246221"/>
          </a:xfrm>
          <a:prstGeom prst="rect">
            <a:avLst/>
          </a:prstGeom>
          <a:noFill/>
        </p:spPr>
        <p:txBody>
          <a:bodyPr wrap="square" lIns="0" rtlCol="0">
            <a:spAutoFit/>
          </a:bodyPr>
          <a:lstStyle/>
          <a:p>
            <a:r>
              <a:rPr lang="en-US" sz="1000"/>
              <a:t>1,650</a:t>
            </a:r>
            <a:endParaRPr lang="en-US" sz="1200"/>
          </a:p>
        </p:txBody>
      </p:sp>
      <p:pic>
        <p:nvPicPr>
          <p:cNvPr id="46" name="Graphic 52">
            <a:extLst>
              <a:ext uri="{FF2B5EF4-FFF2-40B4-BE49-F238E27FC236}">
                <a16:creationId xmlns:a16="http://schemas.microsoft.com/office/drawing/2014/main" id="{BABCA267-2DDD-51DE-39FF-EBE30D281EC3}"/>
              </a:ext>
            </a:extLst>
          </p:cNvPr>
          <p:cNvPicPr>
            <a:picLocks/>
          </p:cNvPicPr>
          <p:nvPr/>
        </p:nvPicPr>
        <p:blipFill>
          <a:blip r:embed="rId24">
            <a:extLst>
              <a:ext uri="{96DAC541-7B7A-43D3-8B79-37D633B846F1}">
                <asvg:svgBlip xmlns:asvg="http://schemas.microsoft.com/office/drawing/2016/SVG/main" r:embed="rId25"/>
              </a:ext>
            </a:extLst>
          </a:blip>
          <a:stretch>
            <a:fillRect/>
          </a:stretch>
        </p:blipFill>
        <p:spPr>
          <a:xfrm>
            <a:off x="6534754" y="3631607"/>
            <a:ext cx="242809" cy="242809"/>
          </a:xfrm>
          <a:prstGeom prst="rect">
            <a:avLst/>
          </a:prstGeom>
        </p:spPr>
      </p:pic>
      <p:sp>
        <p:nvSpPr>
          <p:cNvPr id="47" name="TextBox 76">
            <a:extLst>
              <a:ext uri="{FF2B5EF4-FFF2-40B4-BE49-F238E27FC236}">
                <a16:creationId xmlns:a16="http://schemas.microsoft.com/office/drawing/2014/main" id="{7C335FF3-3EFD-3FE7-004D-3B84EA4802A4}"/>
              </a:ext>
            </a:extLst>
          </p:cNvPr>
          <p:cNvSpPr txBox="1"/>
          <p:nvPr/>
        </p:nvSpPr>
        <p:spPr>
          <a:xfrm>
            <a:off x="7083901" y="3629901"/>
            <a:ext cx="971550" cy="246221"/>
          </a:xfrm>
          <a:prstGeom prst="rect">
            <a:avLst/>
          </a:prstGeom>
          <a:noFill/>
        </p:spPr>
        <p:txBody>
          <a:bodyPr wrap="square" lIns="0" rtlCol="0">
            <a:spAutoFit/>
          </a:bodyPr>
          <a:lstStyle/>
          <a:p>
            <a:r>
              <a:rPr lang="en-US" sz="1000" err="1"/>
              <a:t>Rooppur</a:t>
            </a:r>
            <a:r>
              <a:rPr lang="en-US" sz="1000"/>
              <a:t> 1</a:t>
            </a:r>
            <a:endParaRPr lang="en-US" sz="1200"/>
          </a:p>
        </p:txBody>
      </p:sp>
      <p:sp>
        <p:nvSpPr>
          <p:cNvPr id="48" name="TextBox 77">
            <a:extLst>
              <a:ext uri="{FF2B5EF4-FFF2-40B4-BE49-F238E27FC236}">
                <a16:creationId xmlns:a16="http://schemas.microsoft.com/office/drawing/2014/main" id="{67B2371C-1F33-7D42-FEA2-BD8F59F79F33}"/>
              </a:ext>
            </a:extLst>
          </p:cNvPr>
          <p:cNvSpPr txBox="1"/>
          <p:nvPr/>
        </p:nvSpPr>
        <p:spPr>
          <a:xfrm>
            <a:off x="8079288" y="3629901"/>
            <a:ext cx="751976" cy="246221"/>
          </a:xfrm>
          <a:prstGeom prst="rect">
            <a:avLst/>
          </a:prstGeom>
          <a:noFill/>
        </p:spPr>
        <p:txBody>
          <a:bodyPr wrap="square" lIns="0" rtlCol="0">
            <a:spAutoFit/>
          </a:bodyPr>
          <a:lstStyle/>
          <a:p>
            <a:r>
              <a:rPr lang="en-US" sz="1000"/>
              <a:t>1,200</a:t>
            </a:r>
            <a:endParaRPr lang="en-US" sz="1200"/>
          </a:p>
        </p:txBody>
      </p:sp>
      <p:sp>
        <p:nvSpPr>
          <p:cNvPr id="49" name="TextBox 2">
            <a:extLst>
              <a:ext uri="{FF2B5EF4-FFF2-40B4-BE49-F238E27FC236}">
                <a16:creationId xmlns:a16="http://schemas.microsoft.com/office/drawing/2014/main" id="{3D16C2E2-E435-F287-85EF-25D9D0E13CFA}"/>
              </a:ext>
            </a:extLst>
          </p:cNvPr>
          <p:cNvSpPr txBox="1"/>
          <p:nvPr/>
        </p:nvSpPr>
        <p:spPr>
          <a:xfrm>
            <a:off x="6280170" y="2432600"/>
            <a:ext cx="751976" cy="215444"/>
          </a:xfrm>
          <a:prstGeom prst="rect">
            <a:avLst/>
          </a:prstGeom>
          <a:noFill/>
        </p:spPr>
        <p:txBody>
          <a:bodyPr wrap="square" rtlCol="0">
            <a:spAutoFit/>
          </a:bodyPr>
          <a:lstStyle/>
          <a:p>
            <a:pPr algn="ctr"/>
            <a:r>
              <a:rPr lang="en-US" sz="800"/>
              <a:t>France</a:t>
            </a:r>
          </a:p>
        </p:txBody>
      </p:sp>
      <p:sp>
        <p:nvSpPr>
          <p:cNvPr id="50" name="TextBox 5">
            <a:extLst>
              <a:ext uri="{FF2B5EF4-FFF2-40B4-BE49-F238E27FC236}">
                <a16:creationId xmlns:a16="http://schemas.microsoft.com/office/drawing/2014/main" id="{1C60685B-B97C-8023-896C-D2D06EDE99D4}"/>
              </a:ext>
            </a:extLst>
          </p:cNvPr>
          <p:cNvSpPr txBox="1"/>
          <p:nvPr/>
        </p:nvSpPr>
        <p:spPr>
          <a:xfrm>
            <a:off x="6280170" y="2911292"/>
            <a:ext cx="751976" cy="215444"/>
          </a:xfrm>
          <a:prstGeom prst="rect">
            <a:avLst/>
          </a:prstGeom>
          <a:noFill/>
        </p:spPr>
        <p:txBody>
          <a:bodyPr wrap="square" rtlCol="0">
            <a:spAutoFit/>
          </a:bodyPr>
          <a:lstStyle/>
          <a:p>
            <a:pPr algn="ctr"/>
            <a:r>
              <a:rPr lang="en-US" sz="800"/>
              <a:t>China</a:t>
            </a:r>
          </a:p>
        </p:txBody>
      </p:sp>
      <p:sp>
        <p:nvSpPr>
          <p:cNvPr id="51" name="TextBox 6">
            <a:extLst>
              <a:ext uri="{FF2B5EF4-FFF2-40B4-BE49-F238E27FC236}">
                <a16:creationId xmlns:a16="http://schemas.microsoft.com/office/drawing/2014/main" id="{14D101A6-CC5C-DBAB-ED0A-1E783986D97C}"/>
              </a:ext>
            </a:extLst>
          </p:cNvPr>
          <p:cNvSpPr txBox="1"/>
          <p:nvPr/>
        </p:nvSpPr>
        <p:spPr>
          <a:xfrm>
            <a:off x="6200345" y="3357035"/>
            <a:ext cx="911626" cy="215444"/>
          </a:xfrm>
          <a:prstGeom prst="rect">
            <a:avLst/>
          </a:prstGeom>
          <a:noFill/>
        </p:spPr>
        <p:txBody>
          <a:bodyPr wrap="square" rtlCol="0">
            <a:spAutoFit/>
          </a:bodyPr>
          <a:lstStyle/>
          <a:p>
            <a:pPr algn="ctr"/>
            <a:r>
              <a:rPr lang="en-US" sz="800"/>
              <a:t>South Korea</a:t>
            </a:r>
          </a:p>
        </p:txBody>
      </p:sp>
      <p:sp>
        <p:nvSpPr>
          <p:cNvPr id="52" name="TextBox 7">
            <a:extLst>
              <a:ext uri="{FF2B5EF4-FFF2-40B4-BE49-F238E27FC236}">
                <a16:creationId xmlns:a16="http://schemas.microsoft.com/office/drawing/2014/main" id="{1DC60DD9-9B06-90CF-8D17-8233AD5E5A98}"/>
              </a:ext>
            </a:extLst>
          </p:cNvPr>
          <p:cNvSpPr txBox="1"/>
          <p:nvPr/>
        </p:nvSpPr>
        <p:spPr>
          <a:xfrm>
            <a:off x="6200345" y="3833307"/>
            <a:ext cx="911626" cy="215444"/>
          </a:xfrm>
          <a:prstGeom prst="rect">
            <a:avLst/>
          </a:prstGeom>
          <a:noFill/>
        </p:spPr>
        <p:txBody>
          <a:bodyPr wrap="square" rtlCol="0">
            <a:spAutoFit/>
          </a:bodyPr>
          <a:lstStyle/>
          <a:p>
            <a:pPr algn="ctr"/>
            <a:r>
              <a:rPr lang="en-US" sz="800"/>
              <a:t>Bangladesh</a:t>
            </a:r>
          </a:p>
        </p:txBody>
      </p:sp>
      <p:sp>
        <p:nvSpPr>
          <p:cNvPr id="53" name="TextBox 8">
            <a:extLst>
              <a:ext uri="{FF2B5EF4-FFF2-40B4-BE49-F238E27FC236}">
                <a16:creationId xmlns:a16="http://schemas.microsoft.com/office/drawing/2014/main" id="{73C8F704-E0D8-72B6-B6C1-B3A8DB8D3906}"/>
              </a:ext>
            </a:extLst>
          </p:cNvPr>
          <p:cNvSpPr txBox="1"/>
          <p:nvPr/>
        </p:nvSpPr>
        <p:spPr>
          <a:xfrm>
            <a:off x="6209871" y="4344007"/>
            <a:ext cx="911626" cy="215444"/>
          </a:xfrm>
          <a:prstGeom prst="rect">
            <a:avLst/>
          </a:prstGeom>
          <a:noFill/>
        </p:spPr>
        <p:txBody>
          <a:bodyPr wrap="square" rtlCol="0">
            <a:spAutoFit/>
          </a:bodyPr>
          <a:lstStyle/>
          <a:p>
            <a:pPr algn="ctr"/>
            <a:r>
              <a:rPr lang="en-US" sz="800"/>
              <a:t>Slovakia</a:t>
            </a:r>
          </a:p>
        </p:txBody>
      </p:sp>
    </p:spTree>
    <p:extLst>
      <p:ext uri="{BB962C8B-B14F-4D97-AF65-F5344CB8AC3E}">
        <p14:creationId xmlns:p14="http://schemas.microsoft.com/office/powerpoint/2010/main" val="7037916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FF3C238-4F66-5CD4-2E65-64DEC649F519}"/>
              </a:ext>
            </a:extLst>
          </p:cNvPr>
          <p:cNvSpPr>
            <a:spLocks noGrp="1"/>
          </p:cNvSpPr>
          <p:nvPr>
            <p:ph type="title"/>
          </p:nvPr>
        </p:nvSpPr>
        <p:spPr>
          <a:xfrm>
            <a:off x="250825" y="1166813"/>
            <a:ext cx="7094855" cy="1622261"/>
          </a:xfrm>
        </p:spPr>
        <p:txBody>
          <a:bodyPr/>
          <a:lstStyle/>
          <a:p>
            <a:r>
              <a:rPr lang="en-GB" sz="3200" dirty="0"/>
              <a:t>C.	Key takeaways and implications</a:t>
            </a:r>
            <a:endParaRPr lang="it-IT" sz="3200" dirty="0"/>
          </a:p>
        </p:txBody>
      </p:sp>
    </p:spTree>
    <p:extLst>
      <p:ext uri="{BB962C8B-B14F-4D97-AF65-F5344CB8AC3E}">
        <p14:creationId xmlns:p14="http://schemas.microsoft.com/office/powerpoint/2010/main" val="4736772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6">
            <a:extLst>
              <a:ext uri="{FF2B5EF4-FFF2-40B4-BE49-F238E27FC236}">
                <a16:creationId xmlns:a16="http://schemas.microsoft.com/office/drawing/2014/main" id="{5CCE8442-3632-DBAB-C3FF-B5F22496D8AA}"/>
              </a:ext>
            </a:extLst>
          </p:cNvPr>
          <p:cNvSpPr/>
          <p:nvPr/>
        </p:nvSpPr>
        <p:spPr>
          <a:xfrm>
            <a:off x="5846783" y="1166813"/>
            <a:ext cx="3045354" cy="32765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4F2210A1-C62B-CD22-6848-A58FD9D11DF4}"/>
              </a:ext>
            </a:extLst>
          </p:cNvPr>
          <p:cNvSpPr txBox="1">
            <a:spLocks/>
          </p:cNvSpPr>
          <p:nvPr/>
        </p:nvSpPr>
        <p:spPr>
          <a:xfrm>
            <a:off x="260441" y="845428"/>
            <a:ext cx="7251698" cy="576000"/>
          </a:xfrm>
          <a:prstGeom prst="rect">
            <a:avLst/>
          </a:prstGeom>
        </p:spPr>
        <p:txBody>
          <a:bodyPr vert="horz" wrap="square" lIns="0" tIns="0" rIns="0" bIns="0" rtlCol="0" anchor="t" anchorCtr="0">
            <a:noAutofit/>
          </a:bodyPr>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pPr defTabSz="844083">
              <a:lnSpc>
                <a:spcPct val="100000"/>
              </a:lnSpc>
            </a:pPr>
            <a:r>
              <a:rPr lang="en-US" sz="1800" dirty="0">
                <a:sym typeface="+mn-lt"/>
              </a:rPr>
              <a:t>Traditional markets going more and more under pressure… </a:t>
            </a:r>
            <a:br>
              <a:rPr lang="en-US" sz="1800" dirty="0">
                <a:sym typeface="+mn-lt"/>
              </a:rPr>
            </a:br>
            <a:r>
              <a:rPr lang="en-US" sz="1800" dirty="0">
                <a:sym typeface="+mn-lt"/>
              </a:rPr>
              <a:t>call for action on the emerging opportunities</a:t>
            </a:r>
          </a:p>
        </p:txBody>
      </p:sp>
      <p:sp>
        <p:nvSpPr>
          <p:cNvPr id="8" name="Source">
            <a:extLst>
              <a:ext uri="{FF2B5EF4-FFF2-40B4-BE49-F238E27FC236}">
                <a16:creationId xmlns:a16="http://schemas.microsoft.com/office/drawing/2014/main" id="{D2140729-E1A7-F215-7654-9A3367B9A5A9}"/>
              </a:ext>
            </a:extLst>
          </p:cNvPr>
          <p:cNvSpPr txBox="1"/>
          <p:nvPr/>
        </p:nvSpPr>
        <p:spPr>
          <a:xfrm>
            <a:off x="260441" y="4506368"/>
            <a:ext cx="787075"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a:sym typeface="+mn-lt"/>
              </a:rPr>
              <a:t>Source: Roland Berger</a:t>
            </a:r>
          </a:p>
        </p:txBody>
      </p:sp>
      <p:sp>
        <p:nvSpPr>
          <p:cNvPr id="9" name="Title99">
            <a:extLst>
              <a:ext uri="{FF2B5EF4-FFF2-40B4-BE49-F238E27FC236}">
                <a16:creationId xmlns:a16="http://schemas.microsoft.com/office/drawing/2014/main" id="{8A50EF09-0308-6480-9BF6-8948D429687B}"/>
              </a:ext>
            </a:extLst>
          </p:cNvPr>
          <p:cNvSpPr txBox="1"/>
          <p:nvPr/>
        </p:nvSpPr>
        <p:spPr>
          <a:xfrm>
            <a:off x="1540381" y="1483018"/>
            <a:ext cx="3852000" cy="166199"/>
          </a:xfrm>
          <a:prstGeom prst="rect">
            <a:avLst/>
          </a:prstGeom>
          <a:noFill/>
          <a:ln w="9525">
            <a:noFill/>
          </a:ln>
          <a:effectLst/>
        </p:spPr>
        <p:txBody>
          <a:bodyPr vert="horz" wrap="square" lIns="0" tIns="0" rIns="0" bIns="0" rtlCol="0" anchor="ctr">
            <a:spAutoFit/>
          </a:bodyPr>
          <a:lstStyle/>
          <a:p>
            <a:pPr defTabSz="457200" fontAlgn="auto">
              <a:lnSpc>
                <a:spcPct val="90000"/>
              </a:lnSpc>
              <a:spcBef>
                <a:spcPts val="400"/>
              </a:spcBef>
              <a:buClr>
                <a:srgbClr val="000000"/>
              </a:buClr>
            </a:pPr>
            <a:r>
              <a:rPr lang="en-US" sz="1200" b="1"/>
              <a:t>Key takeaways</a:t>
            </a:r>
          </a:p>
        </p:txBody>
      </p:sp>
      <p:cxnSp>
        <p:nvCxnSpPr>
          <p:cNvPr id="10" name="HorizontalLine15">
            <a:extLst>
              <a:ext uri="{FF2B5EF4-FFF2-40B4-BE49-F238E27FC236}">
                <a16:creationId xmlns:a16="http://schemas.microsoft.com/office/drawing/2014/main" id="{CAFB0316-A2C6-F650-529F-153200A1688A}"/>
              </a:ext>
            </a:extLst>
          </p:cNvPr>
          <p:cNvCxnSpPr>
            <a:cxnSpLocks/>
          </p:cNvCxnSpPr>
          <p:nvPr/>
        </p:nvCxnSpPr>
        <p:spPr>
          <a:xfrm>
            <a:off x="1540381" y="1721324"/>
            <a:ext cx="3852000" cy="0"/>
          </a:xfrm>
          <a:prstGeom prst="line">
            <a:avLst/>
          </a:prstGeom>
          <a:ln w="19050" cmpd="sng">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1" name="Title99">
            <a:extLst>
              <a:ext uri="{FF2B5EF4-FFF2-40B4-BE49-F238E27FC236}">
                <a16:creationId xmlns:a16="http://schemas.microsoft.com/office/drawing/2014/main" id="{05E23757-5D6F-F23B-C6DB-F4D77E341FBF}"/>
              </a:ext>
            </a:extLst>
          </p:cNvPr>
          <p:cNvSpPr txBox="1">
            <a:spLocks/>
          </p:cNvSpPr>
          <p:nvPr/>
        </p:nvSpPr>
        <p:spPr>
          <a:xfrm>
            <a:off x="5983460" y="1261419"/>
            <a:ext cx="2772000" cy="387798"/>
          </a:xfrm>
          <a:prstGeom prst="rect">
            <a:avLst/>
          </a:prstGeom>
          <a:noFill/>
          <a:ln w="9525">
            <a:noFill/>
          </a:ln>
          <a:effectLst/>
        </p:spPr>
        <p:txBody>
          <a:bodyPr vert="horz" wrap="square" lIns="0" tIns="0" rIns="0" bIns="0" rtlCol="0" anchor="ctr">
            <a:spAutoFit/>
          </a:bodyPr>
          <a:lstStyle>
            <a:defPPr>
              <a:defRPr lang="en-US"/>
            </a:defPPr>
            <a:lvl1pPr fontAlgn="auto">
              <a:lnSpc>
                <a:spcPct val="90000"/>
              </a:lnSpc>
              <a:spcBef>
                <a:spcPts val="400"/>
              </a:spcBef>
              <a:buClr>
                <a:srgbClr val="000000"/>
              </a:buClr>
              <a:defRPr sz="1200" b="1">
                <a:solidFill>
                  <a:schemeClr val="accent4"/>
                </a:solidFill>
                <a:latin typeface="Arial" panose="020B0604020202020204" pitchFamily="34" charset="0"/>
                <a:cs typeface="Arial" panose="020B0604020202020204" pitchFamily="34" charset="0"/>
              </a:defRPr>
            </a:lvl1pPr>
          </a:lstStyle>
          <a:p>
            <a:r>
              <a:rPr lang="en-US" sz="1400" dirty="0">
                <a:latin typeface="+mn-lt"/>
                <a:cs typeface="+mn-cs"/>
              </a:rPr>
              <a:t>Implications for valves manufacturers</a:t>
            </a:r>
          </a:p>
        </p:txBody>
      </p:sp>
      <p:cxnSp>
        <p:nvCxnSpPr>
          <p:cNvPr id="12" name="HorizontalLine15">
            <a:extLst>
              <a:ext uri="{FF2B5EF4-FFF2-40B4-BE49-F238E27FC236}">
                <a16:creationId xmlns:a16="http://schemas.microsoft.com/office/drawing/2014/main" id="{AE36AD8D-BB4C-3222-B9A5-EFC9808B112F}"/>
              </a:ext>
            </a:extLst>
          </p:cNvPr>
          <p:cNvCxnSpPr>
            <a:cxnSpLocks/>
          </p:cNvCxnSpPr>
          <p:nvPr/>
        </p:nvCxnSpPr>
        <p:spPr>
          <a:xfrm>
            <a:off x="5983460" y="1721324"/>
            <a:ext cx="2772000" cy="0"/>
          </a:xfrm>
          <a:prstGeom prst="line">
            <a:avLst/>
          </a:prstGeom>
          <a:ln w="19050" cmpd="sng">
            <a:solidFill>
              <a:schemeClr val="accent4"/>
            </a:solidFill>
          </a:ln>
          <a:effectLst/>
        </p:spPr>
        <p:style>
          <a:lnRef idx="1">
            <a:schemeClr val="accent1"/>
          </a:lnRef>
          <a:fillRef idx="0">
            <a:schemeClr val="accent1"/>
          </a:fillRef>
          <a:effectRef idx="0">
            <a:schemeClr val="accent1"/>
          </a:effectRef>
          <a:fontRef idx="minor">
            <a:schemeClr val="tx1"/>
          </a:fontRef>
        </p:style>
      </p:cxnSp>
      <p:grpSp>
        <p:nvGrpSpPr>
          <p:cNvPr id="13" name="Gruppieren 12">
            <a:extLst>
              <a:ext uri="{FF2B5EF4-FFF2-40B4-BE49-F238E27FC236}">
                <a16:creationId xmlns:a16="http://schemas.microsoft.com/office/drawing/2014/main" id="{A1F16104-BD3B-B250-E90F-8C398055F2FA}"/>
              </a:ext>
            </a:extLst>
          </p:cNvPr>
          <p:cNvGrpSpPr/>
          <p:nvPr/>
        </p:nvGrpSpPr>
        <p:grpSpPr>
          <a:xfrm>
            <a:off x="261390" y="1985059"/>
            <a:ext cx="8494070" cy="1025922"/>
            <a:chOff x="261390" y="1985059"/>
            <a:chExt cx="8494070" cy="1025922"/>
          </a:xfrm>
        </p:grpSpPr>
        <p:sp>
          <p:nvSpPr>
            <p:cNvPr id="14" name="Arrow: Chevron 9">
              <a:extLst>
                <a:ext uri="{FF2B5EF4-FFF2-40B4-BE49-F238E27FC236}">
                  <a16:creationId xmlns:a16="http://schemas.microsoft.com/office/drawing/2014/main" id="{AF5B25F1-B752-FAB3-EB05-E6CCAFA55122}"/>
                </a:ext>
              </a:extLst>
            </p:cNvPr>
            <p:cNvSpPr/>
            <p:nvPr/>
          </p:nvSpPr>
          <p:spPr>
            <a:xfrm>
              <a:off x="5601420" y="2302517"/>
              <a:ext cx="159637" cy="237118"/>
            </a:xfrm>
            <a:prstGeom prst="chevron">
              <a:avLst/>
            </a:prstGeom>
            <a:solidFill>
              <a:schemeClr val="bg1"/>
            </a:solidFill>
            <a:ln w="19050" cmpd="sng">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l" fontAlgn="base">
                <a:lnSpc>
                  <a:spcPct val="100000"/>
                </a:lnSpc>
                <a:spcBef>
                  <a:spcPts val="400"/>
                </a:spcBef>
                <a:spcAft>
                  <a:spcPct val="0"/>
                </a:spcAft>
                <a:buSzPct val="100000"/>
              </a:pPr>
              <a:endParaRPr lang="en-US" sz="900" b="0" err="1">
                <a:solidFill>
                  <a:schemeClr val="tx1"/>
                </a:solidFill>
                <a:sym typeface="+mn-lt"/>
              </a:endParaRPr>
            </a:p>
          </p:txBody>
        </p:sp>
        <p:grpSp>
          <p:nvGrpSpPr>
            <p:cNvPr id="15" name="Gruppieren 6">
              <a:extLst>
                <a:ext uri="{FF2B5EF4-FFF2-40B4-BE49-F238E27FC236}">
                  <a16:creationId xmlns:a16="http://schemas.microsoft.com/office/drawing/2014/main" id="{EFBF3C34-99B7-46ED-4F46-15C5D507FCC0}"/>
                </a:ext>
              </a:extLst>
            </p:cNvPr>
            <p:cNvGrpSpPr/>
            <p:nvPr/>
          </p:nvGrpSpPr>
          <p:grpSpPr>
            <a:xfrm>
              <a:off x="261390" y="1985059"/>
              <a:ext cx="8494070" cy="1025922"/>
              <a:chOff x="261390" y="1985059"/>
              <a:chExt cx="8494070" cy="1025922"/>
            </a:xfrm>
          </p:grpSpPr>
          <p:sp>
            <p:nvSpPr>
              <p:cNvPr id="16" name="Formatted_text">
                <a:extLst>
                  <a:ext uri="{FF2B5EF4-FFF2-40B4-BE49-F238E27FC236}">
                    <a16:creationId xmlns:a16="http://schemas.microsoft.com/office/drawing/2014/main" id="{B21F8096-4CE6-75A5-E281-BC669B397E7C}"/>
                  </a:ext>
                </a:extLst>
              </p:cNvPr>
              <p:cNvSpPr txBox="1">
                <a:spLocks/>
              </p:cNvSpPr>
              <p:nvPr/>
            </p:nvSpPr>
            <p:spPr>
              <a:xfrm>
                <a:off x="1540381" y="1985059"/>
                <a:ext cx="3852000" cy="841256"/>
              </a:xfrm>
              <a:prstGeom prst="rect">
                <a:avLst/>
              </a:prstGeom>
              <a:noFill/>
              <a:ln w="9525">
                <a:noFill/>
              </a:ln>
            </p:spPr>
            <p:txBody>
              <a:bodyPr vert="horz" wrap="square" lIns="0" tIns="0" rIns="0" bIns="0" rtlCol="0">
                <a:spAutoFit/>
              </a:bodyPr>
              <a:lstStyle/>
              <a:p>
                <a:pPr marL="125293" lvl="1" indent="-125293" rtl="0" fontAlgn="base">
                  <a:lnSpc>
                    <a:spcPct val="100000"/>
                  </a:lnSpc>
                  <a:spcBef>
                    <a:spcPts val="400"/>
                  </a:spcBef>
                  <a:spcAft>
                    <a:spcPct val="0"/>
                  </a:spcAft>
                  <a:buSzPct val="100000"/>
                  <a:buFont typeface="+mn-lt" panose="020B0604020202020204" pitchFamily="34" charset="0"/>
                  <a:buChar char="•"/>
                </a:pPr>
                <a:r>
                  <a:rPr lang="en-US" sz="1200">
                    <a:sym typeface="+mn-lt"/>
                  </a:rPr>
                  <a:t>Solid short-term demand</a:t>
                </a:r>
              </a:p>
              <a:p>
                <a:pPr marL="125293" lvl="1" indent="-125293" rtl="0" fontAlgn="base">
                  <a:lnSpc>
                    <a:spcPct val="100000"/>
                  </a:lnSpc>
                  <a:spcBef>
                    <a:spcPts val="400"/>
                  </a:spcBef>
                  <a:spcAft>
                    <a:spcPct val="0"/>
                  </a:spcAft>
                  <a:buSzPct val="100000"/>
                  <a:buFont typeface="+mn-lt" panose="020B0604020202020204" pitchFamily="34" charset="0"/>
                  <a:buChar char="•"/>
                </a:pPr>
                <a:r>
                  <a:rPr lang="en-US" sz="1200">
                    <a:sym typeface="+mn-lt"/>
                  </a:rPr>
                  <a:t>Declining mid-long-term demand</a:t>
                </a:r>
              </a:p>
              <a:p>
                <a:pPr marL="125293" lvl="1" indent="-125293" rtl="0" fontAlgn="base">
                  <a:lnSpc>
                    <a:spcPct val="100000"/>
                  </a:lnSpc>
                  <a:spcBef>
                    <a:spcPts val="400"/>
                  </a:spcBef>
                  <a:spcAft>
                    <a:spcPct val="0"/>
                  </a:spcAft>
                  <a:buSzPct val="100000"/>
                  <a:buFont typeface="+mn-lt" panose="020B0604020202020204" pitchFamily="34" charset="0"/>
                  <a:buChar char="•"/>
                </a:pPr>
                <a:r>
                  <a:rPr lang="en-US" sz="1200">
                    <a:sym typeface="+mn-lt"/>
                  </a:rPr>
                  <a:t>New projects further extending the geographical reach: e.g., Americas, Middle East, Asia</a:t>
                </a:r>
              </a:p>
            </p:txBody>
          </p:sp>
          <p:sp>
            <p:nvSpPr>
              <p:cNvPr id="17" name="Formatted_text">
                <a:extLst>
                  <a:ext uri="{FF2B5EF4-FFF2-40B4-BE49-F238E27FC236}">
                    <a16:creationId xmlns:a16="http://schemas.microsoft.com/office/drawing/2014/main" id="{85A51A7E-3C0A-C38F-C1BE-016812AD20E7}"/>
                  </a:ext>
                </a:extLst>
              </p:cNvPr>
              <p:cNvSpPr txBox="1">
                <a:spLocks/>
              </p:cNvSpPr>
              <p:nvPr/>
            </p:nvSpPr>
            <p:spPr>
              <a:xfrm>
                <a:off x="5983460" y="1985059"/>
                <a:ext cx="2772000" cy="1025922"/>
              </a:xfrm>
              <a:prstGeom prst="rect">
                <a:avLst/>
              </a:prstGeom>
              <a:noFill/>
              <a:ln w="9525">
                <a:noFill/>
              </a:ln>
            </p:spPr>
            <p:txBody>
              <a:bodyPr vert="horz" wrap="square" lIns="0" tIns="0" rIns="0" bIns="0" rtlCol="0">
                <a:spAutoFit/>
              </a:bodyPr>
              <a:lstStyle>
                <a:defPPr>
                  <a:defRPr lang="en-US"/>
                </a:defPPr>
                <a:lvl2pPr marL="125293" lvl="1" indent="-125293" fontAlgn="base">
                  <a:lnSpc>
                    <a:spcPct val="100000"/>
                  </a:lnSpc>
                  <a:spcAft>
                    <a:spcPct val="0"/>
                  </a:spcAft>
                  <a:buSzPct val="100000"/>
                  <a:buFont typeface="+mn-lt" panose="020B0604020202020204" pitchFamily="34" charset="0"/>
                  <a:buChar char="•"/>
                  <a:defRPr sz="1000" b="1">
                    <a:latin typeface="Arial" panose="020B0604020202020204" pitchFamily="34" charset="0"/>
                    <a:cs typeface="Arial" panose="020B0604020202020204" pitchFamily="34" charset="0"/>
                  </a:defRPr>
                </a:lvl2pPr>
              </a:lstStyle>
              <a:p>
                <a:pPr lvl="1">
                  <a:spcBef>
                    <a:spcPts val="400"/>
                  </a:spcBef>
                </a:pPr>
                <a:r>
                  <a:rPr lang="en-US" sz="1200" b="0">
                    <a:latin typeface="+mn-lt"/>
                    <a:cs typeface="+mn-cs"/>
                    <a:sym typeface="+mn-lt"/>
                  </a:rPr>
                  <a:t>Structural overcapacity to exacerbate in the long-term</a:t>
                </a:r>
              </a:p>
              <a:p>
                <a:pPr lvl="1">
                  <a:spcBef>
                    <a:spcPts val="400"/>
                  </a:spcBef>
                </a:pPr>
                <a:r>
                  <a:rPr lang="en-US" sz="1200" b="0">
                    <a:latin typeface="+mn-lt"/>
                    <a:cs typeface="+mn-cs"/>
                    <a:sym typeface="+mn-lt"/>
                  </a:rPr>
                  <a:t>Increasing price pressure on traditional segments</a:t>
                </a:r>
              </a:p>
              <a:p>
                <a:pPr lvl="1">
                  <a:spcBef>
                    <a:spcPts val="400"/>
                  </a:spcBef>
                </a:pPr>
                <a:r>
                  <a:rPr lang="en-US" sz="1200" b="0">
                    <a:latin typeface="+mn-lt"/>
                    <a:cs typeface="+mn-cs"/>
                    <a:sym typeface="+mn-lt"/>
                  </a:rPr>
                  <a:t>Strengthened global-local presence</a:t>
                </a:r>
              </a:p>
            </p:txBody>
          </p:sp>
          <p:sp>
            <p:nvSpPr>
              <p:cNvPr id="18" name="Rectangle 1">
                <a:extLst>
                  <a:ext uri="{FF2B5EF4-FFF2-40B4-BE49-F238E27FC236}">
                    <a16:creationId xmlns:a16="http://schemas.microsoft.com/office/drawing/2014/main" id="{B8FC5BAC-A643-E6DC-21D4-3149D01B1527}"/>
                  </a:ext>
                </a:extLst>
              </p:cNvPr>
              <p:cNvSpPr>
                <a:spLocks/>
              </p:cNvSpPr>
              <p:nvPr/>
            </p:nvSpPr>
            <p:spPr>
              <a:xfrm>
                <a:off x="261390" y="1985059"/>
                <a:ext cx="1025174" cy="43088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lnSpc>
                    <a:spcPct val="100000"/>
                  </a:lnSpc>
                  <a:spcBef>
                    <a:spcPts val="400"/>
                  </a:spcBef>
                  <a:spcAft>
                    <a:spcPct val="0"/>
                  </a:spcAft>
                  <a:buSzPct val="100000"/>
                </a:pPr>
                <a:r>
                  <a:rPr lang="en-US" sz="1400" b="1">
                    <a:solidFill>
                      <a:schemeClr val="accent4"/>
                    </a:solidFill>
                    <a:sym typeface="+mn-lt"/>
                  </a:rPr>
                  <a:t>Core markets</a:t>
                </a:r>
              </a:p>
            </p:txBody>
          </p:sp>
        </p:grpSp>
      </p:grpSp>
      <p:grpSp>
        <p:nvGrpSpPr>
          <p:cNvPr id="19" name="Gruppieren 8">
            <a:extLst>
              <a:ext uri="{FF2B5EF4-FFF2-40B4-BE49-F238E27FC236}">
                <a16:creationId xmlns:a16="http://schemas.microsoft.com/office/drawing/2014/main" id="{82CE634A-C4B2-A01D-BE34-7BDAAFEADB13}"/>
              </a:ext>
            </a:extLst>
          </p:cNvPr>
          <p:cNvGrpSpPr/>
          <p:nvPr/>
        </p:nvGrpSpPr>
        <p:grpSpPr>
          <a:xfrm>
            <a:off x="261390" y="3182940"/>
            <a:ext cx="8494070" cy="1159292"/>
            <a:chOff x="261390" y="3399255"/>
            <a:chExt cx="8494070" cy="1159292"/>
          </a:xfrm>
        </p:grpSpPr>
        <p:grpSp>
          <p:nvGrpSpPr>
            <p:cNvPr id="20" name="Gruppieren 7">
              <a:extLst>
                <a:ext uri="{FF2B5EF4-FFF2-40B4-BE49-F238E27FC236}">
                  <a16:creationId xmlns:a16="http://schemas.microsoft.com/office/drawing/2014/main" id="{5752A456-73E3-C045-FF7A-ECE18F4B89B6}"/>
                </a:ext>
              </a:extLst>
            </p:cNvPr>
            <p:cNvGrpSpPr/>
            <p:nvPr/>
          </p:nvGrpSpPr>
          <p:grpSpPr>
            <a:xfrm>
              <a:off x="261390" y="3399255"/>
              <a:ext cx="8494070" cy="1159292"/>
              <a:chOff x="261390" y="3399255"/>
              <a:chExt cx="8494070" cy="1159292"/>
            </a:xfrm>
          </p:grpSpPr>
          <p:sp>
            <p:nvSpPr>
              <p:cNvPr id="22" name="Formatted_text">
                <a:extLst>
                  <a:ext uri="{FF2B5EF4-FFF2-40B4-BE49-F238E27FC236}">
                    <a16:creationId xmlns:a16="http://schemas.microsoft.com/office/drawing/2014/main" id="{15D0A0A1-7003-AC74-6117-7AC123A3B12C}"/>
                  </a:ext>
                </a:extLst>
              </p:cNvPr>
              <p:cNvSpPr txBox="1">
                <a:spLocks/>
              </p:cNvSpPr>
              <p:nvPr/>
            </p:nvSpPr>
            <p:spPr>
              <a:xfrm>
                <a:off x="1540381" y="3399255"/>
                <a:ext cx="3852000" cy="1025922"/>
              </a:xfrm>
              <a:prstGeom prst="rect">
                <a:avLst/>
              </a:prstGeom>
              <a:noFill/>
              <a:ln w="9525">
                <a:noFill/>
              </a:ln>
            </p:spPr>
            <p:txBody>
              <a:bodyPr vert="horz" wrap="square" lIns="0" tIns="0" rIns="0" bIns="0" rtlCol="0">
                <a:spAutoFit/>
              </a:bodyPr>
              <a:lstStyle/>
              <a:p>
                <a:pPr marL="125293" lvl="1" indent="-125293" rtl="0" fontAlgn="base">
                  <a:lnSpc>
                    <a:spcPct val="100000"/>
                  </a:lnSpc>
                  <a:spcBef>
                    <a:spcPts val="400"/>
                  </a:spcBef>
                  <a:spcAft>
                    <a:spcPct val="0"/>
                  </a:spcAft>
                  <a:buSzPct val="100000"/>
                  <a:buFont typeface="+mn-lt" panose="020B0604020202020204" pitchFamily="34" charset="0"/>
                  <a:buChar char="•"/>
                </a:pPr>
                <a:r>
                  <a:rPr lang="en-US" sz="1200" dirty="0">
                    <a:sym typeface="+mn-lt"/>
                  </a:rPr>
                  <a:t>New markets diversified and their ramp-up largely expected after 2030</a:t>
                </a:r>
              </a:p>
              <a:p>
                <a:pPr marL="125293" lvl="1" indent="-125293" rtl="0" fontAlgn="base">
                  <a:lnSpc>
                    <a:spcPct val="100000"/>
                  </a:lnSpc>
                  <a:spcBef>
                    <a:spcPts val="400"/>
                  </a:spcBef>
                  <a:spcAft>
                    <a:spcPct val="0"/>
                  </a:spcAft>
                  <a:buSzPct val="100000"/>
                  <a:buFont typeface="+mn-lt" panose="020B0604020202020204" pitchFamily="34" charset="0"/>
                  <a:buChar char="•"/>
                </a:pPr>
                <a:r>
                  <a:rPr lang="en-US" sz="1200" dirty="0">
                    <a:sym typeface="+mn-lt"/>
                  </a:rPr>
                  <a:t>Hydrogen and CCUS major investments mostly in Americas, Europe and Asia</a:t>
                </a:r>
              </a:p>
              <a:p>
                <a:pPr marL="125293" lvl="1" indent="-125293" rtl="0" fontAlgn="base">
                  <a:lnSpc>
                    <a:spcPct val="100000"/>
                  </a:lnSpc>
                  <a:spcBef>
                    <a:spcPts val="400"/>
                  </a:spcBef>
                  <a:spcAft>
                    <a:spcPct val="0"/>
                  </a:spcAft>
                  <a:buSzPct val="100000"/>
                  <a:buFont typeface="+mn-lt" panose="020B0604020202020204" pitchFamily="34" charset="0"/>
                  <a:buChar char="•"/>
                </a:pPr>
                <a:r>
                  <a:rPr lang="en-US" sz="1200" dirty="0">
                    <a:sym typeface="+mn-lt"/>
                  </a:rPr>
                  <a:t>Solid nuclear demand both short and long-term</a:t>
                </a:r>
              </a:p>
            </p:txBody>
          </p:sp>
          <p:sp>
            <p:nvSpPr>
              <p:cNvPr id="23" name="Formatted_text">
                <a:extLst>
                  <a:ext uri="{FF2B5EF4-FFF2-40B4-BE49-F238E27FC236}">
                    <a16:creationId xmlns:a16="http://schemas.microsoft.com/office/drawing/2014/main" id="{A71D355A-6834-056F-20DD-D1CE23F54FF4}"/>
                  </a:ext>
                </a:extLst>
              </p:cNvPr>
              <p:cNvSpPr txBox="1">
                <a:spLocks/>
              </p:cNvSpPr>
              <p:nvPr/>
            </p:nvSpPr>
            <p:spPr>
              <a:xfrm>
                <a:off x="5983460" y="3399255"/>
                <a:ext cx="2772000" cy="1159292"/>
              </a:xfrm>
              <a:prstGeom prst="rect">
                <a:avLst/>
              </a:prstGeom>
              <a:noFill/>
              <a:ln w="9525">
                <a:noFill/>
              </a:ln>
            </p:spPr>
            <p:txBody>
              <a:bodyPr vert="horz" wrap="square" lIns="0" tIns="0" rIns="0" bIns="0" rtlCol="0">
                <a:spAutoFit/>
              </a:bodyPr>
              <a:lstStyle>
                <a:defPPr>
                  <a:defRPr lang="en-US"/>
                </a:defPPr>
                <a:lvl2pPr marL="125293" lvl="1" indent="-125293" fontAlgn="base">
                  <a:lnSpc>
                    <a:spcPct val="100000"/>
                  </a:lnSpc>
                  <a:spcAft>
                    <a:spcPct val="0"/>
                  </a:spcAft>
                  <a:buSzPct val="100000"/>
                  <a:buFont typeface="+mn-lt" panose="020B0604020202020204" pitchFamily="34" charset="0"/>
                  <a:buChar char="•"/>
                  <a:defRPr sz="1000" b="1">
                    <a:latin typeface="Arial" panose="020B0604020202020204" pitchFamily="34" charset="0"/>
                    <a:cs typeface="Arial" panose="020B0604020202020204" pitchFamily="34" charset="0"/>
                  </a:defRPr>
                </a:lvl2pPr>
              </a:lstStyle>
              <a:p>
                <a:pPr lvl="1">
                  <a:spcBef>
                    <a:spcPts val="400"/>
                  </a:spcBef>
                </a:pPr>
                <a:r>
                  <a:rPr lang="en-US" sz="1200" b="0">
                    <a:latin typeface="+mn-lt"/>
                    <a:cs typeface="+mn-cs"/>
                    <a:sym typeface="+mn-lt"/>
                  </a:rPr>
                  <a:t>Early positioning on multiple markets required</a:t>
                </a:r>
              </a:p>
              <a:p>
                <a:pPr lvl="1">
                  <a:spcBef>
                    <a:spcPts val="400"/>
                  </a:spcBef>
                </a:pPr>
                <a:r>
                  <a:rPr lang="en-US" sz="1200" b="0">
                    <a:latin typeface="+mn-lt"/>
                    <a:cs typeface="+mn-cs"/>
                    <a:sym typeface="+mn-lt"/>
                  </a:rPr>
                  <a:t>Hydrogen and CCUS addressability limited to specific segments: e.g. infrastructure projects, industrial plants)</a:t>
                </a:r>
              </a:p>
            </p:txBody>
          </p:sp>
          <p:sp>
            <p:nvSpPr>
              <p:cNvPr id="24" name="Rectangle 61">
                <a:extLst>
                  <a:ext uri="{FF2B5EF4-FFF2-40B4-BE49-F238E27FC236}">
                    <a16:creationId xmlns:a16="http://schemas.microsoft.com/office/drawing/2014/main" id="{8068DE72-9DEB-0884-0AF3-8E562B35F67A}"/>
                  </a:ext>
                </a:extLst>
              </p:cNvPr>
              <p:cNvSpPr>
                <a:spLocks/>
              </p:cNvSpPr>
              <p:nvPr/>
            </p:nvSpPr>
            <p:spPr>
              <a:xfrm>
                <a:off x="261390" y="3399255"/>
                <a:ext cx="1025174" cy="64633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lnSpc>
                    <a:spcPct val="100000"/>
                  </a:lnSpc>
                  <a:spcBef>
                    <a:spcPts val="400"/>
                  </a:spcBef>
                  <a:spcAft>
                    <a:spcPct val="0"/>
                  </a:spcAft>
                  <a:buSzPct val="100000"/>
                </a:pPr>
                <a:r>
                  <a:rPr lang="en-US" sz="1400" b="1" dirty="0">
                    <a:solidFill>
                      <a:schemeClr val="accent4"/>
                    </a:solidFill>
                    <a:sym typeface="+mn-lt"/>
                  </a:rPr>
                  <a:t>New growing markets</a:t>
                </a:r>
              </a:p>
            </p:txBody>
          </p:sp>
        </p:grpSp>
        <p:sp>
          <p:nvSpPr>
            <p:cNvPr id="21" name="Arrow: Chevron 62">
              <a:extLst>
                <a:ext uri="{FF2B5EF4-FFF2-40B4-BE49-F238E27FC236}">
                  <a16:creationId xmlns:a16="http://schemas.microsoft.com/office/drawing/2014/main" id="{F6E33390-AD53-AF2D-1E5D-5081869B986D}"/>
                </a:ext>
              </a:extLst>
            </p:cNvPr>
            <p:cNvSpPr/>
            <p:nvPr/>
          </p:nvSpPr>
          <p:spPr>
            <a:xfrm>
              <a:off x="5601420" y="3828028"/>
              <a:ext cx="159637" cy="237118"/>
            </a:xfrm>
            <a:prstGeom prst="chevron">
              <a:avLst/>
            </a:prstGeom>
            <a:solidFill>
              <a:schemeClr val="bg1"/>
            </a:solidFill>
            <a:ln w="19050" cmpd="sng">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l" fontAlgn="base">
                <a:lnSpc>
                  <a:spcPct val="100000"/>
                </a:lnSpc>
                <a:spcBef>
                  <a:spcPts val="400"/>
                </a:spcBef>
                <a:spcAft>
                  <a:spcPct val="0"/>
                </a:spcAft>
                <a:buSzPct val="100000"/>
              </a:pPr>
              <a:endParaRPr lang="en-US" sz="900" b="0" err="1">
                <a:solidFill>
                  <a:schemeClr val="tx1"/>
                </a:solidFill>
                <a:sym typeface="+mn-lt"/>
              </a:endParaRPr>
            </a:p>
          </p:txBody>
        </p:sp>
      </p:grpSp>
      <p:grpSp>
        <p:nvGrpSpPr>
          <p:cNvPr id="25" name="Gruppieren 10">
            <a:extLst>
              <a:ext uri="{FF2B5EF4-FFF2-40B4-BE49-F238E27FC236}">
                <a16:creationId xmlns:a16="http://schemas.microsoft.com/office/drawing/2014/main" id="{E9A0D418-16FC-B574-55E8-F11DCFEA6501}"/>
              </a:ext>
            </a:extLst>
          </p:cNvPr>
          <p:cNvGrpSpPr/>
          <p:nvPr/>
        </p:nvGrpSpPr>
        <p:grpSpPr>
          <a:xfrm>
            <a:off x="261390" y="3114146"/>
            <a:ext cx="8494070" cy="0"/>
            <a:chOff x="261390" y="3132536"/>
            <a:chExt cx="8494070" cy="0"/>
          </a:xfrm>
        </p:grpSpPr>
        <p:cxnSp>
          <p:nvCxnSpPr>
            <p:cNvPr id="26" name="HorizontalLine15">
              <a:extLst>
                <a:ext uri="{FF2B5EF4-FFF2-40B4-BE49-F238E27FC236}">
                  <a16:creationId xmlns:a16="http://schemas.microsoft.com/office/drawing/2014/main" id="{D34956F1-212E-A9FC-6412-3FDA46E1B836}"/>
                </a:ext>
              </a:extLst>
            </p:cNvPr>
            <p:cNvCxnSpPr>
              <a:cxnSpLocks/>
            </p:cNvCxnSpPr>
            <p:nvPr/>
          </p:nvCxnSpPr>
          <p:spPr>
            <a:xfrm>
              <a:off x="1540381" y="3132536"/>
              <a:ext cx="3852000" cy="0"/>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7" name="HorizontalLine15">
              <a:extLst>
                <a:ext uri="{FF2B5EF4-FFF2-40B4-BE49-F238E27FC236}">
                  <a16:creationId xmlns:a16="http://schemas.microsoft.com/office/drawing/2014/main" id="{8B380D3E-2190-8903-81FC-7CC2D6A79FFA}"/>
                </a:ext>
              </a:extLst>
            </p:cNvPr>
            <p:cNvCxnSpPr>
              <a:cxnSpLocks/>
            </p:cNvCxnSpPr>
            <p:nvPr/>
          </p:nvCxnSpPr>
          <p:spPr>
            <a:xfrm>
              <a:off x="5983460" y="3132536"/>
              <a:ext cx="2772000" cy="0"/>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8" name="HorizontalLine15">
              <a:extLst>
                <a:ext uri="{FF2B5EF4-FFF2-40B4-BE49-F238E27FC236}">
                  <a16:creationId xmlns:a16="http://schemas.microsoft.com/office/drawing/2014/main" id="{0030BBD7-6EEE-032E-D0CF-199CAD916870}"/>
                </a:ext>
              </a:extLst>
            </p:cNvPr>
            <p:cNvCxnSpPr>
              <a:cxnSpLocks/>
            </p:cNvCxnSpPr>
            <p:nvPr/>
          </p:nvCxnSpPr>
          <p:spPr>
            <a:xfrm>
              <a:off x="261390" y="3132536"/>
              <a:ext cx="1025174" cy="0"/>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grpSp>
      <p:sp>
        <p:nvSpPr>
          <p:cNvPr id="29" name="Title99">
            <a:extLst>
              <a:ext uri="{FF2B5EF4-FFF2-40B4-BE49-F238E27FC236}">
                <a16:creationId xmlns:a16="http://schemas.microsoft.com/office/drawing/2014/main" id="{F568586F-673A-2B95-59E7-3865A88A1AD7}"/>
              </a:ext>
            </a:extLst>
          </p:cNvPr>
          <p:cNvSpPr txBox="1"/>
          <p:nvPr/>
        </p:nvSpPr>
        <p:spPr>
          <a:xfrm>
            <a:off x="261390" y="1483018"/>
            <a:ext cx="1025174" cy="166199"/>
          </a:xfrm>
          <a:prstGeom prst="rect">
            <a:avLst/>
          </a:prstGeom>
          <a:noFill/>
          <a:ln w="9525">
            <a:noFill/>
          </a:ln>
          <a:effectLst/>
        </p:spPr>
        <p:txBody>
          <a:bodyPr vert="horz" wrap="square" lIns="0" tIns="0" rIns="0" bIns="0" rtlCol="0" anchor="ctr">
            <a:spAutoFit/>
          </a:bodyPr>
          <a:lstStyle/>
          <a:p>
            <a:pPr defTabSz="457200" fontAlgn="auto">
              <a:lnSpc>
                <a:spcPct val="90000"/>
              </a:lnSpc>
              <a:spcBef>
                <a:spcPts val="400"/>
              </a:spcBef>
              <a:buClr>
                <a:srgbClr val="000000"/>
              </a:buClr>
            </a:pPr>
            <a:r>
              <a:rPr lang="en-US" sz="1200" b="1"/>
              <a:t>Market</a:t>
            </a:r>
          </a:p>
        </p:txBody>
      </p:sp>
      <p:cxnSp>
        <p:nvCxnSpPr>
          <p:cNvPr id="30" name="HorizontalLine15">
            <a:extLst>
              <a:ext uri="{FF2B5EF4-FFF2-40B4-BE49-F238E27FC236}">
                <a16:creationId xmlns:a16="http://schemas.microsoft.com/office/drawing/2014/main" id="{94C0BBDC-E3D3-CC60-2E42-EEB695C3E6CE}"/>
              </a:ext>
            </a:extLst>
          </p:cNvPr>
          <p:cNvCxnSpPr>
            <a:cxnSpLocks/>
          </p:cNvCxnSpPr>
          <p:nvPr/>
        </p:nvCxnSpPr>
        <p:spPr>
          <a:xfrm>
            <a:off x="261390" y="1721324"/>
            <a:ext cx="1025174" cy="0"/>
          </a:xfrm>
          <a:prstGeom prst="line">
            <a:avLst/>
          </a:prstGeom>
          <a:ln w="19050" cmpd="sng">
            <a:solidFill>
              <a:schemeClr val="accent6"/>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73789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FF3C238-4F66-5CD4-2E65-64DEC649F519}"/>
              </a:ext>
            </a:extLst>
          </p:cNvPr>
          <p:cNvSpPr>
            <a:spLocks noGrp="1"/>
          </p:cNvSpPr>
          <p:nvPr>
            <p:ph type="title"/>
          </p:nvPr>
        </p:nvSpPr>
        <p:spPr>
          <a:xfrm>
            <a:off x="250825" y="1166813"/>
            <a:ext cx="7094855" cy="1622261"/>
          </a:xfrm>
        </p:spPr>
        <p:txBody>
          <a:bodyPr/>
          <a:lstStyle/>
          <a:p>
            <a:r>
              <a:rPr lang="en-GB" sz="3200" dirty="0"/>
              <a:t>D.	Priorities ahead</a:t>
            </a:r>
            <a:endParaRPr lang="it-IT" sz="3200" dirty="0"/>
          </a:p>
        </p:txBody>
      </p:sp>
    </p:spTree>
    <p:extLst>
      <p:ext uri="{BB962C8B-B14F-4D97-AF65-F5344CB8AC3E}">
        <p14:creationId xmlns:p14="http://schemas.microsoft.com/office/powerpoint/2010/main" val="7791939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4A09DF2-88ED-C382-F37D-22EE2E867C53}"/>
              </a:ext>
            </a:extLst>
          </p:cNvPr>
          <p:cNvSpPr>
            <a:spLocks noGrp="1"/>
          </p:cNvSpPr>
          <p:nvPr>
            <p:ph type="title"/>
          </p:nvPr>
        </p:nvSpPr>
        <p:spPr>
          <a:xfrm>
            <a:off x="250825" y="842963"/>
            <a:ext cx="5726113" cy="973137"/>
          </a:xfrm>
        </p:spPr>
        <p:txBody>
          <a:bodyPr/>
          <a:lstStyle/>
          <a:p>
            <a:pPr>
              <a:lnSpc>
                <a:spcPct val="100000"/>
              </a:lnSpc>
            </a:pPr>
            <a:r>
              <a:rPr lang="it-IT" sz="2800" dirty="0" err="1"/>
              <a:t>Contents</a:t>
            </a:r>
            <a:endParaRPr lang="it-IT" sz="2800" dirty="0"/>
          </a:p>
        </p:txBody>
      </p:sp>
      <p:sp>
        <p:nvSpPr>
          <p:cNvPr id="10" name="RB Disclaimer">
            <a:extLst>
              <a:ext uri="{FF2B5EF4-FFF2-40B4-BE49-F238E27FC236}">
                <a16:creationId xmlns:a16="http://schemas.microsoft.com/office/drawing/2014/main" id="{56C7FBB8-C46F-5C17-CECF-F109DEF563E0}"/>
              </a:ext>
            </a:extLst>
          </p:cNvPr>
          <p:cNvSpPr txBox="1">
            <a:spLocks noChangeArrowheads="1"/>
          </p:cNvSpPr>
          <p:nvPr>
            <p:custDataLst>
              <p:tags r:id="rId1"/>
            </p:custDataLst>
          </p:nvPr>
        </p:nvSpPr>
        <p:spPr bwMode="auto">
          <a:xfrm>
            <a:off x="239486" y="3154275"/>
            <a:ext cx="2447926" cy="1246495"/>
          </a:xfrm>
          <a:prstGeom prst="rect">
            <a:avLst/>
          </a:prstGeom>
          <a:noFill/>
          <a:ln w="9525">
            <a:noFill/>
            <a:miter lim="800000"/>
            <a:headEnd/>
            <a:tailEnd/>
          </a:ln>
        </p:spPr>
        <p:txBody>
          <a:bodyPr wrap="square" lIns="0" tIns="0" rIns="0" bIns="0" anchor="b" anchorCtr="0">
            <a:spAutoFit/>
          </a:bodyPr>
          <a:lstStyle/>
          <a:p>
            <a:pPr algn="l" rtl="0" eaLnBrk="0" fontAlgn="base" hangingPunct="0">
              <a:spcBef>
                <a:spcPct val="0"/>
              </a:spcBef>
              <a:spcAft>
                <a:spcPct val="0"/>
              </a:spcAft>
              <a:tabLst>
                <a:tab pos="4857750" algn="l"/>
              </a:tabLst>
            </a:pPr>
            <a:r>
              <a:rPr kumimoji="1" lang="en-US" altLang="de-DE" sz="900" b="0" kern="1200" noProof="0" dirty="0">
                <a:sym typeface="+mn-lt"/>
              </a:rPr>
              <a:t>This document shall be treated as confidential. It has been compiled for the exclusive internal use by our client and is not complete without the underlying detailed analyses and the oral presentation. It must not be passed on and/or must not be made available to third parties without prior written consent from Roland Berger.</a:t>
            </a:r>
          </a:p>
          <a:p>
            <a:pPr algn="l" rtl="0" eaLnBrk="0" fontAlgn="base" hangingPunct="0">
              <a:spcBef>
                <a:spcPct val="0"/>
              </a:spcBef>
              <a:spcAft>
                <a:spcPct val="0"/>
              </a:spcAft>
              <a:tabLst>
                <a:tab pos="4857750" algn="l"/>
              </a:tabLst>
            </a:pPr>
            <a:endParaRPr kumimoji="1" lang="en-US" altLang="de-DE" sz="900" b="0" kern="1200" noProof="0" dirty="0">
              <a:sym typeface="+mn-lt"/>
            </a:endParaRPr>
          </a:p>
          <a:p>
            <a:pPr algn="l" rtl="0" eaLnBrk="0" fontAlgn="base" hangingPunct="0">
              <a:spcBef>
                <a:spcPct val="0"/>
              </a:spcBef>
              <a:spcAft>
                <a:spcPct val="0"/>
              </a:spcAft>
              <a:tabLst>
                <a:tab pos="4857750" algn="l"/>
              </a:tabLst>
            </a:pPr>
            <a:r>
              <a:rPr kumimoji="1" lang="en-US" altLang="de-DE" sz="900" b="0" kern="1200" noProof="0" dirty="0">
                <a:sym typeface="+mn-lt"/>
              </a:rPr>
              <a:t>© Roland Berger</a:t>
            </a:r>
          </a:p>
        </p:txBody>
      </p:sp>
      <p:sp>
        <p:nvSpPr>
          <p:cNvPr id="11" name="Index">
            <a:extLst>
              <a:ext uri="{FF2B5EF4-FFF2-40B4-BE49-F238E27FC236}">
                <a16:creationId xmlns:a16="http://schemas.microsoft.com/office/drawing/2014/main" id="{8C585271-CBBB-44AB-656B-8E40476C8A19}"/>
              </a:ext>
            </a:extLst>
          </p:cNvPr>
          <p:cNvSpPr txBox="1">
            <a:spLocks/>
          </p:cNvSpPr>
          <p:nvPr/>
        </p:nvSpPr>
        <p:spPr>
          <a:xfrm>
            <a:off x="3294742" y="1122091"/>
            <a:ext cx="5609772" cy="1578894"/>
          </a:xfrm>
          <a:prstGeom prst="rect">
            <a:avLst/>
          </a:prstGeom>
        </p:spPr>
        <p:txBody>
          <a:bodyPr wrap="square"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3538" indent="-363538">
              <a:spcBef>
                <a:spcPts val="1800"/>
              </a:spcBef>
              <a:buNone/>
              <a:tabLst>
                <a:tab pos="5559425" algn="r"/>
              </a:tabLst>
            </a:pPr>
            <a:r>
              <a:rPr lang="en-US" sz="1600" dirty="0">
                <a:latin typeface="+mn-lt"/>
              </a:rPr>
              <a:t>A. 	Perspectives on core Oil &amp; Gas markets	3</a:t>
            </a:r>
          </a:p>
          <a:p>
            <a:pPr marL="363538" indent="-363538">
              <a:spcBef>
                <a:spcPts val="1800"/>
              </a:spcBef>
              <a:buNone/>
              <a:tabLst>
                <a:tab pos="5559425" algn="r"/>
              </a:tabLst>
            </a:pPr>
            <a:r>
              <a:rPr lang="en-US" sz="1600" dirty="0">
                <a:latin typeface="+mn-lt"/>
              </a:rPr>
              <a:t>B. 	Outlook on growing markets	10</a:t>
            </a:r>
          </a:p>
          <a:p>
            <a:pPr marL="363538" indent="-363538">
              <a:spcBef>
                <a:spcPts val="1800"/>
              </a:spcBef>
              <a:buNone/>
              <a:tabLst>
                <a:tab pos="5559425" algn="r"/>
              </a:tabLst>
            </a:pPr>
            <a:r>
              <a:rPr lang="en-US" sz="1600" dirty="0">
                <a:latin typeface="+mn-lt"/>
              </a:rPr>
              <a:t>C. 	Key takeaways and implications	33</a:t>
            </a:r>
          </a:p>
          <a:p>
            <a:pPr marL="363538" indent="-363538">
              <a:spcBef>
                <a:spcPts val="1800"/>
              </a:spcBef>
              <a:buNone/>
              <a:tabLst>
                <a:tab pos="5559425" algn="r"/>
              </a:tabLst>
            </a:pPr>
            <a:r>
              <a:rPr lang="en-US" sz="1600" dirty="0">
                <a:latin typeface="+mn-lt"/>
              </a:rPr>
              <a:t>D. 	Priorities ahead	35</a:t>
            </a:r>
          </a:p>
        </p:txBody>
      </p:sp>
    </p:spTree>
    <p:extLst>
      <p:ext uri="{BB962C8B-B14F-4D97-AF65-F5344CB8AC3E}">
        <p14:creationId xmlns:p14="http://schemas.microsoft.com/office/powerpoint/2010/main" val="29629668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feil: Chevron 14">
            <a:extLst>
              <a:ext uri="{FF2B5EF4-FFF2-40B4-BE49-F238E27FC236}">
                <a16:creationId xmlns:a16="http://schemas.microsoft.com/office/drawing/2014/main" id="{12D742DB-1B41-FBFD-5508-728C7CA3C4D3}"/>
              </a:ext>
            </a:extLst>
          </p:cNvPr>
          <p:cNvSpPr/>
          <p:nvPr/>
        </p:nvSpPr>
        <p:spPr>
          <a:xfrm>
            <a:off x="254157" y="1609830"/>
            <a:ext cx="2088993" cy="468000"/>
          </a:xfrm>
          <a:prstGeom prst="chevron">
            <a:avLst>
              <a:gd name="adj" fmla="val 21888"/>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0" rIns="72000" bIns="36000" rtlCol="0" anchor="ctr"/>
          <a:lstStyle/>
          <a:p>
            <a:r>
              <a:rPr lang="en-US" sz="1400" b="1">
                <a:solidFill>
                  <a:schemeClr val="bg1"/>
                </a:solidFill>
              </a:rPr>
              <a:t>Size matters</a:t>
            </a:r>
          </a:p>
        </p:txBody>
      </p:sp>
      <p:sp>
        <p:nvSpPr>
          <p:cNvPr id="7" name="Ellipse 13">
            <a:extLst>
              <a:ext uri="{FF2B5EF4-FFF2-40B4-BE49-F238E27FC236}">
                <a16:creationId xmlns:a16="http://schemas.microsoft.com/office/drawing/2014/main" id="{30CF9AAE-F891-F2FB-4A68-14CB12114F91}"/>
              </a:ext>
            </a:extLst>
          </p:cNvPr>
          <p:cNvSpPr/>
          <p:nvPr/>
        </p:nvSpPr>
        <p:spPr>
          <a:xfrm>
            <a:off x="250825" y="1681830"/>
            <a:ext cx="324000" cy="324000"/>
          </a:xfrm>
          <a:prstGeom prst="ellipse">
            <a:avLst/>
          </a:prstGeom>
          <a:solidFill>
            <a:schemeClr val="accent6"/>
          </a:solidFill>
          <a:ln w="19050" cmpd="sng">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1</a:t>
            </a:r>
          </a:p>
        </p:txBody>
      </p:sp>
      <p:sp>
        <p:nvSpPr>
          <p:cNvPr id="8" name="TextBox 3">
            <a:extLst>
              <a:ext uri="{FF2B5EF4-FFF2-40B4-BE49-F238E27FC236}">
                <a16:creationId xmlns:a16="http://schemas.microsoft.com/office/drawing/2014/main" id="{40F9F2ED-B113-0576-4E76-3ABC08A4F389}"/>
              </a:ext>
            </a:extLst>
          </p:cNvPr>
          <p:cNvSpPr txBox="1"/>
          <p:nvPr/>
        </p:nvSpPr>
        <p:spPr>
          <a:xfrm>
            <a:off x="250825" y="2135233"/>
            <a:ext cx="1956857" cy="553998"/>
          </a:xfrm>
          <a:prstGeom prst="rect">
            <a:avLst/>
          </a:prstGeom>
          <a:noFill/>
          <a:ln>
            <a:noFill/>
          </a:ln>
        </p:spPr>
        <p:txBody>
          <a:bodyPr rot="0" spcFirstLastPara="0" vertOverflow="overflow" horzOverflow="overflow" vert="horz" wrap="square" lIns="432000" tIns="0" rIns="0" bIns="0" numCol="1" spcCol="0" rtlCol="0" fromWordArt="0" anchor="t" anchorCtr="0" forceAA="0" compatLnSpc="1">
            <a:prstTxWarp prst="textNoShape">
              <a:avLst/>
            </a:prstTxWarp>
            <a:spAutoFit/>
          </a:bodyPr>
          <a:lstStyle/>
          <a:p>
            <a:r>
              <a:rPr lang="en-US" sz="1200"/>
              <a:t>Rising pressure from Global and Asian players</a:t>
            </a:r>
          </a:p>
        </p:txBody>
      </p:sp>
      <p:sp>
        <p:nvSpPr>
          <p:cNvPr id="9" name="Pfeil: Chevron 18">
            <a:extLst>
              <a:ext uri="{FF2B5EF4-FFF2-40B4-BE49-F238E27FC236}">
                <a16:creationId xmlns:a16="http://schemas.microsoft.com/office/drawing/2014/main" id="{13AF68F8-520B-85AC-DBEC-D3A71CB70946}"/>
              </a:ext>
            </a:extLst>
          </p:cNvPr>
          <p:cNvSpPr/>
          <p:nvPr/>
        </p:nvSpPr>
        <p:spPr>
          <a:xfrm>
            <a:off x="2544808" y="1609830"/>
            <a:ext cx="6363405" cy="468000"/>
          </a:xfrm>
          <a:custGeom>
            <a:avLst/>
            <a:gdLst>
              <a:gd name="connsiteX0" fmla="*/ 0 w 6465841"/>
              <a:gd name="connsiteY0" fmla="*/ 0 h 468000"/>
              <a:gd name="connsiteX1" fmla="*/ 6363405 w 6465841"/>
              <a:gd name="connsiteY1" fmla="*/ 0 h 468000"/>
              <a:gd name="connsiteX2" fmla="*/ 6465841 w 6465841"/>
              <a:gd name="connsiteY2" fmla="*/ 234000 h 468000"/>
              <a:gd name="connsiteX3" fmla="*/ 6363405 w 6465841"/>
              <a:gd name="connsiteY3" fmla="*/ 468000 h 468000"/>
              <a:gd name="connsiteX4" fmla="*/ 0 w 6465841"/>
              <a:gd name="connsiteY4" fmla="*/ 468000 h 468000"/>
              <a:gd name="connsiteX5" fmla="*/ 102436 w 6465841"/>
              <a:gd name="connsiteY5" fmla="*/ 234000 h 468000"/>
              <a:gd name="connsiteX6" fmla="*/ 0 w 6465841"/>
              <a:gd name="connsiteY6" fmla="*/ 0 h 468000"/>
              <a:gd name="connsiteX0" fmla="*/ 0 w 6363405"/>
              <a:gd name="connsiteY0" fmla="*/ 0 h 468000"/>
              <a:gd name="connsiteX1" fmla="*/ 6363405 w 6363405"/>
              <a:gd name="connsiteY1" fmla="*/ 0 h 468000"/>
              <a:gd name="connsiteX2" fmla="*/ 6363405 w 6363405"/>
              <a:gd name="connsiteY2" fmla="*/ 468000 h 468000"/>
              <a:gd name="connsiteX3" fmla="*/ 0 w 6363405"/>
              <a:gd name="connsiteY3" fmla="*/ 468000 h 468000"/>
              <a:gd name="connsiteX4" fmla="*/ 102436 w 6363405"/>
              <a:gd name="connsiteY4" fmla="*/ 234000 h 468000"/>
              <a:gd name="connsiteX5" fmla="*/ 0 w 6363405"/>
              <a:gd name="connsiteY5" fmla="*/ 0 h 4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63405" h="468000">
                <a:moveTo>
                  <a:pt x="0" y="0"/>
                </a:moveTo>
                <a:lnTo>
                  <a:pt x="6363405" y="0"/>
                </a:lnTo>
                <a:lnTo>
                  <a:pt x="6363405" y="468000"/>
                </a:lnTo>
                <a:lnTo>
                  <a:pt x="0" y="468000"/>
                </a:lnTo>
                <a:lnTo>
                  <a:pt x="102436" y="234000"/>
                </a:lnTo>
                <a:lnTo>
                  <a:pt x="0" y="0"/>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432000" tIns="0" rIns="72000" bIns="36000" rtlCol="0" anchor="ctr"/>
          <a:lstStyle/>
          <a:p>
            <a:r>
              <a:rPr lang="en-US" sz="1400" b="1" dirty="0">
                <a:solidFill>
                  <a:schemeClr val="bg1"/>
                </a:solidFill>
              </a:rPr>
              <a:t>Global presence </a:t>
            </a:r>
            <a:r>
              <a:rPr lang="en-US" sz="1400" dirty="0">
                <a:solidFill>
                  <a:schemeClr val="bg1"/>
                </a:solidFill>
              </a:rPr>
              <a:t>(offices and workshops)</a:t>
            </a:r>
          </a:p>
        </p:txBody>
      </p:sp>
      <p:sp>
        <p:nvSpPr>
          <p:cNvPr id="10" name="Ellipse 19">
            <a:extLst>
              <a:ext uri="{FF2B5EF4-FFF2-40B4-BE49-F238E27FC236}">
                <a16:creationId xmlns:a16="http://schemas.microsoft.com/office/drawing/2014/main" id="{BC0C5A4A-98CA-2882-A9A1-1A4E07A9B216}"/>
              </a:ext>
            </a:extLst>
          </p:cNvPr>
          <p:cNvSpPr/>
          <p:nvPr/>
        </p:nvSpPr>
        <p:spPr>
          <a:xfrm>
            <a:off x="2541477" y="1681830"/>
            <a:ext cx="324000" cy="324000"/>
          </a:xfrm>
          <a:prstGeom prst="ellipse">
            <a:avLst/>
          </a:prstGeom>
          <a:solidFill>
            <a:schemeClr val="accent6"/>
          </a:solidFill>
          <a:ln w="19050" cmpd="sng">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2</a:t>
            </a:r>
          </a:p>
        </p:txBody>
      </p:sp>
      <p:sp>
        <p:nvSpPr>
          <p:cNvPr id="11" name="TextBox 3">
            <a:extLst>
              <a:ext uri="{FF2B5EF4-FFF2-40B4-BE49-F238E27FC236}">
                <a16:creationId xmlns:a16="http://schemas.microsoft.com/office/drawing/2014/main" id="{AB4B6B57-2E33-0662-2355-FA9BD6840141}"/>
              </a:ext>
            </a:extLst>
          </p:cNvPr>
          <p:cNvSpPr txBox="1"/>
          <p:nvPr/>
        </p:nvSpPr>
        <p:spPr>
          <a:xfrm>
            <a:off x="2541477" y="2135233"/>
            <a:ext cx="4278423" cy="184666"/>
          </a:xfrm>
          <a:prstGeom prst="rect">
            <a:avLst/>
          </a:prstGeom>
          <a:noFill/>
          <a:ln>
            <a:noFill/>
          </a:ln>
        </p:spPr>
        <p:txBody>
          <a:bodyPr rot="0" spcFirstLastPara="0" vertOverflow="overflow" horzOverflow="overflow" vert="horz" wrap="square" lIns="432000" tIns="0" rIns="0" bIns="0" numCol="1" spcCol="0" rtlCol="0" fromWordArt="0" anchor="t" anchorCtr="0" forceAA="0" compatLnSpc="1">
            <a:prstTxWarp prst="textNoShape">
              <a:avLst/>
            </a:prstTxWarp>
            <a:spAutoFit/>
          </a:bodyPr>
          <a:lstStyle/>
          <a:p>
            <a:r>
              <a:rPr lang="en-US" sz="1200"/>
              <a:t>Changing mix of business and geographies</a:t>
            </a:r>
          </a:p>
        </p:txBody>
      </p:sp>
      <p:sp>
        <p:nvSpPr>
          <p:cNvPr id="12" name="Pfeil: Chevron 23">
            <a:extLst>
              <a:ext uri="{FF2B5EF4-FFF2-40B4-BE49-F238E27FC236}">
                <a16:creationId xmlns:a16="http://schemas.microsoft.com/office/drawing/2014/main" id="{36E4E946-A6FB-CC04-A511-84C9066FBEF9}"/>
              </a:ext>
            </a:extLst>
          </p:cNvPr>
          <p:cNvSpPr/>
          <p:nvPr/>
        </p:nvSpPr>
        <p:spPr>
          <a:xfrm>
            <a:off x="2544808" y="2556207"/>
            <a:ext cx="6363405" cy="468000"/>
          </a:xfrm>
          <a:custGeom>
            <a:avLst/>
            <a:gdLst>
              <a:gd name="connsiteX0" fmla="*/ 0 w 6465841"/>
              <a:gd name="connsiteY0" fmla="*/ 0 h 468000"/>
              <a:gd name="connsiteX1" fmla="*/ 6363405 w 6465841"/>
              <a:gd name="connsiteY1" fmla="*/ 0 h 468000"/>
              <a:gd name="connsiteX2" fmla="*/ 6465841 w 6465841"/>
              <a:gd name="connsiteY2" fmla="*/ 234000 h 468000"/>
              <a:gd name="connsiteX3" fmla="*/ 6363405 w 6465841"/>
              <a:gd name="connsiteY3" fmla="*/ 468000 h 468000"/>
              <a:gd name="connsiteX4" fmla="*/ 0 w 6465841"/>
              <a:gd name="connsiteY4" fmla="*/ 468000 h 468000"/>
              <a:gd name="connsiteX5" fmla="*/ 102436 w 6465841"/>
              <a:gd name="connsiteY5" fmla="*/ 234000 h 468000"/>
              <a:gd name="connsiteX6" fmla="*/ 0 w 6465841"/>
              <a:gd name="connsiteY6" fmla="*/ 0 h 468000"/>
              <a:gd name="connsiteX0" fmla="*/ 0 w 6363405"/>
              <a:gd name="connsiteY0" fmla="*/ 0 h 468000"/>
              <a:gd name="connsiteX1" fmla="*/ 6363405 w 6363405"/>
              <a:gd name="connsiteY1" fmla="*/ 0 h 468000"/>
              <a:gd name="connsiteX2" fmla="*/ 6363405 w 6363405"/>
              <a:gd name="connsiteY2" fmla="*/ 468000 h 468000"/>
              <a:gd name="connsiteX3" fmla="*/ 0 w 6363405"/>
              <a:gd name="connsiteY3" fmla="*/ 468000 h 468000"/>
              <a:gd name="connsiteX4" fmla="*/ 102436 w 6363405"/>
              <a:gd name="connsiteY4" fmla="*/ 234000 h 468000"/>
              <a:gd name="connsiteX5" fmla="*/ 0 w 6363405"/>
              <a:gd name="connsiteY5" fmla="*/ 0 h 4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63405" h="468000">
                <a:moveTo>
                  <a:pt x="0" y="0"/>
                </a:moveTo>
                <a:lnTo>
                  <a:pt x="6363405" y="0"/>
                </a:lnTo>
                <a:lnTo>
                  <a:pt x="6363405" y="468000"/>
                </a:lnTo>
                <a:lnTo>
                  <a:pt x="0" y="468000"/>
                </a:lnTo>
                <a:lnTo>
                  <a:pt x="102436" y="234000"/>
                </a:lnTo>
                <a:lnTo>
                  <a:pt x="0" y="0"/>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432000" tIns="0" rIns="72000" bIns="36000" rtlCol="0" anchor="ctr"/>
          <a:lstStyle/>
          <a:p>
            <a:r>
              <a:rPr lang="en-US" sz="1400" b="1">
                <a:solidFill>
                  <a:schemeClr val="bg1"/>
                </a:solidFill>
              </a:rPr>
              <a:t>Focus on specialty</a:t>
            </a:r>
            <a:endParaRPr lang="en-US" sz="1400">
              <a:solidFill>
                <a:schemeClr val="bg1"/>
              </a:solidFill>
            </a:endParaRPr>
          </a:p>
        </p:txBody>
      </p:sp>
      <p:sp>
        <p:nvSpPr>
          <p:cNvPr id="13" name="Ellipse 24">
            <a:extLst>
              <a:ext uri="{FF2B5EF4-FFF2-40B4-BE49-F238E27FC236}">
                <a16:creationId xmlns:a16="http://schemas.microsoft.com/office/drawing/2014/main" id="{0B39C2AF-DFD9-02BD-E99E-CD93A6443007}"/>
              </a:ext>
            </a:extLst>
          </p:cNvPr>
          <p:cNvSpPr/>
          <p:nvPr/>
        </p:nvSpPr>
        <p:spPr>
          <a:xfrm>
            <a:off x="2541477" y="2628207"/>
            <a:ext cx="324000" cy="324000"/>
          </a:xfrm>
          <a:prstGeom prst="ellipse">
            <a:avLst/>
          </a:prstGeom>
          <a:solidFill>
            <a:schemeClr val="accent6"/>
          </a:solidFill>
          <a:ln w="19050" cmpd="sng">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3</a:t>
            </a:r>
          </a:p>
        </p:txBody>
      </p:sp>
      <p:sp>
        <p:nvSpPr>
          <p:cNvPr id="14" name="TextBox 3">
            <a:extLst>
              <a:ext uri="{FF2B5EF4-FFF2-40B4-BE49-F238E27FC236}">
                <a16:creationId xmlns:a16="http://schemas.microsoft.com/office/drawing/2014/main" id="{CD3E3252-2B4B-A620-5C98-85944B407DE0}"/>
              </a:ext>
            </a:extLst>
          </p:cNvPr>
          <p:cNvSpPr txBox="1"/>
          <p:nvPr/>
        </p:nvSpPr>
        <p:spPr>
          <a:xfrm>
            <a:off x="2541477" y="3081610"/>
            <a:ext cx="4278423" cy="184666"/>
          </a:xfrm>
          <a:prstGeom prst="rect">
            <a:avLst/>
          </a:prstGeom>
          <a:noFill/>
          <a:ln>
            <a:noFill/>
          </a:ln>
        </p:spPr>
        <p:txBody>
          <a:bodyPr rot="0" spcFirstLastPara="0" vertOverflow="overflow" horzOverflow="overflow" vert="horz" wrap="square" lIns="432000" tIns="0" rIns="0" bIns="0" numCol="1" spcCol="0" rtlCol="0" fromWordArt="0" anchor="t" anchorCtr="0" forceAA="0" compatLnSpc="1">
            <a:prstTxWarp prst="textNoShape">
              <a:avLst/>
            </a:prstTxWarp>
            <a:spAutoFit/>
          </a:bodyPr>
          <a:lstStyle/>
          <a:p>
            <a:r>
              <a:rPr lang="en-US" sz="1200"/>
              <a:t>Product and market specialization to sustain profitability</a:t>
            </a:r>
          </a:p>
        </p:txBody>
      </p:sp>
      <p:sp>
        <p:nvSpPr>
          <p:cNvPr id="15" name="Pfeil: Chevron 27">
            <a:extLst>
              <a:ext uri="{FF2B5EF4-FFF2-40B4-BE49-F238E27FC236}">
                <a16:creationId xmlns:a16="http://schemas.microsoft.com/office/drawing/2014/main" id="{8A4CDCED-B623-31F1-DE6C-CBDD11C03FA2}"/>
              </a:ext>
            </a:extLst>
          </p:cNvPr>
          <p:cNvSpPr/>
          <p:nvPr/>
        </p:nvSpPr>
        <p:spPr>
          <a:xfrm>
            <a:off x="2544808" y="3502584"/>
            <a:ext cx="6363405" cy="468000"/>
          </a:xfrm>
          <a:custGeom>
            <a:avLst/>
            <a:gdLst>
              <a:gd name="connsiteX0" fmla="*/ 0 w 6465841"/>
              <a:gd name="connsiteY0" fmla="*/ 0 h 468000"/>
              <a:gd name="connsiteX1" fmla="*/ 6363405 w 6465841"/>
              <a:gd name="connsiteY1" fmla="*/ 0 h 468000"/>
              <a:gd name="connsiteX2" fmla="*/ 6465841 w 6465841"/>
              <a:gd name="connsiteY2" fmla="*/ 234000 h 468000"/>
              <a:gd name="connsiteX3" fmla="*/ 6363405 w 6465841"/>
              <a:gd name="connsiteY3" fmla="*/ 468000 h 468000"/>
              <a:gd name="connsiteX4" fmla="*/ 0 w 6465841"/>
              <a:gd name="connsiteY4" fmla="*/ 468000 h 468000"/>
              <a:gd name="connsiteX5" fmla="*/ 102436 w 6465841"/>
              <a:gd name="connsiteY5" fmla="*/ 234000 h 468000"/>
              <a:gd name="connsiteX6" fmla="*/ 0 w 6465841"/>
              <a:gd name="connsiteY6" fmla="*/ 0 h 468000"/>
              <a:gd name="connsiteX0" fmla="*/ 0 w 6363405"/>
              <a:gd name="connsiteY0" fmla="*/ 0 h 468000"/>
              <a:gd name="connsiteX1" fmla="*/ 6363405 w 6363405"/>
              <a:gd name="connsiteY1" fmla="*/ 0 h 468000"/>
              <a:gd name="connsiteX2" fmla="*/ 6363405 w 6363405"/>
              <a:gd name="connsiteY2" fmla="*/ 468000 h 468000"/>
              <a:gd name="connsiteX3" fmla="*/ 0 w 6363405"/>
              <a:gd name="connsiteY3" fmla="*/ 468000 h 468000"/>
              <a:gd name="connsiteX4" fmla="*/ 102436 w 6363405"/>
              <a:gd name="connsiteY4" fmla="*/ 234000 h 468000"/>
              <a:gd name="connsiteX5" fmla="*/ 0 w 6363405"/>
              <a:gd name="connsiteY5" fmla="*/ 0 h 4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63405" h="468000">
                <a:moveTo>
                  <a:pt x="0" y="0"/>
                </a:moveTo>
                <a:lnTo>
                  <a:pt x="6363405" y="0"/>
                </a:lnTo>
                <a:lnTo>
                  <a:pt x="6363405" y="468000"/>
                </a:lnTo>
                <a:lnTo>
                  <a:pt x="0" y="468000"/>
                </a:lnTo>
                <a:lnTo>
                  <a:pt x="102436" y="234000"/>
                </a:lnTo>
                <a:lnTo>
                  <a:pt x="0" y="0"/>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432000" tIns="0" rIns="72000" bIns="36000" rtlCol="0" anchor="ctr"/>
          <a:lstStyle/>
          <a:p>
            <a:r>
              <a:rPr lang="en-US" sz="1400" b="1">
                <a:solidFill>
                  <a:schemeClr val="bg1"/>
                </a:solidFill>
              </a:rPr>
              <a:t>Expand into solutions/systems</a:t>
            </a:r>
            <a:endParaRPr lang="en-US" sz="1400">
              <a:solidFill>
                <a:schemeClr val="bg1"/>
              </a:solidFill>
            </a:endParaRPr>
          </a:p>
        </p:txBody>
      </p:sp>
      <p:sp>
        <p:nvSpPr>
          <p:cNvPr id="16" name="Ellipse 28">
            <a:extLst>
              <a:ext uri="{FF2B5EF4-FFF2-40B4-BE49-F238E27FC236}">
                <a16:creationId xmlns:a16="http://schemas.microsoft.com/office/drawing/2014/main" id="{B1CB6738-8752-26C0-2959-8602D492615E}"/>
              </a:ext>
            </a:extLst>
          </p:cNvPr>
          <p:cNvSpPr/>
          <p:nvPr/>
        </p:nvSpPr>
        <p:spPr>
          <a:xfrm>
            <a:off x="2541477" y="3574584"/>
            <a:ext cx="324000" cy="324000"/>
          </a:xfrm>
          <a:prstGeom prst="ellipse">
            <a:avLst/>
          </a:prstGeom>
          <a:solidFill>
            <a:schemeClr val="accent6"/>
          </a:solidFill>
          <a:ln w="19050" cmpd="sng">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4</a:t>
            </a:r>
          </a:p>
        </p:txBody>
      </p:sp>
      <p:sp>
        <p:nvSpPr>
          <p:cNvPr id="17" name="TextBox 3">
            <a:extLst>
              <a:ext uri="{FF2B5EF4-FFF2-40B4-BE49-F238E27FC236}">
                <a16:creationId xmlns:a16="http://schemas.microsoft.com/office/drawing/2014/main" id="{2BD1D7CE-C716-AEC2-55BB-AF6458BB15B2}"/>
              </a:ext>
            </a:extLst>
          </p:cNvPr>
          <p:cNvSpPr txBox="1"/>
          <p:nvPr/>
        </p:nvSpPr>
        <p:spPr>
          <a:xfrm>
            <a:off x="2541477" y="4027987"/>
            <a:ext cx="4278423" cy="369332"/>
          </a:xfrm>
          <a:prstGeom prst="rect">
            <a:avLst/>
          </a:prstGeom>
          <a:noFill/>
          <a:ln>
            <a:noFill/>
          </a:ln>
        </p:spPr>
        <p:txBody>
          <a:bodyPr rot="0" spcFirstLastPara="0" vertOverflow="overflow" horzOverflow="overflow" vert="horz" wrap="square" lIns="432000" tIns="0" rIns="0" bIns="0" numCol="1" spcCol="0" rtlCol="0" fromWordArt="0" anchor="t" anchorCtr="0" forceAA="0" compatLnSpc="1">
            <a:prstTxWarp prst="textNoShape">
              <a:avLst/>
            </a:prstTxWarp>
            <a:spAutoFit/>
          </a:bodyPr>
          <a:lstStyle/>
          <a:p>
            <a:r>
              <a:rPr lang="en-US" sz="1200"/>
              <a:t>Bundling and integrating components to increase the value-added</a:t>
            </a:r>
          </a:p>
        </p:txBody>
      </p:sp>
      <p:sp>
        <p:nvSpPr>
          <p:cNvPr id="18" name="Title 1">
            <a:extLst>
              <a:ext uri="{FF2B5EF4-FFF2-40B4-BE49-F238E27FC236}">
                <a16:creationId xmlns:a16="http://schemas.microsoft.com/office/drawing/2014/main" id="{8DD2C817-8980-8D32-A758-BF0CE1D63338}"/>
              </a:ext>
            </a:extLst>
          </p:cNvPr>
          <p:cNvSpPr txBox="1">
            <a:spLocks/>
          </p:cNvSpPr>
          <p:nvPr/>
        </p:nvSpPr>
        <p:spPr>
          <a:xfrm>
            <a:off x="250825" y="859960"/>
            <a:ext cx="8657388" cy="576000"/>
          </a:xfrm>
          <a:prstGeom prst="rect">
            <a:avLst/>
          </a:prstGeom>
        </p:spPr>
        <p:txBody>
          <a:bodyPr vert="horz"/>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r>
              <a:rPr lang="en-US" sz="2400" dirty="0"/>
              <a:t>Key priorities ahead for Industrial Valves manufacturers</a:t>
            </a:r>
            <a:endParaRPr lang="en-US" sz="4400" dirty="0"/>
          </a:p>
        </p:txBody>
      </p:sp>
      <p:sp>
        <p:nvSpPr>
          <p:cNvPr id="19" name="RBLeftUShape17">
            <a:extLst>
              <a:ext uri="{FF2B5EF4-FFF2-40B4-BE49-F238E27FC236}">
                <a16:creationId xmlns:a16="http://schemas.microsoft.com/office/drawing/2014/main" id="{C2A7643B-F6EA-F3F2-EB9C-C9327B00A21F}"/>
              </a:ext>
            </a:extLst>
          </p:cNvPr>
          <p:cNvSpPr/>
          <p:nvPr/>
        </p:nvSpPr>
        <p:spPr>
          <a:xfrm flipH="1">
            <a:off x="2422740" y="1342314"/>
            <a:ext cx="192545" cy="3264611"/>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spcAft>
                <a:spcPct val="0"/>
              </a:spcAft>
            </a:pPr>
            <a:endParaRPr lang="en-US"/>
          </a:p>
        </p:txBody>
      </p:sp>
      <p:sp>
        <p:nvSpPr>
          <p:cNvPr id="20" name="Rechteck 33">
            <a:extLst>
              <a:ext uri="{FF2B5EF4-FFF2-40B4-BE49-F238E27FC236}">
                <a16:creationId xmlns:a16="http://schemas.microsoft.com/office/drawing/2014/main" id="{5B931FC2-C57D-766E-CA3B-705C43B1DE79}"/>
              </a:ext>
            </a:extLst>
          </p:cNvPr>
          <p:cNvSpPr/>
          <p:nvPr/>
        </p:nvSpPr>
        <p:spPr>
          <a:xfrm>
            <a:off x="6900760" y="1342314"/>
            <a:ext cx="1836000" cy="3264612"/>
          </a:xfrm>
          <a:prstGeom prst="rect">
            <a:avLst/>
          </a:prstGeom>
          <a:solidFill>
            <a:schemeClr val="bg1">
              <a:alpha val="93000"/>
            </a:schemeClr>
          </a:solidFill>
          <a:ln w="19050" cmpd="sng">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504000" tIns="144000" rIns="72000" bIns="36000" rtlCol="0" anchor="t" anchorCtr="0"/>
          <a:lstStyle/>
          <a:p>
            <a:r>
              <a:rPr lang="en-US" sz="1400" b="1">
                <a:solidFill>
                  <a:schemeClr val="accent6"/>
                </a:solidFill>
              </a:rPr>
              <a:t>M&amp;A</a:t>
            </a:r>
          </a:p>
        </p:txBody>
      </p:sp>
      <p:sp>
        <p:nvSpPr>
          <p:cNvPr id="21" name="Ellipse 34">
            <a:extLst>
              <a:ext uri="{FF2B5EF4-FFF2-40B4-BE49-F238E27FC236}">
                <a16:creationId xmlns:a16="http://schemas.microsoft.com/office/drawing/2014/main" id="{062330F1-CFE2-1E6A-C5B4-3A7A6212B132}"/>
              </a:ext>
            </a:extLst>
          </p:cNvPr>
          <p:cNvSpPr/>
          <p:nvPr/>
        </p:nvSpPr>
        <p:spPr>
          <a:xfrm>
            <a:off x="6988952" y="1433627"/>
            <a:ext cx="324000" cy="324000"/>
          </a:xfrm>
          <a:prstGeom prst="ellipse">
            <a:avLst/>
          </a:prstGeom>
          <a:solidFill>
            <a:schemeClr val="accent6"/>
          </a:solidFill>
          <a:ln w="19050" cmpd="sng">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5</a:t>
            </a:r>
          </a:p>
        </p:txBody>
      </p:sp>
      <p:sp>
        <p:nvSpPr>
          <p:cNvPr id="22" name="TextBox 3">
            <a:extLst>
              <a:ext uri="{FF2B5EF4-FFF2-40B4-BE49-F238E27FC236}">
                <a16:creationId xmlns:a16="http://schemas.microsoft.com/office/drawing/2014/main" id="{529F5DCF-EC76-11E8-20DF-470D7F552125}"/>
              </a:ext>
            </a:extLst>
          </p:cNvPr>
          <p:cNvSpPr txBox="1"/>
          <p:nvPr/>
        </p:nvSpPr>
        <p:spPr>
          <a:xfrm>
            <a:off x="6897429" y="1943400"/>
            <a:ext cx="1839332" cy="1107996"/>
          </a:xfrm>
          <a:prstGeom prst="rect">
            <a:avLst/>
          </a:prstGeom>
          <a:noFill/>
          <a:ln>
            <a:noFill/>
          </a:ln>
        </p:spPr>
        <p:txBody>
          <a:bodyPr rot="0" spcFirstLastPara="0" vertOverflow="overflow" horzOverflow="overflow" vert="horz" wrap="square" lIns="504000" tIns="0" rIns="72000" bIns="0" numCol="1" spcCol="0" rtlCol="0" fromWordArt="0" anchor="t" anchorCtr="0" forceAA="0" compatLnSpc="1">
            <a:prstTxWarp prst="textNoShape">
              <a:avLst/>
            </a:prstTxWarp>
            <a:spAutoFit/>
          </a:bodyPr>
          <a:lstStyle/>
          <a:p>
            <a:r>
              <a:rPr lang="en-US" sz="1200" dirty="0"/>
              <a:t>Enabler and market opener </a:t>
            </a:r>
            <a:br>
              <a:rPr lang="en-US" sz="1200" dirty="0"/>
            </a:br>
            <a:r>
              <a:rPr lang="en-US" sz="1200" dirty="0"/>
              <a:t>for new business segments, products/ services and geographies</a:t>
            </a:r>
          </a:p>
        </p:txBody>
      </p:sp>
    </p:spTree>
    <p:extLst>
      <p:ext uri="{BB962C8B-B14F-4D97-AF65-F5344CB8AC3E}">
        <p14:creationId xmlns:p14="http://schemas.microsoft.com/office/powerpoint/2010/main" val="23317232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Gerader Verbinder 98">
            <a:extLst>
              <a:ext uri="{FF2B5EF4-FFF2-40B4-BE49-F238E27FC236}">
                <a16:creationId xmlns:a16="http://schemas.microsoft.com/office/drawing/2014/main" id="{E7CE828C-34B0-2613-44B7-2C52E84D23B4}"/>
              </a:ext>
            </a:extLst>
          </p:cNvPr>
          <p:cNvCxnSpPr/>
          <p:nvPr/>
        </p:nvCxnSpPr>
        <p:spPr>
          <a:xfrm>
            <a:off x="260442" y="2608580"/>
            <a:ext cx="8640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 name="Gerader Verbinder 99">
            <a:extLst>
              <a:ext uri="{FF2B5EF4-FFF2-40B4-BE49-F238E27FC236}">
                <a16:creationId xmlns:a16="http://schemas.microsoft.com/office/drawing/2014/main" id="{A47830D3-4AAB-52CC-D2A1-629AA11855C2}"/>
              </a:ext>
            </a:extLst>
          </p:cNvPr>
          <p:cNvCxnSpPr/>
          <p:nvPr/>
        </p:nvCxnSpPr>
        <p:spPr>
          <a:xfrm>
            <a:off x="260442" y="3280569"/>
            <a:ext cx="8640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 name="Gerader Verbinder 100">
            <a:extLst>
              <a:ext uri="{FF2B5EF4-FFF2-40B4-BE49-F238E27FC236}">
                <a16:creationId xmlns:a16="http://schemas.microsoft.com/office/drawing/2014/main" id="{7316362B-6102-906C-7488-A8E18625D756}"/>
              </a:ext>
            </a:extLst>
          </p:cNvPr>
          <p:cNvCxnSpPr/>
          <p:nvPr/>
        </p:nvCxnSpPr>
        <p:spPr>
          <a:xfrm>
            <a:off x="260442" y="3928269"/>
            <a:ext cx="8640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7754A16E-9EE4-4207-A49B-D9F82197356F}"/>
              </a:ext>
            </a:extLst>
          </p:cNvPr>
          <p:cNvSpPr txBox="1">
            <a:spLocks/>
          </p:cNvSpPr>
          <p:nvPr/>
        </p:nvSpPr>
        <p:spPr>
          <a:xfrm>
            <a:off x="284165" y="875655"/>
            <a:ext cx="8609010" cy="576000"/>
          </a:xfrm>
          <a:prstGeom prst="rect">
            <a:avLst/>
          </a:prstGeom>
        </p:spPr>
        <p:txBody>
          <a:bodyPr vert="horz" wrap="square" lIns="0" tIns="0" rIns="0" bIns="0" rtlCol="0" anchor="t" anchorCtr="0">
            <a:noAutofit/>
          </a:bodyPr>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pPr defTabSz="844083">
              <a:lnSpc>
                <a:spcPct val="100000"/>
              </a:lnSpc>
            </a:pPr>
            <a:r>
              <a:rPr lang="en-US" sz="1600" dirty="0"/>
              <a:t>Recent performance of market players shows that size matters for both growth and profitability</a:t>
            </a:r>
            <a:endParaRPr lang="en-US" sz="1000" dirty="0">
              <a:sym typeface="+mn-lt"/>
            </a:endParaRPr>
          </a:p>
        </p:txBody>
      </p:sp>
      <p:sp>
        <p:nvSpPr>
          <p:cNvPr id="6" name="Source">
            <a:extLst>
              <a:ext uri="{FF2B5EF4-FFF2-40B4-BE49-F238E27FC236}">
                <a16:creationId xmlns:a16="http://schemas.microsoft.com/office/drawing/2014/main" id="{8CE9BEAE-5D7C-7DC6-AD7A-1F8540D9D2AB}"/>
              </a:ext>
            </a:extLst>
          </p:cNvPr>
          <p:cNvSpPr txBox="1"/>
          <p:nvPr/>
        </p:nvSpPr>
        <p:spPr>
          <a:xfrm>
            <a:off x="4449147" y="666369"/>
            <a:ext cx="2778005"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a:sym typeface="+mn-lt"/>
              </a:rPr>
              <a:t>Source: Capital IQ, </a:t>
            </a:r>
            <a:r>
              <a:rPr lang="en-US" sz="600" err="1">
                <a:sym typeface="+mn-lt"/>
              </a:rPr>
              <a:t>CERVED</a:t>
            </a:r>
            <a:r>
              <a:rPr lang="en-US" sz="600">
                <a:sym typeface="+mn-lt"/>
              </a:rPr>
              <a:t>, Roland Berger analysis a selected panel of players</a:t>
            </a:r>
          </a:p>
        </p:txBody>
      </p:sp>
      <p:graphicFrame>
        <p:nvGraphicFramePr>
          <p:cNvPr id="7" name="Chart 3">
            <a:extLst>
              <a:ext uri="{FF2B5EF4-FFF2-40B4-BE49-F238E27FC236}">
                <a16:creationId xmlns:a16="http://schemas.microsoft.com/office/drawing/2014/main" id="{DD50E13B-EA86-97E4-FA49-0FEB152ECFD4}"/>
              </a:ext>
            </a:extLst>
          </p:cNvPr>
          <p:cNvGraphicFramePr/>
          <p:nvPr>
            <p:custDataLst>
              <p:tags r:id="rId1"/>
            </p:custDataLst>
            <p:extLst>
              <p:ext uri="{D42A27DB-BD31-4B8C-83A1-F6EECF244321}">
                <p14:modId xmlns:p14="http://schemas.microsoft.com/office/powerpoint/2010/main" val="145239543"/>
              </p:ext>
            </p:extLst>
          </p:nvPr>
        </p:nvGraphicFramePr>
        <p:xfrm>
          <a:off x="1806576" y="1901825"/>
          <a:ext cx="1897063" cy="2757488"/>
        </p:xfrm>
        <a:graphic>
          <a:graphicData uri="http://schemas.openxmlformats.org/drawingml/2006/chart">
            <c:chart xmlns:c="http://schemas.openxmlformats.org/drawingml/2006/chart" xmlns:r="http://schemas.openxmlformats.org/officeDocument/2006/relationships" r:id="rId13"/>
          </a:graphicData>
        </a:graphic>
      </p:graphicFrame>
      <p:sp>
        <p:nvSpPr>
          <p:cNvPr id="8" name="Text Placeholder">
            <a:extLst>
              <a:ext uri="{FF2B5EF4-FFF2-40B4-BE49-F238E27FC236}">
                <a16:creationId xmlns:a16="http://schemas.microsoft.com/office/drawing/2014/main" id="{74E3FFAA-0EA3-994F-F017-5E88DB3AC87A}"/>
              </a:ext>
            </a:extLst>
          </p:cNvPr>
          <p:cNvSpPr>
            <a:spLocks noGrp="1"/>
          </p:cNvSpPr>
          <p:nvPr>
            <p:custDataLst>
              <p:tags r:id="rId2"/>
            </p:custDataLst>
          </p:nvPr>
        </p:nvSpPr>
        <p:spPr bwMode="gray">
          <a:xfrm>
            <a:off x="2317751" y="2246313"/>
            <a:ext cx="23812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r" defTabSz="685800">
              <a:lnSpc>
                <a:spcPct val="90000"/>
              </a:lnSpc>
              <a:spcBef>
                <a:spcPct val="0"/>
              </a:spcBef>
              <a:buSzPct val="100000"/>
              <a:buFont typeface="+mn-lt" pitchFamily="34" charset="0"/>
            </a:pPr>
            <a:fld id="{D79330AF-7289-41EA-9C69-C3E5E512B7FB}" type="datetime'''''''''''''''''-''''''''''''''''''''2''''''''''%'''''''''''''">
              <a:rPr lang="en-US" altLang="en-US" sz="900" b="1" smtClean="0"/>
              <a:pPr algn="r" defTabSz="685800">
                <a:lnSpc>
                  <a:spcPct val="90000"/>
                </a:lnSpc>
                <a:spcBef>
                  <a:spcPct val="0"/>
                </a:spcBef>
                <a:buSzPct val="100000"/>
                <a:buFont typeface="+mn-lt" pitchFamily="34" charset="0"/>
              </a:pPr>
              <a:t>-2%</a:t>
            </a:fld>
            <a:endParaRPr lang="en-US" sz="900" b="1">
              <a:sym typeface="Arial" panose="020B0604020202020204" pitchFamily="34" charset="0"/>
            </a:endParaRPr>
          </a:p>
        </p:txBody>
      </p:sp>
      <p:sp>
        <p:nvSpPr>
          <p:cNvPr id="9" name="Text Placeholder">
            <a:extLst>
              <a:ext uri="{FF2B5EF4-FFF2-40B4-BE49-F238E27FC236}">
                <a16:creationId xmlns:a16="http://schemas.microsoft.com/office/drawing/2014/main" id="{A4665F28-74F0-6519-CF0E-E8CBB5CE97A2}"/>
              </a:ext>
            </a:extLst>
          </p:cNvPr>
          <p:cNvSpPr>
            <a:spLocks noGrp="1"/>
          </p:cNvSpPr>
          <p:nvPr>
            <p:custDataLst>
              <p:tags r:id="rId3"/>
            </p:custDataLst>
          </p:nvPr>
        </p:nvSpPr>
        <p:spPr bwMode="gray">
          <a:xfrm>
            <a:off x="2041526" y="2894013"/>
            <a:ext cx="23812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r" defTabSz="685800">
              <a:lnSpc>
                <a:spcPct val="90000"/>
              </a:lnSpc>
              <a:spcBef>
                <a:spcPct val="0"/>
              </a:spcBef>
              <a:buSzPct val="100000"/>
              <a:buFont typeface="+mn-lt" pitchFamily="34" charset="0"/>
            </a:pPr>
            <a:fld id="{A973AA17-5BC8-48C8-AE77-36D58C2DF749}" type="datetime'''''''-''''''''''''''7''''''''''''''''''''''''%'''">
              <a:rPr lang="en-US" altLang="en-US" sz="900" b="1" smtClean="0">
                <a:sym typeface="Arial" panose="020B0604020202020204" pitchFamily="34" charset="0"/>
              </a:rPr>
              <a:pPr algn="r" defTabSz="685800">
                <a:lnSpc>
                  <a:spcPct val="90000"/>
                </a:lnSpc>
                <a:spcBef>
                  <a:spcPct val="0"/>
                </a:spcBef>
                <a:buSzPct val="100000"/>
                <a:buFont typeface="+mn-lt" pitchFamily="34" charset="0"/>
              </a:pPr>
              <a:t>-7%</a:t>
            </a:fld>
            <a:endParaRPr lang="en-US" sz="900" b="1">
              <a:sym typeface="Arial" panose="020B0604020202020204" pitchFamily="34" charset="0"/>
            </a:endParaRPr>
          </a:p>
        </p:txBody>
      </p:sp>
      <p:sp>
        <p:nvSpPr>
          <p:cNvPr id="10" name="Text Placeholder">
            <a:extLst>
              <a:ext uri="{FF2B5EF4-FFF2-40B4-BE49-F238E27FC236}">
                <a16:creationId xmlns:a16="http://schemas.microsoft.com/office/drawing/2014/main" id="{0DA51D0D-65E9-4F31-9F01-3BB64959783B}"/>
              </a:ext>
            </a:extLst>
          </p:cNvPr>
          <p:cNvSpPr>
            <a:spLocks noGrp="1"/>
          </p:cNvSpPr>
          <p:nvPr>
            <p:custDataLst>
              <p:tags r:id="rId4"/>
            </p:custDataLst>
          </p:nvPr>
        </p:nvSpPr>
        <p:spPr bwMode="gray">
          <a:xfrm>
            <a:off x="1562101" y="3543300"/>
            <a:ext cx="30162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r" defTabSz="685800">
              <a:lnSpc>
                <a:spcPct val="90000"/>
              </a:lnSpc>
              <a:spcBef>
                <a:spcPct val="0"/>
              </a:spcBef>
              <a:buSzPct val="100000"/>
              <a:buFont typeface="+mn-lt" pitchFamily="34" charset="0"/>
            </a:pPr>
            <a:fld id="{23242687-A350-46FA-A944-19EC198CDD31}" type="datetime'''''''-''''''''''''''''''''''''14''%'''''''''''''''''''">
              <a:rPr lang="en-US" altLang="en-US" sz="900" b="1" smtClean="0">
                <a:sym typeface="Arial" panose="020B0604020202020204" pitchFamily="34" charset="0"/>
              </a:rPr>
              <a:pPr algn="r" defTabSz="685800">
                <a:lnSpc>
                  <a:spcPct val="90000"/>
                </a:lnSpc>
                <a:spcBef>
                  <a:spcPct val="0"/>
                </a:spcBef>
                <a:buSzPct val="100000"/>
                <a:buFont typeface="+mn-lt" pitchFamily="34" charset="0"/>
              </a:pPr>
              <a:t>-14%</a:t>
            </a:fld>
            <a:endParaRPr lang="en-US" sz="900" b="1">
              <a:sym typeface="Arial" panose="020B0604020202020204" pitchFamily="34" charset="0"/>
            </a:endParaRPr>
          </a:p>
        </p:txBody>
      </p:sp>
      <p:sp>
        <p:nvSpPr>
          <p:cNvPr id="11" name="Text Placeholder">
            <a:extLst>
              <a:ext uri="{FF2B5EF4-FFF2-40B4-BE49-F238E27FC236}">
                <a16:creationId xmlns:a16="http://schemas.microsoft.com/office/drawing/2014/main" id="{7B6F1AC7-B8A8-1BA3-829B-890DB50553CC}"/>
              </a:ext>
            </a:extLst>
          </p:cNvPr>
          <p:cNvSpPr>
            <a:spLocks noGrp="1"/>
          </p:cNvSpPr>
          <p:nvPr>
            <p:custDataLst>
              <p:tags r:id="rId5"/>
            </p:custDataLst>
          </p:nvPr>
        </p:nvSpPr>
        <p:spPr bwMode="gray">
          <a:xfrm>
            <a:off x="3646489" y="4191000"/>
            <a:ext cx="26352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lnSpc>
                <a:spcPct val="90000"/>
              </a:lnSpc>
              <a:spcBef>
                <a:spcPct val="0"/>
              </a:spcBef>
              <a:buSzPct val="100000"/>
              <a:buFont typeface="+mn-lt" pitchFamily="34" charset="0"/>
            </a:pPr>
            <a:fld id="{140FD663-0022-4934-85B4-81D3961A37B5}" type="datetime'''''''''''1''6''''%'''''''''''''''''''''">
              <a:rPr lang="en-US" altLang="en-US" sz="900" b="1" smtClean="0">
                <a:sym typeface="Arial" panose="020B0604020202020204" pitchFamily="34" charset="0"/>
              </a:rPr>
              <a:pPr defTabSz="685800">
                <a:lnSpc>
                  <a:spcPct val="90000"/>
                </a:lnSpc>
                <a:spcBef>
                  <a:spcPct val="0"/>
                </a:spcBef>
                <a:buSzPct val="100000"/>
                <a:buFont typeface="+mn-lt" pitchFamily="34" charset="0"/>
              </a:pPr>
              <a:t>16%</a:t>
            </a:fld>
            <a:endParaRPr lang="en-US" sz="900" b="1">
              <a:sym typeface="Arial" panose="020B0604020202020204" pitchFamily="34" charset="0"/>
            </a:endParaRPr>
          </a:p>
        </p:txBody>
      </p:sp>
      <p:graphicFrame>
        <p:nvGraphicFramePr>
          <p:cNvPr id="12" name="Chart 4">
            <a:extLst>
              <a:ext uri="{FF2B5EF4-FFF2-40B4-BE49-F238E27FC236}">
                <a16:creationId xmlns:a16="http://schemas.microsoft.com/office/drawing/2014/main" id="{E59C5738-A00A-DE9F-BF60-C27FD8619B82}"/>
              </a:ext>
            </a:extLst>
          </p:cNvPr>
          <p:cNvGraphicFramePr/>
          <p:nvPr>
            <p:custDataLst>
              <p:tags r:id="rId6"/>
            </p:custDataLst>
            <p:extLst>
              <p:ext uri="{D42A27DB-BD31-4B8C-83A1-F6EECF244321}">
                <p14:modId xmlns:p14="http://schemas.microsoft.com/office/powerpoint/2010/main" val="3500947913"/>
              </p:ext>
            </p:extLst>
          </p:nvPr>
        </p:nvGraphicFramePr>
        <p:xfrm>
          <a:off x="4308476" y="1779588"/>
          <a:ext cx="2106613" cy="3001962"/>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3" name="Chart 5">
            <a:extLst>
              <a:ext uri="{FF2B5EF4-FFF2-40B4-BE49-F238E27FC236}">
                <a16:creationId xmlns:a16="http://schemas.microsoft.com/office/drawing/2014/main" id="{E830D362-8641-F7B9-6845-D5A82ACE7A9D}"/>
              </a:ext>
            </a:extLst>
          </p:cNvPr>
          <p:cNvGraphicFramePr/>
          <p:nvPr>
            <p:custDataLst>
              <p:tags r:id="rId7"/>
            </p:custDataLst>
            <p:extLst>
              <p:ext uri="{D42A27DB-BD31-4B8C-83A1-F6EECF244321}">
                <p14:modId xmlns:p14="http://schemas.microsoft.com/office/powerpoint/2010/main" val="1638523689"/>
              </p:ext>
            </p:extLst>
          </p:nvPr>
        </p:nvGraphicFramePr>
        <p:xfrm>
          <a:off x="6811964" y="1901825"/>
          <a:ext cx="1897062" cy="2757488"/>
        </p:xfrm>
        <a:graphic>
          <a:graphicData uri="http://schemas.openxmlformats.org/drawingml/2006/chart">
            <c:chart xmlns:c="http://schemas.openxmlformats.org/drawingml/2006/chart" xmlns:r="http://schemas.openxmlformats.org/officeDocument/2006/relationships" r:id="rId15"/>
          </a:graphicData>
        </a:graphic>
      </p:graphicFrame>
      <p:sp>
        <p:nvSpPr>
          <p:cNvPr id="14" name="Text Placeholder">
            <a:extLst>
              <a:ext uri="{FF2B5EF4-FFF2-40B4-BE49-F238E27FC236}">
                <a16:creationId xmlns:a16="http://schemas.microsoft.com/office/drawing/2014/main" id="{52E428FF-E994-7F5F-C7F6-A80C7E8896BF}"/>
              </a:ext>
            </a:extLst>
          </p:cNvPr>
          <p:cNvSpPr>
            <a:spLocks noGrp="1"/>
          </p:cNvSpPr>
          <p:nvPr>
            <p:custDataLst>
              <p:tags r:id="rId8"/>
            </p:custDataLst>
          </p:nvPr>
        </p:nvSpPr>
        <p:spPr bwMode="gray">
          <a:xfrm>
            <a:off x="7939089" y="2246313"/>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lnSpc>
                <a:spcPct val="90000"/>
              </a:lnSpc>
              <a:spcBef>
                <a:spcPct val="0"/>
              </a:spcBef>
              <a:buSzPct val="100000"/>
              <a:buFont typeface="+mn-lt" pitchFamily="34" charset="0"/>
            </a:pPr>
            <a:fld id="{8D964466-1CA3-4CC3-88DA-6841856FED9C}" type="datetime'''3.''''''''8''''''''''''%'''">
              <a:rPr lang="en-US" altLang="en-US" sz="900" b="1" smtClean="0">
                <a:sym typeface="Arial" panose="020B0604020202020204" pitchFamily="34" charset="0"/>
              </a:rPr>
              <a:pPr defTabSz="685800">
                <a:lnSpc>
                  <a:spcPct val="90000"/>
                </a:lnSpc>
                <a:spcBef>
                  <a:spcPct val="0"/>
                </a:spcBef>
                <a:buSzPct val="100000"/>
                <a:buFont typeface="+mn-lt" pitchFamily="34" charset="0"/>
              </a:pPr>
              <a:t>3.8%</a:t>
            </a:fld>
            <a:endParaRPr lang="en-US" sz="900" b="1">
              <a:sym typeface="Arial" panose="020B0604020202020204" pitchFamily="34" charset="0"/>
            </a:endParaRPr>
          </a:p>
        </p:txBody>
      </p:sp>
      <p:sp>
        <p:nvSpPr>
          <p:cNvPr id="15" name="Text Placeholder">
            <a:extLst>
              <a:ext uri="{FF2B5EF4-FFF2-40B4-BE49-F238E27FC236}">
                <a16:creationId xmlns:a16="http://schemas.microsoft.com/office/drawing/2014/main" id="{EB7B41C3-3D37-8265-3643-BBC274DAA550}"/>
              </a:ext>
            </a:extLst>
          </p:cNvPr>
          <p:cNvSpPr>
            <a:spLocks noGrp="1"/>
          </p:cNvSpPr>
          <p:nvPr>
            <p:custDataLst>
              <p:tags r:id="rId9"/>
            </p:custDataLst>
          </p:nvPr>
        </p:nvSpPr>
        <p:spPr bwMode="gray">
          <a:xfrm>
            <a:off x="7921626" y="2894013"/>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lnSpc>
                <a:spcPct val="90000"/>
              </a:lnSpc>
              <a:spcBef>
                <a:spcPct val="0"/>
              </a:spcBef>
              <a:buSzPct val="100000"/>
              <a:buFont typeface="+mn-lt" pitchFamily="34" charset="0"/>
            </a:pPr>
            <a:fld id="{464A7C61-45F1-4FC7-B60A-870BF2A2DEAC}" type="datetime'''''''''3''.''5''''''''''''''%'''''''''''''''">
              <a:rPr lang="en-US" altLang="en-US" sz="900" b="1" smtClean="0">
                <a:sym typeface="Arial" panose="020B0604020202020204" pitchFamily="34" charset="0"/>
              </a:rPr>
              <a:pPr defTabSz="685800">
                <a:lnSpc>
                  <a:spcPct val="90000"/>
                </a:lnSpc>
                <a:spcBef>
                  <a:spcPct val="0"/>
                </a:spcBef>
                <a:buSzPct val="100000"/>
                <a:buFont typeface="+mn-lt" pitchFamily="34" charset="0"/>
              </a:pPr>
              <a:t>3.5%</a:t>
            </a:fld>
            <a:endParaRPr lang="en-US" sz="900" b="1">
              <a:sym typeface="Arial" panose="020B0604020202020204" pitchFamily="34" charset="0"/>
            </a:endParaRPr>
          </a:p>
        </p:txBody>
      </p:sp>
      <p:sp>
        <p:nvSpPr>
          <p:cNvPr id="16" name="Text Placeholder">
            <a:extLst>
              <a:ext uri="{FF2B5EF4-FFF2-40B4-BE49-F238E27FC236}">
                <a16:creationId xmlns:a16="http://schemas.microsoft.com/office/drawing/2014/main" id="{3EFA3B45-928F-FC79-51C9-0F07933E3C84}"/>
              </a:ext>
            </a:extLst>
          </p:cNvPr>
          <p:cNvSpPr>
            <a:spLocks noGrp="1"/>
          </p:cNvSpPr>
          <p:nvPr>
            <p:custDataLst>
              <p:tags r:id="rId10"/>
            </p:custDataLst>
          </p:nvPr>
        </p:nvSpPr>
        <p:spPr bwMode="gray">
          <a:xfrm>
            <a:off x="7820026" y="3543300"/>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lnSpc>
                <a:spcPct val="90000"/>
              </a:lnSpc>
              <a:spcBef>
                <a:spcPct val="0"/>
              </a:spcBef>
              <a:buSzPct val="100000"/>
              <a:buFont typeface="+mn-lt" pitchFamily="34" charset="0"/>
            </a:pPr>
            <a:fld id="{6C31E3C7-2513-46EF-939A-F1760D70C4F3}" type="datetime'''''''1''''''''''''''''.''''7''%'''''''''''''">
              <a:rPr lang="en-US" altLang="en-US" sz="900" b="1" smtClean="0">
                <a:sym typeface="Arial" panose="020B0604020202020204" pitchFamily="34" charset="0"/>
              </a:rPr>
              <a:pPr defTabSz="685800">
                <a:lnSpc>
                  <a:spcPct val="90000"/>
                </a:lnSpc>
                <a:spcBef>
                  <a:spcPct val="0"/>
                </a:spcBef>
                <a:buSzPct val="100000"/>
                <a:buFont typeface="+mn-lt" pitchFamily="34" charset="0"/>
              </a:pPr>
              <a:t>1.7%</a:t>
            </a:fld>
            <a:endParaRPr lang="en-US" sz="900" b="1">
              <a:sym typeface="Arial" panose="020B0604020202020204" pitchFamily="34" charset="0"/>
            </a:endParaRPr>
          </a:p>
        </p:txBody>
      </p:sp>
      <p:sp>
        <p:nvSpPr>
          <p:cNvPr id="17" name="Text Placeholder">
            <a:extLst>
              <a:ext uri="{FF2B5EF4-FFF2-40B4-BE49-F238E27FC236}">
                <a16:creationId xmlns:a16="http://schemas.microsoft.com/office/drawing/2014/main" id="{57315B8E-897F-79EA-BD26-D189428C7BE5}"/>
              </a:ext>
            </a:extLst>
          </p:cNvPr>
          <p:cNvSpPr>
            <a:spLocks noGrp="1"/>
          </p:cNvSpPr>
          <p:nvPr>
            <p:custDataLst>
              <p:tags r:id="rId11"/>
            </p:custDataLst>
          </p:nvPr>
        </p:nvSpPr>
        <p:spPr bwMode="gray">
          <a:xfrm>
            <a:off x="7927976" y="4191000"/>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860" tIns="0" rIns="1786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lnSpc>
                <a:spcPct val="90000"/>
              </a:lnSpc>
              <a:spcBef>
                <a:spcPct val="0"/>
              </a:spcBef>
              <a:buSzPct val="100000"/>
              <a:buFont typeface="+mn-lt" pitchFamily="34" charset="0"/>
            </a:pPr>
            <a:fld id="{FACD11F9-93CB-4A56-BD58-E18748334DB8}" type="datetime'''''''''''''''''''''''3''''''.6''''''''''''''''%'''''">
              <a:rPr lang="en-US" altLang="en-US" sz="900" b="1" smtClean="0">
                <a:sym typeface="Arial" panose="020B0604020202020204" pitchFamily="34" charset="0"/>
              </a:rPr>
              <a:pPr defTabSz="685800">
                <a:lnSpc>
                  <a:spcPct val="90000"/>
                </a:lnSpc>
                <a:spcBef>
                  <a:spcPct val="0"/>
                </a:spcBef>
                <a:buSzPct val="100000"/>
                <a:buFont typeface="+mn-lt" pitchFamily="34" charset="0"/>
              </a:pPr>
              <a:t>3.6%</a:t>
            </a:fld>
            <a:endParaRPr lang="en-US" sz="900" b="1">
              <a:sym typeface="Arial" panose="020B0604020202020204" pitchFamily="34" charset="0"/>
            </a:endParaRPr>
          </a:p>
        </p:txBody>
      </p:sp>
      <p:sp>
        <p:nvSpPr>
          <p:cNvPr id="18" name="TextBox 42">
            <a:extLst>
              <a:ext uri="{FF2B5EF4-FFF2-40B4-BE49-F238E27FC236}">
                <a16:creationId xmlns:a16="http://schemas.microsoft.com/office/drawing/2014/main" id="{7576FA57-361F-B975-6068-2E757F23E074}"/>
              </a:ext>
            </a:extLst>
          </p:cNvPr>
          <p:cNvSpPr txBox="1"/>
          <p:nvPr/>
        </p:nvSpPr>
        <p:spPr>
          <a:xfrm>
            <a:off x="259380" y="3535363"/>
            <a:ext cx="849331" cy="160338"/>
          </a:xfrm>
          <a:prstGeom prst="rect">
            <a:avLst/>
          </a:prstGeom>
          <a:noFill/>
          <a:ln w="9525">
            <a:noFill/>
          </a:ln>
        </p:spPr>
        <p:txBody>
          <a:bodyPr vert="horz" wrap="square" lIns="0" tIns="0" rIns="0" bIns="0" rtlCol="0">
            <a:spAutoFit/>
          </a:bodyPr>
          <a:lstStyle/>
          <a:p>
            <a:pPr>
              <a:spcBef>
                <a:spcPts val="300"/>
              </a:spcBef>
              <a:buSzPct val="100000"/>
              <a:buFont typeface=""/>
            </a:pPr>
            <a:r>
              <a:rPr lang="en-US" sz="1050" b="1">
                <a:solidFill>
                  <a:schemeClr val="accent3"/>
                </a:solidFill>
                <a:sym typeface="+mn-lt"/>
              </a:rPr>
              <a:t>Small-sized</a:t>
            </a:r>
          </a:p>
        </p:txBody>
      </p:sp>
      <p:sp>
        <p:nvSpPr>
          <p:cNvPr id="19" name="TextBox 43">
            <a:extLst>
              <a:ext uri="{FF2B5EF4-FFF2-40B4-BE49-F238E27FC236}">
                <a16:creationId xmlns:a16="http://schemas.microsoft.com/office/drawing/2014/main" id="{F7145961-3B75-ABB7-77B7-6B01627C6C9E}"/>
              </a:ext>
            </a:extLst>
          </p:cNvPr>
          <p:cNvSpPr txBox="1"/>
          <p:nvPr/>
        </p:nvSpPr>
        <p:spPr>
          <a:xfrm>
            <a:off x="259380" y="2235200"/>
            <a:ext cx="849331" cy="161925"/>
          </a:xfrm>
          <a:prstGeom prst="rect">
            <a:avLst/>
          </a:prstGeom>
          <a:noFill/>
          <a:ln w="9525">
            <a:noFill/>
          </a:ln>
        </p:spPr>
        <p:txBody>
          <a:bodyPr vert="horz" wrap="square" lIns="0" tIns="0" rIns="0" bIns="0" rtlCol="0">
            <a:spAutoFit/>
          </a:bodyPr>
          <a:lstStyle/>
          <a:p>
            <a:pPr>
              <a:spcBef>
                <a:spcPts val="300"/>
              </a:spcBef>
              <a:buSzPct val="100000"/>
              <a:buFont typeface=""/>
            </a:pPr>
            <a:r>
              <a:rPr lang="en-US" sz="1050" b="1">
                <a:solidFill>
                  <a:schemeClr val="accent5"/>
                </a:solidFill>
                <a:sym typeface="+mn-lt"/>
              </a:rPr>
              <a:t>Large-sized</a:t>
            </a:r>
          </a:p>
        </p:txBody>
      </p:sp>
      <p:sp>
        <p:nvSpPr>
          <p:cNvPr id="20" name="TextBox 44">
            <a:extLst>
              <a:ext uri="{FF2B5EF4-FFF2-40B4-BE49-F238E27FC236}">
                <a16:creationId xmlns:a16="http://schemas.microsoft.com/office/drawing/2014/main" id="{1D240571-1752-CF77-D07F-E513F7A5FD1C}"/>
              </a:ext>
            </a:extLst>
          </p:cNvPr>
          <p:cNvSpPr txBox="1"/>
          <p:nvPr/>
        </p:nvSpPr>
        <p:spPr>
          <a:xfrm>
            <a:off x="259380" y="2859088"/>
            <a:ext cx="849331" cy="161925"/>
          </a:xfrm>
          <a:prstGeom prst="rect">
            <a:avLst/>
          </a:prstGeom>
          <a:noFill/>
          <a:ln w="9525">
            <a:noFill/>
          </a:ln>
        </p:spPr>
        <p:txBody>
          <a:bodyPr vert="horz" wrap="square" lIns="0" tIns="0" rIns="0" bIns="0" rtlCol="0">
            <a:spAutoFit/>
          </a:bodyPr>
          <a:lstStyle/>
          <a:p>
            <a:pPr>
              <a:spcBef>
                <a:spcPts val="300"/>
              </a:spcBef>
              <a:buSzPct val="100000"/>
              <a:buFont typeface=""/>
            </a:pPr>
            <a:r>
              <a:rPr lang="en-US" sz="1050" b="1">
                <a:solidFill>
                  <a:schemeClr val="accent4"/>
                </a:solidFill>
                <a:sym typeface="+mn-lt"/>
              </a:rPr>
              <a:t>Mid-sized</a:t>
            </a:r>
          </a:p>
        </p:txBody>
      </p:sp>
      <p:sp>
        <p:nvSpPr>
          <p:cNvPr id="21" name="TextBox 51">
            <a:extLst>
              <a:ext uri="{FF2B5EF4-FFF2-40B4-BE49-F238E27FC236}">
                <a16:creationId xmlns:a16="http://schemas.microsoft.com/office/drawing/2014/main" id="{2B88AED1-E310-35C3-2D1B-0AAD03339878}"/>
              </a:ext>
            </a:extLst>
          </p:cNvPr>
          <p:cNvSpPr txBox="1"/>
          <p:nvPr/>
        </p:nvSpPr>
        <p:spPr>
          <a:xfrm>
            <a:off x="259380" y="4084637"/>
            <a:ext cx="849331" cy="323850"/>
          </a:xfrm>
          <a:prstGeom prst="rect">
            <a:avLst/>
          </a:prstGeom>
          <a:noFill/>
          <a:ln w="9525">
            <a:noFill/>
          </a:ln>
        </p:spPr>
        <p:txBody>
          <a:bodyPr vert="horz" wrap="square" lIns="0" tIns="0" rIns="0" bIns="0" rtlCol="0">
            <a:spAutoFit/>
          </a:bodyPr>
          <a:lstStyle/>
          <a:p>
            <a:pPr>
              <a:spcBef>
                <a:spcPts val="300"/>
              </a:spcBef>
              <a:buSzPct val="100000"/>
              <a:buFont typeface=""/>
            </a:pPr>
            <a:r>
              <a:rPr lang="en-US" sz="1050" b="1">
                <a:solidFill>
                  <a:schemeClr val="tx2"/>
                </a:solidFill>
                <a:sym typeface="+mn-lt"/>
              </a:rPr>
              <a:t>Asian players</a:t>
            </a:r>
          </a:p>
        </p:txBody>
      </p:sp>
      <p:sp>
        <p:nvSpPr>
          <p:cNvPr id="22" name="Notes">
            <a:extLst>
              <a:ext uri="{FF2B5EF4-FFF2-40B4-BE49-F238E27FC236}">
                <a16:creationId xmlns:a16="http://schemas.microsoft.com/office/drawing/2014/main" id="{BA83A799-0867-50DD-300A-D13949D4B1B6}"/>
              </a:ext>
            </a:extLst>
          </p:cNvPr>
          <p:cNvSpPr txBox="1">
            <a:spLocks/>
          </p:cNvSpPr>
          <p:nvPr/>
        </p:nvSpPr>
        <p:spPr>
          <a:xfrm>
            <a:off x="4449147" y="512895"/>
            <a:ext cx="4356962" cy="92333"/>
          </a:xfrm>
          <a:prstGeom prst="rect">
            <a:avLst/>
          </a:prstGeom>
          <a:noFill/>
          <a:ln w="9525">
            <a:noFill/>
          </a:ln>
        </p:spPr>
        <p:txBody>
          <a:bodyPr vert="horz" wrap="none" lIns="0" tIns="0" rIns="0" bIns="0" rtlCol="0" anchor="b" anchorCtr="0">
            <a:spAutoFit/>
          </a:bodyPr>
          <a:lstStyle>
            <a:defPPr>
              <a:defRPr lang="en-EN"/>
            </a:defPPr>
            <a:lvl1pPr lvl="0">
              <a:lnSpc>
                <a:spcPct val="100000"/>
              </a:lnSpc>
              <a:spcBef>
                <a:spcPts val="0"/>
              </a:spcBef>
              <a:spcAft>
                <a:spcPts val="0"/>
              </a:spcAft>
              <a:buSzPct val="100000"/>
              <a:defRPr sz="800" b="0">
                <a:solidFill>
                  <a:schemeClr val="tx2"/>
                </a:solidFill>
                <a:latin typeface="+mn-lt"/>
              </a:defRPr>
            </a:lvl1pPr>
          </a:lstStyle>
          <a:p>
            <a:r>
              <a:rPr lang="en-US" sz="600" dirty="0">
                <a:sym typeface="+mn-lt"/>
              </a:rPr>
              <a:t>1) Large-sized: revenues &gt; USD 1 bn, Mid-sized: revenues between USD 100 m and USD 1 bn, Small-sized: revenues &lt; 100 m</a:t>
            </a:r>
          </a:p>
        </p:txBody>
      </p:sp>
      <p:grpSp>
        <p:nvGrpSpPr>
          <p:cNvPr id="23" name="Gruppieren 27">
            <a:extLst>
              <a:ext uri="{FF2B5EF4-FFF2-40B4-BE49-F238E27FC236}">
                <a16:creationId xmlns:a16="http://schemas.microsoft.com/office/drawing/2014/main" id="{7C60D383-DE5D-3F41-12F5-0CECA34BABB6}"/>
              </a:ext>
            </a:extLst>
          </p:cNvPr>
          <p:cNvGrpSpPr/>
          <p:nvPr/>
        </p:nvGrpSpPr>
        <p:grpSpPr>
          <a:xfrm>
            <a:off x="250825" y="20172"/>
            <a:ext cx="2601506" cy="216000"/>
            <a:chOff x="250825" y="959449"/>
            <a:chExt cx="2601506" cy="216000"/>
          </a:xfrm>
        </p:grpSpPr>
        <p:sp>
          <p:nvSpPr>
            <p:cNvPr id="24" name="RbNavigator">
              <a:extLst>
                <a:ext uri="{FF2B5EF4-FFF2-40B4-BE49-F238E27FC236}">
                  <a16:creationId xmlns:a16="http://schemas.microsoft.com/office/drawing/2014/main" id="{37932401-89D5-EB85-04E4-691D8A3E98B2}"/>
                </a:ext>
              </a:extLst>
            </p:cNvPr>
            <p:cNvSpPr txBox="1">
              <a:spLocks/>
            </p:cNvSpPr>
            <p:nvPr/>
          </p:nvSpPr>
          <p:spPr>
            <a:xfrm>
              <a:off x="250825" y="959449"/>
              <a:ext cx="216000" cy="216000"/>
            </a:xfrm>
            <a:prstGeom prst="ellipse">
              <a:avLst/>
            </a:prstGeom>
            <a:solidFill>
              <a:schemeClr val="tx1"/>
            </a:solidFill>
            <a:ln w="6350">
              <a:noFill/>
            </a:ln>
          </p:spPr>
          <p:txBody>
            <a:bodyPr vert="horz" wrap="none" lIns="0" tIns="0" rIns="0" bIns="0" rtlCol="0" anchor="ctr">
              <a:noAutofit/>
            </a:bodyPr>
            <a:lstStyle>
              <a:defPPr>
                <a:defRPr lang="en-EN"/>
              </a:defPPr>
              <a:lvl1pPr algn="ctr">
                <a:lnSpc>
                  <a:spcPct val="100000"/>
                </a:lnSpc>
                <a:spcBef>
                  <a:spcPts val="0"/>
                </a:spcBef>
                <a:spcAft>
                  <a:spcPts val="0"/>
                </a:spcAft>
                <a:buClr>
                  <a:srgbClr val="000000"/>
                </a:buClr>
                <a:buSzPct val="100000"/>
                <a:defRPr kumimoji="1" sz="900">
                  <a:solidFill>
                    <a:schemeClr val="bg1"/>
                  </a:solidFill>
                  <a:latin typeface="+mn-lt"/>
                </a:defRPr>
              </a:lvl1pPr>
            </a:lstStyle>
            <a:p>
              <a:r>
                <a:rPr lang="en-US" sz="900">
                  <a:latin typeface="+mn-lt"/>
                  <a:ea typeface="+mn-ea"/>
                  <a:cs typeface="+mn-cs"/>
                  <a:sym typeface="+mn-lt"/>
                </a:rPr>
                <a:t>1</a:t>
              </a:r>
            </a:p>
          </p:txBody>
        </p:sp>
        <p:sp>
          <p:nvSpPr>
            <p:cNvPr id="25" name="RbSticker">
              <a:extLst>
                <a:ext uri="{FF2B5EF4-FFF2-40B4-BE49-F238E27FC236}">
                  <a16:creationId xmlns:a16="http://schemas.microsoft.com/office/drawing/2014/main" id="{F4AFC748-4B92-588C-ED99-30455590578A}"/>
                </a:ext>
              </a:extLst>
            </p:cNvPr>
            <p:cNvSpPr txBox="1">
              <a:spLocks/>
            </p:cNvSpPr>
            <p:nvPr/>
          </p:nvSpPr>
          <p:spPr>
            <a:xfrm>
              <a:off x="548331" y="998200"/>
              <a:ext cx="2304000" cy="13849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defPPr>
                <a:defRPr lang="en-EN"/>
              </a:defPPr>
              <a:lvl1pPr>
                <a:lnSpc>
                  <a:spcPct val="100000"/>
                </a:lnSpc>
                <a:spcBef>
                  <a:spcPts val="0"/>
                </a:spcBef>
                <a:spcAft>
                  <a:spcPts val="0"/>
                </a:spcAft>
                <a:buClr>
                  <a:srgbClr val="000000"/>
                </a:buClr>
                <a:buSzPct val="100000"/>
                <a:defRPr sz="900">
                  <a:latin typeface="+mn-lt"/>
                </a:defRPr>
              </a:lvl1pPr>
            </a:lstStyle>
            <a:p>
              <a:r>
                <a:rPr lang="en-US" sz="900" b="1"/>
                <a:t>Size matters</a:t>
              </a:r>
            </a:p>
          </p:txBody>
        </p:sp>
      </p:grpSp>
      <p:grpSp>
        <p:nvGrpSpPr>
          <p:cNvPr id="26" name="Gruppieren 74">
            <a:extLst>
              <a:ext uri="{FF2B5EF4-FFF2-40B4-BE49-F238E27FC236}">
                <a16:creationId xmlns:a16="http://schemas.microsoft.com/office/drawing/2014/main" id="{48DA221E-1666-7425-6709-6252FF7B7FDB}"/>
              </a:ext>
            </a:extLst>
          </p:cNvPr>
          <p:cNvGrpSpPr/>
          <p:nvPr/>
        </p:nvGrpSpPr>
        <p:grpSpPr>
          <a:xfrm>
            <a:off x="6627628" y="1499649"/>
            <a:ext cx="2265547" cy="423065"/>
            <a:chOff x="6627627" y="1018385"/>
            <a:chExt cx="2265547" cy="423065"/>
          </a:xfrm>
        </p:grpSpPr>
        <p:cxnSp>
          <p:nvCxnSpPr>
            <p:cNvPr id="27" name="HorizontalLine7">
              <a:extLst>
                <a:ext uri="{FF2B5EF4-FFF2-40B4-BE49-F238E27FC236}">
                  <a16:creationId xmlns:a16="http://schemas.microsoft.com/office/drawing/2014/main" id="{CD00C18E-97A2-6C14-CBB8-73D9BBE70295}"/>
                </a:ext>
              </a:extLst>
            </p:cNvPr>
            <p:cNvCxnSpPr>
              <a:cxnSpLocks/>
            </p:cNvCxnSpPr>
            <p:nvPr/>
          </p:nvCxnSpPr>
          <p:spPr>
            <a:xfrm>
              <a:off x="6627627" y="1441450"/>
              <a:ext cx="2265547"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itle66">
              <a:extLst>
                <a:ext uri="{FF2B5EF4-FFF2-40B4-BE49-F238E27FC236}">
                  <a16:creationId xmlns:a16="http://schemas.microsoft.com/office/drawing/2014/main" id="{1F9D678C-F594-3ABD-1A67-84B9D6175596}"/>
                </a:ext>
              </a:extLst>
            </p:cNvPr>
            <p:cNvSpPr txBox="1">
              <a:spLocks/>
            </p:cNvSpPr>
            <p:nvPr/>
          </p:nvSpPr>
          <p:spPr>
            <a:xfrm>
              <a:off x="6627627" y="1018385"/>
              <a:ext cx="2265547" cy="423065"/>
            </a:xfrm>
            <a:prstGeom prst="rect">
              <a:avLst/>
            </a:prstGeom>
            <a:noFill/>
            <a:ln w="9525">
              <a:noFill/>
            </a:ln>
          </p:spPr>
          <p:txBody>
            <a:bodyPr vert="horz" wrap="square" lIns="0" tIns="0" rIns="0" bIns="53213" rtlCol="0" anchor="b">
              <a:spAutoFit/>
            </a:bodyPr>
            <a:lstStyle/>
            <a:p>
              <a:pPr>
                <a:buSzPct val="100000"/>
                <a:buFont typeface=""/>
              </a:pPr>
              <a:r>
                <a:rPr lang="en-US" sz="1200" b="1">
                  <a:sym typeface="+mn-lt"/>
                </a:rPr>
                <a:t>Average Capex to Revenues</a:t>
              </a:r>
              <a:br>
                <a:rPr lang="en-US" sz="1200" b="1">
                  <a:sym typeface="+mn-lt"/>
                </a:rPr>
              </a:br>
              <a:r>
                <a:rPr lang="en-US" sz="1200">
                  <a:sym typeface="+mn-lt"/>
                </a:rPr>
                <a:t>[2019-'22; %]</a:t>
              </a:r>
            </a:p>
          </p:txBody>
        </p:sp>
      </p:grpSp>
      <p:grpSp>
        <p:nvGrpSpPr>
          <p:cNvPr id="29" name="Gruppieren 75">
            <a:extLst>
              <a:ext uri="{FF2B5EF4-FFF2-40B4-BE49-F238E27FC236}">
                <a16:creationId xmlns:a16="http://schemas.microsoft.com/office/drawing/2014/main" id="{0874CE10-47F0-8B13-3522-26D26D3B44BC}"/>
              </a:ext>
            </a:extLst>
          </p:cNvPr>
          <p:cNvGrpSpPr/>
          <p:nvPr/>
        </p:nvGrpSpPr>
        <p:grpSpPr>
          <a:xfrm>
            <a:off x="4125027" y="1499649"/>
            <a:ext cx="2265547" cy="423065"/>
            <a:chOff x="6627627" y="1018385"/>
            <a:chExt cx="2265547" cy="423065"/>
          </a:xfrm>
        </p:grpSpPr>
        <p:cxnSp>
          <p:nvCxnSpPr>
            <p:cNvPr id="30" name="HorizontalLine7">
              <a:extLst>
                <a:ext uri="{FF2B5EF4-FFF2-40B4-BE49-F238E27FC236}">
                  <a16:creationId xmlns:a16="http://schemas.microsoft.com/office/drawing/2014/main" id="{C87F6777-EFA4-0894-9984-91974A322AB7}"/>
                </a:ext>
              </a:extLst>
            </p:cNvPr>
            <p:cNvCxnSpPr>
              <a:cxnSpLocks/>
            </p:cNvCxnSpPr>
            <p:nvPr/>
          </p:nvCxnSpPr>
          <p:spPr>
            <a:xfrm>
              <a:off x="6627627" y="1441450"/>
              <a:ext cx="2265547"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Title66">
              <a:extLst>
                <a:ext uri="{FF2B5EF4-FFF2-40B4-BE49-F238E27FC236}">
                  <a16:creationId xmlns:a16="http://schemas.microsoft.com/office/drawing/2014/main" id="{36C94BF1-CDDE-E287-828F-7493752B5ED8}"/>
                </a:ext>
              </a:extLst>
            </p:cNvPr>
            <p:cNvSpPr txBox="1">
              <a:spLocks/>
            </p:cNvSpPr>
            <p:nvPr/>
          </p:nvSpPr>
          <p:spPr>
            <a:xfrm>
              <a:off x="6627627" y="1018385"/>
              <a:ext cx="2265547" cy="423065"/>
            </a:xfrm>
            <a:prstGeom prst="rect">
              <a:avLst/>
            </a:prstGeom>
            <a:noFill/>
            <a:ln w="9525">
              <a:noFill/>
            </a:ln>
          </p:spPr>
          <p:txBody>
            <a:bodyPr vert="horz" wrap="square" lIns="0" tIns="0" rIns="0" bIns="53213" rtlCol="0" anchor="b">
              <a:spAutoFit/>
            </a:bodyPr>
            <a:lstStyle/>
            <a:p>
              <a:pPr>
                <a:buSzPct val="100000"/>
                <a:buFont typeface=""/>
              </a:pPr>
              <a:r>
                <a:rPr lang="en-US" sz="1200" b="1">
                  <a:sym typeface="+mn-lt"/>
                </a:rPr>
                <a:t>Average EBITDA Margin</a:t>
              </a:r>
              <a:br>
                <a:rPr lang="en-US" sz="1200" b="1">
                  <a:sym typeface="+mn-lt"/>
                </a:rPr>
              </a:br>
              <a:r>
                <a:rPr lang="en-US" sz="1200">
                  <a:sym typeface="+mn-lt"/>
                </a:rPr>
                <a:t>[2022; %]</a:t>
              </a:r>
            </a:p>
          </p:txBody>
        </p:sp>
      </p:grpSp>
      <p:grpSp>
        <p:nvGrpSpPr>
          <p:cNvPr id="32" name="Gruppieren 78">
            <a:extLst>
              <a:ext uri="{FF2B5EF4-FFF2-40B4-BE49-F238E27FC236}">
                <a16:creationId xmlns:a16="http://schemas.microsoft.com/office/drawing/2014/main" id="{32E1E7ED-8578-1823-E90E-11538CEAE1B7}"/>
              </a:ext>
            </a:extLst>
          </p:cNvPr>
          <p:cNvGrpSpPr/>
          <p:nvPr/>
        </p:nvGrpSpPr>
        <p:grpSpPr>
          <a:xfrm>
            <a:off x="1622426" y="1499649"/>
            <a:ext cx="2265547" cy="423065"/>
            <a:chOff x="6627627" y="1018385"/>
            <a:chExt cx="2265547" cy="423065"/>
          </a:xfrm>
        </p:grpSpPr>
        <p:cxnSp>
          <p:nvCxnSpPr>
            <p:cNvPr id="33" name="HorizontalLine7">
              <a:extLst>
                <a:ext uri="{FF2B5EF4-FFF2-40B4-BE49-F238E27FC236}">
                  <a16:creationId xmlns:a16="http://schemas.microsoft.com/office/drawing/2014/main" id="{200677DC-F78D-79A5-369F-A2369F27A946}"/>
                </a:ext>
              </a:extLst>
            </p:cNvPr>
            <p:cNvCxnSpPr>
              <a:cxnSpLocks/>
            </p:cNvCxnSpPr>
            <p:nvPr/>
          </p:nvCxnSpPr>
          <p:spPr>
            <a:xfrm>
              <a:off x="6627627" y="1441450"/>
              <a:ext cx="2265547"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Title66">
              <a:extLst>
                <a:ext uri="{FF2B5EF4-FFF2-40B4-BE49-F238E27FC236}">
                  <a16:creationId xmlns:a16="http://schemas.microsoft.com/office/drawing/2014/main" id="{D2993672-919A-9701-0E92-FD880A216D9D}"/>
                </a:ext>
              </a:extLst>
            </p:cNvPr>
            <p:cNvSpPr txBox="1">
              <a:spLocks/>
            </p:cNvSpPr>
            <p:nvPr/>
          </p:nvSpPr>
          <p:spPr>
            <a:xfrm>
              <a:off x="6627627" y="1018385"/>
              <a:ext cx="2265547" cy="423065"/>
            </a:xfrm>
            <a:prstGeom prst="rect">
              <a:avLst/>
            </a:prstGeom>
            <a:noFill/>
            <a:ln w="9525">
              <a:noFill/>
            </a:ln>
          </p:spPr>
          <p:txBody>
            <a:bodyPr vert="horz" wrap="square" lIns="0" tIns="0" rIns="0" bIns="53213" rtlCol="0" anchor="b">
              <a:spAutoFit/>
            </a:bodyPr>
            <a:lstStyle/>
            <a:p>
              <a:pPr>
                <a:buSzPct val="100000"/>
                <a:buFont typeface=""/>
              </a:pPr>
              <a:r>
                <a:rPr lang="en-US" sz="1200" b="1">
                  <a:sym typeface="+mn-lt"/>
                </a:rPr>
                <a:t>Change in revenues</a:t>
              </a:r>
              <a:br>
                <a:rPr lang="en-US" sz="1200" b="1">
                  <a:sym typeface="+mn-lt"/>
                </a:rPr>
              </a:br>
              <a:r>
                <a:rPr lang="en-US" sz="1200">
                  <a:sym typeface="+mn-lt"/>
                </a:rPr>
                <a:t>[2019-'22; %]</a:t>
              </a:r>
            </a:p>
          </p:txBody>
        </p:sp>
      </p:grpSp>
      <p:sp>
        <p:nvSpPr>
          <p:cNvPr id="35" name="TextBox 1">
            <a:extLst>
              <a:ext uri="{FF2B5EF4-FFF2-40B4-BE49-F238E27FC236}">
                <a16:creationId xmlns:a16="http://schemas.microsoft.com/office/drawing/2014/main" id="{FF37EA8D-F478-11BE-017E-CA5152B235BB}"/>
              </a:ext>
            </a:extLst>
          </p:cNvPr>
          <p:cNvSpPr txBox="1"/>
          <p:nvPr/>
        </p:nvSpPr>
        <p:spPr>
          <a:xfrm>
            <a:off x="180670" y="1272267"/>
            <a:ext cx="7579731" cy="276999"/>
          </a:xfrm>
          <a:prstGeom prst="rect">
            <a:avLst/>
          </a:prstGeom>
          <a:noFill/>
        </p:spPr>
        <p:txBody>
          <a:bodyPr wrap="square">
            <a:spAutoFit/>
          </a:bodyPr>
          <a:lstStyle/>
          <a:p>
            <a:r>
              <a:rPr lang="en-US" sz="1200" dirty="0">
                <a:solidFill>
                  <a:schemeClr val="tx2"/>
                </a:solidFill>
                <a:latin typeface="+mj-lt"/>
                <a:cs typeface="+mj-cs"/>
                <a:sym typeface="+mn-lt"/>
              </a:rPr>
              <a:t>Performance of Industrial Valves manufacturers</a:t>
            </a:r>
            <a:endParaRPr lang="en-GB" sz="1200" dirty="0">
              <a:solidFill>
                <a:schemeClr val="tx2"/>
              </a:solidFill>
            </a:endParaRPr>
          </a:p>
        </p:txBody>
      </p:sp>
    </p:spTree>
    <p:extLst>
      <p:ext uri="{BB962C8B-B14F-4D97-AF65-F5344CB8AC3E}">
        <p14:creationId xmlns:p14="http://schemas.microsoft.com/office/powerpoint/2010/main" val="7734022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EF920-D72B-6D3F-0B8D-2197BC379D4B}"/>
              </a:ext>
            </a:extLst>
          </p:cNvPr>
          <p:cNvSpPr txBox="1">
            <a:spLocks/>
          </p:cNvSpPr>
          <p:nvPr/>
        </p:nvSpPr>
        <p:spPr>
          <a:xfrm>
            <a:off x="260441" y="800972"/>
            <a:ext cx="7251698" cy="576000"/>
          </a:xfrm>
          <a:prstGeom prst="rect">
            <a:avLst/>
          </a:prstGeom>
        </p:spPr>
        <p:txBody>
          <a:bodyPr vert="horz" wrap="square" lIns="0" tIns="0" rIns="0" bIns="0" rtlCol="0" anchor="t" anchorCtr="0">
            <a:noAutofit/>
          </a:bodyPr>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pPr defTabSz="844083">
              <a:lnSpc>
                <a:spcPct val="100000"/>
              </a:lnSpc>
            </a:pPr>
            <a:r>
              <a:rPr lang="en-US" sz="1600" dirty="0"/>
              <a:t>Customers are requiring players to strengthen their local presence across various regions – starting from Middle East</a:t>
            </a:r>
            <a:endParaRPr lang="en-US" sz="1000" dirty="0">
              <a:sym typeface="+mn-lt"/>
            </a:endParaRPr>
          </a:p>
        </p:txBody>
      </p:sp>
      <p:sp>
        <p:nvSpPr>
          <p:cNvPr id="3" name="Source">
            <a:extLst>
              <a:ext uri="{FF2B5EF4-FFF2-40B4-BE49-F238E27FC236}">
                <a16:creationId xmlns:a16="http://schemas.microsoft.com/office/drawing/2014/main" id="{3490E111-1B4A-9B54-277E-49AFDD20D5A2}"/>
              </a:ext>
            </a:extLst>
          </p:cNvPr>
          <p:cNvSpPr txBox="1"/>
          <p:nvPr/>
        </p:nvSpPr>
        <p:spPr>
          <a:xfrm>
            <a:off x="260441" y="4506368"/>
            <a:ext cx="1327286"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a:sym typeface="+mn-lt"/>
              </a:rPr>
              <a:t>Source: Desk research, Roland Berger</a:t>
            </a:r>
          </a:p>
        </p:txBody>
      </p:sp>
      <p:sp>
        <p:nvSpPr>
          <p:cNvPr id="4" name="RBContent12">
            <a:extLst>
              <a:ext uri="{FF2B5EF4-FFF2-40B4-BE49-F238E27FC236}">
                <a16:creationId xmlns:a16="http://schemas.microsoft.com/office/drawing/2014/main" id="{C98405F5-B809-D5E1-E927-32E2685C5EB1}"/>
              </a:ext>
            </a:extLst>
          </p:cNvPr>
          <p:cNvSpPr txBox="1">
            <a:spLocks/>
          </p:cNvSpPr>
          <p:nvPr/>
        </p:nvSpPr>
        <p:spPr>
          <a:xfrm>
            <a:off x="5602125" y="2219081"/>
            <a:ext cx="1397227" cy="623248"/>
          </a:xfrm>
          <a:prstGeom prst="rect">
            <a:avLst/>
          </a:prstGeom>
          <a:noFill/>
          <a:ln w="9525">
            <a:noFill/>
          </a:ln>
        </p:spPr>
        <p:txBody>
          <a:bodyPr vert="horz" wrap="square" lIns="0" tIns="0" rIns="0" bIns="0" rtlCol="0">
            <a:spAutoFit/>
          </a:bodyPr>
          <a:lstStyle/>
          <a:p>
            <a:pPr marL="93970" lvl="1" indent="-93970">
              <a:lnSpc>
                <a:spcPct val="90000"/>
              </a:lnSpc>
              <a:spcBef>
                <a:spcPts val="300"/>
              </a:spcBef>
              <a:buSzPct val="100000"/>
              <a:buFont typeface="+mn-lt"/>
              <a:buChar char="•"/>
            </a:pPr>
            <a:r>
              <a:rPr lang="en-US" sz="900">
                <a:sym typeface="+mn-lt"/>
              </a:rPr>
              <a:t>Opened a production facility at King Salman Energy Park to manufacture Cameron valves in Saudi Arabia</a:t>
            </a:r>
          </a:p>
        </p:txBody>
      </p:sp>
      <p:sp>
        <p:nvSpPr>
          <p:cNvPr id="5" name="Abgerundetes Rechteck 160">
            <a:extLst>
              <a:ext uri="{FF2B5EF4-FFF2-40B4-BE49-F238E27FC236}">
                <a16:creationId xmlns:a16="http://schemas.microsoft.com/office/drawing/2014/main" id="{1327165E-6A7C-5AD4-7F7B-36A1333DEAE3}"/>
              </a:ext>
            </a:extLst>
          </p:cNvPr>
          <p:cNvSpPr/>
          <p:nvPr/>
        </p:nvSpPr>
        <p:spPr>
          <a:xfrm>
            <a:off x="5637844" y="1984676"/>
            <a:ext cx="407554" cy="174821"/>
          </a:xfrm>
          <a:prstGeom prst="roundRect">
            <a:avLst>
              <a:gd name="adj" fmla="val 50000"/>
            </a:avLst>
          </a:prstGeom>
          <a:solidFill>
            <a:schemeClr val="accent3"/>
          </a:solidFill>
          <a:ln w="6350"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lIns="0" tIns="0" rIns="0" bIns="0" rtlCol="0" anchor="ctr" anchorCtr="0">
            <a:noAutofit/>
          </a:bodyPr>
          <a:lstStyle/>
          <a:p>
            <a:pPr algn="ctr">
              <a:lnSpc>
                <a:spcPct val="90000"/>
              </a:lnSpc>
              <a:spcBef>
                <a:spcPts val="300"/>
              </a:spcBef>
            </a:pPr>
            <a:r>
              <a:rPr lang="en-US" sz="900">
                <a:solidFill>
                  <a:schemeClr val="bg1"/>
                </a:solidFill>
              </a:rPr>
              <a:t>2022</a:t>
            </a:r>
          </a:p>
        </p:txBody>
      </p:sp>
      <p:sp>
        <p:nvSpPr>
          <p:cNvPr id="6" name="RBContent12">
            <a:extLst>
              <a:ext uri="{FF2B5EF4-FFF2-40B4-BE49-F238E27FC236}">
                <a16:creationId xmlns:a16="http://schemas.microsoft.com/office/drawing/2014/main" id="{391F30C3-2A14-1F15-7817-8CADCA2EFDE4}"/>
              </a:ext>
            </a:extLst>
          </p:cNvPr>
          <p:cNvSpPr txBox="1">
            <a:spLocks/>
          </p:cNvSpPr>
          <p:nvPr/>
        </p:nvSpPr>
        <p:spPr>
          <a:xfrm>
            <a:off x="7266871" y="2219081"/>
            <a:ext cx="1496765" cy="623248"/>
          </a:xfrm>
          <a:prstGeom prst="rect">
            <a:avLst/>
          </a:prstGeom>
          <a:noFill/>
          <a:ln w="9525">
            <a:noFill/>
          </a:ln>
        </p:spPr>
        <p:txBody>
          <a:bodyPr vert="horz" wrap="square" lIns="0" tIns="0" rIns="0" bIns="0" rtlCol="0">
            <a:spAutoFit/>
          </a:bodyPr>
          <a:lstStyle/>
          <a:p>
            <a:pPr marL="93970" lvl="1" indent="-93970">
              <a:lnSpc>
                <a:spcPct val="90000"/>
              </a:lnSpc>
              <a:spcBef>
                <a:spcPts val="300"/>
              </a:spcBef>
              <a:buSzPct val="100000"/>
              <a:buFont typeface="+mn-lt"/>
              <a:buChar char="•"/>
            </a:pPr>
            <a:r>
              <a:rPr lang="en-US" sz="900">
                <a:sym typeface="+mn-lt"/>
              </a:rPr>
              <a:t>Built a new manufacturing facility in Jeddah to localize production of butterfly valves for various applications</a:t>
            </a:r>
          </a:p>
        </p:txBody>
      </p:sp>
      <p:sp>
        <p:nvSpPr>
          <p:cNvPr id="7" name="Abgerundetes Rechteck 160">
            <a:extLst>
              <a:ext uri="{FF2B5EF4-FFF2-40B4-BE49-F238E27FC236}">
                <a16:creationId xmlns:a16="http://schemas.microsoft.com/office/drawing/2014/main" id="{50D36479-F1CC-37BD-8BDA-38DBAD074CC3}"/>
              </a:ext>
            </a:extLst>
          </p:cNvPr>
          <p:cNvSpPr/>
          <p:nvPr/>
        </p:nvSpPr>
        <p:spPr>
          <a:xfrm>
            <a:off x="7302590" y="1984676"/>
            <a:ext cx="407554" cy="174821"/>
          </a:xfrm>
          <a:prstGeom prst="roundRect">
            <a:avLst>
              <a:gd name="adj" fmla="val 50000"/>
            </a:avLst>
          </a:prstGeom>
          <a:solidFill>
            <a:schemeClr val="accent3"/>
          </a:solidFill>
          <a:ln w="6350"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lIns="0" tIns="0" rIns="0" bIns="0" rtlCol="0" anchor="ctr" anchorCtr="0">
            <a:noAutofit/>
          </a:bodyPr>
          <a:lstStyle/>
          <a:p>
            <a:pPr algn="ctr">
              <a:lnSpc>
                <a:spcPct val="90000"/>
              </a:lnSpc>
              <a:spcBef>
                <a:spcPts val="300"/>
              </a:spcBef>
            </a:pPr>
            <a:r>
              <a:rPr lang="en-US" sz="900">
                <a:solidFill>
                  <a:schemeClr val="bg1"/>
                </a:solidFill>
              </a:rPr>
              <a:t>2022</a:t>
            </a:r>
          </a:p>
        </p:txBody>
      </p:sp>
      <p:pic>
        <p:nvPicPr>
          <p:cNvPr id="8" name="Picture 75" descr="Emerson-Electric-Logo | HSEquipe Outsourcing della sicurezza">
            <a:extLst>
              <a:ext uri="{FF2B5EF4-FFF2-40B4-BE49-F238E27FC236}">
                <a16:creationId xmlns:a16="http://schemas.microsoft.com/office/drawing/2014/main" id="{E509619D-90F8-F672-F46A-50D182AE8848}"/>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5579550" y="2984861"/>
            <a:ext cx="645435" cy="363057"/>
          </a:xfrm>
          <a:prstGeom prst="rect">
            <a:avLst/>
          </a:prstGeom>
          <a:noFill/>
          <a:extLst>
            <a:ext uri="{909E8E84-426E-40DD-AFC4-6F175D3DCCD1}">
              <a14:hiddenFill xmlns:a14="http://schemas.microsoft.com/office/drawing/2010/main">
                <a:solidFill>
                  <a:srgbClr val="FFFFFF"/>
                </a:solidFill>
              </a14:hiddenFill>
            </a:ext>
          </a:extLst>
        </p:spPr>
      </p:pic>
      <p:sp>
        <p:nvSpPr>
          <p:cNvPr id="9" name="RBContent12">
            <a:extLst>
              <a:ext uri="{FF2B5EF4-FFF2-40B4-BE49-F238E27FC236}">
                <a16:creationId xmlns:a16="http://schemas.microsoft.com/office/drawing/2014/main" id="{D48FAF1B-3499-CA38-AA41-C3F855FC899D}"/>
              </a:ext>
            </a:extLst>
          </p:cNvPr>
          <p:cNvSpPr txBox="1">
            <a:spLocks/>
          </p:cNvSpPr>
          <p:nvPr/>
        </p:nvSpPr>
        <p:spPr>
          <a:xfrm>
            <a:off x="5602126" y="3643734"/>
            <a:ext cx="1496765" cy="498598"/>
          </a:xfrm>
          <a:prstGeom prst="rect">
            <a:avLst/>
          </a:prstGeom>
          <a:noFill/>
          <a:ln w="9525">
            <a:noFill/>
          </a:ln>
        </p:spPr>
        <p:txBody>
          <a:bodyPr vert="horz" wrap="square" lIns="0" tIns="0" rIns="0" bIns="0" rtlCol="0">
            <a:spAutoFit/>
          </a:bodyPr>
          <a:lstStyle/>
          <a:p>
            <a:pPr marL="93970" lvl="1" indent="-93970">
              <a:lnSpc>
                <a:spcPct val="90000"/>
              </a:lnSpc>
              <a:spcBef>
                <a:spcPts val="300"/>
              </a:spcBef>
              <a:buSzPct val="100000"/>
              <a:buFont typeface="+mn-lt"/>
              <a:buChar char="•"/>
            </a:pPr>
            <a:r>
              <a:rPr lang="en-US" sz="900">
                <a:sym typeface="+mn-lt"/>
              </a:rPr>
              <a:t>Signed a Memorandum of Understanding with Saudi Aramco to reinforce partnership in Saudi Arabia</a:t>
            </a:r>
          </a:p>
        </p:txBody>
      </p:sp>
      <p:sp>
        <p:nvSpPr>
          <p:cNvPr id="10" name="Abgerundetes Rechteck 160">
            <a:extLst>
              <a:ext uri="{FF2B5EF4-FFF2-40B4-BE49-F238E27FC236}">
                <a16:creationId xmlns:a16="http://schemas.microsoft.com/office/drawing/2014/main" id="{375328A9-38C3-A0C2-E1E8-2BB2CAF5B1CF}"/>
              </a:ext>
            </a:extLst>
          </p:cNvPr>
          <p:cNvSpPr/>
          <p:nvPr/>
        </p:nvSpPr>
        <p:spPr>
          <a:xfrm>
            <a:off x="5637844" y="3409328"/>
            <a:ext cx="407554" cy="174821"/>
          </a:xfrm>
          <a:prstGeom prst="roundRect">
            <a:avLst>
              <a:gd name="adj" fmla="val 50000"/>
            </a:avLst>
          </a:prstGeom>
          <a:solidFill>
            <a:schemeClr val="accent3"/>
          </a:solidFill>
          <a:ln w="6350"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lIns="0" tIns="0" rIns="0" bIns="0" rtlCol="0" anchor="ctr" anchorCtr="0">
            <a:noAutofit/>
          </a:bodyPr>
          <a:lstStyle/>
          <a:p>
            <a:pPr algn="ctr">
              <a:lnSpc>
                <a:spcPct val="90000"/>
              </a:lnSpc>
              <a:spcBef>
                <a:spcPts val="300"/>
              </a:spcBef>
            </a:pPr>
            <a:r>
              <a:rPr lang="en-US" sz="900">
                <a:solidFill>
                  <a:schemeClr val="bg1"/>
                </a:solidFill>
              </a:rPr>
              <a:t>2022</a:t>
            </a:r>
          </a:p>
        </p:txBody>
      </p:sp>
      <p:pic>
        <p:nvPicPr>
          <p:cNvPr id="11" name="Picture 192" descr="A picture containing text, sign, tableware, dishware&#10;&#10;Description automatically generated">
            <a:extLst>
              <a:ext uri="{FF2B5EF4-FFF2-40B4-BE49-F238E27FC236}">
                <a16:creationId xmlns:a16="http://schemas.microsoft.com/office/drawing/2014/main" id="{2879582A-7935-2A30-8CC2-3F29100AF0D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113721" y="3395305"/>
            <a:ext cx="371683" cy="194999"/>
          </a:xfrm>
          <a:prstGeom prst="rect">
            <a:avLst/>
          </a:prstGeom>
        </p:spPr>
      </p:pic>
      <p:pic>
        <p:nvPicPr>
          <p:cNvPr id="12" name="Picture 193" descr="A picture containing text, sign, tableware, dishware&#10;&#10;Description automatically generated">
            <a:extLst>
              <a:ext uri="{FF2B5EF4-FFF2-40B4-BE49-F238E27FC236}">
                <a16:creationId xmlns:a16="http://schemas.microsoft.com/office/drawing/2014/main" id="{AF91B40D-AA72-4E81-9E52-F15790C98C1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117517" y="1970652"/>
            <a:ext cx="371683" cy="194999"/>
          </a:xfrm>
          <a:prstGeom prst="rect">
            <a:avLst/>
          </a:prstGeom>
        </p:spPr>
      </p:pic>
      <p:pic>
        <p:nvPicPr>
          <p:cNvPr id="13" name="Picture 195">
            <a:extLst>
              <a:ext uri="{FF2B5EF4-FFF2-40B4-BE49-F238E27FC236}">
                <a16:creationId xmlns:a16="http://schemas.microsoft.com/office/drawing/2014/main" id="{56F6176E-2DBC-14C6-0708-3D8AC5F6DE7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173910" y="1576870"/>
            <a:ext cx="539153" cy="270175"/>
          </a:xfrm>
          <a:prstGeom prst="rect">
            <a:avLst/>
          </a:prstGeom>
        </p:spPr>
      </p:pic>
      <p:pic>
        <p:nvPicPr>
          <p:cNvPr id="14" name="Picture 196" descr="A picture containing text, sign, tableware, dishware&#10;&#10;Description automatically generated">
            <a:extLst>
              <a:ext uri="{FF2B5EF4-FFF2-40B4-BE49-F238E27FC236}">
                <a16:creationId xmlns:a16="http://schemas.microsoft.com/office/drawing/2014/main" id="{0C9ED1B1-FA31-1244-43AC-69527C24D5B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786058" y="1970652"/>
            <a:ext cx="371683" cy="194999"/>
          </a:xfrm>
          <a:prstGeom prst="rect">
            <a:avLst/>
          </a:prstGeom>
        </p:spPr>
      </p:pic>
      <p:sp>
        <p:nvSpPr>
          <p:cNvPr id="15" name="RBContent12">
            <a:extLst>
              <a:ext uri="{FF2B5EF4-FFF2-40B4-BE49-F238E27FC236}">
                <a16:creationId xmlns:a16="http://schemas.microsoft.com/office/drawing/2014/main" id="{C8A65493-C3AB-0DE4-2E6A-7A9B1AAF78B8}"/>
              </a:ext>
            </a:extLst>
          </p:cNvPr>
          <p:cNvSpPr txBox="1">
            <a:spLocks/>
          </p:cNvSpPr>
          <p:nvPr/>
        </p:nvSpPr>
        <p:spPr>
          <a:xfrm>
            <a:off x="3931357" y="3650810"/>
            <a:ext cx="1496765" cy="498598"/>
          </a:xfrm>
          <a:prstGeom prst="rect">
            <a:avLst/>
          </a:prstGeom>
          <a:noFill/>
          <a:ln w="9525">
            <a:noFill/>
          </a:ln>
        </p:spPr>
        <p:txBody>
          <a:bodyPr vert="horz" wrap="square" lIns="0" tIns="0" rIns="0" bIns="0" rtlCol="0">
            <a:spAutoFit/>
          </a:bodyPr>
          <a:lstStyle/>
          <a:p>
            <a:pPr marL="93970" lvl="1" indent="-93970">
              <a:lnSpc>
                <a:spcPct val="90000"/>
              </a:lnSpc>
              <a:spcBef>
                <a:spcPts val="300"/>
              </a:spcBef>
              <a:buSzPct val="100000"/>
              <a:buFont typeface="+mn-lt"/>
              <a:buChar char="•"/>
            </a:pPr>
            <a:r>
              <a:rPr lang="en-US" sz="900">
                <a:sym typeface="+mn-lt"/>
              </a:rPr>
              <a:t>Opened a new 5,000 sqm facility in Dammam through subsidiary IMI Saudi Industry LLC</a:t>
            </a:r>
          </a:p>
        </p:txBody>
      </p:sp>
      <p:sp>
        <p:nvSpPr>
          <p:cNvPr id="16" name="Abgerundetes Rechteck 160">
            <a:extLst>
              <a:ext uri="{FF2B5EF4-FFF2-40B4-BE49-F238E27FC236}">
                <a16:creationId xmlns:a16="http://schemas.microsoft.com/office/drawing/2014/main" id="{3F88A907-A97B-BE11-97AC-212CBAED441A}"/>
              </a:ext>
            </a:extLst>
          </p:cNvPr>
          <p:cNvSpPr/>
          <p:nvPr/>
        </p:nvSpPr>
        <p:spPr>
          <a:xfrm>
            <a:off x="3967075" y="3416404"/>
            <a:ext cx="407554" cy="174821"/>
          </a:xfrm>
          <a:prstGeom prst="roundRect">
            <a:avLst>
              <a:gd name="adj" fmla="val 50000"/>
            </a:avLst>
          </a:prstGeom>
          <a:solidFill>
            <a:schemeClr val="accent3"/>
          </a:solidFill>
          <a:ln w="6350"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lIns="0" tIns="0" rIns="0" bIns="0" rtlCol="0" anchor="ctr" anchorCtr="0">
            <a:noAutofit/>
          </a:bodyPr>
          <a:lstStyle/>
          <a:p>
            <a:pPr algn="ctr">
              <a:lnSpc>
                <a:spcPct val="90000"/>
              </a:lnSpc>
              <a:spcBef>
                <a:spcPts val="300"/>
              </a:spcBef>
            </a:pPr>
            <a:r>
              <a:rPr lang="en-US" sz="900">
                <a:solidFill>
                  <a:schemeClr val="bg1"/>
                </a:solidFill>
              </a:rPr>
              <a:t>2022</a:t>
            </a:r>
          </a:p>
        </p:txBody>
      </p:sp>
      <p:sp>
        <p:nvSpPr>
          <p:cNvPr id="17" name="RBContent12">
            <a:extLst>
              <a:ext uri="{FF2B5EF4-FFF2-40B4-BE49-F238E27FC236}">
                <a16:creationId xmlns:a16="http://schemas.microsoft.com/office/drawing/2014/main" id="{12FFAF8D-30F8-3330-8BC8-430F93AAA6DF}"/>
              </a:ext>
            </a:extLst>
          </p:cNvPr>
          <p:cNvSpPr txBox="1">
            <a:spLocks/>
          </p:cNvSpPr>
          <p:nvPr/>
        </p:nvSpPr>
        <p:spPr>
          <a:xfrm>
            <a:off x="7266871" y="3650810"/>
            <a:ext cx="1496765" cy="623248"/>
          </a:xfrm>
          <a:prstGeom prst="rect">
            <a:avLst/>
          </a:prstGeom>
          <a:noFill/>
          <a:ln w="9525">
            <a:noFill/>
          </a:ln>
        </p:spPr>
        <p:txBody>
          <a:bodyPr vert="horz" wrap="square" lIns="0" tIns="0" rIns="0" bIns="0" rtlCol="0">
            <a:spAutoFit/>
          </a:bodyPr>
          <a:lstStyle/>
          <a:p>
            <a:pPr marL="93970" lvl="1" indent="-93970">
              <a:lnSpc>
                <a:spcPct val="90000"/>
              </a:lnSpc>
              <a:spcBef>
                <a:spcPts val="300"/>
              </a:spcBef>
              <a:buSzPct val="100000"/>
              <a:buFont typeface="+mn-lt"/>
              <a:buChar char="•"/>
            </a:pPr>
            <a:r>
              <a:rPr lang="en-US" sz="900">
                <a:sym typeface="+mn-lt"/>
              </a:rPr>
              <a:t>Opened a 18,000 sqm facility in Abu Dhabi, also to serve as basis for further aftermarket activity in the region</a:t>
            </a:r>
          </a:p>
        </p:txBody>
      </p:sp>
      <p:sp>
        <p:nvSpPr>
          <p:cNvPr id="18" name="Abgerundetes Rechteck 160">
            <a:extLst>
              <a:ext uri="{FF2B5EF4-FFF2-40B4-BE49-F238E27FC236}">
                <a16:creationId xmlns:a16="http://schemas.microsoft.com/office/drawing/2014/main" id="{8E47976E-A05E-D3BA-AEC7-8F1932B80F41}"/>
              </a:ext>
            </a:extLst>
          </p:cNvPr>
          <p:cNvSpPr/>
          <p:nvPr/>
        </p:nvSpPr>
        <p:spPr>
          <a:xfrm>
            <a:off x="7302590" y="3416404"/>
            <a:ext cx="407554" cy="174821"/>
          </a:xfrm>
          <a:prstGeom prst="roundRect">
            <a:avLst>
              <a:gd name="adj" fmla="val 50000"/>
            </a:avLst>
          </a:prstGeom>
          <a:solidFill>
            <a:schemeClr val="accent3"/>
          </a:solidFill>
          <a:ln w="6350"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lIns="0" tIns="0" rIns="0" bIns="0" rtlCol="0" anchor="ctr" anchorCtr="0">
            <a:noAutofit/>
          </a:bodyPr>
          <a:lstStyle/>
          <a:p>
            <a:pPr algn="ctr">
              <a:lnSpc>
                <a:spcPct val="90000"/>
              </a:lnSpc>
              <a:spcBef>
                <a:spcPts val="300"/>
              </a:spcBef>
            </a:pPr>
            <a:r>
              <a:rPr lang="en-US" sz="900">
                <a:solidFill>
                  <a:schemeClr val="bg1"/>
                </a:solidFill>
              </a:rPr>
              <a:t>2017</a:t>
            </a:r>
          </a:p>
        </p:txBody>
      </p:sp>
      <p:pic>
        <p:nvPicPr>
          <p:cNvPr id="19" name="Picture 201" descr="A picture containing text, sign, tableware, dishware&#10;&#10;Description automatically generated">
            <a:extLst>
              <a:ext uri="{FF2B5EF4-FFF2-40B4-BE49-F238E27FC236}">
                <a16:creationId xmlns:a16="http://schemas.microsoft.com/office/drawing/2014/main" id="{865E40F7-F8DD-6529-C8C8-3D94E42E4EC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442952" y="3402381"/>
            <a:ext cx="371683" cy="194999"/>
          </a:xfrm>
          <a:prstGeom prst="rect">
            <a:avLst/>
          </a:prstGeom>
        </p:spPr>
      </p:pic>
      <p:pic>
        <p:nvPicPr>
          <p:cNvPr id="20" name="Picture 79" descr="IMI plc - Wikipedia">
            <a:extLst>
              <a:ext uri="{FF2B5EF4-FFF2-40B4-BE49-F238E27FC236}">
                <a16:creationId xmlns:a16="http://schemas.microsoft.com/office/drawing/2014/main" id="{DFE05ED8-9B82-C3D7-BD3F-AAF1DF54458E}"/>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869105" y="3075221"/>
            <a:ext cx="460572" cy="225680"/>
          </a:xfrm>
          <a:prstGeom prst="rect">
            <a:avLst/>
          </a:prstGeom>
          <a:noFill/>
          <a:extLst>
            <a:ext uri="{909E8E84-426E-40DD-AFC4-6F175D3DCCD1}">
              <a14:hiddenFill xmlns:a14="http://schemas.microsoft.com/office/drawing/2010/main">
                <a:solidFill>
                  <a:srgbClr val="FFFFFF"/>
                </a:solidFill>
              </a14:hiddenFill>
            </a:ext>
          </a:extLst>
        </p:spPr>
      </p:pic>
      <p:sp>
        <p:nvSpPr>
          <p:cNvPr id="21" name="RBContent12">
            <a:extLst>
              <a:ext uri="{FF2B5EF4-FFF2-40B4-BE49-F238E27FC236}">
                <a16:creationId xmlns:a16="http://schemas.microsoft.com/office/drawing/2014/main" id="{C58C499B-C054-7662-719C-445C92B44D3F}"/>
              </a:ext>
            </a:extLst>
          </p:cNvPr>
          <p:cNvSpPr txBox="1">
            <a:spLocks/>
          </p:cNvSpPr>
          <p:nvPr/>
        </p:nvSpPr>
        <p:spPr>
          <a:xfrm>
            <a:off x="3931357" y="2219081"/>
            <a:ext cx="1452585" cy="498598"/>
          </a:xfrm>
          <a:prstGeom prst="rect">
            <a:avLst/>
          </a:prstGeom>
          <a:noFill/>
          <a:ln w="9525">
            <a:noFill/>
          </a:ln>
        </p:spPr>
        <p:txBody>
          <a:bodyPr vert="horz" wrap="square" lIns="0" tIns="0" rIns="0" bIns="0" rtlCol="0">
            <a:spAutoFit/>
          </a:bodyPr>
          <a:lstStyle/>
          <a:p>
            <a:pPr marL="93970" lvl="1" indent="-93970">
              <a:lnSpc>
                <a:spcPct val="90000"/>
              </a:lnSpc>
              <a:spcBef>
                <a:spcPts val="300"/>
              </a:spcBef>
              <a:buSzPct val="100000"/>
              <a:buFont typeface="+mn-lt"/>
              <a:buChar char="•"/>
            </a:pPr>
            <a:r>
              <a:rPr lang="en-US" sz="900" err="1">
                <a:sym typeface="+mn-lt"/>
              </a:rPr>
              <a:t>PetrolValves</a:t>
            </a:r>
            <a:r>
              <a:rPr lang="en-US" sz="900">
                <a:sym typeface="+mn-lt"/>
              </a:rPr>
              <a:t> is currently developing a full service and manufacturing shop in Saudi Arabia</a:t>
            </a:r>
          </a:p>
        </p:txBody>
      </p:sp>
      <p:sp>
        <p:nvSpPr>
          <p:cNvPr id="22" name="Abgerundetes Rechteck 160">
            <a:extLst>
              <a:ext uri="{FF2B5EF4-FFF2-40B4-BE49-F238E27FC236}">
                <a16:creationId xmlns:a16="http://schemas.microsoft.com/office/drawing/2014/main" id="{BF392BD9-0C66-DC98-1AF1-AC10420694EC}"/>
              </a:ext>
            </a:extLst>
          </p:cNvPr>
          <p:cNvSpPr/>
          <p:nvPr/>
        </p:nvSpPr>
        <p:spPr>
          <a:xfrm>
            <a:off x="3967075" y="1984676"/>
            <a:ext cx="407554" cy="174821"/>
          </a:xfrm>
          <a:prstGeom prst="roundRect">
            <a:avLst>
              <a:gd name="adj" fmla="val 50000"/>
            </a:avLst>
          </a:prstGeom>
          <a:solidFill>
            <a:schemeClr val="accent3"/>
          </a:solidFill>
          <a:ln w="6350"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lIns="0" tIns="0" rIns="0" bIns="0" rtlCol="0" anchor="ctr" anchorCtr="0">
            <a:noAutofit/>
          </a:bodyPr>
          <a:lstStyle/>
          <a:p>
            <a:pPr algn="ctr">
              <a:lnSpc>
                <a:spcPct val="90000"/>
              </a:lnSpc>
              <a:spcBef>
                <a:spcPts val="300"/>
              </a:spcBef>
            </a:pPr>
            <a:r>
              <a:rPr lang="en-US" sz="900">
                <a:solidFill>
                  <a:schemeClr val="bg1"/>
                </a:solidFill>
              </a:rPr>
              <a:t>2023</a:t>
            </a:r>
          </a:p>
        </p:txBody>
      </p:sp>
      <p:pic>
        <p:nvPicPr>
          <p:cNvPr id="23" name="Picture 81" descr="Example Template Presentation - PetrolValves">
            <a:extLst>
              <a:ext uri="{FF2B5EF4-FFF2-40B4-BE49-F238E27FC236}">
                <a16:creationId xmlns:a16="http://schemas.microsoft.com/office/drawing/2014/main" id="{CABE8C35-DB95-F7EA-E515-91DFDF4A4F81}"/>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869104" y="1600001"/>
            <a:ext cx="1154297" cy="24237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83">
            <a:extLst>
              <a:ext uri="{FF2B5EF4-FFF2-40B4-BE49-F238E27FC236}">
                <a16:creationId xmlns:a16="http://schemas.microsoft.com/office/drawing/2014/main" id="{7C2A9F4D-DFFC-8CC4-C814-B46B8089077F}"/>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204619" y="3102632"/>
            <a:ext cx="1066316" cy="198269"/>
          </a:xfrm>
          <a:prstGeom prst="rect">
            <a:avLst/>
          </a:prstGeom>
          <a:noFill/>
          <a:extLst>
            <a:ext uri="{909E8E84-426E-40DD-AFC4-6F175D3DCCD1}">
              <a14:hiddenFill xmlns:a14="http://schemas.microsoft.com/office/drawing/2010/main">
                <a:solidFill>
                  <a:srgbClr val="FFFFFF"/>
                </a:solidFill>
              </a14:hiddenFill>
            </a:ext>
          </a:extLst>
        </p:spPr>
      </p:pic>
      <p:sp>
        <p:nvSpPr>
          <p:cNvPr id="25" name="Rechteck 12">
            <a:extLst>
              <a:ext uri="{FF2B5EF4-FFF2-40B4-BE49-F238E27FC236}">
                <a16:creationId xmlns:a16="http://schemas.microsoft.com/office/drawing/2014/main" id="{BA1023E9-0D4C-FAC9-5BCD-E48D27F5A760}"/>
              </a:ext>
            </a:extLst>
          </p:cNvPr>
          <p:cNvSpPr/>
          <p:nvPr/>
        </p:nvSpPr>
        <p:spPr>
          <a:xfrm>
            <a:off x="3869104" y="1912325"/>
            <a:ext cx="1594736" cy="1048295"/>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26" name="Rechteck 13">
            <a:extLst>
              <a:ext uri="{FF2B5EF4-FFF2-40B4-BE49-F238E27FC236}">
                <a16:creationId xmlns:a16="http://schemas.microsoft.com/office/drawing/2014/main" id="{AEFA23E5-48FE-20CA-D2E4-BCFE04206351}"/>
              </a:ext>
            </a:extLst>
          </p:cNvPr>
          <p:cNvSpPr/>
          <p:nvPr/>
        </p:nvSpPr>
        <p:spPr>
          <a:xfrm>
            <a:off x="5539873" y="1912325"/>
            <a:ext cx="1594736" cy="1048295"/>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27" name="Rechteck 14">
            <a:extLst>
              <a:ext uri="{FF2B5EF4-FFF2-40B4-BE49-F238E27FC236}">
                <a16:creationId xmlns:a16="http://schemas.microsoft.com/office/drawing/2014/main" id="{A7466A9B-1B7E-548B-7327-7B3F8D7AA50D}"/>
              </a:ext>
            </a:extLst>
          </p:cNvPr>
          <p:cNvSpPr/>
          <p:nvPr/>
        </p:nvSpPr>
        <p:spPr>
          <a:xfrm>
            <a:off x="7204619" y="1912325"/>
            <a:ext cx="1594736" cy="1048295"/>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28" name="Rechteck 15">
            <a:extLst>
              <a:ext uri="{FF2B5EF4-FFF2-40B4-BE49-F238E27FC236}">
                <a16:creationId xmlns:a16="http://schemas.microsoft.com/office/drawing/2014/main" id="{F8050BC1-9170-A307-0589-2D43E535B87C}"/>
              </a:ext>
            </a:extLst>
          </p:cNvPr>
          <p:cNvSpPr/>
          <p:nvPr/>
        </p:nvSpPr>
        <p:spPr>
          <a:xfrm>
            <a:off x="3869104" y="3350470"/>
            <a:ext cx="1594736" cy="1048295"/>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29" name="Rechteck 16">
            <a:extLst>
              <a:ext uri="{FF2B5EF4-FFF2-40B4-BE49-F238E27FC236}">
                <a16:creationId xmlns:a16="http://schemas.microsoft.com/office/drawing/2014/main" id="{8C2A774F-F7B5-B206-B7AF-175D74739F6F}"/>
              </a:ext>
            </a:extLst>
          </p:cNvPr>
          <p:cNvSpPr/>
          <p:nvPr/>
        </p:nvSpPr>
        <p:spPr>
          <a:xfrm>
            <a:off x="5539873" y="3350470"/>
            <a:ext cx="1594736" cy="1048295"/>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30" name="Rechteck 17">
            <a:extLst>
              <a:ext uri="{FF2B5EF4-FFF2-40B4-BE49-F238E27FC236}">
                <a16:creationId xmlns:a16="http://schemas.microsoft.com/office/drawing/2014/main" id="{2B222F75-E45A-EF8C-FF8F-7753E6E25CCA}"/>
              </a:ext>
            </a:extLst>
          </p:cNvPr>
          <p:cNvSpPr/>
          <p:nvPr/>
        </p:nvSpPr>
        <p:spPr>
          <a:xfrm>
            <a:off x="7204619" y="3350470"/>
            <a:ext cx="1594736" cy="1048295"/>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pic>
        <p:nvPicPr>
          <p:cNvPr id="31" name="Picture 19" descr="A picture containing text, sign, tableware, dishware&#10;&#10;Description automatically generated">
            <a:extLst>
              <a:ext uri="{FF2B5EF4-FFF2-40B4-BE49-F238E27FC236}">
                <a16:creationId xmlns:a16="http://schemas.microsoft.com/office/drawing/2014/main" id="{9C8743AC-6E8A-5B9E-6F4D-BCB9329BDEE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49618" y="2176000"/>
            <a:ext cx="536883" cy="281669"/>
          </a:xfrm>
          <a:prstGeom prst="rect">
            <a:avLst/>
          </a:prstGeom>
        </p:spPr>
      </p:pic>
      <p:pic>
        <p:nvPicPr>
          <p:cNvPr id="32" name="Graphic 56">
            <a:extLst>
              <a:ext uri="{FF2B5EF4-FFF2-40B4-BE49-F238E27FC236}">
                <a16:creationId xmlns:a16="http://schemas.microsoft.com/office/drawing/2014/main" id="{BD3CF295-B57E-960A-6485-17FAA339767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2206" y="2101760"/>
            <a:ext cx="430151" cy="430151"/>
          </a:xfrm>
          <a:prstGeom prst="rect">
            <a:avLst/>
          </a:prstGeom>
        </p:spPr>
      </p:pic>
      <p:sp>
        <p:nvSpPr>
          <p:cNvPr id="33" name="Rechteck 35">
            <a:extLst>
              <a:ext uri="{FF2B5EF4-FFF2-40B4-BE49-F238E27FC236}">
                <a16:creationId xmlns:a16="http://schemas.microsoft.com/office/drawing/2014/main" id="{53A2EBC5-5F0F-F82D-F485-BD3E15D57517}"/>
              </a:ext>
            </a:extLst>
          </p:cNvPr>
          <p:cNvSpPr>
            <a:spLocks/>
          </p:cNvSpPr>
          <p:nvPr/>
        </p:nvSpPr>
        <p:spPr>
          <a:xfrm>
            <a:off x="168276" y="1576871"/>
            <a:ext cx="1265634" cy="1383750"/>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34" name="Rechteck 41">
            <a:extLst>
              <a:ext uri="{FF2B5EF4-FFF2-40B4-BE49-F238E27FC236}">
                <a16:creationId xmlns:a16="http://schemas.microsoft.com/office/drawing/2014/main" id="{956F0616-9DF4-780E-89AF-58B14DBB8E95}"/>
              </a:ext>
            </a:extLst>
          </p:cNvPr>
          <p:cNvSpPr/>
          <p:nvPr/>
        </p:nvSpPr>
        <p:spPr>
          <a:xfrm>
            <a:off x="1429011" y="1576871"/>
            <a:ext cx="205740" cy="1383750"/>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35" name="Rechteck 46">
            <a:extLst>
              <a:ext uri="{FF2B5EF4-FFF2-40B4-BE49-F238E27FC236}">
                <a16:creationId xmlns:a16="http://schemas.microsoft.com/office/drawing/2014/main" id="{B49FC15C-388A-E1DA-AEB2-28CAFDACFA1C}"/>
              </a:ext>
            </a:extLst>
          </p:cNvPr>
          <p:cNvSpPr/>
          <p:nvPr/>
        </p:nvSpPr>
        <p:spPr>
          <a:xfrm>
            <a:off x="1605360" y="1576870"/>
            <a:ext cx="254726" cy="3082443"/>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cxnSp>
        <p:nvCxnSpPr>
          <p:cNvPr id="36" name="Gerader Verbinder 59">
            <a:extLst>
              <a:ext uri="{FF2B5EF4-FFF2-40B4-BE49-F238E27FC236}">
                <a16:creationId xmlns:a16="http://schemas.microsoft.com/office/drawing/2014/main" id="{0D366921-B23B-02ED-FDA7-669FA97AF558}"/>
              </a:ext>
            </a:extLst>
          </p:cNvPr>
          <p:cNvCxnSpPr>
            <a:cxnSpLocks/>
          </p:cNvCxnSpPr>
          <p:nvPr/>
        </p:nvCxnSpPr>
        <p:spPr>
          <a:xfrm>
            <a:off x="1732723" y="4659316"/>
            <a:ext cx="7068457" cy="0"/>
          </a:xfrm>
          <a:prstGeom prst="line">
            <a:avLst/>
          </a:prstGeom>
          <a:ln w="6350" cmpd="sng">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Rechteck 36">
            <a:extLst>
              <a:ext uri="{FF2B5EF4-FFF2-40B4-BE49-F238E27FC236}">
                <a16:creationId xmlns:a16="http://schemas.microsoft.com/office/drawing/2014/main" id="{EF380151-3451-B138-D587-CAB0C5CA3650}"/>
              </a:ext>
            </a:extLst>
          </p:cNvPr>
          <p:cNvSpPr>
            <a:spLocks/>
          </p:cNvSpPr>
          <p:nvPr/>
        </p:nvSpPr>
        <p:spPr>
          <a:xfrm>
            <a:off x="168275" y="3159593"/>
            <a:ext cx="1265634" cy="1239171"/>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pic>
        <p:nvPicPr>
          <p:cNvPr id="38" name="Graphic 222">
            <a:extLst>
              <a:ext uri="{FF2B5EF4-FFF2-40B4-BE49-F238E27FC236}">
                <a16:creationId xmlns:a16="http://schemas.microsoft.com/office/drawing/2014/main" id="{A66A4A54-A3CF-350F-C0E6-6CDCA57994E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35886" y="3612888"/>
            <a:ext cx="332580" cy="332580"/>
          </a:xfrm>
          <a:prstGeom prst="rect">
            <a:avLst/>
          </a:prstGeom>
        </p:spPr>
      </p:pic>
      <p:grpSp>
        <p:nvGrpSpPr>
          <p:cNvPr id="39" name="Group 223">
            <a:extLst>
              <a:ext uri="{FF2B5EF4-FFF2-40B4-BE49-F238E27FC236}">
                <a16:creationId xmlns:a16="http://schemas.microsoft.com/office/drawing/2014/main" id="{FDDEC0D3-0018-5D8A-12F5-C03C7B842B13}"/>
              </a:ext>
            </a:extLst>
          </p:cNvPr>
          <p:cNvGrpSpPr/>
          <p:nvPr/>
        </p:nvGrpSpPr>
        <p:grpSpPr>
          <a:xfrm>
            <a:off x="590043" y="3623989"/>
            <a:ext cx="789651" cy="310379"/>
            <a:chOff x="1129018" y="5202079"/>
            <a:chExt cx="1647724" cy="647652"/>
          </a:xfrm>
        </p:grpSpPr>
        <p:pic>
          <p:nvPicPr>
            <p:cNvPr id="40" name="Picture 7">
              <a:extLst>
                <a:ext uri="{FF2B5EF4-FFF2-40B4-BE49-F238E27FC236}">
                  <a16:creationId xmlns:a16="http://schemas.microsoft.com/office/drawing/2014/main" id="{9CF4819D-49D8-1802-CF85-9321B07F7B5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616776" y="5202079"/>
              <a:ext cx="1057572" cy="19870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57">
              <a:extLst>
                <a:ext uri="{FF2B5EF4-FFF2-40B4-BE49-F238E27FC236}">
                  <a16:creationId xmlns:a16="http://schemas.microsoft.com/office/drawing/2014/main" id="{102773C6-D560-3DC8-1966-D3ECAB6806BE}"/>
                </a:ext>
              </a:extLst>
            </p:cNvPr>
            <p:cNvPicPr>
              <a:picLocks noChangeAspect="1"/>
            </p:cNvPicPr>
            <p:nvPr/>
          </p:nvPicPr>
          <p:blipFill>
            <a:blip r:embed="rId14"/>
            <a:stretch>
              <a:fillRect/>
            </a:stretch>
          </p:blipFill>
          <p:spPr>
            <a:xfrm>
              <a:off x="1129018" y="5374963"/>
              <a:ext cx="1647724" cy="474768"/>
            </a:xfrm>
            <a:prstGeom prst="rect">
              <a:avLst/>
            </a:prstGeom>
          </p:spPr>
        </p:pic>
      </p:grpSp>
      <p:sp>
        <p:nvSpPr>
          <p:cNvPr id="42" name="RBContent12">
            <a:extLst>
              <a:ext uri="{FF2B5EF4-FFF2-40B4-BE49-F238E27FC236}">
                <a16:creationId xmlns:a16="http://schemas.microsoft.com/office/drawing/2014/main" id="{9DB97A62-AE56-B8A8-84ED-CB759BE16301}"/>
              </a:ext>
            </a:extLst>
          </p:cNvPr>
          <p:cNvSpPr txBox="1">
            <a:spLocks/>
          </p:cNvSpPr>
          <p:nvPr/>
        </p:nvSpPr>
        <p:spPr>
          <a:xfrm>
            <a:off x="2266611" y="3650810"/>
            <a:ext cx="1496765" cy="623248"/>
          </a:xfrm>
          <a:prstGeom prst="rect">
            <a:avLst/>
          </a:prstGeom>
          <a:noFill/>
          <a:ln w="9525">
            <a:noFill/>
          </a:ln>
        </p:spPr>
        <p:txBody>
          <a:bodyPr vert="horz" wrap="square" lIns="0" tIns="0" rIns="0" bIns="0" rtlCol="0">
            <a:spAutoFit/>
          </a:bodyPr>
          <a:lstStyle/>
          <a:p>
            <a:pPr marL="93970" lvl="1" indent="-93970">
              <a:lnSpc>
                <a:spcPct val="90000"/>
              </a:lnSpc>
              <a:spcBef>
                <a:spcPts val="300"/>
              </a:spcBef>
              <a:buSzPct val="100000"/>
              <a:buFont typeface="+mn-lt"/>
              <a:buChar char="•"/>
            </a:pPr>
            <a:r>
              <a:rPr lang="en-US" sz="900">
                <a:sym typeface="+mn-lt"/>
              </a:rPr>
              <a:t>After opening a plant in Kazakhstan in 2017, ATV plans to build one in Saudi Arabia to continue its international expansion</a:t>
            </a:r>
          </a:p>
        </p:txBody>
      </p:sp>
      <p:sp>
        <p:nvSpPr>
          <p:cNvPr id="43" name="Abgerundetes Rechteck 160">
            <a:extLst>
              <a:ext uri="{FF2B5EF4-FFF2-40B4-BE49-F238E27FC236}">
                <a16:creationId xmlns:a16="http://schemas.microsoft.com/office/drawing/2014/main" id="{742CB34E-06C9-A3E6-568A-7EF4691828D8}"/>
              </a:ext>
            </a:extLst>
          </p:cNvPr>
          <p:cNvSpPr/>
          <p:nvPr/>
        </p:nvSpPr>
        <p:spPr>
          <a:xfrm>
            <a:off x="2302329" y="3416404"/>
            <a:ext cx="407554" cy="174821"/>
          </a:xfrm>
          <a:prstGeom prst="roundRect">
            <a:avLst>
              <a:gd name="adj" fmla="val 50000"/>
            </a:avLst>
          </a:prstGeom>
          <a:solidFill>
            <a:schemeClr val="accent3"/>
          </a:solidFill>
          <a:ln w="6350"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lIns="0" tIns="0" rIns="0" bIns="0" rtlCol="0" anchor="ctr" anchorCtr="0">
            <a:noAutofit/>
          </a:bodyPr>
          <a:lstStyle/>
          <a:p>
            <a:pPr algn="ctr">
              <a:lnSpc>
                <a:spcPct val="90000"/>
              </a:lnSpc>
              <a:spcBef>
                <a:spcPts val="300"/>
              </a:spcBef>
            </a:pPr>
            <a:r>
              <a:rPr lang="en-US" sz="900">
                <a:solidFill>
                  <a:schemeClr val="bg1"/>
                </a:solidFill>
              </a:rPr>
              <a:t>2023</a:t>
            </a:r>
          </a:p>
        </p:txBody>
      </p:sp>
      <p:sp>
        <p:nvSpPr>
          <p:cNvPr id="44" name="RBContent12">
            <a:extLst>
              <a:ext uri="{FF2B5EF4-FFF2-40B4-BE49-F238E27FC236}">
                <a16:creationId xmlns:a16="http://schemas.microsoft.com/office/drawing/2014/main" id="{150BD174-12E9-85E0-2A0C-7C0340440E81}"/>
              </a:ext>
            </a:extLst>
          </p:cNvPr>
          <p:cNvSpPr txBox="1">
            <a:spLocks/>
          </p:cNvSpPr>
          <p:nvPr/>
        </p:nvSpPr>
        <p:spPr>
          <a:xfrm>
            <a:off x="2266611" y="2219081"/>
            <a:ext cx="1452585" cy="623248"/>
          </a:xfrm>
          <a:prstGeom prst="rect">
            <a:avLst/>
          </a:prstGeom>
          <a:noFill/>
          <a:ln w="9525">
            <a:noFill/>
          </a:ln>
        </p:spPr>
        <p:txBody>
          <a:bodyPr vert="horz" wrap="square" lIns="0" tIns="0" rIns="0" bIns="0" rtlCol="0">
            <a:spAutoFit/>
          </a:bodyPr>
          <a:lstStyle/>
          <a:p>
            <a:pPr marL="93970" lvl="1" indent="-93970">
              <a:lnSpc>
                <a:spcPct val="90000"/>
              </a:lnSpc>
              <a:spcBef>
                <a:spcPts val="300"/>
              </a:spcBef>
              <a:buSzPct val="100000"/>
              <a:buFont typeface="+mn-lt"/>
              <a:buChar char="•"/>
            </a:pPr>
            <a:r>
              <a:rPr lang="en-US" sz="900">
                <a:sym typeface="+mn-lt"/>
              </a:rPr>
              <a:t>Orion Valves opened a branch with 60 employees in Saudi Arabia, to refocus on the ME region and especially on upstream</a:t>
            </a:r>
          </a:p>
        </p:txBody>
      </p:sp>
      <p:sp>
        <p:nvSpPr>
          <p:cNvPr id="45" name="Abgerundetes Rechteck 160">
            <a:extLst>
              <a:ext uri="{FF2B5EF4-FFF2-40B4-BE49-F238E27FC236}">
                <a16:creationId xmlns:a16="http://schemas.microsoft.com/office/drawing/2014/main" id="{45B29F66-9540-84BE-4B83-6FF3EA128D65}"/>
              </a:ext>
            </a:extLst>
          </p:cNvPr>
          <p:cNvSpPr/>
          <p:nvPr/>
        </p:nvSpPr>
        <p:spPr>
          <a:xfrm>
            <a:off x="2302329" y="1984676"/>
            <a:ext cx="407554" cy="174821"/>
          </a:xfrm>
          <a:prstGeom prst="roundRect">
            <a:avLst>
              <a:gd name="adj" fmla="val 50000"/>
            </a:avLst>
          </a:prstGeom>
          <a:solidFill>
            <a:schemeClr val="accent3"/>
          </a:solidFill>
          <a:ln w="6350"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lIns="0" tIns="0" rIns="0" bIns="0" rtlCol="0" anchor="ctr" anchorCtr="0">
            <a:noAutofit/>
          </a:bodyPr>
          <a:lstStyle/>
          <a:p>
            <a:pPr algn="ctr">
              <a:lnSpc>
                <a:spcPct val="90000"/>
              </a:lnSpc>
              <a:spcBef>
                <a:spcPts val="300"/>
              </a:spcBef>
            </a:pPr>
            <a:r>
              <a:rPr lang="en-US" sz="900">
                <a:solidFill>
                  <a:schemeClr val="bg1"/>
                </a:solidFill>
              </a:rPr>
              <a:t>2023</a:t>
            </a:r>
          </a:p>
        </p:txBody>
      </p:sp>
      <p:sp>
        <p:nvSpPr>
          <p:cNvPr id="46" name="Rechteck 12">
            <a:extLst>
              <a:ext uri="{FF2B5EF4-FFF2-40B4-BE49-F238E27FC236}">
                <a16:creationId xmlns:a16="http://schemas.microsoft.com/office/drawing/2014/main" id="{C4CBDA76-7F73-576A-F99F-AB716FD067E6}"/>
              </a:ext>
            </a:extLst>
          </p:cNvPr>
          <p:cNvSpPr/>
          <p:nvPr/>
        </p:nvSpPr>
        <p:spPr>
          <a:xfrm>
            <a:off x="2204359" y="1912325"/>
            <a:ext cx="1594736" cy="1048295"/>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47" name="Rechteck 15">
            <a:extLst>
              <a:ext uri="{FF2B5EF4-FFF2-40B4-BE49-F238E27FC236}">
                <a16:creationId xmlns:a16="http://schemas.microsoft.com/office/drawing/2014/main" id="{F41F5B42-28D8-6E63-DD14-63675CCE7835}"/>
              </a:ext>
            </a:extLst>
          </p:cNvPr>
          <p:cNvSpPr/>
          <p:nvPr/>
        </p:nvSpPr>
        <p:spPr>
          <a:xfrm>
            <a:off x="2204359" y="3350470"/>
            <a:ext cx="1594736" cy="1048295"/>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pic>
        <p:nvPicPr>
          <p:cNvPr id="48" name="Picture 2">
            <a:extLst>
              <a:ext uri="{FF2B5EF4-FFF2-40B4-BE49-F238E27FC236}">
                <a16:creationId xmlns:a16="http://schemas.microsoft.com/office/drawing/2014/main" id="{6645303B-2360-A985-B192-CD51B8B310F7}"/>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4214" b="5398"/>
          <a:stretch/>
        </p:blipFill>
        <p:spPr bwMode="auto">
          <a:xfrm>
            <a:off x="2204358" y="1553861"/>
            <a:ext cx="738849" cy="337543"/>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a:extLst>
              <a:ext uri="{FF2B5EF4-FFF2-40B4-BE49-F238E27FC236}">
                <a16:creationId xmlns:a16="http://schemas.microsoft.com/office/drawing/2014/main" id="{A8AF2412-83DB-8F6D-E9EB-AD6679D4D19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212543" y="3035885"/>
            <a:ext cx="996476" cy="26811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a:extLst>
              <a:ext uri="{FF2B5EF4-FFF2-40B4-BE49-F238E27FC236}">
                <a16:creationId xmlns:a16="http://schemas.microsoft.com/office/drawing/2014/main" id="{DA0943BF-CF36-8AB0-E7C4-23056BEAFC2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555836" y="1388672"/>
            <a:ext cx="701264" cy="493317"/>
          </a:xfrm>
          <a:prstGeom prst="rect">
            <a:avLst/>
          </a:prstGeom>
          <a:noFill/>
          <a:extLst>
            <a:ext uri="{909E8E84-426E-40DD-AFC4-6F175D3DCCD1}">
              <a14:hiddenFill xmlns:a14="http://schemas.microsoft.com/office/drawing/2010/main">
                <a:solidFill>
                  <a:srgbClr val="FFFFFF"/>
                </a:solidFill>
              </a14:hiddenFill>
            </a:ext>
          </a:extLst>
        </p:spPr>
      </p:pic>
      <p:grpSp>
        <p:nvGrpSpPr>
          <p:cNvPr id="51" name="Gruppieren 8">
            <a:extLst>
              <a:ext uri="{FF2B5EF4-FFF2-40B4-BE49-F238E27FC236}">
                <a16:creationId xmlns:a16="http://schemas.microsoft.com/office/drawing/2014/main" id="{FAB23EDC-E2C0-16F8-E819-7B0663EBFA46}"/>
              </a:ext>
            </a:extLst>
          </p:cNvPr>
          <p:cNvGrpSpPr/>
          <p:nvPr/>
        </p:nvGrpSpPr>
        <p:grpSpPr>
          <a:xfrm>
            <a:off x="250825" y="13448"/>
            <a:ext cx="2601506" cy="216000"/>
            <a:chOff x="250825" y="959449"/>
            <a:chExt cx="2601506" cy="216000"/>
          </a:xfrm>
        </p:grpSpPr>
        <p:sp>
          <p:nvSpPr>
            <p:cNvPr id="52" name="RbNavigator">
              <a:extLst>
                <a:ext uri="{FF2B5EF4-FFF2-40B4-BE49-F238E27FC236}">
                  <a16:creationId xmlns:a16="http://schemas.microsoft.com/office/drawing/2014/main" id="{594C9EC7-E101-DF7B-91E7-1C6A426816C5}"/>
                </a:ext>
              </a:extLst>
            </p:cNvPr>
            <p:cNvSpPr txBox="1">
              <a:spLocks/>
            </p:cNvSpPr>
            <p:nvPr/>
          </p:nvSpPr>
          <p:spPr>
            <a:xfrm>
              <a:off x="250825" y="959449"/>
              <a:ext cx="216000" cy="216000"/>
            </a:xfrm>
            <a:prstGeom prst="ellipse">
              <a:avLst/>
            </a:prstGeom>
            <a:solidFill>
              <a:schemeClr val="tx1"/>
            </a:solidFill>
            <a:ln w="6350">
              <a:noFill/>
            </a:ln>
          </p:spPr>
          <p:txBody>
            <a:bodyPr vert="horz" wrap="none" lIns="0" tIns="0" rIns="0" bIns="0" rtlCol="0" anchor="ctr">
              <a:noAutofit/>
            </a:bodyPr>
            <a:lstStyle>
              <a:defPPr>
                <a:defRPr lang="en-EN"/>
              </a:defPPr>
              <a:lvl1pPr algn="ctr">
                <a:lnSpc>
                  <a:spcPct val="100000"/>
                </a:lnSpc>
                <a:spcBef>
                  <a:spcPts val="0"/>
                </a:spcBef>
                <a:spcAft>
                  <a:spcPts val="0"/>
                </a:spcAft>
                <a:buClr>
                  <a:srgbClr val="000000"/>
                </a:buClr>
                <a:buSzPct val="100000"/>
                <a:defRPr kumimoji="1" sz="900">
                  <a:solidFill>
                    <a:schemeClr val="bg1"/>
                  </a:solidFill>
                  <a:latin typeface="+mn-lt"/>
                </a:defRPr>
              </a:lvl1pPr>
            </a:lstStyle>
            <a:p>
              <a:r>
                <a:rPr lang="en-US" sz="900">
                  <a:latin typeface="+mn-lt"/>
                  <a:ea typeface="+mn-ea"/>
                  <a:cs typeface="+mn-cs"/>
                  <a:sym typeface="+mn-lt"/>
                </a:rPr>
                <a:t>2</a:t>
              </a:r>
            </a:p>
          </p:txBody>
        </p:sp>
        <p:sp>
          <p:nvSpPr>
            <p:cNvPr id="53" name="RbSticker">
              <a:extLst>
                <a:ext uri="{FF2B5EF4-FFF2-40B4-BE49-F238E27FC236}">
                  <a16:creationId xmlns:a16="http://schemas.microsoft.com/office/drawing/2014/main" id="{4BF7A270-0392-9B7B-1AC7-9037ECDCA5E8}"/>
                </a:ext>
              </a:extLst>
            </p:cNvPr>
            <p:cNvSpPr txBox="1">
              <a:spLocks/>
            </p:cNvSpPr>
            <p:nvPr/>
          </p:nvSpPr>
          <p:spPr>
            <a:xfrm>
              <a:off x="548331" y="998200"/>
              <a:ext cx="2304000" cy="13849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defPPr>
                <a:defRPr lang="en-EN"/>
              </a:defPPr>
              <a:lvl1pPr>
                <a:lnSpc>
                  <a:spcPct val="100000"/>
                </a:lnSpc>
                <a:spcBef>
                  <a:spcPts val="0"/>
                </a:spcBef>
                <a:spcAft>
                  <a:spcPts val="0"/>
                </a:spcAft>
                <a:buClr>
                  <a:srgbClr val="000000"/>
                </a:buClr>
                <a:buSzPct val="100000"/>
                <a:defRPr sz="900">
                  <a:latin typeface="+mn-lt"/>
                </a:defRPr>
              </a:lvl1pPr>
            </a:lstStyle>
            <a:p>
              <a:r>
                <a:rPr lang="en-US" sz="900" b="1" dirty="0"/>
                <a:t>Global localization </a:t>
              </a:r>
              <a:r>
                <a:rPr lang="en-US" sz="900" dirty="0"/>
                <a:t>(offices and workshops)</a:t>
              </a:r>
            </a:p>
          </p:txBody>
        </p:sp>
      </p:grpSp>
      <p:sp>
        <p:nvSpPr>
          <p:cNvPr id="54" name="TextBox 1">
            <a:extLst>
              <a:ext uri="{FF2B5EF4-FFF2-40B4-BE49-F238E27FC236}">
                <a16:creationId xmlns:a16="http://schemas.microsoft.com/office/drawing/2014/main" id="{298316D5-71BA-46D5-7D0F-FED5AF7DBD05}"/>
              </a:ext>
            </a:extLst>
          </p:cNvPr>
          <p:cNvSpPr txBox="1"/>
          <p:nvPr/>
        </p:nvSpPr>
        <p:spPr>
          <a:xfrm>
            <a:off x="168275" y="1256984"/>
            <a:ext cx="7579731" cy="276999"/>
          </a:xfrm>
          <a:prstGeom prst="rect">
            <a:avLst/>
          </a:prstGeom>
          <a:noFill/>
        </p:spPr>
        <p:txBody>
          <a:bodyPr wrap="square">
            <a:spAutoFit/>
          </a:bodyPr>
          <a:lstStyle/>
          <a:p>
            <a:r>
              <a:rPr lang="en-US" sz="1200" dirty="0">
                <a:solidFill>
                  <a:schemeClr val="tx2"/>
                </a:solidFill>
                <a:latin typeface="+mj-lt"/>
                <a:cs typeface="+mj-cs"/>
                <a:sym typeface="+mn-lt"/>
              </a:rPr>
              <a:t>Global facilities opened by valves manufacturers – Middle East focus</a:t>
            </a:r>
            <a:endParaRPr lang="en-GB" sz="1200" dirty="0">
              <a:solidFill>
                <a:schemeClr val="tx2"/>
              </a:solidFill>
            </a:endParaRPr>
          </a:p>
        </p:txBody>
      </p:sp>
    </p:spTree>
    <p:extLst>
      <p:ext uri="{BB962C8B-B14F-4D97-AF65-F5344CB8AC3E}">
        <p14:creationId xmlns:p14="http://schemas.microsoft.com/office/powerpoint/2010/main" val="25834462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7">
            <a:extLst>
              <a:ext uri="{FF2B5EF4-FFF2-40B4-BE49-F238E27FC236}">
                <a16:creationId xmlns:a16="http://schemas.microsoft.com/office/drawing/2014/main" id="{7312B677-9D5F-C4E9-EFCE-8B8D6E7463FE}"/>
              </a:ext>
            </a:extLst>
          </p:cNvPr>
          <p:cNvGrpSpPr>
            <a:grpSpLocks noChangeAspect="1"/>
          </p:cNvGrpSpPr>
          <p:nvPr/>
        </p:nvGrpSpPr>
        <p:grpSpPr>
          <a:xfrm>
            <a:off x="2014045" y="1983093"/>
            <a:ext cx="5054950" cy="2165795"/>
            <a:chOff x="695789" y="2206464"/>
            <a:chExt cx="8514422" cy="3648007"/>
          </a:xfrm>
          <a:solidFill>
            <a:schemeClr val="accent2"/>
          </a:solidFill>
        </p:grpSpPr>
        <p:sp>
          <p:nvSpPr>
            <p:cNvPr id="3" name="Zimbabwe" descr="© INSCALE GmbH, 05.05.2010&#10;http://www.presentationload.com/">
              <a:extLst>
                <a:ext uri="{FF2B5EF4-FFF2-40B4-BE49-F238E27FC236}">
                  <a16:creationId xmlns:a16="http://schemas.microsoft.com/office/drawing/2014/main" id="{879B4C3E-083D-3CB7-AE21-D300F1D0F50D}"/>
                </a:ext>
              </a:extLst>
            </p:cNvPr>
            <p:cNvSpPr>
              <a:spLocks/>
            </p:cNvSpPr>
            <p:nvPr/>
          </p:nvSpPr>
          <p:spPr bwMode="gray">
            <a:xfrm>
              <a:off x="5299448" y="4770431"/>
              <a:ext cx="213315" cy="187316"/>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4" name="Zambia" descr="© INSCALE GmbH, 05.05.2010&#10;http://www.presentationload.com/">
              <a:extLst>
                <a:ext uri="{FF2B5EF4-FFF2-40B4-BE49-F238E27FC236}">
                  <a16:creationId xmlns:a16="http://schemas.microsoft.com/office/drawing/2014/main" id="{F033D4E2-9FCD-286C-1A48-89FAC672432A}"/>
                </a:ext>
              </a:extLst>
            </p:cNvPr>
            <p:cNvSpPr>
              <a:spLocks/>
            </p:cNvSpPr>
            <p:nvPr/>
          </p:nvSpPr>
          <p:spPr bwMode="gray">
            <a:xfrm>
              <a:off x="5213212" y="4565845"/>
              <a:ext cx="322241" cy="271010"/>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5" name="Yemen" descr="© INSCALE GmbH, 05.05.2010&#10;http://www.presentationload.com/">
              <a:extLst>
                <a:ext uri="{FF2B5EF4-FFF2-40B4-BE49-F238E27FC236}">
                  <a16:creationId xmlns:a16="http://schemas.microsoft.com/office/drawing/2014/main" id="{B39C1BCE-7A2C-3807-6734-4D9A613ABD9D}"/>
                </a:ext>
              </a:extLst>
            </p:cNvPr>
            <p:cNvSpPr>
              <a:spLocks/>
            </p:cNvSpPr>
            <p:nvPr/>
          </p:nvSpPr>
          <p:spPr bwMode="gray">
            <a:xfrm>
              <a:off x="5774487" y="3821896"/>
              <a:ext cx="282905" cy="170045"/>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6" name="Western Sahara" descr="© INSCALE GmbH, 05.05.2010&#10;http://www.presentationload.com/">
              <a:extLst>
                <a:ext uri="{FF2B5EF4-FFF2-40B4-BE49-F238E27FC236}">
                  <a16:creationId xmlns:a16="http://schemas.microsoft.com/office/drawing/2014/main" id="{34ACC066-8133-406F-613E-EEA9FAE75F8C}"/>
                </a:ext>
              </a:extLst>
            </p:cNvPr>
            <p:cNvSpPr>
              <a:spLocks/>
            </p:cNvSpPr>
            <p:nvPr/>
          </p:nvSpPr>
          <p:spPr bwMode="gray">
            <a:xfrm>
              <a:off x="4157231" y="3585427"/>
              <a:ext cx="231469" cy="174031"/>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7" name="West Bank" descr="© INSCALE GmbH, 05.05.2010&#10;http://www.presentationload.com/">
              <a:extLst>
                <a:ext uri="{FF2B5EF4-FFF2-40B4-BE49-F238E27FC236}">
                  <a16:creationId xmlns:a16="http://schemas.microsoft.com/office/drawing/2014/main" id="{A8FA2FC4-867F-009C-76B9-6E0529C9AAA6}"/>
                </a:ext>
              </a:extLst>
            </p:cNvPr>
            <p:cNvSpPr>
              <a:spLocks/>
            </p:cNvSpPr>
            <p:nvPr/>
          </p:nvSpPr>
          <p:spPr bwMode="gray">
            <a:xfrm>
              <a:off x="5543018" y="3453907"/>
              <a:ext cx="16642" cy="31884"/>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8" name="Uzbekistan" descr="© INSCALE GmbH, 05.05.2010&#10;http://www.presentationload.com/">
              <a:extLst>
                <a:ext uri="{FF2B5EF4-FFF2-40B4-BE49-F238E27FC236}">
                  <a16:creationId xmlns:a16="http://schemas.microsoft.com/office/drawing/2014/main" id="{8109050C-8619-D933-17E9-FF045EAEA604}"/>
                </a:ext>
              </a:extLst>
            </p:cNvPr>
            <p:cNvSpPr>
              <a:spLocks/>
            </p:cNvSpPr>
            <p:nvPr/>
          </p:nvSpPr>
          <p:spPr bwMode="gray">
            <a:xfrm>
              <a:off x="6022597" y="3099204"/>
              <a:ext cx="458400" cy="225842"/>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9" name="Vietnam" descr="© INSCALE GmbH, 05.05.2010&#10;http://www.presentationload.com/">
              <a:extLst>
                <a:ext uri="{FF2B5EF4-FFF2-40B4-BE49-F238E27FC236}">
                  <a16:creationId xmlns:a16="http://schemas.microsoft.com/office/drawing/2014/main" id="{F6206A49-DBA4-DC24-B31D-20311D758A14}"/>
                </a:ext>
              </a:extLst>
            </p:cNvPr>
            <p:cNvSpPr>
              <a:spLocks/>
            </p:cNvSpPr>
            <p:nvPr/>
          </p:nvSpPr>
          <p:spPr bwMode="gray">
            <a:xfrm>
              <a:off x="7372077" y="3702333"/>
              <a:ext cx="234493" cy="405187"/>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0" name="Venezuela" descr="© INSCALE GmbH, 05.05.2010&#10;http://www.presentationload.com/">
              <a:extLst>
                <a:ext uri="{FF2B5EF4-FFF2-40B4-BE49-F238E27FC236}">
                  <a16:creationId xmlns:a16="http://schemas.microsoft.com/office/drawing/2014/main" id="{2CBA90F9-8D64-EDBC-D320-895189EF580E}"/>
                </a:ext>
              </a:extLst>
            </p:cNvPr>
            <p:cNvSpPr>
              <a:spLocks noEditPoints="1"/>
            </p:cNvSpPr>
            <p:nvPr/>
          </p:nvSpPr>
          <p:spPr bwMode="gray">
            <a:xfrm>
              <a:off x="2598977" y="4009212"/>
              <a:ext cx="369139" cy="316178"/>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1" name="USA (Alaska)" descr="© INSCALE GmbH, 05.05.2010&#10;http://www.presentationload.com/">
              <a:extLst>
                <a:ext uri="{FF2B5EF4-FFF2-40B4-BE49-F238E27FC236}">
                  <a16:creationId xmlns:a16="http://schemas.microsoft.com/office/drawing/2014/main" id="{3AFBC073-3629-89DE-57C8-EF9BF19B64DC}"/>
                </a:ext>
              </a:extLst>
            </p:cNvPr>
            <p:cNvSpPr>
              <a:spLocks noEditPoints="1"/>
            </p:cNvSpPr>
            <p:nvPr/>
          </p:nvSpPr>
          <p:spPr bwMode="gray">
            <a:xfrm>
              <a:off x="695789" y="2450905"/>
              <a:ext cx="1189113" cy="451683"/>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2" name="USA" descr="© INSCALE GmbH, 05.05.2010&#10;http://www.presentationload.com/">
              <a:extLst>
                <a:ext uri="{FF2B5EF4-FFF2-40B4-BE49-F238E27FC236}">
                  <a16:creationId xmlns:a16="http://schemas.microsoft.com/office/drawing/2014/main" id="{38AEC3A5-404C-6A6E-9A2F-5EEF4EA45BBD}"/>
                </a:ext>
              </a:extLst>
            </p:cNvPr>
            <p:cNvSpPr>
              <a:spLocks noEditPoints="1"/>
            </p:cNvSpPr>
            <p:nvPr/>
          </p:nvSpPr>
          <p:spPr bwMode="gray">
            <a:xfrm>
              <a:off x="1473403" y="2994253"/>
              <a:ext cx="1515893" cy="660256"/>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3" name="Uruguay" descr="© INSCALE GmbH, 05.05.2010&#10;http://www.presentationload.com/">
              <a:extLst>
                <a:ext uri="{FF2B5EF4-FFF2-40B4-BE49-F238E27FC236}">
                  <a16:creationId xmlns:a16="http://schemas.microsoft.com/office/drawing/2014/main" id="{E0E3F679-FA50-7325-7566-706BAF7D4BB8}"/>
                </a:ext>
              </a:extLst>
            </p:cNvPr>
            <p:cNvSpPr>
              <a:spLocks/>
            </p:cNvSpPr>
            <p:nvPr/>
          </p:nvSpPr>
          <p:spPr bwMode="gray">
            <a:xfrm>
              <a:off x="3090659" y="5167647"/>
              <a:ext cx="142209" cy="130191"/>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4" name="United Kingdom" descr="© INSCALE GmbH, 05.05.2010&#10;http://www.presentationload.com/">
              <a:extLst>
                <a:ext uri="{FF2B5EF4-FFF2-40B4-BE49-F238E27FC236}">
                  <a16:creationId xmlns:a16="http://schemas.microsoft.com/office/drawing/2014/main" id="{A0671814-09AE-59FA-E2F2-C12C22815FCD}"/>
                </a:ext>
              </a:extLst>
            </p:cNvPr>
            <p:cNvSpPr>
              <a:spLocks noEditPoints="1"/>
            </p:cNvSpPr>
            <p:nvPr/>
          </p:nvSpPr>
          <p:spPr bwMode="gray">
            <a:xfrm>
              <a:off x="4467369" y="2700658"/>
              <a:ext cx="223905" cy="280311"/>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5" name="United Arab Emirates" descr="© INSCALE GmbH, 05.05.2010&#10;http://www.presentationload.com/">
              <a:extLst>
                <a:ext uri="{FF2B5EF4-FFF2-40B4-BE49-F238E27FC236}">
                  <a16:creationId xmlns:a16="http://schemas.microsoft.com/office/drawing/2014/main" id="{42EF902A-AB06-A679-9438-C6E350044CE3}"/>
                </a:ext>
              </a:extLst>
            </p:cNvPr>
            <p:cNvSpPr>
              <a:spLocks/>
            </p:cNvSpPr>
            <p:nvPr/>
          </p:nvSpPr>
          <p:spPr bwMode="gray">
            <a:xfrm>
              <a:off x="6002929" y="3615983"/>
              <a:ext cx="130107" cy="108936"/>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6" name="Ukraine" descr="© INSCALE GmbH, 05.05.2010&#10;http://www.presentationload.com/">
              <a:extLst>
                <a:ext uri="{FF2B5EF4-FFF2-40B4-BE49-F238E27FC236}">
                  <a16:creationId xmlns:a16="http://schemas.microsoft.com/office/drawing/2014/main" id="{6FBF35FF-5ABF-1B1C-4BF9-B312D12D62D0}"/>
                </a:ext>
              </a:extLst>
            </p:cNvPr>
            <p:cNvSpPr>
              <a:spLocks/>
            </p:cNvSpPr>
            <p:nvPr/>
          </p:nvSpPr>
          <p:spPr bwMode="gray">
            <a:xfrm>
              <a:off x="5179929" y="2917202"/>
              <a:ext cx="432680" cy="212557"/>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7" name="Uganda" descr="© INSCALE GmbH, 05.05.2010&#10;http://www.presentationload.com/">
              <a:extLst>
                <a:ext uri="{FF2B5EF4-FFF2-40B4-BE49-F238E27FC236}">
                  <a16:creationId xmlns:a16="http://schemas.microsoft.com/office/drawing/2014/main" id="{AD0E4992-8E37-A9A2-03E5-899D26B4EFBF}"/>
                </a:ext>
              </a:extLst>
            </p:cNvPr>
            <p:cNvSpPr>
              <a:spLocks noEditPoints="1"/>
            </p:cNvSpPr>
            <p:nvPr/>
          </p:nvSpPr>
          <p:spPr bwMode="gray">
            <a:xfrm>
              <a:off x="5426527" y="4228410"/>
              <a:ext cx="151286" cy="156760"/>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8" name="Turkmenistan" descr="© INSCALE GmbH, 05.05.2010&#10;http://www.presentationload.com/">
              <a:extLst>
                <a:ext uri="{FF2B5EF4-FFF2-40B4-BE49-F238E27FC236}">
                  <a16:creationId xmlns:a16="http://schemas.microsoft.com/office/drawing/2014/main" id="{A82E6837-0C67-ABCE-6E4A-AAFFE6CD4B2F}"/>
                </a:ext>
              </a:extLst>
            </p:cNvPr>
            <p:cNvSpPr>
              <a:spLocks/>
            </p:cNvSpPr>
            <p:nvPr/>
          </p:nvSpPr>
          <p:spPr bwMode="gray">
            <a:xfrm>
              <a:off x="5953004" y="3172270"/>
              <a:ext cx="390320" cy="205916"/>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9" name="Turkey" descr="© INSCALE GmbH, 05.05.2010&#10;http://www.presentationload.com/">
              <a:extLst>
                <a:ext uri="{FF2B5EF4-FFF2-40B4-BE49-F238E27FC236}">
                  <a16:creationId xmlns:a16="http://schemas.microsoft.com/office/drawing/2014/main" id="{30BE96D8-14F0-9D1B-01CF-F0CE47D2E220}"/>
                </a:ext>
              </a:extLst>
            </p:cNvPr>
            <p:cNvSpPr>
              <a:spLocks noEditPoints="1"/>
            </p:cNvSpPr>
            <p:nvPr/>
          </p:nvSpPr>
          <p:spPr bwMode="gray">
            <a:xfrm>
              <a:off x="5269189" y="3188210"/>
              <a:ext cx="514376" cy="172702"/>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20" name="Tunisia" descr="© INSCALE GmbH, 05.05.2010&#10;http://www.presentationload.com/">
              <a:extLst>
                <a:ext uri="{FF2B5EF4-FFF2-40B4-BE49-F238E27FC236}">
                  <a16:creationId xmlns:a16="http://schemas.microsoft.com/office/drawing/2014/main" id="{6DC5B16A-1238-B37B-0F57-397BD7E9F549}"/>
                </a:ext>
              </a:extLst>
            </p:cNvPr>
            <p:cNvSpPr>
              <a:spLocks/>
            </p:cNvSpPr>
            <p:nvPr/>
          </p:nvSpPr>
          <p:spPr bwMode="gray">
            <a:xfrm>
              <a:off x="4821380" y="3321059"/>
              <a:ext cx="105901" cy="193959"/>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21" name="Togo" descr="© INSCALE GmbH, 05.05.2010&#10;http://www.presentationload.com/">
              <a:extLst>
                <a:ext uri="{FF2B5EF4-FFF2-40B4-BE49-F238E27FC236}">
                  <a16:creationId xmlns:a16="http://schemas.microsoft.com/office/drawing/2014/main" id="{736168D1-6491-9568-8023-6477087C2A8B}"/>
                </a:ext>
              </a:extLst>
            </p:cNvPr>
            <p:cNvSpPr>
              <a:spLocks/>
            </p:cNvSpPr>
            <p:nvPr/>
          </p:nvSpPr>
          <p:spPr bwMode="gray">
            <a:xfrm>
              <a:off x="4606552" y="4039767"/>
              <a:ext cx="54463" cy="136834"/>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22" name="Thailand" descr="© INSCALE GmbH, 05.05.2010&#10;http://www.presentationload.com/">
              <a:extLst>
                <a:ext uri="{FF2B5EF4-FFF2-40B4-BE49-F238E27FC236}">
                  <a16:creationId xmlns:a16="http://schemas.microsoft.com/office/drawing/2014/main" id="{AFFCDABB-75C1-2AA1-DA39-09A6322D6908}"/>
                </a:ext>
              </a:extLst>
            </p:cNvPr>
            <p:cNvSpPr>
              <a:spLocks/>
            </p:cNvSpPr>
            <p:nvPr/>
          </p:nvSpPr>
          <p:spPr bwMode="gray">
            <a:xfrm>
              <a:off x="7258609" y="3783370"/>
              <a:ext cx="239034" cy="403858"/>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23" name="Tanzania" descr="© INSCALE GmbH, 05.05.2010&#10;http://www.presentationload.com/">
              <a:extLst>
                <a:ext uri="{FF2B5EF4-FFF2-40B4-BE49-F238E27FC236}">
                  <a16:creationId xmlns:a16="http://schemas.microsoft.com/office/drawing/2014/main" id="{B4CAD5F6-C8A1-80A8-F668-079691472EE5}"/>
                </a:ext>
              </a:extLst>
            </p:cNvPr>
            <p:cNvSpPr>
              <a:spLocks noEditPoints="1"/>
            </p:cNvSpPr>
            <p:nvPr/>
          </p:nvSpPr>
          <p:spPr bwMode="gray">
            <a:xfrm>
              <a:off x="5425014" y="4370559"/>
              <a:ext cx="296522" cy="294922"/>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24" name="Tajikistan" descr="© INSCALE GmbH, 05.05.2010&#10;http://www.presentationload.com/">
              <a:extLst>
                <a:ext uri="{FF2B5EF4-FFF2-40B4-BE49-F238E27FC236}">
                  <a16:creationId xmlns:a16="http://schemas.microsoft.com/office/drawing/2014/main" id="{A7126380-1242-046C-95F1-9EB3C63343DD}"/>
                </a:ext>
              </a:extLst>
            </p:cNvPr>
            <p:cNvSpPr>
              <a:spLocks/>
            </p:cNvSpPr>
            <p:nvPr/>
          </p:nvSpPr>
          <p:spPr bwMode="gray">
            <a:xfrm>
              <a:off x="6347862" y="3221423"/>
              <a:ext cx="213315" cy="118235"/>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25" name="Taiwan" descr="© INSCALE GmbH, 05.05.2010&#10;http://www.presentationload.com/">
              <a:extLst>
                <a:ext uri="{FF2B5EF4-FFF2-40B4-BE49-F238E27FC236}">
                  <a16:creationId xmlns:a16="http://schemas.microsoft.com/office/drawing/2014/main" id="{DE8CC0C2-77DB-C0F3-4E76-F57F33B27ABA}"/>
                </a:ext>
              </a:extLst>
            </p:cNvPr>
            <p:cNvSpPr>
              <a:spLocks/>
            </p:cNvSpPr>
            <p:nvPr/>
          </p:nvSpPr>
          <p:spPr bwMode="gray">
            <a:xfrm>
              <a:off x="7842576" y="3649194"/>
              <a:ext cx="46899" cy="91665"/>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26" name="Syria" descr="© INSCALE GmbH, 05.05.2010&#10;http://www.presentationload.com/">
              <a:extLst>
                <a:ext uri="{FF2B5EF4-FFF2-40B4-BE49-F238E27FC236}">
                  <a16:creationId xmlns:a16="http://schemas.microsoft.com/office/drawing/2014/main" id="{D3ECD117-7FAE-35C1-427B-38A18566EDCF}"/>
                </a:ext>
              </a:extLst>
            </p:cNvPr>
            <p:cNvSpPr>
              <a:spLocks/>
            </p:cNvSpPr>
            <p:nvPr/>
          </p:nvSpPr>
          <p:spPr bwMode="gray">
            <a:xfrm>
              <a:off x="5547556" y="3318402"/>
              <a:ext cx="173980" cy="140819"/>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27" name="Switzerland" descr="© INSCALE GmbH, 05.05.2010&#10;http://www.presentationload.com/">
              <a:extLst>
                <a:ext uri="{FF2B5EF4-FFF2-40B4-BE49-F238E27FC236}">
                  <a16:creationId xmlns:a16="http://schemas.microsoft.com/office/drawing/2014/main" id="{E7A14B78-BC2B-A177-31C0-33B19FE02575}"/>
                </a:ext>
              </a:extLst>
            </p:cNvPr>
            <p:cNvSpPr>
              <a:spLocks/>
            </p:cNvSpPr>
            <p:nvPr/>
          </p:nvSpPr>
          <p:spPr bwMode="gray">
            <a:xfrm>
              <a:off x="4788097" y="3035436"/>
              <a:ext cx="111952" cy="54468"/>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28" name="Sweden" descr="© INSCALE GmbH, 05.05.2010&#10;http://www.presentationload.com/">
              <a:extLst>
                <a:ext uri="{FF2B5EF4-FFF2-40B4-BE49-F238E27FC236}">
                  <a16:creationId xmlns:a16="http://schemas.microsoft.com/office/drawing/2014/main" id="{CBE87C25-6802-DAC9-3CC9-E20BE2F3C0CE}"/>
                </a:ext>
              </a:extLst>
            </p:cNvPr>
            <p:cNvSpPr>
              <a:spLocks noEditPoints="1"/>
            </p:cNvSpPr>
            <p:nvPr/>
          </p:nvSpPr>
          <p:spPr bwMode="gray">
            <a:xfrm>
              <a:off x="4915179" y="2501386"/>
              <a:ext cx="267779" cy="336106"/>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29" name="Swaziland" descr="© INSCALE GmbH, 05.05.2010&#10;http://www.presentationload.com/">
              <a:extLst>
                <a:ext uri="{FF2B5EF4-FFF2-40B4-BE49-F238E27FC236}">
                  <a16:creationId xmlns:a16="http://schemas.microsoft.com/office/drawing/2014/main" id="{E5868CCE-5FD8-4D5F-5662-404FBCAD2324}"/>
                </a:ext>
              </a:extLst>
            </p:cNvPr>
            <p:cNvSpPr>
              <a:spLocks/>
            </p:cNvSpPr>
            <p:nvPr/>
          </p:nvSpPr>
          <p:spPr bwMode="gray">
            <a:xfrm>
              <a:off x="5443168" y="5046755"/>
              <a:ext cx="39335" cy="45169"/>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30" name="Suriname" descr="© INSCALE GmbH, 05.05.2010&#10;http://www.presentationload.com/">
              <a:extLst>
                <a:ext uri="{FF2B5EF4-FFF2-40B4-BE49-F238E27FC236}">
                  <a16:creationId xmlns:a16="http://schemas.microsoft.com/office/drawing/2014/main" id="{DFFF18F0-9705-6809-715E-BA309D4E0EF2}"/>
                </a:ext>
              </a:extLst>
            </p:cNvPr>
            <p:cNvSpPr>
              <a:spLocks/>
            </p:cNvSpPr>
            <p:nvPr/>
          </p:nvSpPr>
          <p:spPr bwMode="gray">
            <a:xfrm>
              <a:off x="3011991" y="4179258"/>
              <a:ext cx="113467" cy="114250"/>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31" name="Sudan">
              <a:extLst>
                <a:ext uri="{FF2B5EF4-FFF2-40B4-BE49-F238E27FC236}">
                  <a16:creationId xmlns:a16="http://schemas.microsoft.com/office/drawing/2014/main" id="{A15C7284-F51E-1FE0-34B8-4E318D29C475}"/>
                </a:ext>
              </a:extLst>
            </p:cNvPr>
            <p:cNvSpPr>
              <a:spLocks/>
            </p:cNvSpPr>
            <p:nvPr/>
          </p:nvSpPr>
          <p:spPr bwMode="auto">
            <a:xfrm>
              <a:off x="5202541" y="3707972"/>
              <a:ext cx="462262" cy="398230"/>
            </a:xfrm>
            <a:custGeom>
              <a:avLst/>
              <a:gdLst/>
              <a:ahLst/>
              <a:cxnLst>
                <a:cxn ang="0">
                  <a:pos x="442" y="199"/>
                </a:cxn>
                <a:cxn ang="0">
                  <a:pos x="446" y="187"/>
                </a:cxn>
                <a:cxn ang="0">
                  <a:pos x="475" y="170"/>
                </a:cxn>
                <a:cxn ang="0">
                  <a:pos x="458" y="149"/>
                </a:cxn>
                <a:cxn ang="0">
                  <a:pos x="439" y="137"/>
                </a:cxn>
                <a:cxn ang="0">
                  <a:pos x="434" y="114"/>
                </a:cxn>
                <a:cxn ang="0">
                  <a:pos x="430" y="90"/>
                </a:cxn>
                <a:cxn ang="0">
                  <a:pos x="423" y="55"/>
                </a:cxn>
                <a:cxn ang="0">
                  <a:pos x="413" y="29"/>
                </a:cxn>
                <a:cxn ang="0">
                  <a:pos x="387" y="0"/>
                </a:cxn>
                <a:cxn ang="0">
                  <a:pos x="361" y="26"/>
                </a:cxn>
                <a:cxn ang="0">
                  <a:pos x="345" y="31"/>
                </a:cxn>
                <a:cxn ang="0">
                  <a:pos x="326" y="47"/>
                </a:cxn>
                <a:cxn ang="0">
                  <a:pos x="269" y="36"/>
                </a:cxn>
                <a:cxn ang="0">
                  <a:pos x="87" y="36"/>
                </a:cxn>
                <a:cxn ang="0">
                  <a:pos x="54" y="241"/>
                </a:cxn>
                <a:cxn ang="0">
                  <a:pos x="30" y="246"/>
                </a:cxn>
                <a:cxn ang="0">
                  <a:pos x="30" y="258"/>
                </a:cxn>
                <a:cxn ang="0">
                  <a:pos x="16" y="272"/>
                </a:cxn>
                <a:cxn ang="0">
                  <a:pos x="7" y="300"/>
                </a:cxn>
                <a:cxn ang="0">
                  <a:pos x="9" y="322"/>
                </a:cxn>
                <a:cxn ang="0">
                  <a:pos x="4" y="338"/>
                </a:cxn>
                <a:cxn ang="0">
                  <a:pos x="19" y="338"/>
                </a:cxn>
                <a:cxn ang="0">
                  <a:pos x="21" y="373"/>
                </a:cxn>
                <a:cxn ang="0">
                  <a:pos x="35" y="385"/>
                </a:cxn>
                <a:cxn ang="0">
                  <a:pos x="42" y="409"/>
                </a:cxn>
                <a:cxn ang="0">
                  <a:pos x="54" y="430"/>
                </a:cxn>
                <a:cxn ang="0">
                  <a:pos x="47" y="451"/>
                </a:cxn>
                <a:cxn ang="0">
                  <a:pos x="49" y="463"/>
                </a:cxn>
                <a:cxn ang="0">
                  <a:pos x="73" y="456"/>
                </a:cxn>
                <a:cxn ang="0">
                  <a:pos x="78" y="447"/>
                </a:cxn>
                <a:cxn ang="0">
                  <a:pos x="89" y="418"/>
                </a:cxn>
                <a:cxn ang="0">
                  <a:pos x="115" y="416"/>
                </a:cxn>
                <a:cxn ang="0">
                  <a:pos x="125" y="430"/>
                </a:cxn>
                <a:cxn ang="0">
                  <a:pos x="170" y="433"/>
                </a:cxn>
                <a:cxn ang="0">
                  <a:pos x="196" y="442"/>
                </a:cxn>
                <a:cxn ang="0">
                  <a:pos x="234" y="411"/>
                </a:cxn>
                <a:cxn ang="0">
                  <a:pos x="290" y="409"/>
                </a:cxn>
                <a:cxn ang="0">
                  <a:pos x="307" y="364"/>
                </a:cxn>
                <a:cxn ang="0">
                  <a:pos x="331" y="347"/>
                </a:cxn>
                <a:cxn ang="0">
                  <a:pos x="328" y="378"/>
                </a:cxn>
                <a:cxn ang="0">
                  <a:pos x="335" y="399"/>
                </a:cxn>
                <a:cxn ang="0">
                  <a:pos x="357" y="423"/>
                </a:cxn>
                <a:cxn ang="0">
                  <a:pos x="359" y="409"/>
                </a:cxn>
                <a:cxn ang="0">
                  <a:pos x="368" y="399"/>
                </a:cxn>
                <a:cxn ang="0">
                  <a:pos x="380" y="385"/>
                </a:cxn>
                <a:cxn ang="0">
                  <a:pos x="382" y="364"/>
                </a:cxn>
                <a:cxn ang="0">
                  <a:pos x="392" y="343"/>
                </a:cxn>
                <a:cxn ang="0">
                  <a:pos x="411" y="333"/>
                </a:cxn>
                <a:cxn ang="0">
                  <a:pos x="418" y="303"/>
                </a:cxn>
                <a:cxn ang="0">
                  <a:pos x="416" y="262"/>
                </a:cxn>
                <a:cxn ang="0">
                  <a:pos x="423" y="239"/>
                </a:cxn>
                <a:cxn ang="0">
                  <a:pos x="430" y="215"/>
                </a:cxn>
              </a:cxnLst>
              <a:rect l="0" t="0" r="r" b="b"/>
              <a:pathLst>
                <a:path w="475" h="466">
                  <a:moveTo>
                    <a:pt x="432" y="208"/>
                  </a:moveTo>
                  <a:lnTo>
                    <a:pt x="434" y="206"/>
                  </a:lnTo>
                  <a:lnTo>
                    <a:pt x="434" y="199"/>
                  </a:lnTo>
                  <a:lnTo>
                    <a:pt x="442" y="199"/>
                  </a:lnTo>
                  <a:lnTo>
                    <a:pt x="444" y="196"/>
                  </a:lnTo>
                  <a:lnTo>
                    <a:pt x="444" y="194"/>
                  </a:lnTo>
                  <a:lnTo>
                    <a:pt x="446" y="192"/>
                  </a:lnTo>
                  <a:lnTo>
                    <a:pt x="446" y="187"/>
                  </a:lnTo>
                  <a:lnTo>
                    <a:pt x="451" y="187"/>
                  </a:lnTo>
                  <a:lnTo>
                    <a:pt x="460" y="184"/>
                  </a:lnTo>
                  <a:lnTo>
                    <a:pt x="470" y="180"/>
                  </a:lnTo>
                  <a:lnTo>
                    <a:pt x="475" y="170"/>
                  </a:lnTo>
                  <a:lnTo>
                    <a:pt x="475" y="166"/>
                  </a:lnTo>
                  <a:lnTo>
                    <a:pt x="460" y="154"/>
                  </a:lnTo>
                  <a:lnTo>
                    <a:pt x="460" y="151"/>
                  </a:lnTo>
                  <a:lnTo>
                    <a:pt x="458" y="149"/>
                  </a:lnTo>
                  <a:lnTo>
                    <a:pt x="458" y="144"/>
                  </a:lnTo>
                  <a:lnTo>
                    <a:pt x="453" y="142"/>
                  </a:lnTo>
                  <a:lnTo>
                    <a:pt x="444" y="142"/>
                  </a:lnTo>
                  <a:lnTo>
                    <a:pt x="439" y="137"/>
                  </a:lnTo>
                  <a:lnTo>
                    <a:pt x="439" y="132"/>
                  </a:lnTo>
                  <a:lnTo>
                    <a:pt x="437" y="125"/>
                  </a:lnTo>
                  <a:lnTo>
                    <a:pt x="437" y="118"/>
                  </a:lnTo>
                  <a:lnTo>
                    <a:pt x="434" y="114"/>
                  </a:lnTo>
                  <a:lnTo>
                    <a:pt x="434" y="107"/>
                  </a:lnTo>
                  <a:lnTo>
                    <a:pt x="432" y="107"/>
                  </a:lnTo>
                  <a:lnTo>
                    <a:pt x="432" y="97"/>
                  </a:lnTo>
                  <a:lnTo>
                    <a:pt x="430" y="90"/>
                  </a:lnTo>
                  <a:lnTo>
                    <a:pt x="430" y="73"/>
                  </a:lnTo>
                  <a:lnTo>
                    <a:pt x="427" y="69"/>
                  </a:lnTo>
                  <a:lnTo>
                    <a:pt x="434" y="66"/>
                  </a:lnTo>
                  <a:lnTo>
                    <a:pt x="423" y="55"/>
                  </a:lnTo>
                  <a:lnTo>
                    <a:pt x="423" y="38"/>
                  </a:lnTo>
                  <a:lnTo>
                    <a:pt x="420" y="33"/>
                  </a:lnTo>
                  <a:lnTo>
                    <a:pt x="418" y="31"/>
                  </a:lnTo>
                  <a:lnTo>
                    <a:pt x="413" y="29"/>
                  </a:lnTo>
                  <a:lnTo>
                    <a:pt x="401" y="17"/>
                  </a:lnTo>
                  <a:lnTo>
                    <a:pt x="397" y="17"/>
                  </a:lnTo>
                  <a:lnTo>
                    <a:pt x="390" y="10"/>
                  </a:lnTo>
                  <a:lnTo>
                    <a:pt x="387" y="0"/>
                  </a:lnTo>
                  <a:lnTo>
                    <a:pt x="378" y="12"/>
                  </a:lnTo>
                  <a:lnTo>
                    <a:pt x="364" y="12"/>
                  </a:lnTo>
                  <a:lnTo>
                    <a:pt x="364" y="21"/>
                  </a:lnTo>
                  <a:lnTo>
                    <a:pt x="361" y="26"/>
                  </a:lnTo>
                  <a:lnTo>
                    <a:pt x="359" y="29"/>
                  </a:lnTo>
                  <a:lnTo>
                    <a:pt x="352" y="29"/>
                  </a:lnTo>
                  <a:lnTo>
                    <a:pt x="349" y="31"/>
                  </a:lnTo>
                  <a:lnTo>
                    <a:pt x="345" y="31"/>
                  </a:lnTo>
                  <a:lnTo>
                    <a:pt x="340" y="36"/>
                  </a:lnTo>
                  <a:lnTo>
                    <a:pt x="335" y="45"/>
                  </a:lnTo>
                  <a:lnTo>
                    <a:pt x="333" y="47"/>
                  </a:lnTo>
                  <a:lnTo>
                    <a:pt x="326" y="47"/>
                  </a:lnTo>
                  <a:lnTo>
                    <a:pt x="323" y="45"/>
                  </a:lnTo>
                  <a:lnTo>
                    <a:pt x="321" y="40"/>
                  </a:lnTo>
                  <a:lnTo>
                    <a:pt x="319" y="38"/>
                  </a:lnTo>
                  <a:lnTo>
                    <a:pt x="269" y="36"/>
                  </a:lnTo>
                  <a:lnTo>
                    <a:pt x="269" y="31"/>
                  </a:lnTo>
                  <a:lnTo>
                    <a:pt x="267" y="31"/>
                  </a:lnTo>
                  <a:lnTo>
                    <a:pt x="260" y="38"/>
                  </a:lnTo>
                  <a:lnTo>
                    <a:pt x="87" y="36"/>
                  </a:lnTo>
                  <a:lnTo>
                    <a:pt x="87" y="99"/>
                  </a:lnTo>
                  <a:lnTo>
                    <a:pt x="56" y="99"/>
                  </a:lnTo>
                  <a:lnTo>
                    <a:pt x="59" y="241"/>
                  </a:lnTo>
                  <a:lnTo>
                    <a:pt x="54" y="241"/>
                  </a:lnTo>
                  <a:lnTo>
                    <a:pt x="49" y="239"/>
                  </a:lnTo>
                  <a:lnTo>
                    <a:pt x="33" y="239"/>
                  </a:lnTo>
                  <a:lnTo>
                    <a:pt x="28" y="244"/>
                  </a:lnTo>
                  <a:lnTo>
                    <a:pt x="30" y="246"/>
                  </a:lnTo>
                  <a:lnTo>
                    <a:pt x="30" y="251"/>
                  </a:lnTo>
                  <a:lnTo>
                    <a:pt x="33" y="253"/>
                  </a:lnTo>
                  <a:lnTo>
                    <a:pt x="33" y="255"/>
                  </a:lnTo>
                  <a:lnTo>
                    <a:pt x="30" y="258"/>
                  </a:lnTo>
                  <a:lnTo>
                    <a:pt x="26" y="260"/>
                  </a:lnTo>
                  <a:lnTo>
                    <a:pt x="21" y="265"/>
                  </a:lnTo>
                  <a:lnTo>
                    <a:pt x="21" y="272"/>
                  </a:lnTo>
                  <a:lnTo>
                    <a:pt x="16" y="272"/>
                  </a:lnTo>
                  <a:lnTo>
                    <a:pt x="19" y="281"/>
                  </a:lnTo>
                  <a:lnTo>
                    <a:pt x="21" y="288"/>
                  </a:lnTo>
                  <a:lnTo>
                    <a:pt x="14" y="293"/>
                  </a:lnTo>
                  <a:lnTo>
                    <a:pt x="7" y="300"/>
                  </a:lnTo>
                  <a:lnTo>
                    <a:pt x="9" y="303"/>
                  </a:lnTo>
                  <a:lnTo>
                    <a:pt x="14" y="312"/>
                  </a:lnTo>
                  <a:lnTo>
                    <a:pt x="14" y="317"/>
                  </a:lnTo>
                  <a:lnTo>
                    <a:pt x="9" y="322"/>
                  </a:lnTo>
                  <a:lnTo>
                    <a:pt x="4" y="324"/>
                  </a:lnTo>
                  <a:lnTo>
                    <a:pt x="0" y="329"/>
                  </a:lnTo>
                  <a:lnTo>
                    <a:pt x="0" y="336"/>
                  </a:lnTo>
                  <a:lnTo>
                    <a:pt x="4" y="338"/>
                  </a:lnTo>
                  <a:lnTo>
                    <a:pt x="9" y="338"/>
                  </a:lnTo>
                  <a:lnTo>
                    <a:pt x="12" y="336"/>
                  </a:lnTo>
                  <a:lnTo>
                    <a:pt x="16" y="336"/>
                  </a:lnTo>
                  <a:lnTo>
                    <a:pt x="19" y="338"/>
                  </a:lnTo>
                  <a:lnTo>
                    <a:pt x="19" y="355"/>
                  </a:lnTo>
                  <a:lnTo>
                    <a:pt x="26" y="362"/>
                  </a:lnTo>
                  <a:lnTo>
                    <a:pt x="19" y="364"/>
                  </a:lnTo>
                  <a:lnTo>
                    <a:pt x="21" y="373"/>
                  </a:lnTo>
                  <a:lnTo>
                    <a:pt x="23" y="373"/>
                  </a:lnTo>
                  <a:lnTo>
                    <a:pt x="28" y="376"/>
                  </a:lnTo>
                  <a:lnTo>
                    <a:pt x="33" y="383"/>
                  </a:lnTo>
                  <a:lnTo>
                    <a:pt x="35" y="385"/>
                  </a:lnTo>
                  <a:lnTo>
                    <a:pt x="35" y="388"/>
                  </a:lnTo>
                  <a:lnTo>
                    <a:pt x="30" y="388"/>
                  </a:lnTo>
                  <a:lnTo>
                    <a:pt x="30" y="397"/>
                  </a:lnTo>
                  <a:lnTo>
                    <a:pt x="42" y="409"/>
                  </a:lnTo>
                  <a:lnTo>
                    <a:pt x="45" y="414"/>
                  </a:lnTo>
                  <a:lnTo>
                    <a:pt x="49" y="418"/>
                  </a:lnTo>
                  <a:lnTo>
                    <a:pt x="52" y="425"/>
                  </a:lnTo>
                  <a:lnTo>
                    <a:pt x="54" y="430"/>
                  </a:lnTo>
                  <a:lnTo>
                    <a:pt x="54" y="442"/>
                  </a:lnTo>
                  <a:lnTo>
                    <a:pt x="52" y="444"/>
                  </a:lnTo>
                  <a:lnTo>
                    <a:pt x="49" y="449"/>
                  </a:lnTo>
                  <a:lnTo>
                    <a:pt x="47" y="451"/>
                  </a:lnTo>
                  <a:lnTo>
                    <a:pt x="47" y="454"/>
                  </a:lnTo>
                  <a:lnTo>
                    <a:pt x="49" y="456"/>
                  </a:lnTo>
                  <a:lnTo>
                    <a:pt x="52" y="456"/>
                  </a:lnTo>
                  <a:lnTo>
                    <a:pt x="49" y="463"/>
                  </a:lnTo>
                  <a:lnTo>
                    <a:pt x="66" y="466"/>
                  </a:lnTo>
                  <a:lnTo>
                    <a:pt x="66" y="461"/>
                  </a:lnTo>
                  <a:lnTo>
                    <a:pt x="68" y="459"/>
                  </a:lnTo>
                  <a:lnTo>
                    <a:pt x="73" y="456"/>
                  </a:lnTo>
                  <a:lnTo>
                    <a:pt x="73" y="456"/>
                  </a:lnTo>
                  <a:lnTo>
                    <a:pt x="73" y="454"/>
                  </a:lnTo>
                  <a:lnTo>
                    <a:pt x="73" y="451"/>
                  </a:lnTo>
                  <a:lnTo>
                    <a:pt x="78" y="447"/>
                  </a:lnTo>
                  <a:lnTo>
                    <a:pt x="78" y="437"/>
                  </a:lnTo>
                  <a:lnTo>
                    <a:pt x="82" y="437"/>
                  </a:lnTo>
                  <a:lnTo>
                    <a:pt x="82" y="428"/>
                  </a:lnTo>
                  <a:lnTo>
                    <a:pt x="89" y="418"/>
                  </a:lnTo>
                  <a:lnTo>
                    <a:pt x="92" y="411"/>
                  </a:lnTo>
                  <a:lnTo>
                    <a:pt x="101" y="409"/>
                  </a:lnTo>
                  <a:lnTo>
                    <a:pt x="113" y="407"/>
                  </a:lnTo>
                  <a:lnTo>
                    <a:pt x="115" y="416"/>
                  </a:lnTo>
                  <a:lnTo>
                    <a:pt x="118" y="418"/>
                  </a:lnTo>
                  <a:lnTo>
                    <a:pt x="123" y="421"/>
                  </a:lnTo>
                  <a:lnTo>
                    <a:pt x="123" y="423"/>
                  </a:lnTo>
                  <a:lnTo>
                    <a:pt x="125" y="430"/>
                  </a:lnTo>
                  <a:lnTo>
                    <a:pt x="127" y="433"/>
                  </a:lnTo>
                  <a:lnTo>
                    <a:pt x="137" y="440"/>
                  </a:lnTo>
                  <a:lnTo>
                    <a:pt x="146" y="435"/>
                  </a:lnTo>
                  <a:lnTo>
                    <a:pt x="170" y="433"/>
                  </a:lnTo>
                  <a:lnTo>
                    <a:pt x="175" y="435"/>
                  </a:lnTo>
                  <a:lnTo>
                    <a:pt x="177" y="442"/>
                  </a:lnTo>
                  <a:lnTo>
                    <a:pt x="177" y="442"/>
                  </a:lnTo>
                  <a:lnTo>
                    <a:pt x="196" y="442"/>
                  </a:lnTo>
                  <a:lnTo>
                    <a:pt x="205" y="430"/>
                  </a:lnTo>
                  <a:lnTo>
                    <a:pt x="219" y="430"/>
                  </a:lnTo>
                  <a:lnTo>
                    <a:pt x="222" y="418"/>
                  </a:lnTo>
                  <a:lnTo>
                    <a:pt x="234" y="411"/>
                  </a:lnTo>
                  <a:lnTo>
                    <a:pt x="250" y="421"/>
                  </a:lnTo>
                  <a:lnTo>
                    <a:pt x="260" y="430"/>
                  </a:lnTo>
                  <a:lnTo>
                    <a:pt x="274" y="430"/>
                  </a:lnTo>
                  <a:lnTo>
                    <a:pt x="290" y="409"/>
                  </a:lnTo>
                  <a:lnTo>
                    <a:pt x="295" y="397"/>
                  </a:lnTo>
                  <a:lnTo>
                    <a:pt x="309" y="388"/>
                  </a:lnTo>
                  <a:lnTo>
                    <a:pt x="307" y="381"/>
                  </a:lnTo>
                  <a:lnTo>
                    <a:pt x="307" y="364"/>
                  </a:lnTo>
                  <a:lnTo>
                    <a:pt x="300" y="357"/>
                  </a:lnTo>
                  <a:lnTo>
                    <a:pt x="319" y="357"/>
                  </a:lnTo>
                  <a:lnTo>
                    <a:pt x="319" y="350"/>
                  </a:lnTo>
                  <a:lnTo>
                    <a:pt x="331" y="347"/>
                  </a:lnTo>
                  <a:lnTo>
                    <a:pt x="328" y="357"/>
                  </a:lnTo>
                  <a:lnTo>
                    <a:pt x="328" y="366"/>
                  </a:lnTo>
                  <a:lnTo>
                    <a:pt x="326" y="369"/>
                  </a:lnTo>
                  <a:lnTo>
                    <a:pt x="328" y="378"/>
                  </a:lnTo>
                  <a:lnTo>
                    <a:pt x="331" y="385"/>
                  </a:lnTo>
                  <a:lnTo>
                    <a:pt x="331" y="390"/>
                  </a:lnTo>
                  <a:lnTo>
                    <a:pt x="328" y="395"/>
                  </a:lnTo>
                  <a:lnTo>
                    <a:pt x="335" y="399"/>
                  </a:lnTo>
                  <a:lnTo>
                    <a:pt x="345" y="407"/>
                  </a:lnTo>
                  <a:lnTo>
                    <a:pt x="352" y="414"/>
                  </a:lnTo>
                  <a:lnTo>
                    <a:pt x="354" y="418"/>
                  </a:lnTo>
                  <a:lnTo>
                    <a:pt x="357" y="423"/>
                  </a:lnTo>
                  <a:lnTo>
                    <a:pt x="359" y="423"/>
                  </a:lnTo>
                  <a:lnTo>
                    <a:pt x="361" y="421"/>
                  </a:lnTo>
                  <a:lnTo>
                    <a:pt x="361" y="414"/>
                  </a:lnTo>
                  <a:lnTo>
                    <a:pt x="359" y="409"/>
                  </a:lnTo>
                  <a:lnTo>
                    <a:pt x="359" y="402"/>
                  </a:lnTo>
                  <a:lnTo>
                    <a:pt x="366" y="395"/>
                  </a:lnTo>
                  <a:lnTo>
                    <a:pt x="368" y="395"/>
                  </a:lnTo>
                  <a:lnTo>
                    <a:pt x="368" y="399"/>
                  </a:lnTo>
                  <a:lnTo>
                    <a:pt x="371" y="402"/>
                  </a:lnTo>
                  <a:lnTo>
                    <a:pt x="378" y="402"/>
                  </a:lnTo>
                  <a:lnTo>
                    <a:pt x="380" y="399"/>
                  </a:lnTo>
                  <a:lnTo>
                    <a:pt x="380" y="385"/>
                  </a:lnTo>
                  <a:lnTo>
                    <a:pt x="378" y="383"/>
                  </a:lnTo>
                  <a:lnTo>
                    <a:pt x="378" y="381"/>
                  </a:lnTo>
                  <a:lnTo>
                    <a:pt x="382" y="373"/>
                  </a:lnTo>
                  <a:lnTo>
                    <a:pt x="382" y="364"/>
                  </a:lnTo>
                  <a:lnTo>
                    <a:pt x="385" y="362"/>
                  </a:lnTo>
                  <a:lnTo>
                    <a:pt x="390" y="362"/>
                  </a:lnTo>
                  <a:lnTo>
                    <a:pt x="392" y="357"/>
                  </a:lnTo>
                  <a:lnTo>
                    <a:pt x="392" y="343"/>
                  </a:lnTo>
                  <a:lnTo>
                    <a:pt x="394" y="340"/>
                  </a:lnTo>
                  <a:lnTo>
                    <a:pt x="397" y="336"/>
                  </a:lnTo>
                  <a:lnTo>
                    <a:pt x="399" y="333"/>
                  </a:lnTo>
                  <a:lnTo>
                    <a:pt x="411" y="333"/>
                  </a:lnTo>
                  <a:lnTo>
                    <a:pt x="411" y="314"/>
                  </a:lnTo>
                  <a:lnTo>
                    <a:pt x="413" y="310"/>
                  </a:lnTo>
                  <a:lnTo>
                    <a:pt x="416" y="307"/>
                  </a:lnTo>
                  <a:lnTo>
                    <a:pt x="418" y="303"/>
                  </a:lnTo>
                  <a:lnTo>
                    <a:pt x="420" y="300"/>
                  </a:lnTo>
                  <a:lnTo>
                    <a:pt x="420" y="284"/>
                  </a:lnTo>
                  <a:lnTo>
                    <a:pt x="418" y="265"/>
                  </a:lnTo>
                  <a:lnTo>
                    <a:pt x="416" y="262"/>
                  </a:lnTo>
                  <a:lnTo>
                    <a:pt x="416" y="255"/>
                  </a:lnTo>
                  <a:lnTo>
                    <a:pt x="420" y="253"/>
                  </a:lnTo>
                  <a:lnTo>
                    <a:pt x="423" y="253"/>
                  </a:lnTo>
                  <a:lnTo>
                    <a:pt x="423" y="239"/>
                  </a:lnTo>
                  <a:lnTo>
                    <a:pt x="425" y="239"/>
                  </a:lnTo>
                  <a:lnTo>
                    <a:pt x="427" y="236"/>
                  </a:lnTo>
                  <a:lnTo>
                    <a:pt x="430" y="232"/>
                  </a:lnTo>
                  <a:lnTo>
                    <a:pt x="430" y="215"/>
                  </a:lnTo>
                  <a:lnTo>
                    <a:pt x="427" y="213"/>
                  </a:lnTo>
                  <a:lnTo>
                    <a:pt x="427" y="208"/>
                  </a:lnTo>
                  <a:lnTo>
                    <a:pt x="432" y="20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32" name="South Sudan">
              <a:extLst>
                <a:ext uri="{FF2B5EF4-FFF2-40B4-BE49-F238E27FC236}">
                  <a16:creationId xmlns:a16="http://schemas.microsoft.com/office/drawing/2014/main" id="{FB5C8FD9-893F-3C9A-3DE3-B09C31C1FB44}"/>
                </a:ext>
              </a:extLst>
            </p:cNvPr>
            <p:cNvSpPr>
              <a:spLocks/>
            </p:cNvSpPr>
            <p:nvPr/>
          </p:nvSpPr>
          <p:spPr bwMode="auto">
            <a:xfrm>
              <a:off x="5266771" y="4004508"/>
              <a:ext cx="332829" cy="244409"/>
            </a:xfrm>
            <a:custGeom>
              <a:avLst/>
              <a:gdLst/>
              <a:ahLst/>
              <a:cxnLst>
                <a:cxn ang="0">
                  <a:pos x="269" y="52"/>
                </a:cxn>
                <a:cxn ang="0">
                  <a:pos x="265" y="38"/>
                </a:cxn>
                <a:cxn ang="0">
                  <a:pos x="262" y="19"/>
                </a:cxn>
                <a:cxn ang="0">
                  <a:pos x="253" y="3"/>
                </a:cxn>
                <a:cxn ang="0">
                  <a:pos x="241" y="17"/>
                </a:cxn>
                <a:cxn ang="0">
                  <a:pos x="229" y="50"/>
                </a:cxn>
                <a:cxn ang="0">
                  <a:pos x="194" y="83"/>
                </a:cxn>
                <a:cxn ang="0">
                  <a:pos x="156" y="71"/>
                </a:cxn>
                <a:cxn ang="0">
                  <a:pos x="130" y="95"/>
                </a:cxn>
                <a:cxn ang="0">
                  <a:pos x="109" y="88"/>
                </a:cxn>
                <a:cxn ang="0">
                  <a:pos x="71" y="93"/>
                </a:cxn>
                <a:cxn ang="0">
                  <a:pos x="57" y="76"/>
                </a:cxn>
                <a:cxn ang="0">
                  <a:pos x="49" y="69"/>
                </a:cxn>
                <a:cxn ang="0">
                  <a:pos x="26" y="64"/>
                </a:cxn>
                <a:cxn ang="0">
                  <a:pos x="16" y="90"/>
                </a:cxn>
                <a:cxn ang="0">
                  <a:pos x="7" y="104"/>
                </a:cxn>
                <a:cxn ang="0">
                  <a:pos x="7" y="109"/>
                </a:cxn>
                <a:cxn ang="0">
                  <a:pos x="0" y="119"/>
                </a:cxn>
                <a:cxn ang="0">
                  <a:pos x="12" y="135"/>
                </a:cxn>
                <a:cxn ang="0">
                  <a:pos x="28" y="142"/>
                </a:cxn>
                <a:cxn ang="0">
                  <a:pos x="38" y="152"/>
                </a:cxn>
                <a:cxn ang="0">
                  <a:pos x="33" y="154"/>
                </a:cxn>
                <a:cxn ang="0">
                  <a:pos x="42" y="164"/>
                </a:cxn>
                <a:cxn ang="0">
                  <a:pos x="54" y="173"/>
                </a:cxn>
                <a:cxn ang="0">
                  <a:pos x="59" y="182"/>
                </a:cxn>
                <a:cxn ang="0">
                  <a:pos x="68" y="190"/>
                </a:cxn>
                <a:cxn ang="0">
                  <a:pos x="68" y="197"/>
                </a:cxn>
                <a:cxn ang="0">
                  <a:pos x="83" y="208"/>
                </a:cxn>
                <a:cxn ang="0">
                  <a:pos x="92" y="218"/>
                </a:cxn>
                <a:cxn ang="0">
                  <a:pos x="106" y="241"/>
                </a:cxn>
                <a:cxn ang="0">
                  <a:pos x="127" y="258"/>
                </a:cxn>
                <a:cxn ang="0">
                  <a:pos x="137" y="251"/>
                </a:cxn>
                <a:cxn ang="0">
                  <a:pos x="146" y="258"/>
                </a:cxn>
                <a:cxn ang="0">
                  <a:pos x="156" y="251"/>
                </a:cxn>
                <a:cxn ang="0">
                  <a:pos x="168" y="251"/>
                </a:cxn>
                <a:cxn ang="0">
                  <a:pos x="177" y="267"/>
                </a:cxn>
                <a:cxn ang="0">
                  <a:pos x="187" y="272"/>
                </a:cxn>
                <a:cxn ang="0">
                  <a:pos x="203" y="275"/>
                </a:cxn>
                <a:cxn ang="0">
                  <a:pos x="215" y="279"/>
                </a:cxn>
                <a:cxn ang="0">
                  <a:pos x="222" y="275"/>
                </a:cxn>
                <a:cxn ang="0">
                  <a:pos x="243" y="277"/>
                </a:cxn>
                <a:cxn ang="0">
                  <a:pos x="262" y="272"/>
                </a:cxn>
                <a:cxn ang="0">
                  <a:pos x="274" y="277"/>
                </a:cxn>
                <a:cxn ang="0">
                  <a:pos x="283" y="265"/>
                </a:cxn>
                <a:cxn ang="0">
                  <a:pos x="295" y="251"/>
                </a:cxn>
                <a:cxn ang="0">
                  <a:pos x="340" y="239"/>
                </a:cxn>
                <a:cxn ang="0">
                  <a:pos x="335" y="225"/>
                </a:cxn>
                <a:cxn ang="0">
                  <a:pos x="316" y="208"/>
                </a:cxn>
                <a:cxn ang="0">
                  <a:pos x="312" y="185"/>
                </a:cxn>
                <a:cxn ang="0">
                  <a:pos x="293" y="175"/>
                </a:cxn>
                <a:cxn ang="0">
                  <a:pos x="286" y="159"/>
                </a:cxn>
                <a:cxn ang="0">
                  <a:pos x="276" y="149"/>
                </a:cxn>
                <a:cxn ang="0">
                  <a:pos x="260" y="147"/>
                </a:cxn>
                <a:cxn ang="0">
                  <a:pos x="265" y="135"/>
                </a:cxn>
                <a:cxn ang="0">
                  <a:pos x="279" y="128"/>
                </a:cxn>
                <a:cxn ang="0">
                  <a:pos x="288" y="123"/>
                </a:cxn>
                <a:cxn ang="0">
                  <a:pos x="291" y="100"/>
                </a:cxn>
                <a:cxn ang="0">
                  <a:pos x="286" y="88"/>
                </a:cxn>
                <a:cxn ang="0">
                  <a:pos x="291" y="76"/>
                </a:cxn>
              </a:cxnLst>
              <a:rect l="0" t="0" r="r" b="b"/>
              <a:pathLst>
                <a:path w="342" h="286">
                  <a:moveTo>
                    <a:pt x="286" y="67"/>
                  </a:moveTo>
                  <a:lnTo>
                    <a:pt x="279" y="60"/>
                  </a:lnTo>
                  <a:lnTo>
                    <a:pt x="269" y="52"/>
                  </a:lnTo>
                  <a:lnTo>
                    <a:pt x="262" y="48"/>
                  </a:lnTo>
                  <a:lnTo>
                    <a:pt x="265" y="43"/>
                  </a:lnTo>
                  <a:lnTo>
                    <a:pt x="265" y="38"/>
                  </a:lnTo>
                  <a:lnTo>
                    <a:pt x="262" y="31"/>
                  </a:lnTo>
                  <a:lnTo>
                    <a:pt x="260" y="22"/>
                  </a:lnTo>
                  <a:lnTo>
                    <a:pt x="262" y="19"/>
                  </a:lnTo>
                  <a:lnTo>
                    <a:pt x="262" y="10"/>
                  </a:lnTo>
                  <a:lnTo>
                    <a:pt x="265" y="0"/>
                  </a:lnTo>
                  <a:lnTo>
                    <a:pt x="253" y="3"/>
                  </a:lnTo>
                  <a:lnTo>
                    <a:pt x="253" y="10"/>
                  </a:lnTo>
                  <a:lnTo>
                    <a:pt x="234" y="10"/>
                  </a:lnTo>
                  <a:lnTo>
                    <a:pt x="241" y="17"/>
                  </a:lnTo>
                  <a:lnTo>
                    <a:pt x="241" y="34"/>
                  </a:lnTo>
                  <a:lnTo>
                    <a:pt x="243" y="41"/>
                  </a:lnTo>
                  <a:lnTo>
                    <a:pt x="229" y="50"/>
                  </a:lnTo>
                  <a:lnTo>
                    <a:pt x="224" y="62"/>
                  </a:lnTo>
                  <a:lnTo>
                    <a:pt x="208" y="83"/>
                  </a:lnTo>
                  <a:lnTo>
                    <a:pt x="194" y="83"/>
                  </a:lnTo>
                  <a:lnTo>
                    <a:pt x="184" y="74"/>
                  </a:lnTo>
                  <a:lnTo>
                    <a:pt x="168" y="64"/>
                  </a:lnTo>
                  <a:lnTo>
                    <a:pt x="156" y="71"/>
                  </a:lnTo>
                  <a:lnTo>
                    <a:pt x="153" y="83"/>
                  </a:lnTo>
                  <a:lnTo>
                    <a:pt x="139" y="83"/>
                  </a:lnTo>
                  <a:lnTo>
                    <a:pt x="130" y="95"/>
                  </a:lnTo>
                  <a:lnTo>
                    <a:pt x="111" y="95"/>
                  </a:lnTo>
                  <a:lnTo>
                    <a:pt x="111" y="95"/>
                  </a:lnTo>
                  <a:lnTo>
                    <a:pt x="109" y="88"/>
                  </a:lnTo>
                  <a:lnTo>
                    <a:pt x="104" y="86"/>
                  </a:lnTo>
                  <a:lnTo>
                    <a:pt x="80" y="88"/>
                  </a:lnTo>
                  <a:lnTo>
                    <a:pt x="71" y="93"/>
                  </a:lnTo>
                  <a:lnTo>
                    <a:pt x="61" y="86"/>
                  </a:lnTo>
                  <a:lnTo>
                    <a:pt x="59" y="83"/>
                  </a:lnTo>
                  <a:lnTo>
                    <a:pt x="57" y="76"/>
                  </a:lnTo>
                  <a:lnTo>
                    <a:pt x="57" y="74"/>
                  </a:lnTo>
                  <a:lnTo>
                    <a:pt x="52" y="71"/>
                  </a:lnTo>
                  <a:lnTo>
                    <a:pt x="49" y="69"/>
                  </a:lnTo>
                  <a:lnTo>
                    <a:pt x="47" y="60"/>
                  </a:lnTo>
                  <a:lnTo>
                    <a:pt x="35" y="62"/>
                  </a:lnTo>
                  <a:lnTo>
                    <a:pt x="26" y="64"/>
                  </a:lnTo>
                  <a:lnTo>
                    <a:pt x="23" y="71"/>
                  </a:lnTo>
                  <a:lnTo>
                    <a:pt x="16" y="81"/>
                  </a:lnTo>
                  <a:lnTo>
                    <a:pt x="16" y="90"/>
                  </a:lnTo>
                  <a:lnTo>
                    <a:pt x="12" y="90"/>
                  </a:lnTo>
                  <a:lnTo>
                    <a:pt x="12" y="100"/>
                  </a:lnTo>
                  <a:lnTo>
                    <a:pt x="7" y="104"/>
                  </a:lnTo>
                  <a:lnTo>
                    <a:pt x="7" y="107"/>
                  </a:lnTo>
                  <a:lnTo>
                    <a:pt x="7" y="109"/>
                  </a:lnTo>
                  <a:lnTo>
                    <a:pt x="7" y="109"/>
                  </a:lnTo>
                  <a:lnTo>
                    <a:pt x="2" y="112"/>
                  </a:lnTo>
                  <a:lnTo>
                    <a:pt x="0" y="114"/>
                  </a:lnTo>
                  <a:lnTo>
                    <a:pt x="0" y="119"/>
                  </a:lnTo>
                  <a:lnTo>
                    <a:pt x="2" y="119"/>
                  </a:lnTo>
                  <a:lnTo>
                    <a:pt x="2" y="130"/>
                  </a:lnTo>
                  <a:lnTo>
                    <a:pt x="12" y="135"/>
                  </a:lnTo>
                  <a:lnTo>
                    <a:pt x="26" y="135"/>
                  </a:lnTo>
                  <a:lnTo>
                    <a:pt x="26" y="142"/>
                  </a:lnTo>
                  <a:lnTo>
                    <a:pt x="28" y="142"/>
                  </a:lnTo>
                  <a:lnTo>
                    <a:pt x="33" y="145"/>
                  </a:lnTo>
                  <a:lnTo>
                    <a:pt x="38" y="149"/>
                  </a:lnTo>
                  <a:lnTo>
                    <a:pt x="38" y="152"/>
                  </a:lnTo>
                  <a:lnTo>
                    <a:pt x="35" y="152"/>
                  </a:lnTo>
                  <a:lnTo>
                    <a:pt x="35" y="154"/>
                  </a:lnTo>
                  <a:lnTo>
                    <a:pt x="33" y="154"/>
                  </a:lnTo>
                  <a:lnTo>
                    <a:pt x="33" y="156"/>
                  </a:lnTo>
                  <a:lnTo>
                    <a:pt x="38" y="161"/>
                  </a:lnTo>
                  <a:lnTo>
                    <a:pt x="42" y="164"/>
                  </a:lnTo>
                  <a:lnTo>
                    <a:pt x="45" y="164"/>
                  </a:lnTo>
                  <a:lnTo>
                    <a:pt x="49" y="166"/>
                  </a:lnTo>
                  <a:lnTo>
                    <a:pt x="54" y="173"/>
                  </a:lnTo>
                  <a:lnTo>
                    <a:pt x="57" y="178"/>
                  </a:lnTo>
                  <a:lnTo>
                    <a:pt x="59" y="180"/>
                  </a:lnTo>
                  <a:lnTo>
                    <a:pt x="59" y="182"/>
                  </a:lnTo>
                  <a:lnTo>
                    <a:pt x="66" y="182"/>
                  </a:lnTo>
                  <a:lnTo>
                    <a:pt x="68" y="185"/>
                  </a:lnTo>
                  <a:lnTo>
                    <a:pt x="68" y="190"/>
                  </a:lnTo>
                  <a:lnTo>
                    <a:pt x="64" y="190"/>
                  </a:lnTo>
                  <a:lnTo>
                    <a:pt x="64" y="192"/>
                  </a:lnTo>
                  <a:lnTo>
                    <a:pt x="68" y="197"/>
                  </a:lnTo>
                  <a:lnTo>
                    <a:pt x="68" y="204"/>
                  </a:lnTo>
                  <a:lnTo>
                    <a:pt x="80" y="206"/>
                  </a:lnTo>
                  <a:lnTo>
                    <a:pt x="83" y="208"/>
                  </a:lnTo>
                  <a:lnTo>
                    <a:pt x="87" y="211"/>
                  </a:lnTo>
                  <a:lnTo>
                    <a:pt x="90" y="213"/>
                  </a:lnTo>
                  <a:lnTo>
                    <a:pt x="92" y="218"/>
                  </a:lnTo>
                  <a:lnTo>
                    <a:pt x="92" y="227"/>
                  </a:lnTo>
                  <a:lnTo>
                    <a:pt x="94" y="232"/>
                  </a:lnTo>
                  <a:lnTo>
                    <a:pt x="106" y="241"/>
                  </a:lnTo>
                  <a:lnTo>
                    <a:pt x="106" y="251"/>
                  </a:lnTo>
                  <a:lnTo>
                    <a:pt x="125" y="260"/>
                  </a:lnTo>
                  <a:lnTo>
                    <a:pt x="127" y="258"/>
                  </a:lnTo>
                  <a:lnTo>
                    <a:pt x="130" y="253"/>
                  </a:lnTo>
                  <a:lnTo>
                    <a:pt x="132" y="251"/>
                  </a:lnTo>
                  <a:lnTo>
                    <a:pt x="137" y="251"/>
                  </a:lnTo>
                  <a:lnTo>
                    <a:pt x="142" y="253"/>
                  </a:lnTo>
                  <a:lnTo>
                    <a:pt x="142" y="256"/>
                  </a:lnTo>
                  <a:lnTo>
                    <a:pt x="146" y="258"/>
                  </a:lnTo>
                  <a:lnTo>
                    <a:pt x="149" y="258"/>
                  </a:lnTo>
                  <a:lnTo>
                    <a:pt x="156" y="253"/>
                  </a:lnTo>
                  <a:lnTo>
                    <a:pt x="156" y="251"/>
                  </a:lnTo>
                  <a:lnTo>
                    <a:pt x="161" y="246"/>
                  </a:lnTo>
                  <a:lnTo>
                    <a:pt x="163" y="249"/>
                  </a:lnTo>
                  <a:lnTo>
                    <a:pt x="168" y="251"/>
                  </a:lnTo>
                  <a:lnTo>
                    <a:pt x="170" y="258"/>
                  </a:lnTo>
                  <a:lnTo>
                    <a:pt x="172" y="263"/>
                  </a:lnTo>
                  <a:lnTo>
                    <a:pt x="177" y="267"/>
                  </a:lnTo>
                  <a:lnTo>
                    <a:pt x="182" y="270"/>
                  </a:lnTo>
                  <a:lnTo>
                    <a:pt x="184" y="272"/>
                  </a:lnTo>
                  <a:lnTo>
                    <a:pt x="187" y="272"/>
                  </a:lnTo>
                  <a:lnTo>
                    <a:pt x="189" y="282"/>
                  </a:lnTo>
                  <a:lnTo>
                    <a:pt x="196" y="282"/>
                  </a:lnTo>
                  <a:lnTo>
                    <a:pt x="203" y="275"/>
                  </a:lnTo>
                  <a:lnTo>
                    <a:pt x="208" y="275"/>
                  </a:lnTo>
                  <a:lnTo>
                    <a:pt x="210" y="277"/>
                  </a:lnTo>
                  <a:lnTo>
                    <a:pt x="215" y="279"/>
                  </a:lnTo>
                  <a:lnTo>
                    <a:pt x="220" y="279"/>
                  </a:lnTo>
                  <a:lnTo>
                    <a:pt x="220" y="277"/>
                  </a:lnTo>
                  <a:lnTo>
                    <a:pt x="222" y="275"/>
                  </a:lnTo>
                  <a:lnTo>
                    <a:pt x="224" y="275"/>
                  </a:lnTo>
                  <a:lnTo>
                    <a:pt x="236" y="286"/>
                  </a:lnTo>
                  <a:lnTo>
                    <a:pt x="243" y="277"/>
                  </a:lnTo>
                  <a:lnTo>
                    <a:pt x="253" y="277"/>
                  </a:lnTo>
                  <a:lnTo>
                    <a:pt x="257" y="272"/>
                  </a:lnTo>
                  <a:lnTo>
                    <a:pt x="262" y="272"/>
                  </a:lnTo>
                  <a:lnTo>
                    <a:pt x="262" y="275"/>
                  </a:lnTo>
                  <a:lnTo>
                    <a:pt x="265" y="277"/>
                  </a:lnTo>
                  <a:lnTo>
                    <a:pt x="274" y="277"/>
                  </a:lnTo>
                  <a:lnTo>
                    <a:pt x="281" y="270"/>
                  </a:lnTo>
                  <a:lnTo>
                    <a:pt x="281" y="267"/>
                  </a:lnTo>
                  <a:lnTo>
                    <a:pt x="283" y="265"/>
                  </a:lnTo>
                  <a:lnTo>
                    <a:pt x="283" y="263"/>
                  </a:lnTo>
                  <a:lnTo>
                    <a:pt x="288" y="263"/>
                  </a:lnTo>
                  <a:lnTo>
                    <a:pt x="295" y="251"/>
                  </a:lnTo>
                  <a:lnTo>
                    <a:pt x="333" y="251"/>
                  </a:lnTo>
                  <a:lnTo>
                    <a:pt x="342" y="246"/>
                  </a:lnTo>
                  <a:lnTo>
                    <a:pt x="340" y="239"/>
                  </a:lnTo>
                  <a:lnTo>
                    <a:pt x="340" y="232"/>
                  </a:lnTo>
                  <a:lnTo>
                    <a:pt x="338" y="227"/>
                  </a:lnTo>
                  <a:lnTo>
                    <a:pt x="335" y="225"/>
                  </a:lnTo>
                  <a:lnTo>
                    <a:pt x="328" y="225"/>
                  </a:lnTo>
                  <a:lnTo>
                    <a:pt x="324" y="223"/>
                  </a:lnTo>
                  <a:lnTo>
                    <a:pt x="316" y="208"/>
                  </a:lnTo>
                  <a:lnTo>
                    <a:pt x="316" y="201"/>
                  </a:lnTo>
                  <a:lnTo>
                    <a:pt x="312" y="199"/>
                  </a:lnTo>
                  <a:lnTo>
                    <a:pt x="312" y="185"/>
                  </a:lnTo>
                  <a:lnTo>
                    <a:pt x="305" y="185"/>
                  </a:lnTo>
                  <a:lnTo>
                    <a:pt x="302" y="175"/>
                  </a:lnTo>
                  <a:lnTo>
                    <a:pt x="293" y="175"/>
                  </a:lnTo>
                  <a:lnTo>
                    <a:pt x="291" y="168"/>
                  </a:lnTo>
                  <a:lnTo>
                    <a:pt x="291" y="161"/>
                  </a:lnTo>
                  <a:lnTo>
                    <a:pt x="286" y="159"/>
                  </a:lnTo>
                  <a:lnTo>
                    <a:pt x="283" y="154"/>
                  </a:lnTo>
                  <a:lnTo>
                    <a:pt x="279" y="152"/>
                  </a:lnTo>
                  <a:lnTo>
                    <a:pt x="276" y="149"/>
                  </a:lnTo>
                  <a:lnTo>
                    <a:pt x="267" y="149"/>
                  </a:lnTo>
                  <a:lnTo>
                    <a:pt x="262" y="147"/>
                  </a:lnTo>
                  <a:lnTo>
                    <a:pt x="260" y="147"/>
                  </a:lnTo>
                  <a:lnTo>
                    <a:pt x="260" y="142"/>
                  </a:lnTo>
                  <a:lnTo>
                    <a:pt x="262" y="138"/>
                  </a:lnTo>
                  <a:lnTo>
                    <a:pt x="265" y="135"/>
                  </a:lnTo>
                  <a:lnTo>
                    <a:pt x="262" y="126"/>
                  </a:lnTo>
                  <a:lnTo>
                    <a:pt x="276" y="126"/>
                  </a:lnTo>
                  <a:lnTo>
                    <a:pt x="279" y="128"/>
                  </a:lnTo>
                  <a:lnTo>
                    <a:pt x="281" y="126"/>
                  </a:lnTo>
                  <a:lnTo>
                    <a:pt x="286" y="126"/>
                  </a:lnTo>
                  <a:lnTo>
                    <a:pt x="288" y="123"/>
                  </a:lnTo>
                  <a:lnTo>
                    <a:pt x="288" y="119"/>
                  </a:lnTo>
                  <a:lnTo>
                    <a:pt x="291" y="114"/>
                  </a:lnTo>
                  <a:lnTo>
                    <a:pt x="291" y="100"/>
                  </a:lnTo>
                  <a:lnTo>
                    <a:pt x="288" y="97"/>
                  </a:lnTo>
                  <a:lnTo>
                    <a:pt x="288" y="93"/>
                  </a:lnTo>
                  <a:lnTo>
                    <a:pt x="286" y="88"/>
                  </a:lnTo>
                  <a:lnTo>
                    <a:pt x="286" y="83"/>
                  </a:lnTo>
                  <a:lnTo>
                    <a:pt x="288" y="78"/>
                  </a:lnTo>
                  <a:lnTo>
                    <a:pt x="291" y="76"/>
                  </a:lnTo>
                  <a:lnTo>
                    <a:pt x="288" y="71"/>
                  </a:lnTo>
                  <a:lnTo>
                    <a:pt x="286" y="67"/>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33" name="Sri Lanka" descr="© INSCALE GmbH, 05.05.2010&#10;http://www.presentationload.com/">
              <a:extLst>
                <a:ext uri="{FF2B5EF4-FFF2-40B4-BE49-F238E27FC236}">
                  <a16:creationId xmlns:a16="http://schemas.microsoft.com/office/drawing/2014/main" id="{3FAEA6F9-1465-130A-81A7-F07ACBDE496D}"/>
                </a:ext>
              </a:extLst>
            </p:cNvPr>
            <p:cNvSpPr>
              <a:spLocks/>
            </p:cNvSpPr>
            <p:nvPr/>
          </p:nvSpPr>
          <p:spPr bwMode="gray">
            <a:xfrm>
              <a:off x="6798698" y="4079621"/>
              <a:ext cx="66565" cy="103621"/>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34" name="Spain" descr="© INSCALE GmbH, 05.05.2010&#10;http://www.presentationload.com/">
              <a:extLst>
                <a:ext uri="{FF2B5EF4-FFF2-40B4-BE49-F238E27FC236}">
                  <a16:creationId xmlns:a16="http://schemas.microsoft.com/office/drawing/2014/main" id="{1E8B392F-5F5C-0ADB-19CC-D03C855A09DB}"/>
                </a:ext>
              </a:extLst>
            </p:cNvPr>
            <p:cNvSpPr>
              <a:spLocks noEditPoints="1"/>
            </p:cNvSpPr>
            <p:nvPr/>
          </p:nvSpPr>
          <p:spPr bwMode="gray">
            <a:xfrm>
              <a:off x="4402315" y="3145700"/>
              <a:ext cx="338882" cy="209900"/>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35" name="South Africa" descr="© INSCALE GmbH, 05.05.2010&#10;http://www.presentationload.com/">
              <a:extLst>
                <a:ext uri="{FF2B5EF4-FFF2-40B4-BE49-F238E27FC236}">
                  <a16:creationId xmlns:a16="http://schemas.microsoft.com/office/drawing/2014/main" id="{F87AD31E-4071-36E6-6F2D-4BD9D14D3C83}"/>
                </a:ext>
              </a:extLst>
            </p:cNvPr>
            <p:cNvSpPr>
              <a:spLocks noEditPoints="1"/>
            </p:cNvSpPr>
            <p:nvPr/>
          </p:nvSpPr>
          <p:spPr bwMode="gray">
            <a:xfrm>
              <a:off x="5057388" y="4949776"/>
              <a:ext cx="438733" cy="346734"/>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36" name="Somalia" descr="© INSCALE GmbH, 05.05.2010&#10;http://www.presentationload.com/">
              <a:extLst>
                <a:ext uri="{FF2B5EF4-FFF2-40B4-BE49-F238E27FC236}">
                  <a16:creationId xmlns:a16="http://schemas.microsoft.com/office/drawing/2014/main" id="{210E2E45-3D68-AA62-1019-E574F78E2421}"/>
                </a:ext>
              </a:extLst>
            </p:cNvPr>
            <p:cNvSpPr>
              <a:spLocks/>
            </p:cNvSpPr>
            <p:nvPr/>
          </p:nvSpPr>
          <p:spPr bwMode="gray">
            <a:xfrm>
              <a:off x="5739689" y="4013198"/>
              <a:ext cx="276855" cy="375961"/>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37" name="Solomon Islands" descr="© INSCALE GmbH, 05.05.2010&#10;http://www.presentationload.com/">
              <a:extLst>
                <a:ext uri="{FF2B5EF4-FFF2-40B4-BE49-F238E27FC236}">
                  <a16:creationId xmlns:a16="http://schemas.microsoft.com/office/drawing/2014/main" id="{77679D48-1203-BAF6-930D-87E46B2AC721}"/>
                </a:ext>
              </a:extLst>
            </p:cNvPr>
            <p:cNvSpPr>
              <a:spLocks noEditPoints="1"/>
            </p:cNvSpPr>
            <p:nvPr/>
          </p:nvSpPr>
          <p:spPr bwMode="gray">
            <a:xfrm>
              <a:off x="8915201" y="4525990"/>
              <a:ext cx="143723" cy="118235"/>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38" name="Slovenia" descr="© INSCALE GmbH, 05.05.2010&#10;http://www.presentationload.com/">
              <a:extLst>
                <a:ext uri="{FF2B5EF4-FFF2-40B4-BE49-F238E27FC236}">
                  <a16:creationId xmlns:a16="http://schemas.microsoft.com/office/drawing/2014/main" id="{DA8E1D17-77E6-11D5-4905-E1147D37F233}"/>
                </a:ext>
              </a:extLst>
            </p:cNvPr>
            <p:cNvSpPr>
              <a:spLocks/>
            </p:cNvSpPr>
            <p:nvPr/>
          </p:nvSpPr>
          <p:spPr bwMode="gray">
            <a:xfrm>
              <a:off x="4966615" y="3059349"/>
              <a:ext cx="81694" cy="41184"/>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39" name="Slovakia" descr="© INSCALE GmbH, 05.05.2010&#10;http://www.presentationload.com/">
              <a:extLst>
                <a:ext uri="{FF2B5EF4-FFF2-40B4-BE49-F238E27FC236}">
                  <a16:creationId xmlns:a16="http://schemas.microsoft.com/office/drawing/2014/main" id="{6099DF73-6A49-27D9-8E43-D3ADC14C3A51}"/>
                </a:ext>
              </a:extLst>
            </p:cNvPr>
            <p:cNvSpPr>
              <a:spLocks/>
            </p:cNvSpPr>
            <p:nvPr/>
          </p:nvSpPr>
          <p:spPr bwMode="gray">
            <a:xfrm>
              <a:off x="5049821" y="2990267"/>
              <a:ext cx="137672" cy="49154"/>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40" name="Sierra Leone" descr="© INSCALE GmbH, 05.05.2010&#10;http://www.presentationload.com/">
              <a:extLst>
                <a:ext uri="{FF2B5EF4-FFF2-40B4-BE49-F238E27FC236}">
                  <a16:creationId xmlns:a16="http://schemas.microsoft.com/office/drawing/2014/main" id="{9124CBE4-BE6F-DAC6-6CF5-33D92BBDF314}"/>
                </a:ext>
              </a:extLst>
            </p:cNvPr>
            <p:cNvSpPr>
              <a:spLocks/>
            </p:cNvSpPr>
            <p:nvPr/>
          </p:nvSpPr>
          <p:spPr bwMode="gray">
            <a:xfrm>
              <a:off x="4248002" y="4066336"/>
              <a:ext cx="80182" cy="91665"/>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41" name="Serbia" descr="© INSCALE GmbH, 05.05.2010&#10;http://www.presentationload.com/">
              <a:extLst>
                <a:ext uri="{FF2B5EF4-FFF2-40B4-BE49-F238E27FC236}">
                  <a16:creationId xmlns:a16="http://schemas.microsoft.com/office/drawing/2014/main" id="{C00442EA-B56C-4EE3-D22D-B46C535377AB}"/>
                </a:ext>
              </a:extLst>
            </p:cNvPr>
            <p:cNvSpPr>
              <a:spLocks/>
            </p:cNvSpPr>
            <p:nvPr/>
          </p:nvSpPr>
          <p:spPr bwMode="gray">
            <a:xfrm>
              <a:off x="5102773" y="3080604"/>
              <a:ext cx="105901" cy="101958"/>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42" name="Senegal" descr="© INSCALE GmbH, 05.05.2010&#10;http://www.presentationload.com/">
              <a:extLst>
                <a:ext uri="{FF2B5EF4-FFF2-40B4-BE49-F238E27FC236}">
                  <a16:creationId xmlns:a16="http://schemas.microsoft.com/office/drawing/2014/main" id="{9A04D266-76E0-5BFD-24DC-929610661FB3}"/>
                </a:ext>
              </a:extLst>
            </p:cNvPr>
            <p:cNvSpPr>
              <a:spLocks/>
            </p:cNvSpPr>
            <p:nvPr/>
          </p:nvSpPr>
          <p:spPr bwMode="gray">
            <a:xfrm>
              <a:off x="4167822" y="3881678"/>
              <a:ext cx="160365" cy="124876"/>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43" name="Saudi Arabia" descr="© INSCALE GmbH, 05.05.2010&#10;http://www.presentationload.com/">
              <a:extLst>
                <a:ext uri="{FF2B5EF4-FFF2-40B4-BE49-F238E27FC236}">
                  <a16:creationId xmlns:a16="http://schemas.microsoft.com/office/drawing/2014/main" id="{27FECDBB-3F67-20C0-A63F-932E147D546F}"/>
                </a:ext>
              </a:extLst>
            </p:cNvPr>
            <p:cNvSpPr>
              <a:spLocks/>
            </p:cNvSpPr>
            <p:nvPr/>
          </p:nvSpPr>
          <p:spPr bwMode="gray">
            <a:xfrm>
              <a:off x="5543019" y="3461880"/>
              <a:ext cx="574890" cy="433084"/>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44" name="Rwanda" descr="© INSCALE GmbH, 05.05.2010&#10;http://www.presentationload.com/">
              <a:extLst>
                <a:ext uri="{FF2B5EF4-FFF2-40B4-BE49-F238E27FC236}">
                  <a16:creationId xmlns:a16="http://schemas.microsoft.com/office/drawing/2014/main" id="{578E5F2C-C8AA-3A21-D38C-F8CFF4D2A544}"/>
                </a:ext>
              </a:extLst>
            </p:cNvPr>
            <p:cNvSpPr>
              <a:spLocks/>
            </p:cNvSpPr>
            <p:nvPr/>
          </p:nvSpPr>
          <p:spPr bwMode="gray">
            <a:xfrm>
              <a:off x="5403833" y="4370559"/>
              <a:ext cx="57489" cy="50482"/>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45" name="Russia (Urup,Simushir)" descr="© INSCALE GmbH, 05.05.2010&#10;http://www.presentationload.com/">
              <a:extLst>
                <a:ext uri="{FF2B5EF4-FFF2-40B4-BE49-F238E27FC236}">
                  <a16:creationId xmlns:a16="http://schemas.microsoft.com/office/drawing/2014/main" id="{79F6199F-30C9-338C-68AC-2B4137EEBC40}"/>
                </a:ext>
              </a:extLst>
            </p:cNvPr>
            <p:cNvSpPr>
              <a:spLocks noEditPoints="1"/>
            </p:cNvSpPr>
            <p:nvPr/>
          </p:nvSpPr>
          <p:spPr bwMode="gray">
            <a:xfrm>
              <a:off x="8254076" y="2739185"/>
              <a:ext cx="116491" cy="406515"/>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46" name="Russia" descr="© INSCALE GmbH, 05.05.2010&#10;http://www.presentationload.com/">
              <a:extLst>
                <a:ext uri="{FF2B5EF4-FFF2-40B4-BE49-F238E27FC236}">
                  <a16:creationId xmlns:a16="http://schemas.microsoft.com/office/drawing/2014/main" id="{54AD28AA-3FDA-8818-FEE1-A88ED94FE97F}"/>
                </a:ext>
              </a:extLst>
            </p:cNvPr>
            <p:cNvSpPr>
              <a:spLocks noEditPoints="1"/>
            </p:cNvSpPr>
            <p:nvPr/>
          </p:nvSpPr>
          <p:spPr bwMode="gray">
            <a:xfrm>
              <a:off x="5113363" y="2235691"/>
              <a:ext cx="3500776" cy="979090"/>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47" name="Romania" descr="© INSCALE GmbH, 05.05.2010&#10;http://www.presentationload.com/">
              <a:extLst>
                <a:ext uri="{FF2B5EF4-FFF2-40B4-BE49-F238E27FC236}">
                  <a16:creationId xmlns:a16="http://schemas.microsoft.com/office/drawing/2014/main" id="{0CFAD4D8-EBAB-0E47-DE58-161111395A03}"/>
                </a:ext>
              </a:extLst>
            </p:cNvPr>
            <p:cNvSpPr>
              <a:spLocks/>
            </p:cNvSpPr>
            <p:nvPr/>
          </p:nvSpPr>
          <p:spPr bwMode="gray">
            <a:xfrm>
              <a:off x="5136057" y="3024808"/>
              <a:ext cx="237521" cy="124876"/>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48" name="Qatar" descr="© INSCALE GmbH, 05.05.2010&#10;http://www.presentationload.com/">
              <a:extLst>
                <a:ext uri="{FF2B5EF4-FFF2-40B4-BE49-F238E27FC236}">
                  <a16:creationId xmlns:a16="http://schemas.microsoft.com/office/drawing/2014/main" id="{88D52259-E587-0A77-A851-BFEE203E5818}"/>
                </a:ext>
              </a:extLst>
            </p:cNvPr>
            <p:cNvSpPr>
              <a:spLocks/>
            </p:cNvSpPr>
            <p:nvPr/>
          </p:nvSpPr>
          <p:spPr bwMode="gray">
            <a:xfrm>
              <a:off x="5983262" y="3623953"/>
              <a:ext cx="25720" cy="49154"/>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49" name="Puerto Rico" descr="© INSCALE GmbH, 05.05.2010&#10;http://www.presentationload.com/">
              <a:extLst>
                <a:ext uri="{FF2B5EF4-FFF2-40B4-BE49-F238E27FC236}">
                  <a16:creationId xmlns:a16="http://schemas.microsoft.com/office/drawing/2014/main" id="{B11810EC-9FB6-C18F-9D9E-EB5C18E30E80}"/>
                </a:ext>
              </a:extLst>
            </p:cNvPr>
            <p:cNvSpPr>
              <a:spLocks/>
            </p:cNvSpPr>
            <p:nvPr/>
          </p:nvSpPr>
          <p:spPr bwMode="gray">
            <a:xfrm>
              <a:off x="2792624" y="3839166"/>
              <a:ext cx="52952" cy="19928"/>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50" name="Portugal" descr="© INSCALE GmbH, 05.05.2010&#10;http://www.presentationload.com/">
              <a:extLst>
                <a:ext uri="{FF2B5EF4-FFF2-40B4-BE49-F238E27FC236}">
                  <a16:creationId xmlns:a16="http://schemas.microsoft.com/office/drawing/2014/main" id="{CAC4962B-31E2-B2DC-AF7B-E190B06FA022}"/>
                </a:ext>
              </a:extLst>
            </p:cNvPr>
            <p:cNvSpPr>
              <a:spLocks/>
            </p:cNvSpPr>
            <p:nvPr/>
          </p:nvSpPr>
          <p:spPr bwMode="gray">
            <a:xfrm>
              <a:off x="4388700" y="3190867"/>
              <a:ext cx="87747" cy="139492"/>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51" name="Poland" descr="© INSCALE GmbH, 05.05.2010&#10;http://www.presentationload.com/">
              <a:extLst>
                <a:ext uri="{FF2B5EF4-FFF2-40B4-BE49-F238E27FC236}">
                  <a16:creationId xmlns:a16="http://schemas.microsoft.com/office/drawing/2014/main" id="{69672DB1-C79E-57AB-6CD4-6FB6D22BB748}"/>
                </a:ext>
              </a:extLst>
            </p:cNvPr>
            <p:cNvSpPr>
              <a:spLocks/>
            </p:cNvSpPr>
            <p:nvPr/>
          </p:nvSpPr>
          <p:spPr bwMode="gray">
            <a:xfrm>
              <a:off x="4983257" y="2852105"/>
              <a:ext cx="242059" cy="152775"/>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52" name="Philippines" descr="© INSCALE GmbH, 05.05.2010&#10;http://www.presentationload.com/">
              <a:extLst>
                <a:ext uri="{FF2B5EF4-FFF2-40B4-BE49-F238E27FC236}">
                  <a16:creationId xmlns:a16="http://schemas.microsoft.com/office/drawing/2014/main" id="{8F6360A6-A2A2-4662-9ECD-5716E474CE1C}"/>
                </a:ext>
              </a:extLst>
            </p:cNvPr>
            <p:cNvSpPr>
              <a:spLocks noEditPoints="1"/>
            </p:cNvSpPr>
            <p:nvPr/>
          </p:nvSpPr>
          <p:spPr bwMode="gray">
            <a:xfrm>
              <a:off x="7828961" y="3829867"/>
              <a:ext cx="276855" cy="407845"/>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53" name="Peru" descr="© INSCALE GmbH, 05.05.2010&#10;http://www.presentationload.com/">
              <a:extLst>
                <a:ext uri="{FF2B5EF4-FFF2-40B4-BE49-F238E27FC236}">
                  <a16:creationId xmlns:a16="http://schemas.microsoft.com/office/drawing/2014/main" id="{614CA056-218D-511D-C9B1-1D397F5FDA01}"/>
                </a:ext>
              </a:extLst>
            </p:cNvPr>
            <p:cNvSpPr>
              <a:spLocks/>
            </p:cNvSpPr>
            <p:nvPr/>
          </p:nvSpPr>
          <p:spPr bwMode="gray">
            <a:xfrm>
              <a:off x="2372047" y="4341333"/>
              <a:ext cx="364601" cy="506152"/>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54" name="Paraguay" descr="© INSCALE GmbH, 05.05.2010&#10;http://www.presentationload.com/">
              <a:extLst>
                <a:ext uri="{FF2B5EF4-FFF2-40B4-BE49-F238E27FC236}">
                  <a16:creationId xmlns:a16="http://schemas.microsoft.com/office/drawing/2014/main" id="{AE77A3E7-6234-CEBF-8268-5E28B996F76E}"/>
                </a:ext>
              </a:extLst>
            </p:cNvPr>
            <p:cNvSpPr>
              <a:spLocks/>
            </p:cNvSpPr>
            <p:nvPr/>
          </p:nvSpPr>
          <p:spPr bwMode="gray">
            <a:xfrm>
              <a:off x="2928782" y="4870069"/>
              <a:ext cx="231469" cy="229827"/>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55" name="Papua New Guinea" descr="© INSCALE GmbH, 05.05.2010&#10;http://www.presentationload.com/">
              <a:extLst>
                <a:ext uri="{FF2B5EF4-FFF2-40B4-BE49-F238E27FC236}">
                  <a16:creationId xmlns:a16="http://schemas.microsoft.com/office/drawing/2014/main" id="{1A934FFD-422E-B3AE-4590-4E34B6E070E7}"/>
                </a:ext>
              </a:extLst>
            </p:cNvPr>
            <p:cNvSpPr>
              <a:spLocks noEditPoints="1"/>
            </p:cNvSpPr>
            <p:nvPr/>
          </p:nvSpPr>
          <p:spPr bwMode="gray">
            <a:xfrm>
              <a:off x="8476469" y="4393143"/>
              <a:ext cx="420577" cy="247098"/>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56" name="Panama" descr="© INSCALE GmbH, 05.05.2010&#10;http://www.presentationload.com/">
              <a:extLst>
                <a:ext uri="{FF2B5EF4-FFF2-40B4-BE49-F238E27FC236}">
                  <a16:creationId xmlns:a16="http://schemas.microsoft.com/office/drawing/2014/main" id="{984E9A2A-43FB-2DE4-3897-7C82FEB41EB3}"/>
                </a:ext>
              </a:extLst>
            </p:cNvPr>
            <p:cNvSpPr>
              <a:spLocks/>
            </p:cNvSpPr>
            <p:nvPr/>
          </p:nvSpPr>
          <p:spPr bwMode="gray">
            <a:xfrm>
              <a:off x="2332712" y="4079621"/>
              <a:ext cx="157338" cy="66424"/>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57" name="Pakistan" descr="© INSCALE GmbH, 05.05.2010&#10;http://www.presentationload.com/">
              <a:extLst>
                <a:ext uri="{FF2B5EF4-FFF2-40B4-BE49-F238E27FC236}">
                  <a16:creationId xmlns:a16="http://schemas.microsoft.com/office/drawing/2014/main" id="{FA9DC790-01D3-56C5-73AA-DC6E11367B00}"/>
                </a:ext>
              </a:extLst>
            </p:cNvPr>
            <p:cNvSpPr>
              <a:spLocks/>
            </p:cNvSpPr>
            <p:nvPr/>
          </p:nvSpPr>
          <p:spPr bwMode="gray">
            <a:xfrm>
              <a:off x="6234399" y="3329030"/>
              <a:ext cx="406963" cy="358689"/>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58" name="Parcel Islands" descr="© INSCALE GmbH, 05.05.2010&#10;http://www.presentationload.com/">
              <a:extLst>
                <a:ext uri="{FF2B5EF4-FFF2-40B4-BE49-F238E27FC236}">
                  <a16:creationId xmlns:a16="http://schemas.microsoft.com/office/drawing/2014/main" id="{00C77B15-2E93-AC85-AC9E-D83731B586B8}"/>
                </a:ext>
              </a:extLst>
            </p:cNvPr>
            <p:cNvSpPr>
              <a:spLocks noEditPoints="1"/>
            </p:cNvSpPr>
            <p:nvPr/>
          </p:nvSpPr>
          <p:spPr bwMode="gray">
            <a:xfrm>
              <a:off x="7641365" y="3869720"/>
              <a:ext cx="36309" cy="21256"/>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59" name="Oman" descr="© INSCALE GmbH, 05.05.2010&#10;http://www.presentationload.com/">
              <a:extLst>
                <a:ext uri="{FF2B5EF4-FFF2-40B4-BE49-F238E27FC236}">
                  <a16:creationId xmlns:a16="http://schemas.microsoft.com/office/drawing/2014/main" id="{807A2C1B-1C37-ABD8-308A-69819384AF1F}"/>
                </a:ext>
              </a:extLst>
            </p:cNvPr>
            <p:cNvSpPr>
              <a:spLocks/>
            </p:cNvSpPr>
            <p:nvPr/>
          </p:nvSpPr>
          <p:spPr bwMode="gray">
            <a:xfrm>
              <a:off x="6025622" y="3657164"/>
              <a:ext cx="208777" cy="228498"/>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60" name="Norway" descr="© INSCALE GmbH, 05.05.2010&#10;http://www.presentationload.com/">
              <a:extLst>
                <a:ext uri="{FF2B5EF4-FFF2-40B4-BE49-F238E27FC236}">
                  <a16:creationId xmlns:a16="http://schemas.microsoft.com/office/drawing/2014/main" id="{7865570F-A8A1-B5E3-5CB9-758D2039D68C}"/>
                </a:ext>
              </a:extLst>
            </p:cNvPr>
            <p:cNvSpPr>
              <a:spLocks noEditPoints="1"/>
            </p:cNvSpPr>
            <p:nvPr/>
          </p:nvSpPr>
          <p:spPr bwMode="gray">
            <a:xfrm>
              <a:off x="4779020" y="2260932"/>
              <a:ext cx="526477" cy="508808"/>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61" name="Nigeria" descr="© INSCALE GmbH, 05.05.2010&#10;http://www.presentationload.com/">
              <a:extLst>
                <a:ext uri="{FF2B5EF4-FFF2-40B4-BE49-F238E27FC236}">
                  <a16:creationId xmlns:a16="http://schemas.microsoft.com/office/drawing/2014/main" id="{9D23CA43-7795-F389-5ADF-C0B88F2F2E10}"/>
                </a:ext>
              </a:extLst>
            </p:cNvPr>
            <p:cNvSpPr>
              <a:spLocks/>
            </p:cNvSpPr>
            <p:nvPr/>
          </p:nvSpPr>
          <p:spPr bwMode="gray">
            <a:xfrm>
              <a:off x="4686735" y="3962715"/>
              <a:ext cx="323754" cy="261711"/>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62" name="Niger" descr="© INSCALE GmbH, 05.05.2010&#10;http://www.presentationload.com/">
              <a:extLst>
                <a:ext uri="{FF2B5EF4-FFF2-40B4-BE49-F238E27FC236}">
                  <a16:creationId xmlns:a16="http://schemas.microsoft.com/office/drawing/2014/main" id="{7BAF9DE1-AC79-258B-7FB9-FCD945029B46}"/>
                </a:ext>
              </a:extLst>
            </p:cNvPr>
            <p:cNvSpPr>
              <a:spLocks/>
            </p:cNvSpPr>
            <p:nvPr/>
          </p:nvSpPr>
          <p:spPr bwMode="gray">
            <a:xfrm>
              <a:off x="4618655" y="3699675"/>
              <a:ext cx="429654" cy="320165"/>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63" name="Nicaragua" descr="© INSCALE GmbH, 05.05.2010&#10;http://www.presentationload.com/">
              <a:extLst>
                <a:ext uri="{FF2B5EF4-FFF2-40B4-BE49-F238E27FC236}">
                  <a16:creationId xmlns:a16="http://schemas.microsoft.com/office/drawing/2014/main" id="{2A489DBE-D663-131D-E3E7-A83531504115}"/>
                </a:ext>
              </a:extLst>
            </p:cNvPr>
            <p:cNvSpPr>
              <a:spLocks/>
            </p:cNvSpPr>
            <p:nvPr/>
          </p:nvSpPr>
          <p:spPr bwMode="gray">
            <a:xfrm>
              <a:off x="2216222" y="3936145"/>
              <a:ext cx="125569" cy="112921"/>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64" name="New Zealand" descr="© INSCALE GmbH, 05.05.2010&#10;http://www.presentationload.com/">
              <a:extLst>
                <a:ext uri="{FF2B5EF4-FFF2-40B4-BE49-F238E27FC236}">
                  <a16:creationId xmlns:a16="http://schemas.microsoft.com/office/drawing/2014/main" id="{DF618E44-3510-8F47-858C-41F8C38908B9}"/>
                </a:ext>
              </a:extLst>
            </p:cNvPr>
            <p:cNvSpPr>
              <a:spLocks noEditPoints="1"/>
            </p:cNvSpPr>
            <p:nvPr/>
          </p:nvSpPr>
          <p:spPr bwMode="gray">
            <a:xfrm>
              <a:off x="8718528" y="5281896"/>
              <a:ext cx="491683" cy="333449"/>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65" name="Newfoundland" descr="© INSCALE GmbH, 05.05.2010&#10;http://www.presentationload.com/">
              <a:extLst>
                <a:ext uri="{FF2B5EF4-FFF2-40B4-BE49-F238E27FC236}">
                  <a16:creationId xmlns:a16="http://schemas.microsoft.com/office/drawing/2014/main" id="{A8253597-259A-57E9-F534-89990204AE2C}"/>
                </a:ext>
              </a:extLst>
            </p:cNvPr>
            <p:cNvSpPr>
              <a:spLocks/>
            </p:cNvSpPr>
            <p:nvPr/>
          </p:nvSpPr>
          <p:spPr bwMode="gray">
            <a:xfrm>
              <a:off x="3202612" y="2939785"/>
              <a:ext cx="164903" cy="130191"/>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66" name="Netherlands" descr="© INSCALE GmbH, 05.05.2010&#10;http://www.presentationload.com/">
              <a:extLst>
                <a:ext uri="{FF2B5EF4-FFF2-40B4-BE49-F238E27FC236}">
                  <a16:creationId xmlns:a16="http://schemas.microsoft.com/office/drawing/2014/main" id="{71CFD0B1-02FF-7F49-03FD-DA5DCDF7AFA0}"/>
                </a:ext>
              </a:extLst>
            </p:cNvPr>
            <p:cNvSpPr>
              <a:spLocks/>
            </p:cNvSpPr>
            <p:nvPr/>
          </p:nvSpPr>
          <p:spPr bwMode="gray">
            <a:xfrm>
              <a:off x="4718506" y="2887975"/>
              <a:ext cx="104388" cy="71738"/>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67" name="Nepal" descr="© INSCALE GmbH, 05.05.2010&#10;http://www.presentationload.com/">
              <a:extLst>
                <a:ext uri="{FF2B5EF4-FFF2-40B4-BE49-F238E27FC236}">
                  <a16:creationId xmlns:a16="http://schemas.microsoft.com/office/drawing/2014/main" id="{2B7FB82C-EC5D-5A7D-68C8-F401F54ED4E1}"/>
                </a:ext>
              </a:extLst>
            </p:cNvPr>
            <p:cNvSpPr>
              <a:spLocks/>
            </p:cNvSpPr>
            <p:nvPr/>
          </p:nvSpPr>
          <p:spPr bwMode="gray">
            <a:xfrm>
              <a:off x="6745748" y="3508374"/>
              <a:ext cx="226930" cy="111593"/>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68" name="Namibia" descr="© INSCALE GmbH, 05.05.2010&#10;http://www.presentationload.com/">
              <a:extLst>
                <a:ext uri="{FF2B5EF4-FFF2-40B4-BE49-F238E27FC236}">
                  <a16:creationId xmlns:a16="http://schemas.microsoft.com/office/drawing/2014/main" id="{F9EE370B-BD1B-E552-383E-EABBD48C7515}"/>
                </a:ext>
              </a:extLst>
            </p:cNvPr>
            <p:cNvSpPr>
              <a:spLocks/>
            </p:cNvSpPr>
            <p:nvPr/>
          </p:nvSpPr>
          <p:spPr bwMode="gray">
            <a:xfrm>
              <a:off x="4930306" y="4806301"/>
              <a:ext cx="369139" cy="330792"/>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69" name="Myanmar" descr="© INSCALE GmbH, 05.05.2010&#10;http://www.presentationload.com/">
              <a:extLst>
                <a:ext uri="{FF2B5EF4-FFF2-40B4-BE49-F238E27FC236}">
                  <a16:creationId xmlns:a16="http://schemas.microsoft.com/office/drawing/2014/main" id="{9EABC20C-BBC8-7495-7388-072D9F758A30}"/>
                </a:ext>
              </a:extLst>
            </p:cNvPr>
            <p:cNvSpPr>
              <a:spLocks/>
            </p:cNvSpPr>
            <p:nvPr/>
          </p:nvSpPr>
          <p:spPr bwMode="gray">
            <a:xfrm>
              <a:off x="7102785" y="3561514"/>
              <a:ext cx="246598" cy="508808"/>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70" name="Mozambique" descr="© INSCALE GmbH, 05.05.2010&#10;http://www.presentationload.com/">
              <a:extLst>
                <a:ext uri="{FF2B5EF4-FFF2-40B4-BE49-F238E27FC236}">
                  <a16:creationId xmlns:a16="http://schemas.microsoft.com/office/drawing/2014/main" id="{D67C294D-DFE7-6ADD-B45A-53F5F80E4905}"/>
                </a:ext>
              </a:extLst>
            </p:cNvPr>
            <p:cNvSpPr>
              <a:spLocks/>
            </p:cNvSpPr>
            <p:nvPr/>
          </p:nvSpPr>
          <p:spPr bwMode="gray">
            <a:xfrm>
              <a:off x="5434091" y="4629613"/>
              <a:ext cx="295009" cy="454341"/>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71" name="Montenegro" descr="© INSCALE GmbH, 05.05.2010&#10;http://www.presentationload.com/">
              <a:extLst>
                <a:ext uri="{FF2B5EF4-FFF2-40B4-BE49-F238E27FC236}">
                  <a16:creationId xmlns:a16="http://schemas.microsoft.com/office/drawing/2014/main" id="{23EAC781-3A1B-7B29-A330-F5988CC1DD8D}"/>
                </a:ext>
              </a:extLst>
            </p:cNvPr>
            <p:cNvSpPr>
              <a:spLocks/>
            </p:cNvSpPr>
            <p:nvPr/>
          </p:nvSpPr>
          <p:spPr bwMode="gray">
            <a:xfrm>
              <a:off x="5095208" y="3149686"/>
              <a:ext cx="43873" cy="46497"/>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72" name="Mongolia" descr="© INSCALE GmbH, 05.05.2010&#10;http://www.presentationload.com/">
              <a:extLst>
                <a:ext uri="{FF2B5EF4-FFF2-40B4-BE49-F238E27FC236}">
                  <a16:creationId xmlns:a16="http://schemas.microsoft.com/office/drawing/2014/main" id="{20895889-4D36-4F36-4D4B-A5337FF76B44}"/>
                </a:ext>
              </a:extLst>
            </p:cNvPr>
            <p:cNvSpPr>
              <a:spLocks/>
            </p:cNvSpPr>
            <p:nvPr/>
          </p:nvSpPr>
          <p:spPr bwMode="gray">
            <a:xfrm>
              <a:off x="6759363" y="2921187"/>
              <a:ext cx="812411" cy="282966"/>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73" name="Moldova" descr="© INSCALE GmbH, 05.05.2010&#10;http://www.presentationload.com/">
              <a:extLst>
                <a:ext uri="{FF2B5EF4-FFF2-40B4-BE49-F238E27FC236}">
                  <a16:creationId xmlns:a16="http://schemas.microsoft.com/office/drawing/2014/main" id="{DB1AA7D2-09D6-2863-1783-81535C8701BE}"/>
                </a:ext>
              </a:extLst>
            </p:cNvPr>
            <p:cNvSpPr>
              <a:spLocks/>
            </p:cNvSpPr>
            <p:nvPr/>
          </p:nvSpPr>
          <p:spPr bwMode="gray">
            <a:xfrm>
              <a:off x="5290368" y="3019494"/>
              <a:ext cx="83208" cy="81037"/>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74" name="Mexico" descr="© INSCALE GmbH, 05.05.2010&#10;http://www.presentationload.com/">
              <a:extLst>
                <a:ext uri="{FF2B5EF4-FFF2-40B4-BE49-F238E27FC236}">
                  <a16:creationId xmlns:a16="http://schemas.microsoft.com/office/drawing/2014/main" id="{F9D79A32-EF14-9868-70F8-3E74AF356167}"/>
                </a:ext>
              </a:extLst>
            </p:cNvPr>
            <p:cNvSpPr>
              <a:spLocks/>
            </p:cNvSpPr>
            <p:nvPr/>
          </p:nvSpPr>
          <p:spPr bwMode="gray">
            <a:xfrm>
              <a:off x="1552072" y="3448593"/>
              <a:ext cx="720125" cy="495523"/>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75" name="Malta" descr="© INSCALE GmbH, 05.05.2010&#10;http://www.presentationload.com/">
              <a:extLst>
                <a:ext uri="{FF2B5EF4-FFF2-40B4-BE49-F238E27FC236}">
                  <a16:creationId xmlns:a16="http://schemas.microsoft.com/office/drawing/2014/main" id="{99CBACB7-970D-60A0-CDF7-775221AC1A01}"/>
                </a:ext>
              </a:extLst>
            </p:cNvPr>
            <p:cNvSpPr>
              <a:spLocks/>
            </p:cNvSpPr>
            <p:nvPr/>
          </p:nvSpPr>
          <p:spPr bwMode="gray">
            <a:xfrm>
              <a:off x="4992332" y="3351614"/>
              <a:ext cx="12103" cy="9300"/>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76" name="Mauritania" descr="© INSCALE GmbH, 05.05.2010&#10;http://www.presentationload.com/">
              <a:extLst>
                <a:ext uri="{FF2B5EF4-FFF2-40B4-BE49-F238E27FC236}">
                  <a16:creationId xmlns:a16="http://schemas.microsoft.com/office/drawing/2014/main" id="{5BCB85FC-C3FA-9558-8F6C-B0E785EFE004}"/>
                </a:ext>
              </a:extLst>
            </p:cNvPr>
            <p:cNvSpPr>
              <a:spLocks/>
            </p:cNvSpPr>
            <p:nvPr/>
          </p:nvSpPr>
          <p:spPr bwMode="gray">
            <a:xfrm>
              <a:off x="4157232" y="3597383"/>
              <a:ext cx="331319" cy="341420"/>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77" name="Mali" descr="© INSCALE GmbH, 05.05.2010&#10;http://www.presentationload.com/">
              <a:extLst>
                <a:ext uri="{FF2B5EF4-FFF2-40B4-BE49-F238E27FC236}">
                  <a16:creationId xmlns:a16="http://schemas.microsoft.com/office/drawing/2014/main" id="{C1AD37E8-39F9-F1B9-B6BC-41BEFE64E1EC}"/>
                </a:ext>
              </a:extLst>
            </p:cNvPr>
            <p:cNvSpPr>
              <a:spLocks/>
            </p:cNvSpPr>
            <p:nvPr/>
          </p:nvSpPr>
          <p:spPr bwMode="gray">
            <a:xfrm>
              <a:off x="4278261" y="3657164"/>
              <a:ext cx="449322" cy="407845"/>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78" name="Malaysia" descr="© INSCALE GmbH, 05.05.2010&#10;http://www.presentationload.com/">
              <a:extLst>
                <a:ext uri="{FF2B5EF4-FFF2-40B4-BE49-F238E27FC236}">
                  <a16:creationId xmlns:a16="http://schemas.microsoft.com/office/drawing/2014/main" id="{502E50C8-0F79-5883-B1B9-BF4EC888E512}"/>
                </a:ext>
              </a:extLst>
            </p:cNvPr>
            <p:cNvSpPr>
              <a:spLocks/>
            </p:cNvSpPr>
            <p:nvPr/>
          </p:nvSpPr>
          <p:spPr bwMode="gray">
            <a:xfrm>
              <a:off x="7359973" y="4158002"/>
              <a:ext cx="118004" cy="148789"/>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79" name="Malaysia" descr="© INSCALE GmbH, 05.05.2010&#10;http://www.presentationload.com/">
              <a:extLst>
                <a:ext uri="{FF2B5EF4-FFF2-40B4-BE49-F238E27FC236}">
                  <a16:creationId xmlns:a16="http://schemas.microsoft.com/office/drawing/2014/main" id="{F697ECB3-D042-4A6C-8A1C-4F11003B0F57}"/>
                </a:ext>
              </a:extLst>
            </p:cNvPr>
            <p:cNvSpPr>
              <a:spLocks/>
            </p:cNvSpPr>
            <p:nvPr/>
          </p:nvSpPr>
          <p:spPr bwMode="gray">
            <a:xfrm>
              <a:off x="7636827" y="4140732"/>
              <a:ext cx="266265" cy="179345"/>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80" name="Malawi" descr="© INSCALE GmbH, 05.05.2010&#10;http://www.presentationload.com/">
              <a:extLst>
                <a:ext uri="{FF2B5EF4-FFF2-40B4-BE49-F238E27FC236}">
                  <a16:creationId xmlns:a16="http://schemas.microsoft.com/office/drawing/2014/main" id="{1D2AFE00-EAE2-DC11-5E9F-231E5B899771}"/>
                </a:ext>
              </a:extLst>
            </p:cNvPr>
            <p:cNvSpPr>
              <a:spLocks/>
            </p:cNvSpPr>
            <p:nvPr/>
          </p:nvSpPr>
          <p:spPr bwMode="gray">
            <a:xfrm>
              <a:off x="5505197" y="4600385"/>
              <a:ext cx="90772" cy="212557"/>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81" name="Madagascar" descr="© INSCALE GmbH, 05.05.2010&#10;http://www.presentationload.com/">
              <a:extLst>
                <a:ext uri="{FF2B5EF4-FFF2-40B4-BE49-F238E27FC236}">
                  <a16:creationId xmlns:a16="http://schemas.microsoft.com/office/drawing/2014/main" id="{BA51C666-EDAA-658C-6D81-BDC9AA6AFA80}"/>
                </a:ext>
              </a:extLst>
            </p:cNvPr>
            <p:cNvSpPr>
              <a:spLocks/>
            </p:cNvSpPr>
            <p:nvPr/>
          </p:nvSpPr>
          <p:spPr bwMode="gray">
            <a:xfrm>
              <a:off x="5769949" y="4678767"/>
              <a:ext cx="229955" cy="370646"/>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82" name="Macedonia" descr="© INSCALE GmbH, 05.05.2010&#10;http://www.presentationload.com/">
              <a:extLst>
                <a:ext uri="{FF2B5EF4-FFF2-40B4-BE49-F238E27FC236}">
                  <a16:creationId xmlns:a16="http://schemas.microsoft.com/office/drawing/2014/main" id="{03395BD7-4F13-0C7C-EB75-4F68F86EB466}"/>
                </a:ext>
              </a:extLst>
            </p:cNvPr>
            <p:cNvSpPr>
              <a:spLocks/>
            </p:cNvSpPr>
            <p:nvPr/>
          </p:nvSpPr>
          <p:spPr bwMode="gray">
            <a:xfrm>
              <a:off x="5149672" y="3181569"/>
              <a:ext cx="63541" cy="43840"/>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83" name="Luxembourg" descr="© INSCALE GmbH, 05.05.2010&#10;http://www.presentationload.com/">
              <a:extLst>
                <a:ext uri="{FF2B5EF4-FFF2-40B4-BE49-F238E27FC236}">
                  <a16:creationId xmlns:a16="http://schemas.microsoft.com/office/drawing/2014/main" id="{222CC3DD-CFFA-CA7A-A44A-AAB768F2CF8B}"/>
                </a:ext>
              </a:extLst>
            </p:cNvPr>
            <p:cNvSpPr>
              <a:spLocks/>
            </p:cNvSpPr>
            <p:nvPr/>
          </p:nvSpPr>
          <p:spPr bwMode="gray">
            <a:xfrm>
              <a:off x="4782046" y="2975654"/>
              <a:ext cx="19667" cy="14614"/>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84" name="Lithuania" descr="© INSCALE GmbH, 05.05.2010&#10;http://www.presentationload.com/">
              <a:extLst>
                <a:ext uri="{FF2B5EF4-FFF2-40B4-BE49-F238E27FC236}">
                  <a16:creationId xmlns:a16="http://schemas.microsoft.com/office/drawing/2014/main" id="{4912BEAC-8C26-E2DE-287D-AF621BD7D64C}"/>
                </a:ext>
              </a:extLst>
            </p:cNvPr>
            <p:cNvSpPr>
              <a:spLocks/>
            </p:cNvSpPr>
            <p:nvPr/>
          </p:nvSpPr>
          <p:spPr bwMode="gray">
            <a:xfrm>
              <a:off x="5139083" y="2809594"/>
              <a:ext cx="131620" cy="66424"/>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85" name="Liechtenstein" descr="© INSCALE GmbH, 05.05.2010&#10;http://www.presentationload.com/">
              <a:extLst>
                <a:ext uri="{FF2B5EF4-FFF2-40B4-BE49-F238E27FC236}">
                  <a16:creationId xmlns:a16="http://schemas.microsoft.com/office/drawing/2014/main" id="{023C35C9-96A3-44D6-8AF5-DF443908C1BA}"/>
                </a:ext>
              </a:extLst>
            </p:cNvPr>
            <p:cNvSpPr>
              <a:spLocks/>
            </p:cNvSpPr>
            <p:nvPr/>
          </p:nvSpPr>
          <p:spPr bwMode="gray">
            <a:xfrm>
              <a:off x="4869792" y="3050050"/>
              <a:ext cx="6051" cy="7971"/>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86" name="Libya" descr="© INSCALE GmbH, 05.05.2010&#10;http://www.presentationload.com/">
              <a:extLst>
                <a:ext uri="{FF2B5EF4-FFF2-40B4-BE49-F238E27FC236}">
                  <a16:creationId xmlns:a16="http://schemas.microsoft.com/office/drawing/2014/main" id="{DD743F47-180B-EA96-2C98-E83244012F0B}"/>
                </a:ext>
              </a:extLst>
            </p:cNvPr>
            <p:cNvSpPr>
              <a:spLocks/>
            </p:cNvSpPr>
            <p:nvPr/>
          </p:nvSpPr>
          <p:spPr bwMode="gray">
            <a:xfrm>
              <a:off x="4866766" y="3432651"/>
              <a:ext cx="425116" cy="377288"/>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87" name="Liberia" descr="© INSCALE GmbH, 05.05.2010&#10;http://www.presentationload.com/">
              <a:extLst>
                <a:ext uri="{FF2B5EF4-FFF2-40B4-BE49-F238E27FC236}">
                  <a16:creationId xmlns:a16="http://schemas.microsoft.com/office/drawing/2014/main" id="{38667ECE-AD7F-B3BE-A7D8-EFD335325B1D}"/>
                </a:ext>
              </a:extLst>
            </p:cNvPr>
            <p:cNvSpPr>
              <a:spLocks/>
            </p:cNvSpPr>
            <p:nvPr/>
          </p:nvSpPr>
          <p:spPr bwMode="gray">
            <a:xfrm>
              <a:off x="4287338" y="4107520"/>
              <a:ext cx="119517" cy="116906"/>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88" name="Lesotho" descr="© INSCALE GmbH, 05.05.2010&#10;http://www.presentationload.com/">
              <a:extLst>
                <a:ext uri="{FF2B5EF4-FFF2-40B4-BE49-F238E27FC236}">
                  <a16:creationId xmlns:a16="http://schemas.microsoft.com/office/drawing/2014/main" id="{8F4F2089-B14E-9041-19C1-E5D8DC87C2B1}"/>
                </a:ext>
              </a:extLst>
            </p:cNvPr>
            <p:cNvSpPr>
              <a:spLocks/>
            </p:cNvSpPr>
            <p:nvPr/>
          </p:nvSpPr>
          <p:spPr bwMode="gray">
            <a:xfrm>
              <a:off x="5335755" y="5126464"/>
              <a:ext cx="65054" cy="55796"/>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89" name="Lebanon" descr="© INSCALE GmbH, 05.05.2010&#10;http://www.presentationload.com/">
              <a:extLst>
                <a:ext uri="{FF2B5EF4-FFF2-40B4-BE49-F238E27FC236}">
                  <a16:creationId xmlns:a16="http://schemas.microsoft.com/office/drawing/2014/main" id="{1F4FEB69-7D02-2AC3-4892-C928DFC9D9EA}"/>
                </a:ext>
              </a:extLst>
            </p:cNvPr>
            <p:cNvSpPr>
              <a:spLocks/>
            </p:cNvSpPr>
            <p:nvPr/>
          </p:nvSpPr>
          <p:spPr bwMode="gray">
            <a:xfrm>
              <a:off x="5535454" y="3394125"/>
              <a:ext cx="42360" cy="53140"/>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90" name="Latvia" descr="© INSCALE GmbH, 05.05.2010&#10;http://www.presentationload.com/">
              <a:extLst>
                <a:ext uri="{FF2B5EF4-FFF2-40B4-BE49-F238E27FC236}">
                  <a16:creationId xmlns:a16="http://schemas.microsoft.com/office/drawing/2014/main" id="{CC10C2AF-5C68-470D-0440-136568BE86F6}"/>
                </a:ext>
              </a:extLst>
            </p:cNvPr>
            <p:cNvSpPr>
              <a:spLocks/>
            </p:cNvSpPr>
            <p:nvPr/>
          </p:nvSpPr>
          <p:spPr bwMode="gray">
            <a:xfrm>
              <a:off x="5136057" y="2768412"/>
              <a:ext cx="164903" cy="61110"/>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91" name="Laos" descr="© INSCALE GmbH, 05.05.2010&#10;http://www.presentationload.com/">
              <a:extLst>
                <a:ext uri="{FF2B5EF4-FFF2-40B4-BE49-F238E27FC236}">
                  <a16:creationId xmlns:a16="http://schemas.microsoft.com/office/drawing/2014/main" id="{378FDF58-6A90-1684-7BD2-633D5994B81F}"/>
                </a:ext>
              </a:extLst>
            </p:cNvPr>
            <p:cNvSpPr>
              <a:spLocks/>
            </p:cNvSpPr>
            <p:nvPr/>
          </p:nvSpPr>
          <p:spPr bwMode="gray">
            <a:xfrm>
              <a:off x="7320638" y="3726246"/>
              <a:ext cx="232981" cy="236470"/>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92" name="Kyrgyzstan" descr="© INSCALE GmbH, 05.05.2010&#10;http://www.presentationload.com/">
              <a:extLst>
                <a:ext uri="{FF2B5EF4-FFF2-40B4-BE49-F238E27FC236}">
                  <a16:creationId xmlns:a16="http://schemas.microsoft.com/office/drawing/2014/main" id="{C94864F0-A6C6-1DE0-389A-DCE36C4A6A29}"/>
                </a:ext>
              </a:extLst>
            </p:cNvPr>
            <p:cNvSpPr>
              <a:spLocks/>
            </p:cNvSpPr>
            <p:nvPr/>
          </p:nvSpPr>
          <p:spPr bwMode="gray">
            <a:xfrm>
              <a:off x="6391737" y="3161642"/>
              <a:ext cx="260212" cy="106278"/>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93" name="Kuwait" descr="© INSCALE GmbH, 05.05.2010&#10;http://www.presentationload.com/">
              <a:extLst>
                <a:ext uri="{FF2B5EF4-FFF2-40B4-BE49-F238E27FC236}">
                  <a16:creationId xmlns:a16="http://schemas.microsoft.com/office/drawing/2014/main" id="{E737D62E-8893-3E39-A533-59C2481058F7}"/>
                </a:ext>
              </a:extLst>
            </p:cNvPr>
            <p:cNvSpPr>
              <a:spLocks/>
            </p:cNvSpPr>
            <p:nvPr/>
          </p:nvSpPr>
          <p:spPr bwMode="gray">
            <a:xfrm>
              <a:off x="5856183" y="3520332"/>
              <a:ext cx="52952" cy="41184"/>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94" name="Kosovo" descr="© INSCALE GmbH, 05.05.2010&#10;http://www.presentationload.com/">
              <a:extLst>
                <a:ext uri="{FF2B5EF4-FFF2-40B4-BE49-F238E27FC236}">
                  <a16:creationId xmlns:a16="http://schemas.microsoft.com/office/drawing/2014/main" id="{62FD644D-519D-0C34-85B5-7BB7DCA96790}"/>
                </a:ext>
              </a:extLst>
            </p:cNvPr>
            <p:cNvSpPr>
              <a:spLocks noEditPoints="1"/>
            </p:cNvSpPr>
            <p:nvPr/>
          </p:nvSpPr>
          <p:spPr bwMode="gray">
            <a:xfrm>
              <a:off x="5137386" y="3150745"/>
              <a:ext cx="49860" cy="44109"/>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95" name="Korea, South" descr="© INSCALE GmbH, 05.05.2010&#10;http://www.presentationload.com/">
              <a:extLst>
                <a:ext uri="{FF2B5EF4-FFF2-40B4-BE49-F238E27FC236}">
                  <a16:creationId xmlns:a16="http://schemas.microsoft.com/office/drawing/2014/main" id="{147C878C-89B3-D76B-F4C4-A75D8EE4C835}"/>
                </a:ext>
              </a:extLst>
            </p:cNvPr>
            <p:cNvSpPr>
              <a:spLocks noEditPoints="1"/>
            </p:cNvSpPr>
            <p:nvPr/>
          </p:nvSpPr>
          <p:spPr bwMode="gray">
            <a:xfrm>
              <a:off x="7875860" y="3287847"/>
              <a:ext cx="105901" cy="144804"/>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96" name="Korea, North" descr="© INSCALE GmbH, 05.05.2010&#10;http://www.presentationload.com/">
              <a:extLst>
                <a:ext uri="{FF2B5EF4-FFF2-40B4-BE49-F238E27FC236}">
                  <a16:creationId xmlns:a16="http://schemas.microsoft.com/office/drawing/2014/main" id="{22842255-61AB-1421-F8B3-C40D402C9AB1}"/>
                </a:ext>
              </a:extLst>
            </p:cNvPr>
            <p:cNvSpPr>
              <a:spLocks/>
            </p:cNvSpPr>
            <p:nvPr/>
          </p:nvSpPr>
          <p:spPr bwMode="gray">
            <a:xfrm>
              <a:off x="7788114" y="3168283"/>
              <a:ext cx="127080" cy="142148"/>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97" name="Kenya" descr="© INSCALE GmbH, 05.05.2010&#10;http://www.presentationload.com/">
              <a:extLst>
                <a:ext uri="{FF2B5EF4-FFF2-40B4-BE49-F238E27FC236}">
                  <a16:creationId xmlns:a16="http://schemas.microsoft.com/office/drawing/2014/main" id="{F5A2A670-0410-C839-8F2B-C4525C6FC664}"/>
                </a:ext>
              </a:extLst>
            </p:cNvPr>
            <p:cNvSpPr>
              <a:spLocks/>
            </p:cNvSpPr>
            <p:nvPr/>
          </p:nvSpPr>
          <p:spPr bwMode="gray">
            <a:xfrm>
              <a:off x="5547557" y="4213799"/>
              <a:ext cx="217853" cy="259055"/>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98" name="Kazakhstan" descr="© INSCALE GmbH, 05.05.2010&#10;http://www.presentationload.com/">
              <a:extLst>
                <a:ext uri="{FF2B5EF4-FFF2-40B4-BE49-F238E27FC236}">
                  <a16:creationId xmlns:a16="http://schemas.microsoft.com/office/drawing/2014/main" id="{3FB38038-6705-6625-F184-BF7233BF60AD}"/>
                </a:ext>
              </a:extLst>
            </p:cNvPr>
            <p:cNvSpPr>
              <a:spLocks noEditPoints="1"/>
            </p:cNvSpPr>
            <p:nvPr/>
          </p:nvSpPr>
          <p:spPr bwMode="gray">
            <a:xfrm>
              <a:off x="5769949" y="2837492"/>
              <a:ext cx="972775" cy="395888"/>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99" name="Jordan" descr="© INSCALE GmbH, 05.05.2010&#10;http://www.presentationload.com/">
              <a:extLst>
                <a:ext uri="{FF2B5EF4-FFF2-40B4-BE49-F238E27FC236}">
                  <a16:creationId xmlns:a16="http://schemas.microsoft.com/office/drawing/2014/main" id="{E6A620EC-F4C9-CCA7-EE1E-51FF19FCCBDE}"/>
                </a:ext>
              </a:extLst>
            </p:cNvPr>
            <p:cNvSpPr>
              <a:spLocks/>
            </p:cNvSpPr>
            <p:nvPr/>
          </p:nvSpPr>
          <p:spPr bwMode="gray">
            <a:xfrm>
              <a:off x="5547557" y="3431323"/>
              <a:ext cx="108927" cy="114250"/>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00" name="Jamaica" descr="© INSCALE GmbH, 05.05.2010&#10;http://www.presentationload.com/">
              <a:extLst>
                <a:ext uri="{FF2B5EF4-FFF2-40B4-BE49-F238E27FC236}">
                  <a16:creationId xmlns:a16="http://schemas.microsoft.com/office/drawing/2014/main" id="{B487AF32-F170-2339-E322-8A5D16956FE3}"/>
                </a:ext>
              </a:extLst>
            </p:cNvPr>
            <p:cNvSpPr>
              <a:spLocks/>
            </p:cNvSpPr>
            <p:nvPr/>
          </p:nvSpPr>
          <p:spPr bwMode="gray">
            <a:xfrm>
              <a:off x="2482487" y="3839166"/>
              <a:ext cx="60515" cy="17271"/>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01" name="Japan" descr="© INSCALE GmbH, 05.05.2010&#10;http://www.presentationload.com/">
              <a:extLst>
                <a:ext uri="{FF2B5EF4-FFF2-40B4-BE49-F238E27FC236}">
                  <a16:creationId xmlns:a16="http://schemas.microsoft.com/office/drawing/2014/main" id="{700FFD6D-7CFD-3B61-D3F1-BEA05E6081CB}"/>
                </a:ext>
              </a:extLst>
            </p:cNvPr>
            <p:cNvSpPr>
              <a:spLocks noEditPoints="1"/>
            </p:cNvSpPr>
            <p:nvPr/>
          </p:nvSpPr>
          <p:spPr bwMode="gray">
            <a:xfrm>
              <a:off x="7936374" y="3099204"/>
              <a:ext cx="338882" cy="580547"/>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02" name="Italy" descr="© INSCALE GmbH, 05.05.2010&#10;http://www.presentationload.com/">
              <a:extLst>
                <a:ext uri="{FF2B5EF4-FFF2-40B4-BE49-F238E27FC236}">
                  <a16:creationId xmlns:a16="http://schemas.microsoft.com/office/drawing/2014/main" id="{A77671B0-72EA-96C6-9892-F5E65F9CD4B4}"/>
                </a:ext>
              </a:extLst>
            </p:cNvPr>
            <p:cNvSpPr>
              <a:spLocks noEditPoints="1"/>
            </p:cNvSpPr>
            <p:nvPr/>
          </p:nvSpPr>
          <p:spPr bwMode="gray">
            <a:xfrm>
              <a:off x="4800200" y="3055363"/>
              <a:ext cx="301062" cy="281638"/>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03" name="Israel" descr="© INSCALE GmbH, 05.05.2010&#10;http://www.presentationload.com/">
              <a:extLst>
                <a:ext uri="{FF2B5EF4-FFF2-40B4-BE49-F238E27FC236}">
                  <a16:creationId xmlns:a16="http://schemas.microsoft.com/office/drawing/2014/main" id="{12850D4A-50AA-4BDB-CFD3-3BF7642D1D9F}"/>
                </a:ext>
              </a:extLst>
            </p:cNvPr>
            <p:cNvSpPr>
              <a:spLocks/>
            </p:cNvSpPr>
            <p:nvPr/>
          </p:nvSpPr>
          <p:spPr bwMode="gray">
            <a:xfrm>
              <a:off x="5524863" y="3427337"/>
              <a:ext cx="39335" cy="108936"/>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04" name="Ireland" descr="© INSCALE GmbH, 05.05.2010&#10;http://www.presentationload.com/">
              <a:extLst>
                <a:ext uri="{FF2B5EF4-FFF2-40B4-BE49-F238E27FC236}">
                  <a16:creationId xmlns:a16="http://schemas.microsoft.com/office/drawing/2014/main" id="{E3CA18D1-72DB-75AA-029E-35F7DC6C33AC}"/>
                </a:ext>
              </a:extLst>
            </p:cNvPr>
            <p:cNvSpPr>
              <a:spLocks/>
            </p:cNvSpPr>
            <p:nvPr/>
          </p:nvSpPr>
          <p:spPr bwMode="gray">
            <a:xfrm>
              <a:off x="4405341" y="2840149"/>
              <a:ext cx="108927" cy="100963"/>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05" name="Iraq" descr="© INSCALE GmbH, 05.05.2010&#10;http://www.presentationload.com/">
              <a:extLst>
                <a:ext uri="{FF2B5EF4-FFF2-40B4-BE49-F238E27FC236}">
                  <a16:creationId xmlns:a16="http://schemas.microsoft.com/office/drawing/2014/main" id="{CFFDC14A-9410-B8AB-5897-389BFDA88997}"/>
                </a:ext>
              </a:extLst>
            </p:cNvPr>
            <p:cNvSpPr>
              <a:spLocks/>
            </p:cNvSpPr>
            <p:nvPr/>
          </p:nvSpPr>
          <p:spPr bwMode="gray">
            <a:xfrm>
              <a:off x="5638329" y="3321059"/>
              <a:ext cx="264752" cy="224513"/>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06" name="Iran" descr="© INSCALE GmbH, 05.05.2010&#10;http://www.presentationload.com/">
              <a:extLst>
                <a:ext uri="{FF2B5EF4-FFF2-40B4-BE49-F238E27FC236}">
                  <a16:creationId xmlns:a16="http://schemas.microsoft.com/office/drawing/2014/main" id="{0B9C6543-CFEA-67A8-42F0-BC1BA16F9A14}"/>
                </a:ext>
              </a:extLst>
            </p:cNvPr>
            <p:cNvSpPr>
              <a:spLocks/>
            </p:cNvSpPr>
            <p:nvPr/>
          </p:nvSpPr>
          <p:spPr bwMode="gray">
            <a:xfrm>
              <a:off x="5751793" y="3253307"/>
              <a:ext cx="556735" cy="401201"/>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07" name="Indonesia" descr="© INSCALE GmbH, 05.05.2010&#10;http://www.presentationload.com/">
              <a:extLst>
                <a:ext uri="{FF2B5EF4-FFF2-40B4-BE49-F238E27FC236}">
                  <a16:creationId xmlns:a16="http://schemas.microsoft.com/office/drawing/2014/main" id="{9D1B70BD-865B-A7AC-4DFC-986664E22013}"/>
                </a:ext>
              </a:extLst>
            </p:cNvPr>
            <p:cNvSpPr>
              <a:spLocks noEditPoints="1"/>
            </p:cNvSpPr>
            <p:nvPr/>
          </p:nvSpPr>
          <p:spPr bwMode="gray">
            <a:xfrm>
              <a:off x="7229865" y="4187228"/>
              <a:ext cx="1263246" cy="442384"/>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08" name="India" descr="© INSCALE GmbH, 05.05.2010&#10;http://www.presentationload.com/">
              <a:extLst>
                <a:ext uri="{FF2B5EF4-FFF2-40B4-BE49-F238E27FC236}">
                  <a16:creationId xmlns:a16="http://schemas.microsoft.com/office/drawing/2014/main" id="{052ADAA9-226F-94DF-EC95-99099FEF491F}"/>
                </a:ext>
              </a:extLst>
            </p:cNvPr>
            <p:cNvSpPr>
              <a:spLocks noEditPoints="1"/>
            </p:cNvSpPr>
            <p:nvPr/>
          </p:nvSpPr>
          <p:spPr bwMode="gray">
            <a:xfrm>
              <a:off x="6455277" y="3356928"/>
              <a:ext cx="756434" cy="801074"/>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09" name="Iceland" descr="© INSCALE GmbH, 05.05.2010&#10;http://www.presentationload.com/">
              <a:extLst>
                <a:ext uri="{FF2B5EF4-FFF2-40B4-BE49-F238E27FC236}">
                  <a16:creationId xmlns:a16="http://schemas.microsoft.com/office/drawing/2014/main" id="{997FA901-F08F-A25F-C6D4-37902648B4C3}"/>
                </a:ext>
              </a:extLst>
            </p:cNvPr>
            <p:cNvSpPr>
              <a:spLocks/>
            </p:cNvSpPr>
            <p:nvPr/>
          </p:nvSpPr>
          <p:spPr bwMode="gray">
            <a:xfrm>
              <a:off x="4172360" y="2559840"/>
              <a:ext cx="220880" cy="75724"/>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10" name="Hungary" descr="© INSCALE GmbH, 05.05.2010&#10;http://www.presentationload.com/">
              <a:extLst>
                <a:ext uri="{FF2B5EF4-FFF2-40B4-BE49-F238E27FC236}">
                  <a16:creationId xmlns:a16="http://schemas.microsoft.com/office/drawing/2014/main" id="{16B2961C-D363-F3CB-5C9E-89515530C49D}"/>
                </a:ext>
              </a:extLst>
            </p:cNvPr>
            <p:cNvSpPr>
              <a:spLocks/>
            </p:cNvSpPr>
            <p:nvPr/>
          </p:nvSpPr>
          <p:spPr bwMode="gray">
            <a:xfrm>
              <a:off x="5036208" y="3016838"/>
              <a:ext cx="164903" cy="75724"/>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11" name="Honduras" descr="© INSCALE GmbH, 05.05.2010&#10;http://www.presentationload.com/">
              <a:extLst>
                <a:ext uri="{FF2B5EF4-FFF2-40B4-BE49-F238E27FC236}">
                  <a16:creationId xmlns:a16="http://schemas.microsoft.com/office/drawing/2014/main" id="{F5E6F488-49C7-D931-E155-234A9A968232}"/>
                </a:ext>
              </a:extLst>
            </p:cNvPr>
            <p:cNvSpPr>
              <a:spLocks/>
            </p:cNvSpPr>
            <p:nvPr/>
          </p:nvSpPr>
          <p:spPr bwMode="gray">
            <a:xfrm>
              <a:off x="2173861" y="3904262"/>
              <a:ext cx="172467" cy="83695"/>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12" name="Haiti" descr="© INSCALE GmbH, 05.05.2010&#10;http://www.presentationload.com/">
              <a:extLst>
                <a:ext uri="{FF2B5EF4-FFF2-40B4-BE49-F238E27FC236}">
                  <a16:creationId xmlns:a16="http://schemas.microsoft.com/office/drawing/2014/main" id="{288B4F21-CE93-B29B-04C0-6C77D47B1F6E}"/>
                </a:ext>
              </a:extLst>
            </p:cNvPr>
            <p:cNvSpPr>
              <a:spLocks/>
            </p:cNvSpPr>
            <p:nvPr/>
          </p:nvSpPr>
          <p:spPr bwMode="gray">
            <a:xfrm>
              <a:off x="2597465" y="3797983"/>
              <a:ext cx="75644" cy="53140"/>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13" name="Guyane (French Guiana)" descr="© INSCALE GmbH, 05.05.2010&#10;http://www.presentationload.com/">
              <a:extLst>
                <a:ext uri="{FF2B5EF4-FFF2-40B4-BE49-F238E27FC236}">
                  <a16:creationId xmlns:a16="http://schemas.microsoft.com/office/drawing/2014/main" id="{7D9B2BA7-0C1C-C72F-0302-C20D3512E192}"/>
                </a:ext>
              </a:extLst>
            </p:cNvPr>
            <p:cNvSpPr>
              <a:spLocks/>
            </p:cNvSpPr>
            <p:nvPr/>
          </p:nvSpPr>
          <p:spPr bwMode="gray">
            <a:xfrm>
              <a:off x="3105788" y="4184570"/>
              <a:ext cx="78669" cy="100963"/>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14" name="Guyana" descr="© INSCALE GmbH, 05.05.2010&#10;http://www.presentationload.com/">
              <a:extLst>
                <a:ext uri="{FF2B5EF4-FFF2-40B4-BE49-F238E27FC236}">
                  <a16:creationId xmlns:a16="http://schemas.microsoft.com/office/drawing/2014/main" id="{DB13AC87-8597-B7CA-C0EB-81696267E969}"/>
                </a:ext>
              </a:extLst>
            </p:cNvPr>
            <p:cNvSpPr>
              <a:spLocks/>
            </p:cNvSpPr>
            <p:nvPr/>
          </p:nvSpPr>
          <p:spPr bwMode="gray">
            <a:xfrm>
              <a:off x="2921219" y="4111504"/>
              <a:ext cx="125569" cy="197943"/>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15" name="Guinea-Bissau" descr="© INSCALE GmbH, 05.05.2010&#10;http://www.presentationload.com/">
              <a:extLst>
                <a:ext uri="{FF2B5EF4-FFF2-40B4-BE49-F238E27FC236}">
                  <a16:creationId xmlns:a16="http://schemas.microsoft.com/office/drawing/2014/main" id="{D8662EB2-EDC4-E4F3-8C6E-36942FD034F6}"/>
                </a:ext>
              </a:extLst>
            </p:cNvPr>
            <p:cNvSpPr>
              <a:spLocks/>
            </p:cNvSpPr>
            <p:nvPr/>
          </p:nvSpPr>
          <p:spPr bwMode="gray">
            <a:xfrm>
              <a:off x="4166308" y="3993271"/>
              <a:ext cx="71106" cy="53140"/>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16" name="Guinea" descr="© INSCALE GmbH, 05.05.2010&#10;http://www.presentationload.com/">
              <a:extLst>
                <a:ext uri="{FF2B5EF4-FFF2-40B4-BE49-F238E27FC236}">
                  <a16:creationId xmlns:a16="http://schemas.microsoft.com/office/drawing/2014/main" id="{4E6EEC3E-A013-EFEE-75BF-7B5D356073E4}"/>
                </a:ext>
              </a:extLst>
            </p:cNvPr>
            <p:cNvSpPr>
              <a:spLocks/>
            </p:cNvSpPr>
            <p:nvPr/>
          </p:nvSpPr>
          <p:spPr bwMode="gray">
            <a:xfrm>
              <a:off x="4201105" y="3995927"/>
              <a:ext cx="201211" cy="150119"/>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17" name="Guatemala" descr="© INSCALE GmbH, 05.05.2010&#10;http://www.presentationload.com/">
              <a:extLst>
                <a:ext uri="{FF2B5EF4-FFF2-40B4-BE49-F238E27FC236}">
                  <a16:creationId xmlns:a16="http://schemas.microsoft.com/office/drawing/2014/main" id="{F1DAA03E-D5F9-42AE-E269-8D1D8E1249BF}"/>
                </a:ext>
              </a:extLst>
            </p:cNvPr>
            <p:cNvSpPr>
              <a:spLocks/>
            </p:cNvSpPr>
            <p:nvPr/>
          </p:nvSpPr>
          <p:spPr bwMode="gray">
            <a:xfrm>
              <a:off x="2093680" y="3852453"/>
              <a:ext cx="114978" cy="114250"/>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18" name="Greenland" descr="© INSCALE GmbH, 05.05.2010&#10;http://www.presentationload.com/">
              <a:extLst>
                <a:ext uri="{FF2B5EF4-FFF2-40B4-BE49-F238E27FC236}">
                  <a16:creationId xmlns:a16="http://schemas.microsoft.com/office/drawing/2014/main" id="{C2EE9400-9DF5-AC54-1A94-E29F0BE03590}"/>
                </a:ext>
              </a:extLst>
            </p:cNvPr>
            <p:cNvSpPr>
              <a:spLocks noEditPoints="1"/>
            </p:cNvSpPr>
            <p:nvPr/>
          </p:nvSpPr>
          <p:spPr bwMode="gray">
            <a:xfrm>
              <a:off x="3428029" y="2206464"/>
              <a:ext cx="1084726" cy="518107"/>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19" name="Greece" descr="© INSCALE GmbH, 05.05.2010&#10;http://www.presentationload.com/">
              <a:extLst>
                <a:ext uri="{FF2B5EF4-FFF2-40B4-BE49-F238E27FC236}">
                  <a16:creationId xmlns:a16="http://schemas.microsoft.com/office/drawing/2014/main" id="{4B2E6506-F29F-DE26-1748-DE631513968B}"/>
                </a:ext>
              </a:extLst>
            </p:cNvPr>
            <p:cNvSpPr>
              <a:spLocks noEditPoints="1"/>
            </p:cNvSpPr>
            <p:nvPr/>
          </p:nvSpPr>
          <p:spPr bwMode="gray">
            <a:xfrm>
              <a:off x="5148159" y="3200167"/>
              <a:ext cx="205749" cy="187316"/>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20" name="Ghana" descr="© INSCALE GmbH, 05.05.2010&#10;http://www.presentationload.com/">
              <a:extLst>
                <a:ext uri="{FF2B5EF4-FFF2-40B4-BE49-F238E27FC236}">
                  <a16:creationId xmlns:a16="http://schemas.microsoft.com/office/drawing/2014/main" id="{93040DF3-DA2A-BDD3-43F1-85BE5386A97F}"/>
                </a:ext>
              </a:extLst>
            </p:cNvPr>
            <p:cNvSpPr>
              <a:spLocks/>
            </p:cNvSpPr>
            <p:nvPr/>
          </p:nvSpPr>
          <p:spPr bwMode="gray">
            <a:xfrm>
              <a:off x="4518807" y="4038438"/>
              <a:ext cx="125569" cy="175359"/>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21" name="Germany" descr="© INSCALE GmbH, 05.05.2010&#10;http://www.presentationload.com/">
              <a:extLst>
                <a:ext uri="{FF2B5EF4-FFF2-40B4-BE49-F238E27FC236}">
                  <a16:creationId xmlns:a16="http://schemas.microsoft.com/office/drawing/2014/main" id="{74F62646-6629-7AA9-467E-08A65E72B771}"/>
                </a:ext>
              </a:extLst>
            </p:cNvPr>
            <p:cNvSpPr>
              <a:spLocks/>
            </p:cNvSpPr>
            <p:nvPr/>
          </p:nvSpPr>
          <p:spPr bwMode="gray">
            <a:xfrm>
              <a:off x="4788097" y="2849448"/>
              <a:ext cx="217853" cy="200600"/>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22" name="Georgia" descr="© INSCALE GmbH, 05.05.2010&#10;http://www.presentationload.com/">
              <a:extLst>
                <a:ext uri="{FF2B5EF4-FFF2-40B4-BE49-F238E27FC236}">
                  <a16:creationId xmlns:a16="http://schemas.microsoft.com/office/drawing/2014/main" id="{5E2225BC-2581-AD74-DB43-B698B5252104}"/>
                </a:ext>
              </a:extLst>
            </p:cNvPr>
            <p:cNvSpPr>
              <a:spLocks/>
            </p:cNvSpPr>
            <p:nvPr/>
          </p:nvSpPr>
          <p:spPr bwMode="gray">
            <a:xfrm>
              <a:off x="5633790" y="3149686"/>
              <a:ext cx="178518" cy="71738"/>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23" name="The Gambia" descr="© INSCALE GmbH, 05.05.2010&#10;http://www.presentationload.com/">
              <a:extLst>
                <a:ext uri="{FF2B5EF4-FFF2-40B4-BE49-F238E27FC236}">
                  <a16:creationId xmlns:a16="http://schemas.microsoft.com/office/drawing/2014/main" id="{3000D435-8A72-2B05-DA0B-0013D21AB87E}"/>
                </a:ext>
              </a:extLst>
            </p:cNvPr>
            <p:cNvSpPr>
              <a:spLocks/>
            </p:cNvSpPr>
            <p:nvPr/>
          </p:nvSpPr>
          <p:spPr bwMode="gray">
            <a:xfrm>
              <a:off x="4152693" y="3965372"/>
              <a:ext cx="83208" cy="17271"/>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24" name="Gabon" descr="© INSCALE GmbH, 05.05.2010&#10;http://www.presentationload.com/">
              <a:extLst>
                <a:ext uri="{FF2B5EF4-FFF2-40B4-BE49-F238E27FC236}">
                  <a16:creationId xmlns:a16="http://schemas.microsoft.com/office/drawing/2014/main" id="{FE6A98FB-EC24-4DF6-AC40-784EDEA7DCE1}"/>
                </a:ext>
              </a:extLst>
            </p:cNvPr>
            <p:cNvSpPr>
              <a:spLocks/>
            </p:cNvSpPr>
            <p:nvPr/>
          </p:nvSpPr>
          <p:spPr bwMode="gray">
            <a:xfrm>
              <a:off x="4848612" y="4276237"/>
              <a:ext cx="161878" cy="174031"/>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25" name="France" descr="© INSCALE GmbH, 05.05.2010&#10;http://www.presentationload.com/">
              <a:extLst>
                <a:ext uri="{FF2B5EF4-FFF2-40B4-BE49-F238E27FC236}">
                  <a16:creationId xmlns:a16="http://schemas.microsoft.com/office/drawing/2014/main" id="{ABB93E9D-5049-7B07-D241-D665DDE29D40}"/>
                </a:ext>
              </a:extLst>
            </p:cNvPr>
            <p:cNvSpPr>
              <a:spLocks noEditPoints="1"/>
            </p:cNvSpPr>
            <p:nvPr/>
          </p:nvSpPr>
          <p:spPr bwMode="gray">
            <a:xfrm>
              <a:off x="4523345" y="2946427"/>
              <a:ext cx="352499" cy="267025"/>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26" name="Finland" descr="© INSCALE GmbH, 05.05.2010&#10;http://www.presentationload.com/">
              <a:extLst>
                <a:ext uri="{FF2B5EF4-FFF2-40B4-BE49-F238E27FC236}">
                  <a16:creationId xmlns:a16="http://schemas.microsoft.com/office/drawing/2014/main" id="{E8BBEC36-0047-F24D-8944-1285FBF5AAA1}"/>
                </a:ext>
              </a:extLst>
            </p:cNvPr>
            <p:cNvSpPr>
              <a:spLocks/>
            </p:cNvSpPr>
            <p:nvPr/>
          </p:nvSpPr>
          <p:spPr bwMode="gray">
            <a:xfrm>
              <a:off x="5101260" y="2478803"/>
              <a:ext cx="243573" cy="243112"/>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27" name="Ethiopia" descr="© INSCALE GmbH, 05.05.2010&#10;http://www.presentationload.com/">
              <a:extLst>
                <a:ext uri="{FF2B5EF4-FFF2-40B4-BE49-F238E27FC236}">
                  <a16:creationId xmlns:a16="http://schemas.microsoft.com/office/drawing/2014/main" id="{E2FE7443-7360-6BAD-5BD9-DBB4933D8838}"/>
                </a:ext>
              </a:extLst>
            </p:cNvPr>
            <p:cNvSpPr>
              <a:spLocks/>
            </p:cNvSpPr>
            <p:nvPr/>
          </p:nvSpPr>
          <p:spPr bwMode="gray">
            <a:xfrm>
              <a:off x="5518812" y="3934818"/>
              <a:ext cx="408475" cy="313522"/>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28" name="Estonia" descr="© INSCALE GmbH, 05.05.2010&#10;http://www.presentationload.com/">
              <a:extLst>
                <a:ext uri="{FF2B5EF4-FFF2-40B4-BE49-F238E27FC236}">
                  <a16:creationId xmlns:a16="http://schemas.microsoft.com/office/drawing/2014/main" id="{0A79495C-99BA-E3C0-6D15-E7A621E242F3}"/>
                </a:ext>
              </a:extLst>
            </p:cNvPr>
            <p:cNvSpPr>
              <a:spLocks noEditPoints="1"/>
            </p:cNvSpPr>
            <p:nvPr/>
          </p:nvSpPr>
          <p:spPr bwMode="gray">
            <a:xfrm>
              <a:off x="5149672" y="2729886"/>
              <a:ext cx="134646" cy="53140"/>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29" name="Eritrea" descr="© INSCALE GmbH, 05.05.2010&#10;http://www.presentationload.com/">
              <a:extLst>
                <a:ext uri="{FF2B5EF4-FFF2-40B4-BE49-F238E27FC236}">
                  <a16:creationId xmlns:a16="http://schemas.microsoft.com/office/drawing/2014/main" id="{8CFB645C-881D-C261-70C8-0CFF34444579}"/>
                </a:ext>
              </a:extLst>
            </p:cNvPr>
            <p:cNvSpPr>
              <a:spLocks/>
            </p:cNvSpPr>
            <p:nvPr/>
          </p:nvSpPr>
          <p:spPr bwMode="gray">
            <a:xfrm>
              <a:off x="5605046" y="3848465"/>
              <a:ext cx="186084" cy="155432"/>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30" name="Equatorial Guinea" descr="© INSCALE GmbH, 05.05.2010&#10;http://www.presentationload.com/">
              <a:extLst>
                <a:ext uri="{FF2B5EF4-FFF2-40B4-BE49-F238E27FC236}">
                  <a16:creationId xmlns:a16="http://schemas.microsoft.com/office/drawing/2014/main" id="{A999CEFB-C3AC-757F-DC34-0702C015C7E8}"/>
                </a:ext>
              </a:extLst>
            </p:cNvPr>
            <p:cNvSpPr>
              <a:spLocks/>
            </p:cNvSpPr>
            <p:nvPr/>
          </p:nvSpPr>
          <p:spPr bwMode="gray">
            <a:xfrm>
              <a:off x="4866766" y="4278894"/>
              <a:ext cx="55977" cy="37197"/>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31" name="El Salvador" descr="© INSCALE GmbH, 05.05.2010&#10;http://www.presentationload.com/">
              <a:extLst>
                <a:ext uri="{FF2B5EF4-FFF2-40B4-BE49-F238E27FC236}">
                  <a16:creationId xmlns:a16="http://schemas.microsoft.com/office/drawing/2014/main" id="{FB561783-6694-4F53-BB57-D7D55564F300}"/>
                </a:ext>
              </a:extLst>
            </p:cNvPr>
            <p:cNvSpPr>
              <a:spLocks/>
            </p:cNvSpPr>
            <p:nvPr/>
          </p:nvSpPr>
          <p:spPr bwMode="gray">
            <a:xfrm>
              <a:off x="2146631" y="3946774"/>
              <a:ext cx="66565" cy="38526"/>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32" name="Egypt" descr="© INSCALE GmbH, 05.05.2010&#10;http://www.presentationload.com/">
              <a:extLst>
                <a:ext uri="{FF2B5EF4-FFF2-40B4-BE49-F238E27FC236}">
                  <a16:creationId xmlns:a16="http://schemas.microsoft.com/office/drawing/2014/main" id="{AEB705AC-798B-BA06-F3C5-745975622A30}"/>
                </a:ext>
              </a:extLst>
            </p:cNvPr>
            <p:cNvSpPr>
              <a:spLocks/>
            </p:cNvSpPr>
            <p:nvPr/>
          </p:nvSpPr>
          <p:spPr bwMode="gray">
            <a:xfrm>
              <a:off x="5273728" y="3475162"/>
              <a:ext cx="305600" cy="273667"/>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33" name="Ecuador" descr="© INSCALE GmbH, 05.05.2010&#10;http://www.presentationload.com/">
              <a:extLst>
                <a:ext uri="{FF2B5EF4-FFF2-40B4-BE49-F238E27FC236}">
                  <a16:creationId xmlns:a16="http://schemas.microsoft.com/office/drawing/2014/main" id="{8A5FE2B1-5D44-54BF-E66B-E00318B55492}"/>
                </a:ext>
              </a:extLst>
            </p:cNvPr>
            <p:cNvSpPr>
              <a:spLocks noEditPoints="1"/>
            </p:cNvSpPr>
            <p:nvPr/>
          </p:nvSpPr>
          <p:spPr bwMode="gray">
            <a:xfrm>
              <a:off x="2376585" y="4298821"/>
              <a:ext cx="160365" cy="179345"/>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34" name="East Timor" descr="© INSCALE GmbH, 05.05.2010&#10;http://www.presentationload.com/">
              <a:extLst>
                <a:ext uri="{FF2B5EF4-FFF2-40B4-BE49-F238E27FC236}">
                  <a16:creationId xmlns:a16="http://schemas.microsoft.com/office/drawing/2014/main" id="{7065A64C-5B92-410C-7C36-2F05630103B2}"/>
                </a:ext>
              </a:extLst>
            </p:cNvPr>
            <p:cNvSpPr>
              <a:spLocks noEditPoints="1"/>
            </p:cNvSpPr>
            <p:nvPr/>
          </p:nvSpPr>
          <p:spPr bwMode="gray">
            <a:xfrm>
              <a:off x="8015044" y="4568501"/>
              <a:ext cx="96823" cy="39854"/>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35" name="Dominican Republic" descr="© INSCALE GmbH, 05.05.2010&#10;http://www.presentationload.com/">
              <a:extLst>
                <a:ext uri="{FF2B5EF4-FFF2-40B4-BE49-F238E27FC236}">
                  <a16:creationId xmlns:a16="http://schemas.microsoft.com/office/drawing/2014/main" id="{FE9AB01D-79B1-F8C5-A872-E824E3BDE6B6}"/>
                </a:ext>
              </a:extLst>
            </p:cNvPr>
            <p:cNvSpPr>
              <a:spLocks/>
            </p:cNvSpPr>
            <p:nvPr/>
          </p:nvSpPr>
          <p:spPr bwMode="gray">
            <a:xfrm>
              <a:off x="2662518" y="3797983"/>
              <a:ext cx="96823" cy="57125"/>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36" name="Djibouti" descr="© INSCALE GmbH, 05.05.2010&#10;http://www.presentationload.com/">
              <a:extLst>
                <a:ext uri="{FF2B5EF4-FFF2-40B4-BE49-F238E27FC236}">
                  <a16:creationId xmlns:a16="http://schemas.microsoft.com/office/drawing/2014/main" id="{72B32210-AF07-DD71-CC38-CF46F575EA03}"/>
                </a:ext>
              </a:extLst>
            </p:cNvPr>
            <p:cNvSpPr>
              <a:spLocks/>
            </p:cNvSpPr>
            <p:nvPr/>
          </p:nvSpPr>
          <p:spPr bwMode="gray">
            <a:xfrm>
              <a:off x="5753307" y="3995927"/>
              <a:ext cx="45386" cy="46497"/>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37" name="Denmark" descr="© INSCALE GmbH, 05.05.2010&#10;http://www.presentationload.com/">
              <a:extLst>
                <a:ext uri="{FF2B5EF4-FFF2-40B4-BE49-F238E27FC236}">
                  <a16:creationId xmlns:a16="http://schemas.microsoft.com/office/drawing/2014/main" id="{F7E16750-3B07-2A3B-C7F3-0B06C467BD0C}"/>
                </a:ext>
              </a:extLst>
            </p:cNvPr>
            <p:cNvSpPr>
              <a:spLocks noEditPoints="1"/>
            </p:cNvSpPr>
            <p:nvPr/>
          </p:nvSpPr>
          <p:spPr bwMode="gray">
            <a:xfrm>
              <a:off x="4841048" y="2780368"/>
              <a:ext cx="107414" cy="79708"/>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38" name="Czech Republic" descr="© INSCALE GmbH, 05.05.2010&#10;http://www.presentationload.com/">
              <a:extLst>
                <a:ext uri="{FF2B5EF4-FFF2-40B4-BE49-F238E27FC236}">
                  <a16:creationId xmlns:a16="http://schemas.microsoft.com/office/drawing/2014/main" id="{4A7C12F9-9B2A-CDE8-7D7A-E67DA9495FF3}"/>
                </a:ext>
              </a:extLst>
            </p:cNvPr>
            <p:cNvSpPr>
              <a:spLocks/>
            </p:cNvSpPr>
            <p:nvPr/>
          </p:nvSpPr>
          <p:spPr bwMode="gray">
            <a:xfrm>
              <a:off x="4936358" y="2951742"/>
              <a:ext cx="163390" cy="65096"/>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39" name="Cyprus" descr="© INSCALE GmbH, 05.05.2010&#10;http://www.presentationload.com/">
              <a:extLst>
                <a:ext uri="{FF2B5EF4-FFF2-40B4-BE49-F238E27FC236}">
                  <a16:creationId xmlns:a16="http://schemas.microsoft.com/office/drawing/2014/main" id="{A7E432FF-235A-F0B9-BE5F-99B5B53884A9}"/>
                </a:ext>
              </a:extLst>
            </p:cNvPr>
            <p:cNvSpPr>
              <a:spLocks/>
            </p:cNvSpPr>
            <p:nvPr/>
          </p:nvSpPr>
          <p:spPr bwMode="gray">
            <a:xfrm>
              <a:off x="5461322" y="3367557"/>
              <a:ext cx="57489" cy="29227"/>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40" name="Cuba" descr="© INSCALE GmbH, 05.05.2010&#10;http://www.presentationload.com/">
              <a:extLst>
                <a:ext uri="{FF2B5EF4-FFF2-40B4-BE49-F238E27FC236}">
                  <a16:creationId xmlns:a16="http://schemas.microsoft.com/office/drawing/2014/main" id="{12D49E3B-9156-58FD-8F24-52E03C9D66BE}"/>
                </a:ext>
              </a:extLst>
            </p:cNvPr>
            <p:cNvSpPr>
              <a:spLocks noEditPoints="1"/>
            </p:cNvSpPr>
            <p:nvPr/>
          </p:nvSpPr>
          <p:spPr bwMode="gray">
            <a:xfrm>
              <a:off x="2325149" y="3706319"/>
              <a:ext cx="285932" cy="91665"/>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41" name="Croatia" descr="© INSCALE GmbH, 05.05.2010&#10;http://www.presentationload.com/">
              <a:extLst>
                <a:ext uri="{FF2B5EF4-FFF2-40B4-BE49-F238E27FC236}">
                  <a16:creationId xmlns:a16="http://schemas.microsoft.com/office/drawing/2014/main" id="{5CE1DB84-8F6D-0DC4-6120-D67089AA8D96}"/>
                </a:ext>
              </a:extLst>
            </p:cNvPr>
            <p:cNvSpPr>
              <a:spLocks/>
            </p:cNvSpPr>
            <p:nvPr/>
          </p:nvSpPr>
          <p:spPr bwMode="gray">
            <a:xfrm>
              <a:off x="4975694" y="3072633"/>
              <a:ext cx="142209" cy="92993"/>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42" name="Côte d'Ivoire" descr="© INSCALE GmbH, 05.05.2010&#10;http://www.presentationload.com/">
              <a:extLst>
                <a:ext uri="{FF2B5EF4-FFF2-40B4-BE49-F238E27FC236}">
                  <a16:creationId xmlns:a16="http://schemas.microsoft.com/office/drawing/2014/main" id="{04AC647E-E71D-4FB5-914C-F70E0D5A7852}"/>
                </a:ext>
              </a:extLst>
            </p:cNvPr>
            <p:cNvSpPr>
              <a:spLocks/>
            </p:cNvSpPr>
            <p:nvPr/>
          </p:nvSpPr>
          <p:spPr bwMode="gray">
            <a:xfrm>
              <a:off x="4372059" y="4049067"/>
              <a:ext cx="169441" cy="175359"/>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43" name="Costa Rica" descr="© INSCALE GmbH, 05.05.2010&#10;http://www.presentationload.com/">
              <a:extLst>
                <a:ext uri="{FF2B5EF4-FFF2-40B4-BE49-F238E27FC236}">
                  <a16:creationId xmlns:a16="http://schemas.microsoft.com/office/drawing/2014/main" id="{C302F91F-410C-F3EF-A618-E2FCA5ECA9C0}"/>
                </a:ext>
              </a:extLst>
            </p:cNvPr>
            <p:cNvSpPr>
              <a:spLocks/>
            </p:cNvSpPr>
            <p:nvPr/>
          </p:nvSpPr>
          <p:spPr bwMode="gray">
            <a:xfrm>
              <a:off x="2254043" y="4035781"/>
              <a:ext cx="92285" cy="78381"/>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44" name="Congo" descr="© INSCALE GmbH, 05.05.2010&#10;http://www.presentationload.com/">
              <a:extLst>
                <a:ext uri="{FF2B5EF4-FFF2-40B4-BE49-F238E27FC236}">
                  <a16:creationId xmlns:a16="http://schemas.microsoft.com/office/drawing/2014/main" id="{A584BFCD-602F-AB22-16F4-1B83646DDF3B}"/>
                </a:ext>
              </a:extLst>
            </p:cNvPr>
            <p:cNvSpPr>
              <a:spLocks/>
            </p:cNvSpPr>
            <p:nvPr/>
          </p:nvSpPr>
          <p:spPr bwMode="gray">
            <a:xfrm>
              <a:off x="4948462" y="4195200"/>
              <a:ext cx="521940" cy="515449"/>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45" name="Congo (Brazzaville)" descr="© INSCALE GmbH, 05.05.2010&#10;http://www.presentationload.com/">
              <a:extLst>
                <a:ext uri="{FF2B5EF4-FFF2-40B4-BE49-F238E27FC236}">
                  <a16:creationId xmlns:a16="http://schemas.microsoft.com/office/drawing/2014/main" id="{06B49298-EFA5-2951-ED23-661211824E9F}"/>
                </a:ext>
              </a:extLst>
            </p:cNvPr>
            <p:cNvSpPr>
              <a:spLocks/>
            </p:cNvSpPr>
            <p:nvPr/>
          </p:nvSpPr>
          <p:spPr bwMode="gray">
            <a:xfrm>
              <a:off x="4915179" y="4240368"/>
              <a:ext cx="207264" cy="237799"/>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46" name="Colombia" descr="© INSCALE GmbH, 05.05.2010&#10;http://www.presentationload.com/">
              <a:extLst>
                <a:ext uri="{FF2B5EF4-FFF2-40B4-BE49-F238E27FC236}">
                  <a16:creationId xmlns:a16="http://schemas.microsoft.com/office/drawing/2014/main" id="{96F87173-5687-7760-2B1B-AE86F731BB78}"/>
                </a:ext>
              </a:extLst>
            </p:cNvPr>
            <p:cNvSpPr>
              <a:spLocks/>
            </p:cNvSpPr>
            <p:nvPr/>
          </p:nvSpPr>
          <p:spPr bwMode="gray">
            <a:xfrm>
              <a:off x="2432562" y="4001242"/>
              <a:ext cx="335856" cy="456997"/>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47" name="Chile" descr="© INSCALE GmbH, 05.05.2010&#10;http://www.presentationload.com/">
              <a:extLst>
                <a:ext uri="{FF2B5EF4-FFF2-40B4-BE49-F238E27FC236}">
                  <a16:creationId xmlns:a16="http://schemas.microsoft.com/office/drawing/2014/main" id="{64B90F5C-1AFB-D579-0689-4AC3295E0E82}"/>
                </a:ext>
              </a:extLst>
            </p:cNvPr>
            <p:cNvSpPr>
              <a:spLocks noEditPoints="1"/>
            </p:cNvSpPr>
            <p:nvPr/>
          </p:nvSpPr>
          <p:spPr bwMode="gray">
            <a:xfrm>
              <a:off x="2703366" y="4824899"/>
              <a:ext cx="447808" cy="1029572"/>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48" name="China" descr="© INSCALE GmbH, 05.05.2010&#10;http://www.presentationload.com/">
              <a:extLst>
                <a:ext uri="{FF2B5EF4-FFF2-40B4-BE49-F238E27FC236}">
                  <a16:creationId xmlns:a16="http://schemas.microsoft.com/office/drawing/2014/main" id="{3777140E-C74E-BB28-371D-83F34DAD1757}"/>
                </a:ext>
              </a:extLst>
            </p:cNvPr>
            <p:cNvSpPr>
              <a:spLocks noEditPoints="1"/>
            </p:cNvSpPr>
            <p:nvPr/>
          </p:nvSpPr>
          <p:spPr bwMode="gray">
            <a:xfrm>
              <a:off x="6508227" y="2882661"/>
              <a:ext cx="1416044" cy="960490"/>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49" name="Chad" descr="© INSCALE GmbH, 05.05.2010&#10;http://www.presentationload.com/">
              <a:extLst>
                <a:ext uri="{FF2B5EF4-FFF2-40B4-BE49-F238E27FC236}">
                  <a16:creationId xmlns:a16="http://schemas.microsoft.com/office/drawing/2014/main" id="{4169852E-613F-9789-B8A2-FC71B77506BE}"/>
                </a:ext>
              </a:extLst>
            </p:cNvPr>
            <p:cNvSpPr>
              <a:spLocks/>
            </p:cNvSpPr>
            <p:nvPr/>
          </p:nvSpPr>
          <p:spPr bwMode="gray">
            <a:xfrm>
              <a:off x="4978719" y="3699675"/>
              <a:ext cx="287444" cy="438399"/>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50" name="Central African Republic" descr="© INSCALE GmbH, 05.05.2010&#10;http://www.presentationload.com/">
              <a:extLst>
                <a:ext uri="{FF2B5EF4-FFF2-40B4-BE49-F238E27FC236}">
                  <a16:creationId xmlns:a16="http://schemas.microsoft.com/office/drawing/2014/main" id="{B7E7E83D-57D7-2C91-35B4-A6EFBC93CD6F}"/>
                </a:ext>
              </a:extLst>
            </p:cNvPr>
            <p:cNvSpPr>
              <a:spLocks/>
            </p:cNvSpPr>
            <p:nvPr/>
          </p:nvSpPr>
          <p:spPr bwMode="gray">
            <a:xfrm>
              <a:off x="5005950" y="4042423"/>
              <a:ext cx="354012" cy="237799"/>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51" name="Canada" descr="© INSCALE GmbH, 05.05.2010&#10;http://www.presentationload.com/">
              <a:extLst>
                <a:ext uri="{FF2B5EF4-FFF2-40B4-BE49-F238E27FC236}">
                  <a16:creationId xmlns:a16="http://schemas.microsoft.com/office/drawing/2014/main" id="{D924F44B-2C53-EA13-9888-C638D7542369}"/>
                </a:ext>
              </a:extLst>
            </p:cNvPr>
            <p:cNvSpPr>
              <a:spLocks noEditPoints="1"/>
            </p:cNvSpPr>
            <p:nvPr/>
          </p:nvSpPr>
          <p:spPr bwMode="gray">
            <a:xfrm>
              <a:off x="1555099" y="2214435"/>
              <a:ext cx="2155837" cy="980418"/>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52" name="Cameroon" descr="© INSCALE GmbH, 05.05.2010&#10;http://www.presentationload.com/">
              <a:extLst>
                <a:ext uri="{FF2B5EF4-FFF2-40B4-BE49-F238E27FC236}">
                  <a16:creationId xmlns:a16="http://schemas.microsoft.com/office/drawing/2014/main" id="{EB755381-7B5E-5CE6-AA54-E917264CBACE}"/>
                </a:ext>
              </a:extLst>
            </p:cNvPr>
            <p:cNvSpPr>
              <a:spLocks/>
            </p:cNvSpPr>
            <p:nvPr/>
          </p:nvSpPr>
          <p:spPr bwMode="gray">
            <a:xfrm>
              <a:off x="4845587" y="3982644"/>
              <a:ext cx="211801" cy="314850"/>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53" name="Cambodia" descr="© INSCALE GmbH, 05.05.2010&#10;http://www.presentationload.com/">
              <a:extLst>
                <a:ext uri="{FF2B5EF4-FFF2-40B4-BE49-F238E27FC236}">
                  <a16:creationId xmlns:a16="http://schemas.microsoft.com/office/drawing/2014/main" id="{0ED526CF-30A0-AB14-334D-C4CA30422797}"/>
                </a:ext>
              </a:extLst>
            </p:cNvPr>
            <p:cNvSpPr>
              <a:spLocks/>
            </p:cNvSpPr>
            <p:nvPr/>
          </p:nvSpPr>
          <p:spPr bwMode="gray">
            <a:xfrm>
              <a:off x="7411411" y="3944116"/>
              <a:ext cx="146748" cy="114250"/>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54" name="Burundi" descr="© INSCALE GmbH, 05.05.2010&#10;http://www.presentationload.com/">
              <a:extLst>
                <a:ext uri="{FF2B5EF4-FFF2-40B4-BE49-F238E27FC236}">
                  <a16:creationId xmlns:a16="http://schemas.microsoft.com/office/drawing/2014/main" id="{7D40F804-0C67-E664-DCC3-053DEC8FE328}"/>
                </a:ext>
              </a:extLst>
            </p:cNvPr>
            <p:cNvSpPr>
              <a:spLocks/>
            </p:cNvSpPr>
            <p:nvPr/>
          </p:nvSpPr>
          <p:spPr bwMode="gray">
            <a:xfrm>
              <a:off x="5408374" y="4409085"/>
              <a:ext cx="51437" cy="57125"/>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55" name="Burkina Faso" descr="© INSCALE GmbH, 05.05.2010&#10;http://www.presentationload.com/">
              <a:extLst>
                <a:ext uri="{FF2B5EF4-FFF2-40B4-BE49-F238E27FC236}">
                  <a16:creationId xmlns:a16="http://schemas.microsoft.com/office/drawing/2014/main" id="{0624CF10-FB20-504E-90D0-DBDBFF9A205A}"/>
                </a:ext>
              </a:extLst>
            </p:cNvPr>
            <p:cNvSpPr>
              <a:spLocks/>
            </p:cNvSpPr>
            <p:nvPr/>
          </p:nvSpPr>
          <p:spPr bwMode="gray">
            <a:xfrm>
              <a:off x="4458293" y="3930832"/>
              <a:ext cx="220880" cy="152775"/>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56" name="Bulgaria" descr="© INSCALE GmbH, 05.05.2010&#10;http://www.presentationload.com/">
              <a:extLst>
                <a:ext uri="{FF2B5EF4-FFF2-40B4-BE49-F238E27FC236}">
                  <a16:creationId xmlns:a16="http://schemas.microsoft.com/office/drawing/2014/main" id="{F786646D-4F2A-9233-B51B-D30B89FBFB28}"/>
                </a:ext>
              </a:extLst>
            </p:cNvPr>
            <p:cNvSpPr>
              <a:spLocks/>
            </p:cNvSpPr>
            <p:nvPr/>
          </p:nvSpPr>
          <p:spPr bwMode="gray">
            <a:xfrm>
              <a:off x="5195058" y="3135073"/>
              <a:ext cx="152800" cy="77051"/>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57" name="Brazil" descr="© INSCALE GmbH, 05.05.2010&#10;http://www.presentationload.com/">
              <a:extLst>
                <a:ext uri="{FF2B5EF4-FFF2-40B4-BE49-F238E27FC236}">
                  <a16:creationId xmlns:a16="http://schemas.microsoft.com/office/drawing/2014/main" id="{64823962-C950-9D27-01A0-CBB3C926406F}"/>
                </a:ext>
              </a:extLst>
            </p:cNvPr>
            <p:cNvSpPr>
              <a:spLocks noEditPoints="1"/>
            </p:cNvSpPr>
            <p:nvPr/>
          </p:nvSpPr>
          <p:spPr bwMode="gray">
            <a:xfrm>
              <a:off x="2577797" y="4197857"/>
              <a:ext cx="1077163" cy="1069427"/>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58" name="Botswana" descr="© INSCALE GmbH, 05.05.2010&#10;http://www.presentationload.com/">
              <a:extLst>
                <a:ext uri="{FF2B5EF4-FFF2-40B4-BE49-F238E27FC236}">
                  <a16:creationId xmlns:a16="http://schemas.microsoft.com/office/drawing/2014/main" id="{58846684-1209-9C72-F77D-025A86E42E87}"/>
                </a:ext>
              </a:extLst>
            </p:cNvPr>
            <p:cNvSpPr>
              <a:spLocks/>
            </p:cNvSpPr>
            <p:nvPr/>
          </p:nvSpPr>
          <p:spPr bwMode="gray">
            <a:xfrm>
              <a:off x="5152698" y="4828884"/>
              <a:ext cx="251136" cy="248426"/>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59" name="Bosnia and Herzegovina" descr="© INSCALE GmbH, 05.05.2010&#10;http://www.presentationload.com/">
              <a:extLst>
                <a:ext uri="{FF2B5EF4-FFF2-40B4-BE49-F238E27FC236}">
                  <a16:creationId xmlns:a16="http://schemas.microsoft.com/office/drawing/2014/main" id="{F6F38161-D900-2E21-DED9-35CBF3DDD632}"/>
                </a:ext>
              </a:extLst>
            </p:cNvPr>
            <p:cNvSpPr>
              <a:spLocks/>
            </p:cNvSpPr>
            <p:nvPr/>
          </p:nvSpPr>
          <p:spPr bwMode="gray">
            <a:xfrm>
              <a:off x="5022592" y="3104517"/>
              <a:ext cx="102875" cy="79708"/>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60" name="Bolivia" descr="© INSCALE GmbH, 05.05.2010&#10;http://www.presentationload.com/">
              <a:extLst>
                <a:ext uri="{FF2B5EF4-FFF2-40B4-BE49-F238E27FC236}">
                  <a16:creationId xmlns:a16="http://schemas.microsoft.com/office/drawing/2014/main" id="{9F2FAB6C-D505-B385-8396-701163251FCD}"/>
                </a:ext>
              </a:extLst>
            </p:cNvPr>
            <p:cNvSpPr>
              <a:spLocks/>
            </p:cNvSpPr>
            <p:nvPr/>
          </p:nvSpPr>
          <p:spPr bwMode="gray">
            <a:xfrm>
              <a:off x="2706392" y="4608357"/>
              <a:ext cx="344933" cy="360019"/>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61" name="Bhutan" descr="© INSCALE GmbH, 05.05.2010&#10;http://www.presentationload.com/">
              <a:extLst>
                <a:ext uri="{FF2B5EF4-FFF2-40B4-BE49-F238E27FC236}">
                  <a16:creationId xmlns:a16="http://schemas.microsoft.com/office/drawing/2014/main" id="{DD3C76F5-5864-3793-EB3F-2829434818C1}"/>
                </a:ext>
              </a:extLst>
            </p:cNvPr>
            <p:cNvSpPr>
              <a:spLocks/>
            </p:cNvSpPr>
            <p:nvPr/>
          </p:nvSpPr>
          <p:spPr bwMode="gray">
            <a:xfrm>
              <a:off x="6986295" y="3566828"/>
              <a:ext cx="90772" cy="45169"/>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62" name="Benin" descr="© INSCALE GmbH, 05.05.2010&#10;http://www.presentationload.com/">
              <a:extLst>
                <a:ext uri="{FF2B5EF4-FFF2-40B4-BE49-F238E27FC236}">
                  <a16:creationId xmlns:a16="http://schemas.microsoft.com/office/drawing/2014/main" id="{83D2C591-F730-2AFD-EDB6-FA23AE373624}"/>
                </a:ext>
              </a:extLst>
            </p:cNvPr>
            <p:cNvSpPr>
              <a:spLocks/>
            </p:cNvSpPr>
            <p:nvPr/>
          </p:nvSpPr>
          <p:spPr bwMode="gray">
            <a:xfrm>
              <a:off x="4632272" y="4003899"/>
              <a:ext cx="86235" cy="168717"/>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63" name="Belize" descr="© INSCALE GmbH, 05.05.2010&#10;http://www.presentationload.com/">
              <a:extLst>
                <a:ext uri="{FF2B5EF4-FFF2-40B4-BE49-F238E27FC236}">
                  <a16:creationId xmlns:a16="http://schemas.microsoft.com/office/drawing/2014/main" id="{4E11370F-2D6B-7115-F867-114637C69586}"/>
                </a:ext>
              </a:extLst>
            </p:cNvPr>
            <p:cNvSpPr>
              <a:spLocks/>
            </p:cNvSpPr>
            <p:nvPr/>
          </p:nvSpPr>
          <p:spPr bwMode="gray">
            <a:xfrm>
              <a:off x="2181428" y="3836510"/>
              <a:ext cx="42360" cy="71738"/>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64" name="Belgium" descr="© INSCALE GmbH, 05.05.2010&#10;http://www.presentationload.com/">
              <a:extLst>
                <a:ext uri="{FF2B5EF4-FFF2-40B4-BE49-F238E27FC236}">
                  <a16:creationId xmlns:a16="http://schemas.microsoft.com/office/drawing/2014/main" id="{B8F2790F-EC49-8B62-36A7-5F77E785E636}"/>
                </a:ext>
              </a:extLst>
            </p:cNvPr>
            <p:cNvSpPr>
              <a:spLocks/>
            </p:cNvSpPr>
            <p:nvPr/>
          </p:nvSpPr>
          <p:spPr bwMode="gray">
            <a:xfrm>
              <a:off x="4713966" y="2941115"/>
              <a:ext cx="86235" cy="51811"/>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65" name="Bangladesh" descr="© INSCALE GmbH, 05.05.2010&#10;http://www.presentationload.com/">
              <a:extLst>
                <a:ext uri="{FF2B5EF4-FFF2-40B4-BE49-F238E27FC236}">
                  <a16:creationId xmlns:a16="http://schemas.microsoft.com/office/drawing/2014/main" id="{77B82B0D-2C34-31E5-4F46-8E274B30AD98}"/>
                </a:ext>
              </a:extLst>
            </p:cNvPr>
            <p:cNvSpPr>
              <a:spLocks/>
            </p:cNvSpPr>
            <p:nvPr/>
          </p:nvSpPr>
          <p:spPr bwMode="gray">
            <a:xfrm>
              <a:off x="6974193" y="3615983"/>
              <a:ext cx="145236" cy="144804"/>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66" name="Bahrain" descr="© INSCALE GmbH, 05.05.2010&#10;http://www.presentationload.com/">
              <a:extLst>
                <a:ext uri="{FF2B5EF4-FFF2-40B4-BE49-F238E27FC236}">
                  <a16:creationId xmlns:a16="http://schemas.microsoft.com/office/drawing/2014/main" id="{A6124997-4D4F-5CCB-DF81-D23C1D82AED5}"/>
                </a:ext>
              </a:extLst>
            </p:cNvPr>
            <p:cNvSpPr>
              <a:spLocks/>
            </p:cNvSpPr>
            <p:nvPr/>
          </p:nvSpPr>
          <p:spPr bwMode="gray">
            <a:xfrm>
              <a:off x="5972674" y="3621296"/>
              <a:ext cx="10591" cy="18598"/>
            </a:xfrm>
            <a:custGeom>
              <a:avLst/>
              <a:gdLst>
                <a:gd name="T0" fmla="*/ 2147483647 w 15"/>
                <a:gd name="T1" fmla="*/ 0 h 28"/>
                <a:gd name="T2" fmla="*/ 2147483647 w 15"/>
                <a:gd name="T3" fmla="*/ 2147483647 h 28"/>
                <a:gd name="T4" fmla="*/ 2147483647 w 15"/>
                <a:gd name="T5" fmla="*/ 2147483647 h 28"/>
                <a:gd name="T6" fmla="*/ 2032697641 w 15"/>
                <a:gd name="T7" fmla="*/ 2147483647 h 28"/>
                <a:gd name="T8" fmla="*/ 813299296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67" name="Belarus" descr="© INSCALE GmbH, 05.05.2010&#10;http://www.presentationload.com/">
              <a:extLst>
                <a:ext uri="{FF2B5EF4-FFF2-40B4-BE49-F238E27FC236}">
                  <a16:creationId xmlns:a16="http://schemas.microsoft.com/office/drawing/2014/main" id="{564AF59B-E808-246A-764D-5A7461C249C3}"/>
                </a:ext>
              </a:extLst>
            </p:cNvPr>
            <p:cNvSpPr>
              <a:spLocks/>
            </p:cNvSpPr>
            <p:nvPr/>
          </p:nvSpPr>
          <p:spPr bwMode="gray">
            <a:xfrm>
              <a:off x="5196573" y="2817565"/>
              <a:ext cx="220880" cy="126206"/>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68" name="Azerbaijan" descr="© INSCALE GmbH, 05.05.2010&#10;http://www.presentationload.com/">
              <a:extLst>
                <a:ext uri="{FF2B5EF4-FFF2-40B4-BE49-F238E27FC236}">
                  <a16:creationId xmlns:a16="http://schemas.microsoft.com/office/drawing/2014/main" id="{6E5060E6-1B0F-4A8E-F23C-5778E2059B81}"/>
                </a:ext>
              </a:extLst>
            </p:cNvPr>
            <p:cNvSpPr>
              <a:spLocks noEditPoints="1"/>
            </p:cNvSpPr>
            <p:nvPr/>
          </p:nvSpPr>
          <p:spPr bwMode="gray">
            <a:xfrm>
              <a:off x="5769951" y="3196183"/>
              <a:ext cx="139183" cy="98307"/>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69" name="Austria" descr="© INSCALE GmbH, 05.05.2010&#10;http://www.presentationload.com/">
              <a:extLst>
                <a:ext uri="{FF2B5EF4-FFF2-40B4-BE49-F238E27FC236}">
                  <a16:creationId xmlns:a16="http://schemas.microsoft.com/office/drawing/2014/main" id="{49B732E4-ACCF-AEC5-0A2B-59E6D9881CBD}"/>
                </a:ext>
              </a:extLst>
            </p:cNvPr>
            <p:cNvSpPr>
              <a:spLocks/>
            </p:cNvSpPr>
            <p:nvPr/>
          </p:nvSpPr>
          <p:spPr bwMode="gray">
            <a:xfrm>
              <a:off x="4875845" y="3004882"/>
              <a:ext cx="177005" cy="69081"/>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70" name="Australia" descr="© INSCALE GmbH, 05.05.2010&#10;http://www.presentationload.com/">
              <a:extLst>
                <a:ext uri="{FF2B5EF4-FFF2-40B4-BE49-F238E27FC236}">
                  <a16:creationId xmlns:a16="http://schemas.microsoft.com/office/drawing/2014/main" id="{0DFA7B23-FB20-15EE-CCCA-B68AD93FEA2B}"/>
                </a:ext>
              </a:extLst>
            </p:cNvPr>
            <p:cNvSpPr>
              <a:spLocks noEditPoints="1"/>
            </p:cNvSpPr>
            <p:nvPr/>
          </p:nvSpPr>
          <p:spPr bwMode="gray">
            <a:xfrm>
              <a:off x="7606571" y="4633598"/>
              <a:ext cx="1098343" cy="904696"/>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71" name="Armenia" descr="© INSCALE GmbH, 05.05.2010&#10;http://www.presentationload.com/">
              <a:extLst>
                <a:ext uri="{FF2B5EF4-FFF2-40B4-BE49-F238E27FC236}">
                  <a16:creationId xmlns:a16="http://schemas.microsoft.com/office/drawing/2014/main" id="{A5FAE6A8-D95E-BFB3-59DA-C2E40E22B802}"/>
                </a:ext>
              </a:extLst>
            </p:cNvPr>
            <p:cNvSpPr>
              <a:spLocks/>
            </p:cNvSpPr>
            <p:nvPr/>
          </p:nvSpPr>
          <p:spPr bwMode="gray">
            <a:xfrm>
              <a:off x="5730615" y="3210795"/>
              <a:ext cx="86235" cy="71738"/>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72" name="Argentina" descr="© INSCALE GmbH, 05.05.2010&#10;http://www.presentationload.com/">
              <a:extLst>
                <a:ext uri="{FF2B5EF4-FFF2-40B4-BE49-F238E27FC236}">
                  <a16:creationId xmlns:a16="http://schemas.microsoft.com/office/drawing/2014/main" id="{4D70C460-5CDA-5562-925F-EBFA8F990778}"/>
                </a:ext>
              </a:extLst>
            </p:cNvPr>
            <p:cNvSpPr>
              <a:spLocks noEditPoints="1"/>
            </p:cNvSpPr>
            <p:nvPr/>
          </p:nvSpPr>
          <p:spPr bwMode="gray">
            <a:xfrm>
              <a:off x="2762367" y="4941804"/>
              <a:ext cx="422091" cy="828972"/>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73" name="Angola" descr="© INSCALE GmbH, 05.05.2010&#10;http://www.presentationload.com/">
              <a:extLst>
                <a:ext uri="{FF2B5EF4-FFF2-40B4-BE49-F238E27FC236}">
                  <a16:creationId xmlns:a16="http://schemas.microsoft.com/office/drawing/2014/main" id="{E351C104-2C47-9D90-EDFC-661C4F571E69}"/>
                </a:ext>
              </a:extLst>
            </p:cNvPr>
            <p:cNvSpPr>
              <a:spLocks noEditPoints="1"/>
            </p:cNvSpPr>
            <p:nvPr/>
          </p:nvSpPr>
          <p:spPr bwMode="gray">
            <a:xfrm>
              <a:off x="4930308" y="4459567"/>
              <a:ext cx="343420" cy="375961"/>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74" name="Andorra" descr="© INSCALE GmbH, 05.05.2010&#10;http://www.presentationload.com/">
              <a:extLst>
                <a:ext uri="{FF2B5EF4-FFF2-40B4-BE49-F238E27FC236}">
                  <a16:creationId xmlns:a16="http://schemas.microsoft.com/office/drawing/2014/main" id="{687A8DF2-2EB9-E774-F297-140BCA5FB0A0}"/>
                </a:ext>
              </a:extLst>
            </p:cNvPr>
            <p:cNvSpPr>
              <a:spLocks/>
            </p:cNvSpPr>
            <p:nvPr/>
          </p:nvSpPr>
          <p:spPr bwMode="gray">
            <a:xfrm>
              <a:off x="4670096" y="3176255"/>
              <a:ext cx="12103" cy="5314"/>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75" name="Algeria" descr="© INSCALE GmbH, 05.05.2010&#10;http://www.presentationload.com/">
              <a:extLst>
                <a:ext uri="{FF2B5EF4-FFF2-40B4-BE49-F238E27FC236}">
                  <a16:creationId xmlns:a16="http://schemas.microsoft.com/office/drawing/2014/main" id="{B5508858-1A61-A837-256B-8E0842C94BA3}"/>
                </a:ext>
              </a:extLst>
            </p:cNvPr>
            <p:cNvSpPr>
              <a:spLocks/>
            </p:cNvSpPr>
            <p:nvPr/>
          </p:nvSpPr>
          <p:spPr bwMode="gray">
            <a:xfrm>
              <a:off x="4367523" y="3325044"/>
              <a:ext cx="571866" cy="496850"/>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76" name="Albania" descr="© INSCALE GmbH, 05.05.2010&#10;http://www.presentationload.com/">
              <a:extLst>
                <a:ext uri="{FF2B5EF4-FFF2-40B4-BE49-F238E27FC236}">
                  <a16:creationId xmlns:a16="http://schemas.microsoft.com/office/drawing/2014/main" id="{528C41C0-D67E-717C-DE8B-70C85E093CAE}"/>
                </a:ext>
              </a:extLst>
            </p:cNvPr>
            <p:cNvSpPr>
              <a:spLocks/>
            </p:cNvSpPr>
            <p:nvPr/>
          </p:nvSpPr>
          <p:spPr bwMode="gray">
            <a:xfrm>
              <a:off x="5110340" y="3176253"/>
              <a:ext cx="55977" cy="83695"/>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sp>
          <p:nvSpPr>
            <p:cNvPr id="177" name="Afghanistan" descr="© INSCALE GmbH, 05.05.2010&#10;http://www.presentationload.com/">
              <a:extLst>
                <a:ext uri="{FF2B5EF4-FFF2-40B4-BE49-F238E27FC236}">
                  <a16:creationId xmlns:a16="http://schemas.microsoft.com/office/drawing/2014/main" id="{05BFFC34-EA95-4279-4978-B898EFD91CC8}"/>
                </a:ext>
              </a:extLst>
            </p:cNvPr>
            <p:cNvSpPr>
              <a:spLocks/>
            </p:cNvSpPr>
            <p:nvPr/>
          </p:nvSpPr>
          <p:spPr bwMode="gray">
            <a:xfrm>
              <a:off x="6199610" y="3287843"/>
              <a:ext cx="350986" cy="251082"/>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grpSp>
          <p:nvGrpSpPr>
            <p:cNvPr id="178" name="Morocco">
              <a:extLst>
                <a:ext uri="{FF2B5EF4-FFF2-40B4-BE49-F238E27FC236}">
                  <a16:creationId xmlns:a16="http://schemas.microsoft.com/office/drawing/2014/main" id="{D6E64D23-9A2F-17E8-EB8B-96457C1EB6F5}"/>
                </a:ext>
              </a:extLst>
            </p:cNvPr>
            <p:cNvGrpSpPr/>
            <p:nvPr/>
          </p:nvGrpSpPr>
          <p:grpSpPr>
            <a:xfrm>
              <a:off x="4267670" y="3360913"/>
              <a:ext cx="328294" cy="225134"/>
              <a:chOff x="3785796" y="3252482"/>
              <a:chExt cx="347955" cy="238617"/>
            </a:xfrm>
            <a:grpFill/>
          </p:grpSpPr>
          <p:sp>
            <p:nvSpPr>
              <p:cNvPr id="179" name="Morocco" descr="© INSCALE GmbH, 05.05.2010&#10;http://www.presentationload.com/">
                <a:extLst>
                  <a:ext uri="{FF2B5EF4-FFF2-40B4-BE49-F238E27FC236}">
                    <a16:creationId xmlns:a16="http://schemas.microsoft.com/office/drawing/2014/main" id="{B5D73C5D-3AE5-A1EE-2780-A905ED246136}"/>
                  </a:ext>
                </a:extLst>
              </p:cNvPr>
              <p:cNvSpPr>
                <a:spLocks/>
              </p:cNvSpPr>
              <p:nvPr/>
            </p:nvSpPr>
            <p:spPr bwMode="gray">
              <a:xfrm>
                <a:off x="3785796" y="3252482"/>
                <a:ext cx="347955" cy="237959"/>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grpFill/>
              <a:ln w="6350" cmpd="sng">
                <a:solidFill>
                  <a:schemeClr val="bg1"/>
                </a:solidFill>
                <a:head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00"/>
              </a:p>
            </p:txBody>
          </p:sp>
          <p:cxnSp>
            <p:nvCxnSpPr>
              <p:cNvPr id="180" name="Straight Connector 215">
                <a:extLst>
                  <a:ext uri="{FF2B5EF4-FFF2-40B4-BE49-F238E27FC236}">
                    <a16:creationId xmlns:a16="http://schemas.microsoft.com/office/drawing/2014/main" id="{BE1C836D-E3FA-4E76-4354-06F7E2A65B1F}"/>
                  </a:ext>
                </a:extLst>
              </p:cNvPr>
              <p:cNvCxnSpPr>
                <a:cxnSpLocks/>
              </p:cNvCxnSpPr>
              <p:nvPr/>
            </p:nvCxnSpPr>
            <p:spPr>
              <a:xfrm>
                <a:off x="3788569" y="3491099"/>
                <a:ext cx="130317" cy="0"/>
              </a:xfrm>
              <a:prstGeom prst="line">
                <a:avLst/>
              </a:prstGeom>
              <a:grpFill/>
              <a:ln w="6350" cap="rnd" cmpd="sng">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cxnSp>
        <p:nvCxnSpPr>
          <p:cNvPr id="181" name="Connector: Elbow 322">
            <a:extLst>
              <a:ext uri="{FF2B5EF4-FFF2-40B4-BE49-F238E27FC236}">
                <a16:creationId xmlns:a16="http://schemas.microsoft.com/office/drawing/2014/main" id="{6E27A7DE-905D-2BBE-7C77-6509B679D501}"/>
              </a:ext>
            </a:extLst>
          </p:cNvPr>
          <p:cNvCxnSpPr>
            <a:cxnSpLocks/>
            <a:stCxn id="231" idx="1"/>
          </p:cNvCxnSpPr>
          <p:nvPr/>
        </p:nvCxnSpPr>
        <p:spPr>
          <a:xfrm rot="10800000">
            <a:off x="5748672" y="2801772"/>
            <a:ext cx="1837730" cy="1250570"/>
          </a:xfrm>
          <a:prstGeom prst="bentConnector3">
            <a:avLst>
              <a:gd name="adj1" fmla="val 19800"/>
            </a:avLst>
          </a:prstGeom>
          <a:ln w="6350">
            <a:solidFill>
              <a:schemeClr val="accent3"/>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82" name="Rechteck 12">
            <a:extLst>
              <a:ext uri="{FF2B5EF4-FFF2-40B4-BE49-F238E27FC236}">
                <a16:creationId xmlns:a16="http://schemas.microsoft.com/office/drawing/2014/main" id="{ABE9BB19-EB31-3BFE-4DD7-AF15505F71C6}"/>
              </a:ext>
            </a:extLst>
          </p:cNvPr>
          <p:cNvSpPr/>
          <p:nvPr/>
        </p:nvSpPr>
        <p:spPr>
          <a:xfrm>
            <a:off x="5699274" y="1554586"/>
            <a:ext cx="1274725" cy="851484"/>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183" name="RBContent12">
            <a:extLst>
              <a:ext uri="{FF2B5EF4-FFF2-40B4-BE49-F238E27FC236}">
                <a16:creationId xmlns:a16="http://schemas.microsoft.com/office/drawing/2014/main" id="{0D944BA0-C448-FC6E-E47F-599951D05A6F}"/>
              </a:ext>
            </a:extLst>
          </p:cNvPr>
          <p:cNvSpPr txBox="1">
            <a:spLocks/>
          </p:cNvSpPr>
          <p:nvPr/>
        </p:nvSpPr>
        <p:spPr>
          <a:xfrm>
            <a:off x="5768683" y="1775306"/>
            <a:ext cx="1188000" cy="572464"/>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900" b="1">
                <a:sym typeface="+mn-lt"/>
              </a:rPr>
              <a:t>Arctic LNG 2</a:t>
            </a:r>
          </a:p>
          <a:p>
            <a:pPr marL="0" lvl="1">
              <a:lnSpc>
                <a:spcPct val="90000"/>
              </a:lnSpc>
              <a:spcBef>
                <a:spcPts val="300"/>
              </a:spcBef>
              <a:buSzPct val="100000"/>
            </a:pPr>
            <a:r>
              <a:rPr lang="en-US" sz="800">
                <a:sym typeface="+mn-lt"/>
              </a:rPr>
              <a:t>Capex: USD 25 bn</a:t>
            </a:r>
          </a:p>
          <a:p>
            <a:pPr marL="0" lvl="1">
              <a:lnSpc>
                <a:spcPct val="90000"/>
              </a:lnSpc>
              <a:spcBef>
                <a:spcPts val="300"/>
              </a:spcBef>
              <a:buSzPct val="100000"/>
            </a:pPr>
            <a:r>
              <a:rPr lang="en-US" sz="800">
                <a:sym typeface="+mn-lt"/>
              </a:rPr>
              <a:t>Company: </a:t>
            </a:r>
            <a:r>
              <a:rPr lang="en-US" sz="800" err="1">
                <a:sym typeface="+mn-lt"/>
              </a:rPr>
              <a:t>Novatek</a:t>
            </a:r>
            <a:endParaRPr lang="en-US" sz="800">
              <a:sym typeface="+mn-lt"/>
            </a:endParaRPr>
          </a:p>
          <a:p>
            <a:pPr marL="0" lvl="1">
              <a:lnSpc>
                <a:spcPct val="90000"/>
              </a:lnSpc>
              <a:spcBef>
                <a:spcPts val="300"/>
              </a:spcBef>
              <a:buSzPct val="100000"/>
            </a:pPr>
            <a:r>
              <a:rPr lang="en-US" sz="800">
                <a:sym typeface="+mn-lt"/>
              </a:rPr>
              <a:t>Completion: 2025</a:t>
            </a:r>
          </a:p>
        </p:txBody>
      </p:sp>
      <p:pic>
        <p:nvPicPr>
          <p:cNvPr id="184" name="Graphic 222">
            <a:extLst>
              <a:ext uri="{FF2B5EF4-FFF2-40B4-BE49-F238E27FC236}">
                <a16:creationId xmlns:a16="http://schemas.microsoft.com/office/drawing/2014/main" id="{7C5FDE7C-394B-EAC2-3C3E-FF9E98957C93}"/>
              </a:ext>
            </a:extLst>
          </p:cNvPr>
          <p:cNvPicPr>
            <a:picLocks/>
          </p:cNvPicPr>
          <p:nvPr/>
        </p:nvPicPr>
        <p:blipFill>
          <a:blip r:embed="rId2">
            <a:extLst>
              <a:ext uri="{96DAC541-7B7A-43D3-8B79-37D633B846F1}">
                <asvg:svgBlip xmlns:asvg="http://schemas.microsoft.com/office/drawing/2016/SVG/main" r:embed="rId3"/>
              </a:ext>
            </a:extLst>
          </a:blip>
          <a:stretch>
            <a:fillRect/>
          </a:stretch>
        </p:blipFill>
        <p:spPr>
          <a:xfrm>
            <a:off x="6548455" y="1588164"/>
            <a:ext cx="157163" cy="157623"/>
          </a:xfrm>
          <a:prstGeom prst="rect">
            <a:avLst/>
          </a:prstGeom>
        </p:spPr>
      </p:pic>
      <p:sp>
        <p:nvSpPr>
          <p:cNvPr id="185" name="Freeform: Shape 223">
            <a:extLst>
              <a:ext uri="{FF2B5EF4-FFF2-40B4-BE49-F238E27FC236}">
                <a16:creationId xmlns:a16="http://schemas.microsoft.com/office/drawing/2014/main" id="{03CDBFBA-644F-73F5-2A3B-013188F42A13}"/>
              </a:ext>
            </a:extLst>
          </p:cNvPr>
          <p:cNvSpPr>
            <a:spLocks noChangeAspect="1"/>
          </p:cNvSpPr>
          <p:nvPr/>
        </p:nvSpPr>
        <p:spPr>
          <a:xfrm>
            <a:off x="6777505" y="1588164"/>
            <a:ext cx="161692" cy="161738"/>
          </a:xfrm>
          <a:custGeom>
            <a:avLst/>
            <a:gdLst>
              <a:gd name="connsiteX0" fmla="*/ 842193 w 3648846"/>
              <a:gd name="connsiteY0" fmla="*/ 3403529 h 3649899"/>
              <a:gd name="connsiteX1" fmla="*/ 1069999 w 3648846"/>
              <a:gd name="connsiteY1" fmla="*/ 3480948 h 3649899"/>
              <a:gd name="connsiteX2" fmla="*/ 1401003 w 3648846"/>
              <a:gd name="connsiteY2" fmla="*/ 3480948 h 3649899"/>
              <a:gd name="connsiteX3" fmla="*/ 1856103 w 3648846"/>
              <a:gd name="connsiteY3" fmla="*/ 3480948 h 3649899"/>
              <a:gd name="connsiteX4" fmla="*/ 2187106 w 3648846"/>
              <a:gd name="connsiteY4" fmla="*/ 3480948 h 3649899"/>
              <a:gd name="connsiteX5" fmla="*/ 2642207 w 3648846"/>
              <a:gd name="connsiteY5" fmla="*/ 3480948 h 3649899"/>
              <a:gd name="connsiteX6" fmla="*/ 2973153 w 3648846"/>
              <a:gd name="connsiteY6" fmla="*/ 3480948 h 3649899"/>
              <a:gd name="connsiteX7" fmla="*/ 3428196 w 3648846"/>
              <a:gd name="connsiteY7" fmla="*/ 3480948 h 3649899"/>
              <a:gd name="connsiteX8" fmla="*/ 3593527 w 3648846"/>
              <a:gd name="connsiteY8" fmla="*/ 3538092 h 3649899"/>
              <a:gd name="connsiteX9" fmla="*/ 3648789 w 3648846"/>
              <a:gd name="connsiteY9" fmla="*/ 3593355 h 3649899"/>
              <a:gd name="connsiteX10" fmla="*/ 3593527 w 3648846"/>
              <a:gd name="connsiteY10" fmla="*/ 3648731 h 3649899"/>
              <a:gd name="connsiteX11" fmla="*/ 3366091 w 3648846"/>
              <a:gd name="connsiteY11" fmla="*/ 3572481 h 3649899"/>
              <a:gd name="connsiteX12" fmla="*/ 3035259 w 3648846"/>
              <a:gd name="connsiteY12" fmla="*/ 3572481 h 3649899"/>
              <a:gd name="connsiteX13" fmla="*/ 2580158 w 3648846"/>
              <a:gd name="connsiteY13" fmla="*/ 3572481 h 3649899"/>
              <a:gd name="connsiteX14" fmla="*/ 2249212 w 3648846"/>
              <a:gd name="connsiteY14" fmla="*/ 3572481 h 3649899"/>
              <a:gd name="connsiteX15" fmla="*/ 1793998 w 3648846"/>
              <a:gd name="connsiteY15" fmla="*/ 3572481 h 3649899"/>
              <a:gd name="connsiteX16" fmla="*/ 1463052 w 3648846"/>
              <a:gd name="connsiteY16" fmla="*/ 3572481 h 3649899"/>
              <a:gd name="connsiteX17" fmla="*/ 1007893 w 3648846"/>
              <a:gd name="connsiteY17" fmla="*/ 3572481 h 3649899"/>
              <a:gd name="connsiteX18" fmla="*/ 676548 w 3648846"/>
              <a:gd name="connsiteY18" fmla="*/ 3572481 h 3649899"/>
              <a:gd name="connsiteX19" fmla="*/ 220991 w 3648846"/>
              <a:gd name="connsiteY19" fmla="*/ 3572481 h 3649899"/>
              <a:gd name="connsiteX20" fmla="*/ 55262 w 3648846"/>
              <a:gd name="connsiteY20" fmla="*/ 3515280 h 3649899"/>
              <a:gd name="connsiteX21" fmla="*/ 0 w 3648846"/>
              <a:gd name="connsiteY21" fmla="*/ 3460018 h 3649899"/>
              <a:gd name="connsiteX22" fmla="*/ 55262 w 3648846"/>
              <a:gd name="connsiteY22" fmla="*/ 3404755 h 3649899"/>
              <a:gd name="connsiteX23" fmla="*/ 283040 w 3648846"/>
              <a:gd name="connsiteY23" fmla="*/ 3480948 h 3649899"/>
              <a:gd name="connsiteX24" fmla="*/ 614556 w 3648846"/>
              <a:gd name="connsiteY24" fmla="*/ 3480948 h 3649899"/>
              <a:gd name="connsiteX25" fmla="*/ 842193 w 3648846"/>
              <a:gd name="connsiteY25" fmla="*/ 3403529 h 3649899"/>
              <a:gd name="connsiteX26" fmla="*/ 842214 w 3648846"/>
              <a:gd name="connsiteY26" fmla="*/ 3074466 h 3649899"/>
              <a:gd name="connsiteX27" fmla="*/ 1069999 w 3648846"/>
              <a:gd name="connsiteY27" fmla="*/ 3151885 h 3649899"/>
              <a:gd name="connsiteX28" fmla="*/ 1401003 w 3648846"/>
              <a:gd name="connsiteY28" fmla="*/ 3151885 h 3649899"/>
              <a:gd name="connsiteX29" fmla="*/ 1856103 w 3648846"/>
              <a:gd name="connsiteY29" fmla="*/ 3151885 h 3649899"/>
              <a:gd name="connsiteX30" fmla="*/ 2187106 w 3648846"/>
              <a:gd name="connsiteY30" fmla="*/ 3151885 h 3649899"/>
              <a:gd name="connsiteX31" fmla="*/ 2642207 w 3648846"/>
              <a:gd name="connsiteY31" fmla="*/ 3151885 h 3649899"/>
              <a:gd name="connsiteX32" fmla="*/ 2973153 w 3648846"/>
              <a:gd name="connsiteY32" fmla="*/ 3151885 h 3649899"/>
              <a:gd name="connsiteX33" fmla="*/ 3428196 w 3648846"/>
              <a:gd name="connsiteY33" fmla="*/ 3151885 h 3649899"/>
              <a:gd name="connsiteX34" fmla="*/ 3593584 w 3648846"/>
              <a:gd name="connsiteY34" fmla="*/ 3209029 h 3649899"/>
              <a:gd name="connsiteX35" fmla="*/ 3648846 w 3648846"/>
              <a:gd name="connsiteY35" fmla="*/ 3264291 h 3649899"/>
              <a:gd name="connsiteX36" fmla="*/ 3593527 w 3648846"/>
              <a:gd name="connsiteY36" fmla="*/ 3319554 h 3649899"/>
              <a:gd name="connsiteX37" fmla="*/ 3366091 w 3648846"/>
              <a:gd name="connsiteY37" fmla="*/ 3243361 h 3649899"/>
              <a:gd name="connsiteX38" fmla="*/ 3035259 w 3648846"/>
              <a:gd name="connsiteY38" fmla="*/ 3243361 h 3649899"/>
              <a:gd name="connsiteX39" fmla="*/ 2580158 w 3648846"/>
              <a:gd name="connsiteY39" fmla="*/ 3243361 h 3649899"/>
              <a:gd name="connsiteX40" fmla="*/ 2249212 w 3648846"/>
              <a:gd name="connsiteY40" fmla="*/ 3243361 h 3649899"/>
              <a:gd name="connsiteX41" fmla="*/ 1793998 w 3648846"/>
              <a:gd name="connsiteY41" fmla="*/ 3243361 h 3649899"/>
              <a:gd name="connsiteX42" fmla="*/ 1463052 w 3648846"/>
              <a:gd name="connsiteY42" fmla="*/ 3243361 h 3649899"/>
              <a:gd name="connsiteX43" fmla="*/ 1007893 w 3648846"/>
              <a:gd name="connsiteY43" fmla="*/ 3243361 h 3649899"/>
              <a:gd name="connsiteX44" fmla="*/ 676548 w 3648846"/>
              <a:gd name="connsiteY44" fmla="*/ 3243361 h 3649899"/>
              <a:gd name="connsiteX45" fmla="*/ 220991 w 3648846"/>
              <a:gd name="connsiteY45" fmla="*/ 3243361 h 3649899"/>
              <a:gd name="connsiteX46" fmla="*/ 55262 w 3648846"/>
              <a:gd name="connsiteY46" fmla="*/ 3186217 h 3649899"/>
              <a:gd name="connsiteX47" fmla="*/ 0 w 3648846"/>
              <a:gd name="connsiteY47" fmla="*/ 3130955 h 3649899"/>
              <a:gd name="connsiteX48" fmla="*/ 55262 w 3648846"/>
              <a:gd name="connsiteY48" fmla="*/ 3075692 h 3649899"/>
              <a:gd name="connsiteX49" fmla="*/ 283040 w 3648846"/>
              <a:gd name="connsiteY49" fmla="*/ 3151885 h 3649899"/>
              <a:gd name="connsiteX50" fmla="*/ 614556 w 3648846"/>
              <a:gd name="connsiteY50" fmla="*/ 3151885 h 3649899"/>
              <a:gd name="connsiteX51" fmla="*/ 842214 w 3648846"/>
              <a:gd name="connsiteY51" fmla="*/ 3074466 h 3649899"/>
              <a:gd name="connsiteX52" fmla="*/ 842193 w 3648846"/>
              <a:gd name="connsiteY52" fmla="*/ 2745231 h 3649899"/>
              <a:gd name="connsiteX53" fmla="*/ 1069999 w 3648846"/>
              <a:gd name="connsiteY53" fmla="*/ 2822650 h 3649899"/>
              <a:gd name="connsiteX54" fmla="*/ 1401003 w 3648846"/>
              <a:gd name="connsiteY54" fmla="*/ 2822650 h 3649899"/>
              <a:gd name="connsiteX55" fmla="*/ 1856103 w 3648846"/>
              <a:gd name="connsiteY55" fmla="*/ 2822650 h 3649899"/>
              <a:gd name="connsiteX56" fmla="*/ 2187106 w 3648846"/>
              <a:gd name="connsiteY56" fmla="*/ 2822650 h 3649899"/>
              <a:gd name="connsiteX57" fmla="*/ 2642207 w 3648846"/>
              <a:gd name="connsiteY57" fmla="*/ 2822650 h 3649899"/>
              <a:gd name="connsiteX58" fmla="*/ 2973153 w 3648846"/>
              <a:gd name="connsiteY58" fmla="*/ 2822650 h 3649899"/>
              <a:gd name="connsiteX59" fmla="*/ 3428196 w 3648846"/>
              <a:gd name="connsiteY59" fmla="*/ 2822650 h 3649899"/>
              <a:gd name="connsiteX60" fmla="*/ 3593527 w 3648846"/>
              <a:gd name="connsiteY60" fmla="*/ 2879794 h 3649899"/>
              <a:gd name="connsiteX61" fmla="*/ 3648789 w 3648846"/>
              <a:gd name="connsiteY61" fmla="*/ 2935056 h 3649899"/>
              <a:gd name="connsiteX62" fmla="*/ 3593527 w 3648846"/>
              <a:gd name="connsiteY62" fmla="*/ 2990433 h 3649899"/>
              <a:gd name="connsiteX63" fmla="*/ 3366091 w 3648846"/>
              <a:gd name="connsiteY63" fmla="*/ 2914183 h 3649899"/>
              <a:gd name="connsiteX64" fmla="*/ 3035259 w 3648846"/>
              <a:gd name="connsiteY64" fmla="*/ 2914183 h 3649899"/>
              <a:gd name="connsiteX65" fmla="*/ 2580158 w 3648846"/>
              <a:gd name="connsiteY65" fmla="*/ 2914183 h 3649899"/>
              <a:gd name="connsiteX66" fmla="*/ 2249212 w 3648846"/>
              <a:gd name="connsiteY66" fmla="*/ 2914183 h 3649899"/>
              <a:gd name="connsiteX67" fmla="*/ 1793998 w 3648846"/>
              <a:gd name="connsiteY67" fmla="*/ 2914183 h 3649899"/>
              <a:gd name="connsiteX68" fmla="*/ 1463052 w 3648846"/>
              <a:gd name="connsiteY68" fmla="*/ 2914183 h 3649899"/>
              <a:gd name="connsiteX69" fmla="*/ 1007893 w 3648846"/>
              <a:gd name="connsiteY69" fmla="*/ 2914183 h 3649899"/>
              <a:gd name="connsiteX70" fmla="*/ 676548 w 3648846"/>
              <a:gd name="connsiteY70" fmla="*/ 2914183 h 3649899"/>
              <a:gd name="connsiteX71" fmla="*/ 220991 w 3648846"/>
              <a:gd name="connsiteY71" fmla="*/ 2914183 h 3649899"/>
              <a:gd name="connsiteX72" fmla="*/ 55262 w 3648846"/>
              <a:gd name="connsiteY72" fmla="*/ 2856982 h 3649899"/>
              <a:gd name="connsiteX73" fmla="*/ 0 w 3648846"/>
              <a:gd name="connsiteY73" fmla="*/ 2801720 h 3649899"/>
              <a:gd name="connsiteX74" fmla="*/ 55262 w 3648846"/>
              <a:gd name="connsiteY74" fmla="*/ 2746457 h 3649899"/>
              <a:gd name="connsiteX75" fmla="*/ 283040 w 3648846"/>
              <a:gd name="connsiteY75" fmla="*/ 2822650 h 3649899"/>
              <a:gd name="connsiteX76" fmla="*/ 614556 w 3648846"/>
              <a:gd name="connsiteY76" fmla="*/ 2822650 h 3649899"/>
              <a:gd name="connsiteX77" fmla="*/ 842193 w 3648846"/>
              <a:gd name="connsiteY77" fmla="*/ 2745231 h 3649899"/>
              <a:gd name="connsiteX78" fmla="*/ 1884447 w 3648846"/>
              <a:gd name="connsiteY78" fmla="*/ 1301941 h 3649899"/>
              <a:gd name="connsiteX79" fmla="*/ 3110652 w 3648846"/>
              <a:gd name="connsiteY79" fmla="*/ 1983109 h 3649899"/>
              <a:gd name="connsiteX80" fmla="*/ 2805483 w 3648846"/>
              <a:gd name="connsiteY80" fmla="*/ 2769270 h 3649899"/>
              <a:gd name="connsiteX81" fmla="*/ 2704312 w 3648846"/>
              <a:gd name="connsiteY81" fmla="*/ 2731117 h 3649899"/>
              <a:gd name="connsiteX82" fmla="*/ 2124943 w 3648846"/>
              <a:gd name="connsiteY82" fmla="*/ 2731117 h 3649899"/>
              <a:gd name="connsiteX83" fmla="*/ 2021547 w 3648846"/>
              <a:gd name="connsiteY83" fmla="*/ 2769270 h 3649899"/>
              <a:gd name="connsiteX84" fmla="*/ 1918151 w 3648846"/>
              <a:gd name="connsiteY84" fmla="*/ 2731117 h 3649899"/>
              <a:gd name="connsiteX85" fmla="*/ 1881139 w 3648846"/>
              <a:gd name="connsiteY85" fmla="*/ 2706765 h 3649899"/>
              <a:gd name="connsiteX86" fmla="*/ 1884447 w 3648846"/>
              <a:gd name="connsiteY86" fmla="*/ 1301941 h 3649899"/>
              <a:gd name="connsiteX87" fmla="*/ 1768276 w 3648846"/>
              <a:gd name="connsiteY87" fmla="*/ 1298690 h 3649899"/>
              <a:gd name="connsiteX88" fmla="*/ 1769416 w 3648846"/>
              <a:gd name="connsiteY88" fmla="*/ 2655381 h 3649899"/>
              <a:gd name="connsiteX89" fmla="*/ 1338725 w 3648846"/>
              <a:gd name="connsiteY89" fmla="*/ 2731117 h 3649899"/>
              <a:gd name="connsiteX90" fmla="*/ 1235329 w 3648846"/>
              <a:gd name="connsiteY90" fmla="*/ 2769270 h 3649899"/>
              <a:gd name="connsiteX91" fmla="*/ 1131933 w 3648846"/>
              <a:gd name="connsiteY91" fmla="*/ 2731117 h 3649899"/>
              <a:gd name="connsiteX92" fmla="*/ 842220 w 3648846"/>
              <a:gd name="connsiteY92" fmla="*/ 2636047 h 3649899"/>
              <a:gd name="connsiteX93" fmla="*/ 791920 w 3648846"/>
              <a:gd name="connsiteY93" fmla="*/ 2638272 h 3649899"/>
              <a:gd name="connsiteX94" fmla="*/ 534315 w 3648846"/>
              <a:gd name="connsiteY94" fmla="*/ 1974270 h 3649899"/>
              <a:gd name="connsiteX95" fmla="*/ 1886442 w 3648846"/>
              <a:gd name="connsiteY95" fmla="*/ 794715 h 3649899"/>
              <a:gd name="connsiteX96" fmla="*/ 3233893 w 3648846"/>
              <a:gd name="connsiteY96" fmla="*/ 1533598 h 3649899"/>
              <a:gd name="connsiteX97" fmla="*/ 3258759 w 3648846"/>
              <a:gd name="connsiteY97" fmla="*/ 1602148 h 3649899"/>
              <a:gd name="connsiteX98" fmla="*/ 3151257 w 3648846"/>
              <a:gd name="connsiteY98" fmla="*/ 1879087 h 3649899"/>
              <a:gd name="connsiteX99" fmla="*/ 1885074 w 3648846"/>
              <a:gd name="connsiteY99" fmla="*/ 1175506 h 3649899"/>
              <a:gd name="connsiteX100" fmla="*/ 1775918 w 3648846"/>
              <a:gd name="connsiteY100" fmla="*/ 787586 h 3649899"/>
              <a:gd name="connsiteX101" fmla="*/ 1775861 w 3648846"/>
              <a:gd name="connsiteY101" fmla="*/ 798307 h 3649899"/>
              <a:gd name="connsiteX102" fmla="*/ 1768561 w 3648846"/>
              <a:gd name="connsiteY102" fmla="*/ 1172483 h 3649899"/>
              <a:gd name="connsiteX103" fmla="*/ 493937 w 3648846"/>
              <a:gd name="connsiteY103" fmla="*/ 1870076 h 3649899"/>
              <a:gd name="connsiteX104" fmla="*/ 390028 w 3648846"/>
              <a:gd name="connsiteY104" fmla="*/ 1602148 h 3649899"/>
              <a:gd name="connsiteX105" fmla="*/ 414893 w 3648846"/>
              <a:gd name="connsiteY105" fmla="*/ 1533598 h 3649899"/>
              <a:gd name="connsiteX106" fmla="*/ 1501262 w 3648846"/>
              <a:gd name="connsiteY106" fmla="*/ 0 h 3649899"/>
              <a:gd name="connsiteX107" fmla="*/ 2147014 w 3648846"/>
              <a:gd name="connsiteY107" fmla="*/ 0 h 3649899"/>
              <a:gd name="connsiteX108" fmla="*/ 2202276 w 3648846"/>
              <a:gd name="connsiteY108" fmla="*/ 55262 h 3649899"/>
              <a:gd name="connsiteX109" fmla="*/ 2202276 w 3648846"/>
              <a:gd name="connsiteY109" fmla="*/ 430121 h 3649899"/>
              <a:gd name="connsiteX110" fmla="*/ 2777254 w 3648846"/>
              <a:gd name="connsiteY110" fmla="*/ 430121 h 3649899"/>
              <a:gd name="connsiteX111" fmla="*/ 2832516 w 3648846"/>
              <a:gd name="connsiteY111" fmla="*/ 485383 h 3649899"/>
              <a:gd name="connsiteX112" fmla="*/ 2832516 w 3648846"/>
              <a:gd name="connsiteY112" fmla="*/ 1187481 h 3649899"/>
              <a:gd name="connsiteX113" fmla="*/ 1903723 w 3648846"/>
              <a:gd name="connsiteY113" fmla="*/ 678316 h 3649899"/>
              <a:gd name="connsiteX114" fmla="*/ 1824109 w 3648846"/>
              <a:gd name="connsiteY114" fmla="*/ 657842 h 3649899"/>
              <a:gd name="connsiteX115" fmla="*/ 1742271 w 3648846"/>
              <a:gd name="connsiteY115" fmla="*/ 679400 h 3649899"/>
              <a:gd name="connsiteX116" fmla="*/ 1727329 w 3648846"/>
              <a:gd name="connsiteY116" fmla="*/ 687156 h 3649899"/>
              <a:gd name="connsiteX117" fmla="*/ 1725675 w 3648846"/>
              <a:gd name="connsiteY117" fmla="*/ 688810 h 3649899"/>
              <a:gd name="connsiteX118" fmla="*/ 816215 w 3648846"/>
              <a:gd name="connsiteY118" fmla="*/ 1187481 h 3649899"/>
              <a:gd name="connsiteX119" fmla="*/ 816215 w 3648846"/>
              <a:gd name="connsiteY119" fmla="*/ 485383 h 3649899"/>
              <a:gd name="connsiteX120" fmla="*/ 871477 w 3648846"/>
              <a:gd name="connsiteY120" fmla="*/ 430121 h 3649899"/>
              <a:gd name="connsiteX121" fmla="*/ 1445885 w 3648846"/>
              <a:gd name="connsiteY121" fmla="*/ 430121 h 3649899"/>
              <a:gd name="connsiteX122" fmla="*/ 1445885 w 3648846"/>
              <a:gd name="connsiteY122" fmla="*/ 55262 h 3649899"/>
              <a:gd name="connsiteX123" fmla="*/ 1501262 w 3648846"/>
              <a:gd name="connsiteY123" fmla="*/ 0 h 36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3648846" h="3649899">
                <a:moveTo>
                  <a:pt x="842193" y="3403529"/>
                </a:moveTo>
                <a:cubicBezTo>
                  <a:pt x="918000" y="3403500"/>
                  <a:pt x="993836" y="3429278"/>
                  <a:pt x="1069999" y="3480948"/>
                </a:cubicBezTo>
                <a:cubicBezTo>
                  <a:pt x="1184574" y="3558680"/>
                  <a:pt x="1286258" y="3558851"/>
                  <a:pt x="1401003" y="3480948"/>
                </a:cubicBezTo>
                <a:cubicBezTo>
                  <a:pt x="1551163" y="3378920"/>
                  <a:pt x="1702293" y="3376582"/>
                  <a:pt x="1856103" y="3480948"/>
                </a:cubicBezTo>
                <a:cubicBezTo>
                  <a:pt x="1970677" y="3558737"/>
                  <a:pt x="2072419" y="3558794"/>
                  <a:pt x="2187106" y="3480948"/>
                </a:cubicBezTo>
                <a:cubicBezTo>
                  <a:pt x="2336639" y="3379433"/>
                  <a:pt x="2487883" y="3376126"/>
                  <a:pt x="2642207" y="3480948"/>
                </a:cubicBezTo>
                <a:cubicBezTo>
                  <a:pt x="2756780" y="3558737"/>
                  <a:pt x="2858408" y="3558794"/>
                  <a:pt x="2973153" y="3480948"/>
                </a:cubicBezTo>
                <a:cubicBezTo>
                  <a:pt x="3122686" y="3379433"/>
                  <a:pt x="3273873" y="3376126"/>
                  <a:pt x="3428196" y="3480948"/>
                </a:cubicBezTo>
                <a:cubicBezTo>
                  <a:pt x="3475189" y="3512885"/>
                  <a:pt x="3512316" y="3538092"/>
                  <a:pt x="3593527" y="3538092"/>
                </a:cubicBezTo>
                <a:cubicBezTo>
                  <a:pt x="3624038" y="3538092"/>
                  <a:pt x="3648789" y="3562843"/>
                  <a:pt x="3648789" y="3593355"/>
                </a:cubicBezTo>
                <a:cubicBezTo>
                  <a:pt x="3648789" y="3623866"/>
                  <a:pt x="3624095" y="3648731"/>
                  <a:pt x="3593527" y="3648731"/>
                </a:cubicBezTo>
                <a:cubicBezTo>
                  <a:pt x="3478326" y="3648731"/>
                  <a:pt x="3418672" y="3608239"/>
                  <a:pt x="3366091" y="3572481"/>
                </a:cubicBezTo>
                <a:cubicBezTo>
                  <a:pt x="3251574" y="3494692"/>
                  <a:pt x="3149946" y="3494635"/>
                  <a:pt x="3035259" y="3572481"/>
                </a:cubicBezTo>
                <a:cubicBezTo>
                  <a:pt x="2885726" y="3673995"/>
                  <a:pt x="2734482" y="3677303"/>
                  <a:pt x="2580158" y="3572481"/>
                </a:cubicBezTo>
                <a:cubicBezTo>
                  <a:pt x="2465528" y="3494692"/>
                  <a:pt x="2363957" y="3494635"/>
                  <a:pt x="2249212" y="3572481"/>
                </a:cubicBezTo>
                <a:cubicBezTo>
                  <a:pt x="2099337" y="3674223"/>
                  <a:pt x="1948150" y="3677075"/>
                  <a:pt x="1793998" y="3572481"/>
                </a:cubicBezTo>
                <a:cubicBezTo>
                  <a:pt x="1679424" y="3494749"/>
                  <a:pt x="1577739" y="3494578"/>
                  <a:pt x="1463052" y="3572481"/>
                </a:cubicBezTo>
                <a:cubicBezTo>
                  <a:pt x="1312606" y="3674679"/>
                  <a:pt x="1161419" y="3676676"/>
                  <a:pt x="1007893" y="3572481"/>
                </a:cubicBezTo>
                <a:cubicBezTo>
                  <a:pt x="893149" y="3494635"/>
                  <a:pt x="791464" y="3494635"/>
                  <a:pt x="676548" y="3572481"/>
                </a:cubicBezTo>
                <a:cubicBezTo>
                  <a:pt x="524335" y="3675649"/>
                  <a:pt x="373376" y="3675763"/>
                  <a:pt x="220991" y="3572481"/>
                </a:cubicBezTo>
                <a:cubicBezTo>
                  <a:pt x="173884" y="3540545"/>
                  <a:pt x="136644" y="3515280"/>
                  <a:pt x="55262" y="3515280"/>
                </a:cubicBezTo>
                <a:cubicBezTo>
                  <a:pt x="24751" y="3515280"/>
                  <a:pt x="0" y="3490529"/>
                  <a:pt x="0" y="3460018"/>
                </a:cubicBezTo>
                <a:cubicBezTo>
                  <a:pt x="0" y="3429506"/>
                  <a:pt x="24751" y="3404755"/>
                  <a:pt x="55262" y="3404755"/>
                </a:cubicBezTo>
                <a:cubicBezTo>
                  <a:pt x="170634" y="3404755"/>
                  <a:pt x="230344" y="3445247"/>
                  <a:pt x="283040" y="3480948"/>
                </a:cubicBezTo>
                <a:cubicBezTo>
                  <a:pt x="397956" y="3558794"/>
                  <a:pt x="499641" y="3558794"/>
                  <a:pt x="614556" y="3480948"/>
                </a:cubicBezTo>
                <a:cubicBezTo>
                  <a:pt x="690606" y="3429393"/>
                  <a:pt x="766385" y="3403558"/>
                  <a:pt x="842193" y="3403529"/>
                </a:cubicBezTo>
                <a:close/>
                <a:moveTo>
                  <a:pt x="842214" y="3074466"/>
                </a:moveTo>
                <a:cubicBezTo>
                  <a:pt x="918000" y="3074452"/>
                  <a:pt x="993807" y="3100244"/>
                  <a:pt x="1069999" y="3151885"/>
                </a:cubicBezTo>
                <a:cubicBezTo>
                  <a:pt x="1184574" y="3229617"/>
                  <a:pt x="1286258" y="3229731"/>
                  <a:pt x="1401003" y="3151885"/>
                </a:cubicBezTo>
                <a:cubicBezTo>
                  <a:pt x="1550536" y="3050313"/>
                  <a:pt x="1701666" y="3047120"/>
                  <a:pt x="1856103" y="3151885"/>
                </a:cubicBezTo>
                <a:cubicBezTo>
                  <a:pt x="1970677" y="3229674"/>
                  <a:pt x="2072419" y="3229731"/>
                  <a:pt x="2187106" y="3151885"/>
                </a:cubicBezTo>
                <a:cubicBezTo>
                  <a:pt x="2339149" y="3048717"/>
                  <a:pt x="2489994" y="3048603"/>
                  <a:pt x="2642207" y="3151885"/>
                </a:cubicBezTo>
                <a:cubicBezTo>
                  <a:pt x="2756780" y="3229674"/>
                  <a:pt x="2858408" y="3229731"/>
                  <a:pt x="2973153" y="3151885"/>
                </a:cubicBezTo>
                <a:cubicBezTo>
                  <a:pt x="3125081" y="3048774"/>
                  <a:pt x="3276040" y="3048546"/>
                  <a:pt x="3428196" y="3151885"/>
                </a:cubicBezTo>
                <a:cubicBezTo>
                  <a:pt x="3475246" y="3183765"/>
                  <a:pt x="3512373" y="3209029"/>
                  <a:pt x="3593584" y="3209029"/>
                </a:cubicBezTo>
                <a:cubicBezTo>
                  <a:pt x="3624095" y="3209029"/>
                  <a:pt x="3648846" y="3233780"/>
                  <a:pt x="3648846" y="3264291"/>
                </a:cubicBezTo>
                <a:cubicBezTo>
                  <a:pt x="3648846" y="3294802"/>
                  <a:pt x="3624095" y="3319554"/>
                  <a:pt x="3593527" y="3319554"/>
                </a:cubicBezTo>
                <a:cubicBezTo>
                  <a:pt x="3478326" y="3319554"/>
                  <a:pt x="3418672" y="3279062"/>
                  <a:pt x="3366091" y="3243361"/>
                </a:cubicBezTo>
                <a:cubicBezTo>
                  <a:pt x="3251574" y="3165572"/>
                  <a:pt x="3149946" y="3165515"/>
                  <a:pt x="3035259" y="3243361"/>
                </a:cubicBezTo>
                <a:cubicBezTo>
                  <a:pt x="2883216" y="3346529"/>
                  <a:pt x="2732372" y="3346643"/>
                  <a:pt x="2580158" y="3243361"/>
                </a:cubicBezTo>
                <a:cubicBezTo>
                  <a:pt x="2465528" y="3165572"/>
                  <a:pt x="2363957" y="3165515"/>
                  <a:pt x="2249212" y="3243361"/>
                </a:cubicBezTo>
                <a:cubicBezTo>
                  <a:pt x="2097170" y="3346529"/>
                  <a:pt x="1946325" y="3346643"/>
                  <a:pt x="1793998" y="3243361"/>
                </a:cubicBezTo>
                <a:cubicBezTo>
                  <a:pt x="1679424" y="3165629"/>
                  <a:pt x="1577739" y="3165458"/>
                  <a:pt x="1463052" y="3243361"/>
                </a:cubicBezTo>
                <a:cubicBezTo>
                  <a:pt x="1313120" y="3345103"/>
                  <a:pt x="1162104" y="3347898"/>
                  <a:pt x="1007893" y="3243361"/>
                </a:cubicBezTo>
                <a:cubicBezTo>
                  <a:pt x="893320" y="3165572"/>
                  <a:pt x="791407" y="3165515"/>
                  <a:pt x="676548" y="3243361"/>
                </a:cubicBezTo>
                <a:cubicBezTo>
                  <a:pt x="524335" y="3346529"/>
                  <a:pt x="373376" y="3346643"/>
                  <a:pt x="220991" y="3243361"/>
                </a:cubicBezTo>
                <a:cubicBezTo>
                  <a:pt x="173884" y="3211425"/>
                  <a:pt x="136644" y="3186217"/>
                  <a:pt x="55262" y="3186217"/>
                </a:cubicBezTo>
                <a:cubicBezTo>
                  <a:pt x="24751" y="3186217"/>
                  <a:pt x="0" y="3161466"/>
                  <a:pt x="0" y="3130955"/>
                </a:cubicBezTo>
                <a:cubicBezTo>
                  <a:pt x="0" y="3100443"/>
                  <a:pt x="24751" y="3075692"/>
                  <a:pt x="55262" y="3075692"/>
                </a:cubicBezTo>
                <a:cubicBezTo>
                  <a:pt x="170634" y="3075692"/>
                  <a:pt x="230344" y="3116184"/>
                  <a:pt x="283040" y="3151885"/>
                </a:cubicBezTo>
                <a:cubicBezTo>
                  <a:pt x="397785" y="3229674"/>
                  <a:pt x="499698" y="3229731"/>
                  <a:pt x="614556" y="3151885"/>
                </a:cubicBezTo>
                <a:cubicBezTo>
                  <a:pt x="690663" y="3100301"/>
                  <a:pt x="766428" y="3074481"/>
                  <a:pt x="842214" y="3074466"/>
                </a:cubicBezTo>
                <a:close/>
                <a:moveTo>
                  <a:pt x="842193" y="2745231"/>
                </a:moveTo>
                <a:cubicBezTo>
                  <a:pt x="918000" y="2745202"/>
                  <a:pt x="993836" y="2770980"/>
                  <a:pt x="1069999" y="2822650"/>
                </a:cubicBezTo>
                <a:cubicBezTo>
                  <a:pt x="1184574" y="2900382"/>
                  <a:pt x="1286258" y="2900553"/>
                  <a:pt x="1401003" y="2822650"/>
                </a:cubicBezTo>
                <a:cubicBezTo>
                  <a:pt x="1551163" y="2720622"/>
                  <a:pt x="1702293" y="2718284"/>
                  <a:pt x="1856103" y="2822650"/>
                </a:cubicBezTo>
                <a:cubicBezTo>
                  <a:pt x="1970677" y="2900439"/>
                  <a:pt x="2072419" y="2900496"/>
                  <a:pt x="2187106" y="2822650"/>
                </a:cubicBezTo>
                <a:cubicBezTo>
                  <a:pt x="2336639" y="2721135"/>
                  <a:pt x="2487883" y="2717828"/>
                  <a:pt x="2642207" y="2822650"/>
                </a:cubicBezTo>
                <a:cubicBezTo>
                  <a:pt x="2756780" y="2900439"/>
                  <a:pt x="2858408" y="2900496"/>
                  <a:pt x="2973153" y="2822650"/>
                </a:cubicBezTo>
                <a:cubicBezTo>
                  <a:pt x="3122686" y="2721135"/>
                  <a:pt x="3273873" y="2717828"/>
                  <a:pt x="3428196" y="2822650"/>
                </a:cubicBezTo>
                <a:cubicBezTo>
                  <a:pt x="3475189" y="2854587"/>
                  <a:pt x="3512316" y="2879794"/>
                  <a:pt x="3593527" y="2879794"/>
                </a:cubicBezTo>
                <a:cubicBezTo>
                  <a:pt x="3624038" y="2879794"/>
                  <a:pt x="3648789" y="2904545"/>
                  <a:pt x="3648789" y="2935056"/>
                </a:cubicBezTo>
                <a:cubicBezTo>
                  <a:pt x="3648846" y="2965682"/>
                  <a:pt x="3624095" y="2990433"/>
                  <a:pt x="3593527" y="2990433"/>
                </a:cubicBezTo>
                <a:cubicBezTo>
                  <a:pt x="3478326" y="2990433"/>
                  <a:pt x="3418672" y="2949941"/>
                  <a:pt x="3366091" y="2914183"/>
                </a:cubicBezTo>
                <a:cubicBezTo>
                  <a:pt x="3251574" y="2836394"/>
                  <a:pt x="3149946" y="2836337"/>
                  <a:pt x="3035259" y="2914183"/>
                </a:cubicBezTo>
                <a:cubicBezTo>
                  <a:pt x="2885726" y="3015697"/>
                  <a:pt x="2734482" y="3019005"/>
                  <a:pt x="2580158" y="2914183"/>
                </a:cubicBezTo>
                <a:cubicBezTo>
                  <a:pt x="2465528" y="2836394"/>
                  <a:pt x="2363957" y="2836337"/>
                  <a:pt x="2249212" y="2914183"/>
                </a:cubicBezTo>
                <a:cubicBezTo>
                  <a:pt x="2099337" y="3015925"/>
                  <a:pt x="1948150" y="3018777"/>
                  <a:pt x="1793998" y="2914183"/>
                </a:cubicBezTo>
                <a:cubicBezTo>
                  <a:pt x="1679424" y="2836451"/>
                  <a:pt x="1577739" y="2836280"/>
                  <a:pt x="1463052" y="2914183"/>
                </a:cubicBezTo>
                <a:cubicBezTo>
                  <a:pt x="1312606" y="3016381"/>
                  <a:pt x="1161419" y="3018377"/>
                  <a:pt x="1007893" y="2914183"/>
                </a:cubicBezTo>
                <a:cubicBezTo>
                  <a:pt x="893149" y="2836337"/>
                  <a:pt x="791464" y="2836337"/>
                  <a:pt x="676548" y="2914183"/>
                </a:cubicBezTo>
                <a:cubicBezTo>
                  <a:pt x="524335" y="3017351"/>
                  <a:pt x="373376" y="3017465"/>
                  <a:pt x="220991" y="2914183"/>
                </a:cubicBezTo>
                <a:cubicBezTo>
                  <a:pt x="173884" y="2882247"/>
                  <a:pt x="136644" y="2856982"/>
                  <a:pt x="55262" y="2856982"/>
                </a:cubicBezTo>
                <a:cubicBezTo>
                  <a:pt x="24751" y="2856982"/>
                  <a:pt x="0" y="2832231"/>
                  <a:pt x="0" y="2801720"/>
                </a:cubicBezTo>
                <a:cubicBezTo>
                  <a:pt x="0" y="2771208"/>
                  <a:pt x="24751" y="2746457"/>
                  <a:pt x="55262" y="2746457"/>
                </a:cubicBezTo>
                <a:cubicBezTo>
                  <a:pt x="170634" y="2746457"/>
                  <a:pt x="230344" y="2786949"/>
                  <a:pt x="283040" y="2822650"/>
                </a:cubicBezTo>
                <a:cubicBezTo>
                  <a:pt x="397956" y="2900496"/>
                  <a:pt x="499641" y="2900496"/>
                  <a:pt x="614556" y="2822650"/>
                </a:cubicBezTo>
                <a:cubicBezTo>
                  <a:pt x="690606" y="2771094"/>
                  <a:pt x="766385" y="2745260"/>
                  <a:pt x="842193" y="2745231"/>
                </a:cubicBezTo>
                <a:close/>
                <a:moveTo>
                  <a:pt x="1884447" y="1301941"/>
                </a:moveTo>
                <a:lnTo>
                  <a:pt x="3110652" y="1983109"/>
                </a:lnTo>
                <a:lnTo>
                  <a:pt x="2805483" y="2769270"/>
                </a:lnTo>
                <a:cubicBezTo>
                  <a:pt x="2759574" y="2768700"/>
                  <a:pt x="2745773" y="2759290"/>
                  <a:pt x="2704312" y="2731117"/>
                </a:cubicBezTo>
                <a:cubicBezTo>
                  <a:pt x="2516169" y="2602742"/>
                  <a:pt x="2313256" y="2602628"/>
                  <a:pt x="2124943" y="2731117"/>
                </a:cubicBezTo>
                <a:cubicBezTo>
                  <a:pt x="2082911" y="2759860"/>
                  <a:pt x="2069110" y="2769270"/>
                  <a:pt x="2021547" y="2769270"/>
                </a:cubicBezTo>
                <a:cubicBezTo>
                  <a:pt x="1974554" y="2769270"/>
                  <a:pt x="1960182" y="2759860"/>
                  <a:pt x="1918151" y="2731117"/>
                </a:cubicBezTo>
                <a:cubicBezTo>
                  <a:pt x="1906517" y="2723361"/>
                  <a:pt x="1894370" y="2715091"/>
                  <a:pt x="1881139" y="2706765"/>
                </a:cubicBezTo>
                <a:cubicBezTo>
                  <a:pt x="1878401" y="2508300"/>
                  <a:pt x="1869505" y="2110800"/>
                  <a:pt x="1884447" y="1301941"/>
                </a:cubicBezTo>
                <a:close/>
                <a:moveTo>
                  <a:pt x="1768276" y="1298690"/>
                </a:moveTo>
                <a:cubicBezTo>
                  <a:pt x="1782134" y="2053884"/>
                  <a:pt x="1774378" y="2446365"/>
                  <a:pt x="1769416" y="2655381"/>
                </a:cubicBezTo>
                <a:cubicBezTo>
                  <a:pt x="1639102" y="2616828"/>
                  <a:pt x="1488885" y="2628690"/>
                  <a:pt x="1338725" y="2731117"/>
                </a:cubicBezTo>
                <a:cubicBezTo>
                  <a:pt x="1296693" y="2759860"/>
                  <a:pt x="1282892" y="2769270"/>
                  <a:pt x="1235329" y="2769270"/>
                </a:cubicBezTo>
                <a:cubicBezTo>
                  <a:pt x="1188336" y="2769270"/>
                  <a:pt x="1173965" y="2759860"/>
                  <a:pt x="1131933" y="2731117"/>
                </a:cubicBezTo>
                <a:cubicBezTo>
                  <a:pt x="1072793" y="2690739"/>
                  <a:pt x="991525" y="2636047"/>
                  <a:pt x="842220" y="2636047"/>
                </a:cubicBezTo>
                <a:cubicBezTo>
                  <a:pt x="824541" y="2636047"/>
                  <a:pt x="807945" y="2636618"/>
                  <a:pt x="791920" y="2638272"/>
                </a:cubicBezTo>
                <a:lnTo>
                  <a:pt x="534315" y="1974270"/>
                </a:lnTo>
                <a:close/>
                <a:moveTo>
                  <a:pt x="1886442" y="794715"/>
                </a:moveTo>
                <a:lnTo>
                  <a:pt x="3233893" y="1533598"/>
                </a:lnTo>
                <a:cubicBezTo>
                  <a:pt x="3258188" y="1546886"/>
                  <a:pt x="3268682" y="1576142"/>
                  <a:pt x="3258759" y="1602148"/>
                </a:cubicBezTo>
                <a:lnTo>
                  <a:pt x="3151257" y="1879087"/>
                </a:lnTo>
                <a:lnTo>
                  <a:pt x="1885074" y="1175506"/>
                </a:lnTo>
                <a:close/>
                <a:moveTo>
                  <a:pt x="1775918" y="787586"/>
                </a:moveTo>
                <a:lnTo>
                  <a:pt x="1775861" y="798307"/>
                </a:lnTo>
                <a:cubicBezTo>
                  <a:pt x="1762116" y="823629"/>
                  <a:pt x="1771584" y="807660"/>
                  <a:pt x="1768561" y="1172483"/>
                </a:cubicBezTo>
                <a:lnTo>
                  <a:pt x="493937" y="1870076"/>
                </a:lnTo>
                <a:lnTo>
                  <a:pt x="390028" y="1602148"/>
                </a:lnTo>
                <a:cubicBezTo>
                  <a:pt x="380048" y="1576142"/>
                  <a:pt x="390542" y="1546886"/>
                  <a:pt x="414893" y="1533598"/>
                </a:cubicBezTo>
                <a:close/>
                <a:moveTo>
                  <a:pt x="1501262" y="0"/>
                </a:moveTo>
                <a:lnTo>
                  <a:pt x="2147014" y="0"/>
                </a:lnTo>
                <a:cubicBezTo>
                  <a:pt x="2177411" y="0"/>
                  <a:pt x="2202276" y="24865"/>
                  <a:pt x="2202276" y="55262"/>
                </a:cubicBezTo>
                <a:lnTo>
                  <a:pt x="2202276" y="430121"/>
                </a:lnTo>
                <a:lnTo>
                  <a:pt x="2777254" y="430121"/>
                </a:lnTo>
                <a:cubicBezTo>
                  <a:pt x="2807651" y="430121"/>
                  <a:pt x="2832516" y="454986"/>
                  <a:pt x="2832516" y="485383"/>
                </a:cubicBezTo>
                <a:lnTo>
                  <a:pt x="2832516" y="1187481"/>
                </a:lnTo>
                <a:lnTo>
                  <a:pt x="1903723" y="678316"/>
                </a:lnTo>
                <a:cubicBezTo>
                  <a:pt x="1879372" y="665028"/>
                  <a:pt x="1852282" y="657842"/>
                  <a:pt x="1824109" y="657842"/>
                </a:cubicBezTo>
                <a:cubicBezTo>
                  <a:pt x="1795366" y="657842"/>
                  <a:pt x="1767193" y="665028"/>
                  <a:pt x="1742271" y="679400"/>
                </a:cubicBezTo>
                <a:lnTo>
                  <a:pt x="1727329" y="687156"/>
                </a:lnTo>
                <a:lnTo>
                  <a:pt x="1725675" y="688810"/>
                </a:lnTo>
                <a:lnTo>
                  <a:pt x="816215" y="1187481"/>
                </a:lnTo>
                <a:lnTo>
                  <a:pt x="816215" y="485383"/>
                </a:lnTo>
                <a:cubicBezTo>
                  <a:pt x="816215" y="454986"/>
                  <a:pt x="841080" y="430121"/>
                  <a:pt x="871477" y="430121"/>
                </a:cubicBezTo>
                <a:lnTo>
                  <a:pt x="1445885" y="430121"/>
                </a:lnTo>
                <a:lnTo>
                  <a:pt x="1445885" y="55262"/>
                </a:lnTo>
                <a:cubicBezTo>
                  <a:pt x="1445999" y="24865"/>
                  <a:pt x="1470865" y="0"/>
                  <a:pt x="1501262" y="0"/>
                </a:cubicBezTo>
                <a:close/>
              </a:path>
            </a:pathLst>
          </a:custGeom>
          <a:solidFill>
            <a:schemeClr val="accent6"/>
          </a:solidFill>
          <a:ln w="0">
            <a:noFill/>
            <a:prstDash val="solid"/>
            <a:round/>
            <a:headEnd/>
            <a:tailEnd/>
          </a:ln>
        </p:spPr>
        <p:txBody>
          <a:bodyPr rtlCol="0" anchor="ctr"/>
          <a:lstStyle/>
          <a:p>
            <a:endParaRPr lang="en-US" sz="1350"/>
          </a:p>
        </p:txBody>
      </p:sp>
      <p:cxnSp>
        <p:nvCxnSpPr>
          <p:cNvPr id="186" name="Connector: Elbow 227">
            <a:extLst>
              <a:ext uri="{FF2B5EF4-FFF2-40B4-BE49-F238E27FC236}">
                <a16:creationId xmlns:a16="http://schemas.microsoft.com/office/drawing/2014/main" id="{F6D61A7C-A678-6EAE-949C-04A00F39DDA6}"/>
              </a:ext>
            </a:extLst>
          </p:cNvPr>
          <p:cNvCxnSpPr>
            <a:cxnSpLocks/>
            <a:stCxn id="182" idx="1"/>
          </p:cNvCxnSpPr>
          <p:nvPr/>
        </p:nvCxnSpPr>
        <p:spPr>
          <a:xfrm rot="10800000" flipV="1">
            <a:off x="4969952" y="1980328"/>
            <a:ext cx="729322" cy="339412"/>
          </a:xfrm>
          <a:prstGeom prst="bentConnector3">
            <a:avLst/>
          </a:prstGeom>
          <a:ln w="6350">
            <a:solidFill>
              <a:schemeClr val="accent3"/>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87" name="Rechteck 12">
            <a:extLst>
              <a:ext uri="{FF2B5EF4-FFF2-40B4-BE49-F238E27FC236}">
                <a16:creationId xmlns:a16="http://schemas.microsoft.com/office/drawing/2014/main" id="{90637675-C56F-4930-2FC5-AD03EA973CD9}"/>
              </a:ext>
            </a:extLst>
          </p:cNvPr>
          <p:cNvSpPr/>
          <p:nvPr/>
        </p:nvSpPr>
        <p:spPr>
          <a:xfrm>
            <a:off x="4332166" y="3723423"/>
            <a:ext cx="1220131" cy="851484"/>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188" name="RBContent12">
            <a:extLst>
              <a:ext uri="{FF2B5EF4-FFF2-40B4-BE49-F238E27FC236}">
                <a16:creationId xmlns:a16="http://schemas.microsoft.com/office/drawing/2014/main" id="{B84F8D6E-9F50-1D20-4915-8F6F5AFEAD8C}"/>
              </a:ext>
            </a:extLst>
          </p:cNvPr>
          <p:cNvSpPr txBox="1">
            <a:spLocks/>
          </p:cNvSpPr>
          <p:nvPr/>
        </p:nvSpPr>
        <p:spPr>
          <a:xfrm>
            <a:off x="4403720" y="3944143"/>
            <a:ext cx="1080000" cy="572464"/>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900" b="1">
                <a:sym typeface="+mn-lt"/>
              </a:rPr>
              <a:t>Mozambique LNG</a:t>
            </a:r>
          </a:p>
          <a:p>
            <a:pPr marL="0" lvl="1">
              <a:lnSpc>
                <a:spcPct val="90000"/>
              </a:lnSpc>
              <a:spcBef>
                <a:spcPts val="300"/>
              </a:spcBef>
              <a:buSzPct val="100000"/>
            </a:pPr>
            <a:r>
              <a:rPr lang="en-US" sz="800">
                <a:sym typeface="+mn-lt"/>
              </a:rPr>
              <a:t>Capex: USD 24 bn</a:t>
            </a:r>
          </a:p>
          <a:p>
            <a:pPr marL="0" lvl="1">
              <a:lnSpc>
                <a:spcPct val="90000"/>
              </a:lnSpc>
              <a:spcBef>
                <a:spcPts val="300"/>
              </a:spcBef>
              <a:buSzPct val="100000"/>
            </a:pPr>
            <a:r>
              <a:rPr lang="en-US" sz="800">
                <a:sym typeface="+mn-lt"/>
              </a:rPr>
              <a:t>Company: Total, </a:t>
            </a:r>
            <a:r>
              <a:rPr lang="en-US" sz="800" err="1">
                <a:sym typeface="+mn-lt"/>
              </a:rPr>
              <a:t>ENH</a:t>
            </a:r>
            <a:endParaRPr lang="en-US" sz="800">
              <a:sym typeface="+mn-lt"/>
            </a:endParaRPr>
          </a:p>
          <a:p>
            <a:pPr marL="0" lvl="1">
              <a:lnSpc>
                <a:spcPct val="90000"/>
              </a:lnSpc>
              <a:spcBef>
                <a:spcPts val="300"/>
              </a:spcBef>
              <a:buSzPct val="100000"/>
            </a:pPr>
            <a:r>
              <a:rPr lang="en-US" sz="800">
                <a:sym typeface="+mn-lt"/>
              </a:rPr>
              <a:t>Completion: 2024</a:t>
            </a:r>
          </a:p>
        </p:txBody>
      </p:sp>
      <p:sp>
        <p:nvSpPr>
          <p:cNvPr id="189" name="Freeform: Shape 232">
            <a:extLst>
              <a:ext uri="{FF2B5EF4-FFF2-40B4-BE49-F238E27FC236}">
                <a16:creationId xmlns:a16="http://schemas.microsoft.com/office/drawing/2014/main" id="{F9A78253-B7C5-DDAA-D516-9BD2CD84C938}"/>
              </a:ext>
            </a:extLst>
          </p:cNvPr>
          <p:cNvSpPr>
            <a:spLocks noChangeAspect="1"/>
          </p:cNvSpPr>
          <p:nvPr/>
        </p:nvSpPr>
        <p:spPr>
          <a:xfrm>
            <a:off x="5344417" y="3757001"/>
            <a:ext cx="161692" cy="161738"/>
          </a:xfrm>
          <a:custGeom>
            <a:avLst/>
            <a:gdLst>
              <a:gd name="connsiteX0" fmla="*/ 842193 w 3648846"/>
              <a:gd name="connsiteY0" fmla="*/ 3403529 h 3649899"/>
              <a:gd name="connsiteX1" fmla="*/ 1069999 w 3648846"/>
              <a:gd name="connsiteY1" fmla="*/ 3480948 h 3649899"/>
              <a:gd name="connsiteX2" fmla="*/ 1401003 w 3648846"/>
              <a:gd name="connsiteY2" fmla="*/ 3480948 h 3649899"/>
              <a:gd name="connsiteX3" fmla="*/ 1856103 w 3648846"/>
              <a:gd name="connsiteY3" fmla="*/ 3480948 h 3649899"/>
              <a:gd name="connsiteX4" fmla="*/ 2187106 w 3648846"/>
              <a:gd name="connsiteY4" fmla="*/ 3480948 h 3649899"/>
              <a:gd name="connsiteX5" fmla="*/ 2642207 w 3648846"/>
              <a:gd name="connsiteY5" fmla="*/ 3480948 h 3649899"/>
              <a:gd name="connsiteX6" fmla="*/ 2973153 w 3648846"/>
              <a:gd name="connsiteY6" fmla="*/ 3480948 h 3649899"/>
              <a:gd name="connsiteX7" fmla="*/ 3428196 w 3648846"/>
              <a:gd name="connsiteY7" fmla="*/ 3480948 h 3649899"/>
              <a:gd name="connsiteX8" fmla="*/ 3593527 w 3648846"/>
              <a:gd name="connsiteY8" fmla="*/ 3538092 h 3649899"/>
              <a:gd name="connsiteX9" fmla="*/ 3648789 w 3648846"/>
              <a:gd name="connsiteY9" fmla="*/ 3593355 h 3649899"/>
              <a:gd name="connsiteX10" fmla="*/ 3593527 w 3648846"/>
              <a:gd name="connsiteY10" fmla="*/ 3648731 h 3649899"/>
              <a:gd name="connsiteX11" fmla="*/ 3366091 w 3648846"/>
              <a:gd name="connsiteY11" fmla="*/ 3572481 h 3649899"/>
              <a:gd name="connsiteX12" fmla="*/ 3035259 w 3648846"/>
              <a:gd name="connsiteY12" fmla="*/ 3572481 h 3649899"/>
              <a:gd name="connsiteX13" fmla="*/ 2580158 w 3648846"/>
              <a:gd name="connsiteY13" fmla="*/ 3572481 h 3649899"/>
              <a:gd name="connsiteX14" fmla="*/ 2249212 w 3648846"/>
              <a:gd name="connsiteY14" fmla="*/ 3572481 h 3649899"/>
              <a:gd name="connsiteX15" fmla="*/ 1793998 w 3648846"/>
              <a:gd name="connsiteY15" fmla="*/ 3572481 h 3649899"/>
              <a:gd name="connsiteX16" fmla="*/ 1463052 w 3648846"/>
              <a:gd name="connsiteY16" fmla="*/ 3572481 h 3649899"/>
              <a:gd name="connsiteX17" fmla="*/ 1007893 w 3648846"/>
              <a:gd name="connsiteY17" fmla="*/ 3572481 h 3649899"/>
              <a:gd name="connsiteX18" fmla="*/ 676548 w 3648846"/>
              <a:gd name="connsiteY18" fmla="*/ 3572481 h 3649899"/>
              <a:gd name="connsiteX19" fmla="*/ 220991 w 3648846"/>
              <a:gd name="connsiteY19" fmla="*/ 3572481 h 3649899"/>
              <a:gd name="connsiteX20" fmla="*/ 55262 w 3648846"/>
              <a:gd name="connsiteY20" fmla="*/ 3515280 h 3649899"/>
              <a:gd name="connsiteX21" fmla="*/ 0 w 3648846"/>
              <a:gd name="connsiteY21" fmla="*/ 3460018 h 3649899"/>
              <a:gd name="connsiteX22" fmla="*/ 55262 w 3648846"/>
              <a:gd name="connsiteY22" fmla="*/ 3404755 h 3649899"/>
              <a:gd name="connsiteX23" fmla="*/ 283040 w 3648846"/>
              <a:gd name="connsiteY23" fmla="*/ 3480948 h 3649899"/>
              <a:gd name="connsiteX24" fmla="*/ 614556 w 3648846"/>
              <a:gd name="connsiteY24" fmla="*/ 3480948 h 3649899"/>
              <a:gd name="connsiteX25" fmla="*/ 842193 w 3648846"/>
              <a:gd name="connsiteY25" fmla="*/ 3403529 h 3649899"/>
              <a:gd name="connsiteX26" fmla="*/ 842214 w 3648846"/>
              <a:gd name="connsiteY26" fmla="*/ 3074466 h 3649899"/>
              <a:gd name="connsiteX27" fmla="*/ 1069999 w 3648846"/>
              <a:gd name="connsiteY27" fmla="*/ 3151885 h 3649899"/>
              <a:gd name="connsiteX28" fmla="*/ 1401003 w 3648846"/>
              <a:gd name="connsiteY28" fmla="*/ 3151885 h 3649899"/>
              <a:gd name="connsiteX29" fmla="*/ 1856103 w 3648846"/>
              <a:gd name="connsiteY29" fmla="*/ 3151885 h 3649899"/>
              <a:gd name="connsiteX30" fmla="*/ 2187106 w 3648846"/>
              <a:gd name="connsiteY30" fmla="*/ 3151885 h 3649899"/>
              <a:gd name="connsiteX31" fmla="*/ 2642207 w 3648846"/>
              <a:gd name="connsiteY31" fmla="*/ 3151885 h 3649899"/>
              <a:gd name="connsiteX32" fmla="*/ 2973153 w 3648846"/>
              <a:gd name="connsiteY32" fmla="*/ 3151885 h 3649899"/>
              <a:gd name="connsiteX33" fmla="*/ 3428196 w 3648846"/>
              <a:gd name="connsiteY33" fmla="*/ 3151885 h 3649899"/>
              <a:gd name="connsiteX34" fmla="*/ 3593584 w 3648846"/>
              <a:gd name="connsiteY34" fmla="*/ 3209029 h 3649899"/>
              <a:gd name="connsiteX35" fmla="*/ 3648846 w 3648846"/>
              <a:gd name="connsiteY35" fmla="*/ 3264291 h 3649899"/>
              <a:gd name="connsiteX36" fmla="*/ 3593527 w 3648846"/>
              <a:gd name="connsiteY36" fmla="*/ 3319554 h 3649899"/>
              <a:gd name="connsiteX37" fmla="*/ 3366091 w 3648846"/>
              <a:gd name="connsiteY37" fmla="*/ 3243361 h 3649899"/>
              <a:gd name="connsiteX38" fmla="*/ 3035259 w 3648846"/>
              <a:gd name="connsiteY38" fmla="*/ 3243361 h 3649899"/>
              <a:gd name="connsiteX39" fmla="*/ 2580158 w 3648846"/>
              <a:gd name="connsiteY39" fmla="*/ 3243361 h 3649899"/>
              <a:gd name="connsiteX40" fmla="*/ 2249212 w 3648846"/>
              <a:gd name="connsiteY40" fmla="*/ 3243361 h 3649899"/>
              <a:gd name="connsiteX41" fmla="*/ 1793998 w 3648846"/>
              <a:gd name="connsiteY41" fmla="*/ 3243361 h 3649899"/>
              <a:gd name="connsiteX42" fmla="*/ 1463052 w 3648846"/>
              <a:gd name="connsiteY42" fmla="*/ 3243361 h 3649899"/>
              <a:gd name="connsiteX43" fmla="*/ 1007893 w 3648846"/>
              <a:gd name="connsiteY43" fmla="*/ 3243361 h 3649899"/>
              <a:gd name="connsiteX44" fmla="*/ 676548 w 3648846"/>
              <a:gd name="connsiteY44" fmla="*/ 3243361 h 3649899"/>
              <a:gd name="connsiteX45" fmla="*/ 220991 w 3648846"/>
              <a:gd name="connsiteY45" fmla="*/ 3243361 h 3649899"/>
              <a:gd name="connsiteX46" fmla="*/ 55262 w 3648846"/>
              <a:gd name="connsiteY46" fmla="*/ 3186217 h 3649899"/>
              <a:gd name="connsiteX47" fmla="*/ 0 w 3648846"/>
              <a:gd name="connsiteY47" fmla="*/ 3130955 h 3649899"/>
              <a:gd name="connsiteX48" fmla="*/ 55262 w 3648846"/>
              <a:gd name="connsiteY48" fmla="*/ 3075692 h 3649899"/>
              <a:gd name="connsiteX49" fmla="*/ 283040 w 3648846"/>
              <a:gd name="connsiteY49" fmla="*/ 3151885 h 3649899"/>
              <a:gd name="connsiteX50" fmla="*/ 614556 w 3648846"/>
              <a:gd name="connsiteY50" fmla="*/ 3151885 h 3649899"/>
              <a:gd name="connsiteX51" fmla="*/ 842214 w 3648846"/>
              <a:gd name="connsiteY51" fmla="*/ 3074466 h 3649899"/>
              <a:gd name="connsiteX52" fmla="*/ 842193 w 3648846"/>
              <a:gd name="connsiteY52" fmla="*/ 2745231 h 3649899"/>
              <a:gd name="connsiteX53" fmla="*/ 1069999 w 3648846"/>
              <a:gd name="connsiteY53" fmla="*/ 2822650 h 3649899"/>
              <a:gd name="connsiteX54" fmla="*/ 1401003 w 3648846"/>
              <a:gd name="connsiteY54" fmla="*/ 2822650 h 3649899"/>
              <a:gd name="connsiteX55" fmla="*/ 1856103 w 3648846"/>
              <a:gd name="connsiteY55" fmla="*/ 2822650 h 3649899"/>
              <a:gd name="connsiteX56" fmla="*/ 2187106 w 3648846"/>
              <a:gd name="connsiteY56" fmla="*/ 2822650 h 3649899"/>
              <a:gd name="connsiteX57" fmla="*/ 2642207 w 3648846"/>
              <a:gd name="connsiteY57" fmla="*/ 2822650 h 3649899"/>
              <a:gd name="connsiteX58" fmla="*/ 2973153 w 3648846"/>
              <a:gd name="connsiteY58" fmla="*/ 2822650 h 3649899"/>
              <a:gd name="connsiteX59" fmla="*/ 3428196 w 3648846"/>
              <a:gd name="connsiteY59" fmla="*/ 2822650 h 3649899"/>
              <a:gd name="connsiteX60" fmla="*/ 3593527 w 3648846"/>
              <a:gd name="connsiteY60" fmla="*/ 2879794 h 3649899"/>
              <a:gd name="connsiteX61" fmla="*/ 3648789 w 3648846"/>
              <a:gd name="connsiteY61" fmla="*/ 2935056 h 3649899"/>
              <a:gd name="connsiteX62" fmla="*/ 3593527 w 3648846"/>
              <a:gd name="connsiteY62" fmla="*/ 2990433 h 3649899"/>
              <a:gd name="connsiteX63" fmla="*/ 3366091 w 3648846"/>
              <a:gd name="connsiteY63" fmla="*/ 2914183 h 3649899"/>
              <a:gd name="connsiteX64" fmla="*/ 3035259 w 3648846"/>
              <a:gd name="connsiteY64" fmla="*/ 2914183 h 3649899"/>
              <a:gd name="connsiteX65" fmla="*/ 2580158 w 3648846"/>
              <a:gd name="connsiteY65" fmla="*/ 2914183 h 3649899"/>
              <a:gd name="connsiteX66" fmla="*/ 2249212 w 3648846"/>
              <a:gd name="connsiteY66" fmla="*/ 2914183 h 3649899"/>
              <a:gd name="connsiteX67" fmla="*/ 1793998 w 3648846"/>
              <a:gd name="connsiteY67" fmla="*/ 2914183 h 3649899"/>
              <a:gd name="connsiteX68" fmla="*/ 1463052 w 3648846"/>
              <a:gd name="connsiteY68" fmla="*/ 2914183 h 3649899"/>
              <a:gd name="connsiteX69" fmla="*/ 1007893 w 3648846"/>
              <a:gd name="connsiteY69" fmla="*/ 2914183 h 3649899"/>
              <a:gd name="connsiteX70" fmla="*/ 676548 w 3648846"/>
              <a:gd name="connsiteY70" fmla="*/ 2914183 h 3649899"/>
              <a:gd name="connsiteX71" fmla="*/ 220991 w 3648846"/>
              <a:gd name="connsiteY71" fmla="*/ 2914183 h 3649899"/>
              <a:gd name="connsiteX72" fmla="*/ 55262 w 3648846"/>
              <a:gd name="connsiteY72" fmla="*/ 2856982 h 3649899"/>
              <a:gd name="connsiteX73" fmla="*/ 0 w 3648846"/>
              <a:gd name="connsiteY73" fmla="*/ 2801720 h 3649899"/>
              <a:gd name="connsiteX74" fmla="*/ 55262 w 3648846"/>
              <a:gd name="connsiteY74" fmla="*/ 2746457 h 3649899"/>
              <a:gd name="connsiteX75" fmla="*/ 283040 w 3648846"/>
              <a:gd name="connsiteY75" fmla="*/ 2822650 h 3649899"/>
              <a:gd name="connsiteX76" fmla="*/ 614556 w 3648846"/>
              <a:gd name="connsiteY76" fmla="*/ 2822650 h 3649899"/>
              <a:gd name="connsiteX77" fmla="*/ 842193 w 3648846"/>
              <a:gd name="connsiteY77" fmla="*/ 2745231 h 3649899"/>
              <a:gd name="connsiteX78" fmla="*/ 1884447 w 3648846"/>
              <a:gd name="connsiteY78" fmla="*/ 1301941 h 3649899"/>
              <a:gd name="connsiteX79" fmla="*/ 3110652 w 3648846"/>
              <a:gd name="connsiteY79" fmla="*/ 1983109 h 3649899"/>
              <a:gd name="connsiteX80" fmla="*/ 2805483 w 3648846"/>
              <a:gd name="connsiteY80" fmla="*/ 2769270 h 3649899"/>
              <a:gd name="connsiteX81" fmla="*/ 2704312 w 3648846"/>
              <a:gd name="connsiteY81" fmla="*/ 2731117 h 3649899"/>
              <a:gd name="connsiteX82" fmla="*/ 2124943 w 3648846"/>
              <a:gd name="connsiteY82" fmla="*/ 2731117 h 3649899"/>
              <a:gd name="connsiteX83" fmla="*/ 2021547 w 3648846"/>
              <a:gd name="connsiteY83" fmla="*/ 2769270 h 3649899"/>
              <a:gd name="connsiteX84" fmla="*/ 1918151 w 3648846"/>
              <a:gd name="connsiteY84" fmla="*/ 2731117 h 3649899"/>
              <a:gd name="connsiteX85" fmla="*/ 1881139 w 3648846"/>
              <a:gd name="connsiteY85" fmla="*/ 2706765 h 3649899"/>
              <a:gd name="connsiteX86" fmla="*/ 1884447 w 3648846"/>
              <a:gd name="connsiteY86" fmla="*/ 1301941 h 3649899"/>
              <a:gd name="connsiteX87" fmla="*/ 1768276 w 3648846"/>
              <a:gd name="connsiteY87" fmla="*/ 1298690 h 3649899"/>
              <a:gd name="connsiteX88" fmla="*/ 1769416 w 3648846"/>
              <a:gd name="connsiteY88" fmla="*/ 2655381 h 3649899"/>
              <a:gd name="connsiteX89" fmla="*/ 1338725 w 3648846"/>
              <a:gd name="connsiteY89" fmla="*/ 2731117 h 3649899"/>
              <a:gd name="connsiteX90" fmla="*/ 1235329 w 3648846"/>
              <a:gd name="connsiteY90" fmla="*/ 2769270 h 3649899"/>
              <a:gd name="connsiteX91" fmla="*/ 1131933 w 3648846"/>
              <a:gd name="connsiteY91" fmla="*/ 2731117 h 3649899"/>
              <a:gd name="connsiteX92" fmla="*/ 842220 w 3648846"/>
              <a:gd name="connsiteY92" fmla="*/ 2636047 h 3649899"/>
              <a:gd name="connsiteX93" fmla="*/ 791920 w 3648846"/>
              <a:gd name="connsiteY93" fmla="*/ 2638272 h 3649899"/>
              <a:gd name="connsiteX94" fmla="*/ 534315 w 3648846"/>
              <a:gd name="connsiteY94" fmla="*/ 1974270 h 3649899"/>
              <a:gd name="connsiteX95" fmla="*/ 1886442 w 3648846"/>
              <a:gd name="connsiteY95" fmla="*/ 794715 h 3649899"/>
              <a:gd name="connsiteX96" fmla="*/ 3233893 w 3648846"/>
              <a:gd name="connsiteY96" fmla="*/ 1533598 h 3649899"/>
              <a:gd name="connsiteX97" fmla="*/ 3258759 w 3648846"/>
              <a:gd name="connsiteY97" fmla="*/ 1602148 h 3649899"/>
              <a:gd name="connsiteX98" fmla="*/ 3151257 w 3648846"/>
              <a:gd name="connsiteY98" fmla="*/ 1879087 h 3649899"/>
              <a:gd name="connsiteX99" fmla="*/ 1885074 w 3648846"/>
              <a:gd name="connsiteY99" fmla="*/ 1175506 h 3649899"/>
              <a:gd name="connsiteX100" fmla="*/ 1775918 w 3648846"/>
              <a:gd name="connsiteY100" fmla="*/ 787586 h 3649899"/>
              <a:gd name="connsiteX101" fmla="*/ 1775861 w 3648846"/>
              <a:gd name="connsiteY101" fmla="*/ 798307 h 3649899"/>
              <a:gd name="connsiteX102" fmla="*/ 1768561 w 3648846"/>
              <a:gd name="connsiteY102" fmla="*/ 1172483 h 3649899"/>
              <a:gd name="connsiteX103" fmla="*/ 493937 w 3648846"/>
              <a:gd name="connsiteY103" fmla="*/ 1870076 h 3649899"/>
              <a:gd name="connsiteX104" fmla="*/ 390028 w 3648846"/>
              <a:gd name="connsiteY104" fmla="*/ 1602148 h 3649899"/>
              <a:gd name="connsiteX105" fmla="*/ 414893 w 3648846"/>
              <a:gd name="connsiteY105" fmla="*/ 1533598 h 3649899"/>
              <a:gd name="connsiteX106" fmla="*/ 1501262 w 3648846"/>
              <a:gd name="connsiteY106" fmla="*/ 0 h 3649899"/>
              <a:gd name="connsiteX107" fmla="*/ 2147014 w 3648846"/>
              <a:gd name="connsiteY107" fmla="*/ 0 h 3649899"/>
              <a:gd name="connsiteX108" fmla="*/ 2202276 w 3648846"/>
              <a:gd name="connsiteY108" fmla="*/ 55262 h 3649899"/>
              <a:gd name="connsiteX109" fmla="*/ 2202276 w 3648846"/>
              <a:gd name="connsiteY109" fmla="*/ 430121 h 3649899"/>
              <a:gd name="connsiteX110" fmla="*/ 2777254 w 3648846"/>
              <a:gd name="connsiteY110" fmla="*/ 430121 h 3649899"/>
              <a:gd name="connsiteX111" fmla="*/ 2832516 w 3648846"/>
              <a:gd name="connsiteY111" fmla="*/ 485383 h 3649899"/>
              <a:gd name="connsiteX112" fmla="*/ 2832516 w 3648846"/>
              <a:gd name="connsiteY112" fmla="*/ 1187481 h 3649899"/>
              <a:gd name="connsiteX113" fmla="*/ 1903723 w 3648846"/>
              <a:gd name="connsiteY113" fmla="*/ 678316 h 3649899"/>
              <a:gd name="connsiteX114" fmla="*/ 1824109 w 3648846"/>
              <a:gd name="connsiteY114" fmla="*/ 657842 h 3649899"/>
              <a:gd name="connsiteX115" fmla="*/ 1742271 w 3648846"/>
              <a:gd name="connsiteY115" fmla="*/ 679400 h 3649899"/>
              <a:gd name="connsiteX116" fmla="*/ 1727329 w 3648846"/>
              <a:gd name="connsiteY116" fmla="*/ 687156 h 3649899"/>
              <a:gd name="connsiteX117" fmla="*/ 1725675 w 3648846"/>
              <a:gd name="connsiteY117" fmla="*/ 688810 h 3649899"/>
              <a:gd name="connsiteX118" fmla="*/ 816215 w 3648846"/>
              <a:gd name="connsiteY118" fmla="*/ 1187481 h 3649899"/>
              <a:gd name="connsiteX119" fmla="*/ 816215 w 3648846"/>
              <a:gd name="connsiteY119" fmla="*/ 485383 h 3649899"/>
              <a:gd name="connsiteX120" fmla="*/ 871477 w 3648846"/>
              <a:gd name="connsiteY120" fmla="*/ 430121 h 3649899"/>
              <a:gd name="connsiteX121" fmla="*/ 1445885 w 3648846"/>
              <a:gd name="connsiteY121" fmla="*/ 430121 h 3649899"/>
              <a:gd name="connsiteX122" fmla="*/ 1445885 w 3648846"/>
              <a:gd name="connsiteY122" fmla="*/ 55262 h 3649899"/>
              <a:gd name="connsiteX123" fmla="*/ 1501262 w 3648846"/>
              <a:gd name="connsiteY123" fmla="*/ 0 h 36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3648846" h="3649899">
                <a:moveTo>
                  <a:pt x="842193" y="3403529"/>
                </a:moveTo>
                <a:cubicBezTo>
                  <a:pt x="918000" y="3403500"/>
                  <a:pt x="993836" y="3429278"/>
                  <a:pt x="1069999" y="3480948"/>
                </a:cubicBezTo>
                <a:cubicBezTo>
                  <a:pt x="1184574" y="3558680"/>
                  <a:pt x="1286258" y="3558851"/>
                  <a:pt x="1401003" y="3480948"/>
                </a:cubicBezTo>
                <a:cubicBezTo>
                  <a:pt x="1551163" y="3378920"/>
                  <a:pt x="1702293" y="3376582"/>
                  <a:pt x="1856103" y="3480948"/>
                </a:cubicBezTo>
                <a:cubicBezTo>
                  <a:pt x="1970677" y="3558737"/>
                  <a:pt x="2072419" y="3558794"/>
                  <a:pt x="2187106" y="3480948"/>
                </a:cubicBezTo>
                <a:cubicBezTo>
                  <a:pt x="2336639" y="3379433"/>
                  <a:pt x="2487883" y="3376126"/>
                  <a:pt x="2642207" y="3480948"/>
                </a:cubicBezTo>
                <a:cubicBezTo>
                  <a:pt x="2756780" y="3558737"/>
                  <a:pt x="2858408" y="3558794"/>
                  <a:pt x="2973153" y="3480948"/>
                </a:cubicBezTo>
                <a:cubicBezTo>
                  <a:pt x="3122686" y="3379433"/>
                  <a:pt x="3273873" y="3376126"/>
                  <a:pt x="3428196" y="3480948"/>
                </a:cubicBezTo>
                <a:cubicBezTo>
                  <a:pt x="3475189" y="3512885"/>
                  <a:pt x="3512316" y="3538092"/>
                  <a:pt x="3593527" y="3538092"/>
                </a:cubicBezTo>
                <a:cubicBezTo>
                  <a:pt x="3624038" y="3538092"/>
                  <a:pt x="3648789" y="3562843"/>
                  <a:pt x="3648789" y="3593355"/>
                </a:cubicBezTo>
                <a:cubicBezTo>
                  <a:pt x="3648789" y="3623866"/>
                  <a:pt x="3624095" y="3648731"/>
                  <a:pt x="3593527" y="3648731"/>
                </a:cubicBezTo>
                <a:cubicBezTo>
                  <a:pt x="3478326" y="3648731"/>
                  <a:pt x="3418672" y="3608239"/>
                  <a:pt x="3366091" y="3572481"/>
                </a:cubicBezTo>
                <a:cubicBezTo>
                  <a:pt x="3251574" y="3494692"/>
                  <a:pt x="3149946" y="3494635"/>
                  <a:pt x="3035259" y="3572481"/>
                </a:cubicBezTo>
                <a:cubicBezTo>
                  <a:pt x="2885726" y="3673995"/>
                  <a:pt x="2734482" y="3677303"/>
                  <a:pt x="2580158" y="3572481"/>
                </a:cubicBezTo>
                <a:cubicBezTo>
                  <a:pt x="2465528" y="3494692"/>
                  <a:pt x="2363957" y="3494635"/>
                  <a:pt x="2249212" y="3572481"/>
                </a:cubicBezTo>
                <a:cubicBezTo>
                  <a:pt x="2099337" y="3674223"/>
                  <a:pt x="1948150" y="3677075"/>
                  <a:pt x="1793998" y="3572481"/>
                </a:cubicBezTo>
                <a:cubicBezTo>
                  <a:pt x="1679424" y="3494749"/>
                  <a:pt x="1577739" y="3494578"/>
                  <a:pt x="1463052" y="3572481"/>
                </a:cubicBezTo>
                <a:cubicBezTo>
                  <a:pt x="1312606" y="3674679"/>
                  <a:pt x="1161419" y="3676676"/>
                  <a:pt x="1007893" y="3572481"/>
                </a:cubicBezTo>
                <a:cubicBezTo>
                  <a:pt x="893149" y="3494635"/>
                  <a:pt x="791464" y="3494635"/>
                  <a:pt x="676548" y="3572481"/>
                </a:cubicBezTo>
                <a:cubicBezTo>
                  <a:pt x="524335" y="3675649"/>
                  <a:pt x="373376" y="3675763"/>
                  <a:pt x="220991" y="3572481"/>
                </a:cubicBezTo>
                <a:cubicBezTo>
                  <a:pt x="173884" y="3540545"/>
                  <a:pt x="136644" y="3515280"/>
                  <a:pt x="55262" y="3515280"/>
                </a:cubicBezTo>
                <a:cubicBezTo>
                  <a:pt x="24751" y="3515280"/>
                  <a:pt x="0" y="3490529"/>
                  <a:pt x="0" y="3460018"/>
                </a:cubicBezTo>
                <a:cubicBezTo>
                  <a:pt x="0" y="3429506"/>
                  <a:pt x="24751" y="3404755"/>
                  <a:pt x="55262" y="3404755"/>
                </a:cubicBezTo>
                <a:cubicBezTo>
                  <a:pt x="170634" y="3404755"/>
                  <a:pt x="230344" y="3445247"/>
                  <a:pt x="283040" y="3480948"/>
                </a:cubicBezTo>
                <a:cubicBezTo>
                  <a:pt x="397956" y="3558794"/>
                  <a:pt x="499641" y="3558794"/>
                  <a:pt x="614556" y="3480948"/>
                </a:cubicBezTo>
                <a:cubicBezTo>
                  <a:pt x="690606" y="3429393"/>
                  <a:pt x="766385" y="3403558"/>
                  <a:pt x="842193" y="3403529"/>
                </a:cubicBezTo>
                <a:close/>
                <a:moveTo>
                  <a:pt x="842214" y="3074466"/>
                </a:moveTo>
                <a:cubicBezTo>
                  <a:pt x="918000" y="3074452"/>
                  <a:pt x="993807" y="3100244"/>
                  <a:pt x="1069999" y="3151885"/>
                </a:cubicBezTo>
                <a:cubicBezTo>
                  <a:pt x="1184574" y="3229617"/>
                  <a:pt x="1286258" y="3229731"/>
                  <a:pt x="1401003" y="3151885"/>
                </a:cubicBezTo>
                <a:cubicBezTo>
                  <a:pt x="1550536" y="3050313"/>
                  <a:pt x="1701666" y="3047120"/>
                  <a:pt x="1856103" y="3151885"/>
                </a:cubicBezTo>
                <a:cubicBezTo>
                  <a:pt x="1970677" y="3229674"/>
                  <a:pt x="2072419" y="3229731"/>
                  <a:pt x="2187106" y="3151885"/>
                </a:cubicBezTo>
                <a:cubicBezTo>
                  <a:pt x="2339149" y="3048717"/>
                  <a:pt x="2489994" y="3048603"/>
                  <a:pt x="2642207" y="3151885"/>
                </a:cubicBezTo>
                <a:cubicBezTo>
                  <a:pt x="2756780" y="3229674"/>
                  <a:pt x="2858408" y="3229731"/>
                  <a:pt x="2973153" y="3151885"/>
                </a:cubicBezTo>
                <a:cubicBezTo>
                  <a:pt x="3125081" y="3048774"/>
                  <a:pt x="3276040" y="3048546"/>
                  <a:pt x="3428196" y="3151885"/>
                </a:cubicBezTo>
                <a:cubicBezTo>
                  <a:pt x="3475246" y="3183765"/>
                  <a:pt x="3512373" y="3209029"/>
                  <a:pt x="3593584" y="3209029"/>
                </a:cubicBezTo>
                <a:cubicBezTo>
                  <a:pt x="3624095" y="3209029"/>
                  <a:pt x="3648846" y="3233780"/>
                  <a:pt x="3648846" y="3264291"/>
                </a:cubicBezTo>
                <a:cubicBezTo>
                  <a:pt x="3648846" y="3294802"/>
                  <a:pt x="3624095" y="3319554"/>
                  <a:pt x="3593527" y="3319554"/>
                </a:cubicBezTo>
                <a:cubicBezTo>
                  <a:pt x="3478326" y="3319554"/>
                  <a:pt x="3418672" y="3279062"/>
                  <a:pt x="3366091" y="3243361"/>
                </a:cubicBezTo>
                <a:cubicBezTo>
                  <a:pt x="3251574" y="3165572"/>
                  <a:pt x="3149946" y="3165515"/>
                  <a:pt x="3035259" y="3243361"/>
                </a:cubicBezTo>
                <a:cubicBezTo>
                  <a:pt x="2883216" y="3346529"/>
                  <a:pt x="2732372" y="3346643"/>
                  <a:pt x="2580158" y="3243361"/>
                </a:cubicBezTo>
                <a:cubicBezTo>
                  <a:pt x="2465528" y="3165572"/>
                  <a:pt x="2363957" y="3165515"/>
                  <a:pt x="2249212" y="3243361"/>
                </a:cubicBezTo>
                <a:cubicBezTo>
                  <a:pt x="2097170" y="3346529"/>
                  <a:pt x="1946325" y="3346643"/>
                  <a:pt x="1793998" y="3243361"/>
                </a:cubicBezTo>
                <a:cubicBezTo>
                  <a:pt x="1679424" y="3165629"/>
                  <a:pt x="1577739" y="3165458"/>
                  <a:pt x="1463052" y="3243361"/>
                </a:cubicBezTo>
                <a:cubicBezTo>
                  <a:pt x="1313120" y="3345103"/>
                  <a:pt x="1162104" y="3347898"/>
                  <a:pt x="1007893" y="3243361"/>
                </a:cubicBezTo>
                <a:cubicBezTo>
                  <a:pt x="893320" y="3165572"/>
                  <a:pt x="791407" y="3165515"/>
                  <a:pt x="676548" y="3243361"/>
                </a:cubicBezTo>
                <a:cubicBezTo>
                  <a:pt x="524335" y="3346529"/>
                  <a:pt x="373376" y="3346643"/>
                  <a:pt x="220991" y="3243361"/>
                </a:cubicBezTo>
                <a:cubicBezTo>
                  <a:pt x="173884" y="3211425"/>
                  <a:pt x="136644" y="3186217"/>
                  <a:pt x="55262" y="3186217"/>
                </a:cubicBezTo>
                <a:cubicBezTo>
                  <a:pt x="24751" y="3186217"/>
                  <a:pt x="0" y="3161466"/>
                  <a:pt x="0" y="3130955"/>
                </a:cubicBezTo>
                <a:cubicBezTo>
                  <a:pt x="0" y="3100443"/>
                  <a:pt x="24751" y="3075692"/>
                  <a:pt x="55262" y="3075692"/>
                </a:cubicBezTo>
                <a:cubicBezTo>
                  <a:pt x="170634" y="3075692"/>
                  <a:pt x="230344" y="3116184"/>
                  <a:pt x="283040" y="3151885"/>
                </a:cubicBezTo>
                <a:cubicBezTo>
                  <a:pt x="397785" y="3229674"/>
                  <a:pt x="499698" y="3229731"/>
                  <a:pt x="614556" y="3151885"/>
                </a:cubicBezTo>
                <a:cubicBezTo>
                  <a:pt x="690663" y="3100301"/>
                  <a:pt x="766428" y="3074481"/>
                  <a:pt x="842214" y="3074466"/>
                </a:cubicBezTo>
                <a:close/>
                <a:moveTo>
                  <a:pt x="842193" y="2745231"/>
                </a:moveTo>
                <a:cubicBezTo>
                  <a:pt x="918000" y="2745202"/>
                  <a:pt x="993836" y="2770980"/>
                  <a:pt x="1069999" y="2822650"/>
                </a:cubicBezTo>
                <a:cubicBezTo>
                  <a:pt x="1184574" y="2900382"/>
                  <a:pt x="1286258" y="2900553"/>
                  <a:pt x="1401003" y="2822650"/>
                </a:cubicBezTo>
                <a:cubicBezTo>
                  <a:pt x="1551163" y="2720622"/>
                  <a:pt x="1702293" y="2718284"/>
                  <a:pt x="1856103" y="2822650"/>
                </a:cubicBezTo>
                <a:cubicBezTo>
                  <a:pt x="1970677" y="2900439"/>
                  <a:pt x="2072419" y="2900496"/>
                  <a:pt x="2187106" y="2822650"/>
                </a:cubicBezTo>
                <a:cubicBezTo>
                  <a:pt x="2336639" y="2721135"/>
                  <a:pt x="2487883" y="2717828"/>
                  <a:pt x="2642207" y="2822650"/>
                </a:cubicBezTo>
                <a:cubicBezTo>
                  <a:pt x="2756780" y="2900439"/>
                  <a:pt x="2858408" y="2900496"/>
                  <a:pt x="2973153" y="2822650"/>
                </a:cubicBezTo>
                <a:cubicBezTo>
                  <a:pt x="3122686" y="2721135"/>
                  <a:pt x="3273873" y="2717828"/>
                  <a:pt x="3428196" y="2822650"/>
                </a:cubicBezTo>
                <a:cubicBezTo>
                  <a:pt x="3475189" y="2854587"/>
                  <a:pt x="3512316" y="2879794"/>
                  <a:pt x="3593527" y="2879794"/>
                </a:cubicBezTo>
                <a:cubicBezTo>
                  <a:pt x="3624038" y="2879794"/>
                  <a:pt x="3648789" y="2904545"/>
                  <a:pt x="3648789" y="2935056"/>
                </a:cubicBezTo>
                <a:cubicBezTo>
                  <a:pt x="3648846" y="2965682"/>
                  <a:pt x="3624095" y="2990433"/>
                  <a:pt x="3593527" y="2990433"/>
                </a:cubicBezTo>
                <a:cubicBezTo>
                  <a:pt x="3478326" y="2990433"/>
                  <a:pt x="3418672" y="2949941"/>
                  <a:pt x="3366091" y="2914183"/>
                </a:cubicBezTo>
                <a:cubicBezTo>
                  <a:pt x="3251574" y="2836394"/>
                  <a:pt x="3149946" y="2836337"/>
                  <a:pt x="3035259" y="2914183"/>
                </a:cubicBezTo>
                <a:cubicBezTo>
                  <a:pt x="2885726" y="3015697"/>
                  <a:pt x="2734482" y="3019005"/>
                  <a:pt x="2580158" y="2914183"/>
                </a:cubicBezTo>
                <a:cubicBezTo>
                  <a:pt x="2465528" y="2836394"/>
                  <a:pt x="2363957" y="2836337"/>
                  <a:pt x="2249212" y="2914183"/>
                </a:cubicBezTo>
                <a:cubicBezTo>
                  <a:pt x="2099337" y="3015925"/>
                  <a:pt x="1948150" y="3018777"/>
                  <a:pt x="1793998" y="2914183"/>
                </a:cubicBezTo>
                <a:cubicBezTo>
                  <a:pt x="1679424" y="2836451"/>
                  <a:pt x="1577739" y="2836280"/>
                  <a:pt x="1463052" y="2914183"/>
                </a:cubicBezTo>
                <a:cubicBezTo>
                  <a:pt x="1312606" y="3016381"/>
                  <a:pt x="1161419" y="3018377"/>
                  <a:pt x="1007893" y="2914183"/>
                </a:cubicBezTo>
                <a:cubicBezTo>
                  <a:pt x="893149" y="2836337"/>
                  <a:pt x="791464" y="2836337"/>
                  <a:pt x="676548" y="2914183"/>
                </a:cubicBezTo>
                <a:cubicBezTo>
                  <a:pt x="524335" y="3017351"/>
                  <a:pt x="373376" y="3017465"/>
                  <a:pt x="220991" y="2914183"/>
                </a:cubicBezTo>
                <a:cubicBezTo>
                  <a:pt x="173884" y="2882247"/>
                  <a:pt x="136644" y="2856982"/>
                  <a:pt x="55262" y="2856982"/>
                </a:cubicBezTo>
                <a:cubicBezTo>
                  <a:pt x="24751" y="2856982"/>
                  <a:pt x="0" y="2832231"/>
                  <a:pt x="0" y="2801720"/>
                </a:cubicBezTo>
                <a:cubicBezTo>
                  <a:pt x="0" y="2771208"/>
                  <a:pt x="24751" y="2746457"/>
                  <a:pt x="55262" y="2746457"/>
                </a:cubicBezTo>
                <a:cubicBezTo>
                  <a:pt x="170634" y="2746457"/>
                  <a:pt x="230344" y="2786949"/>
                  <a:pt x="283040" y="2822650"/>
                </a:cubicBezTo>
                <a:cubicBezTo>
                  <a:pt x="397956" y="2900496"/>
                  <a:pt x="499641" y="2900496"/>
                  <a:pt x="614556" y="2822650"/>
                </a:cubicBezTo>
                <a:cubicBezTo>
                  <a:pt x="690606" y="2771094"/>
                  <a:pt x="766385" y="2745260"/>
                  <a:pt x="842193" y="2745231"/>
                </a:cubicBezTo>
                <a:close/>
                <a:moveTo>
                  <a:pt x="1884447" y="1301941"/>
                </a:moveTo>
                <a:lnTo>
                  <a:pt x="3110652" y="1983109"/>
                </a:lnTo>
                <a:lnTo>
                  <a:pt x="2805483" y="2769270"/>
                </a:lnTo>
                <a:cubicBezTo>
                  <a:pt x="2759574" y="2768700"/>
                  <a:pt x="2745773" y="2759290"/>
                  <a:pt x="2704312" y="2731117"/>
                </a:cubicBezTo>
                <a:cubicBezTo>
                  <a:pt x="2516169" y="2602742"/>
                  <a:pt x="2313256" y="2602628"/>
                  <a:pt x="2124943" y="2731117"/>
                </a:cubicBezTo>
                <a:cubicBezTo>
                  <a:pt x="2082911" y="2759860"/>
                  <a:pt x="2069110" y="2769270"/>
                  <a:pt x="2021547" y="2769270"/>
                </a:cubicBezTo>
                <a:cubicBezTo>
                  <a:pt x="1974554" y="2769270"/>
                  <a:pt x="1960182" y="2759860"/>
                  <a:pt x="1918151" y="2731117"/>
                </a:cubicBezTo>
                <a:cubicBezTo>
                  <a:pt x="1906517" y="2723361"/>
                  <a:pt x="1894370" y="2715091"/>
                  <a:pt x="1881139" y="2706765"/>
                </a:cubicBezTo>
                <a:cubicBezTo>
                  <a:pt x="1878401" y="2508300"/>
                  <a:pt x="1869505" y="2110800"/>
                  <a:pt x="1884447" y="1301941"/>
                </a:cubicBezTo>
                <a:close/>
                <a:moveTo>
                  <a:pt x="1768276" y="1298690"/>
                </a:moveTo>
                <a:cubicBezTo>
                  <a:pt x="1782134" y="2053884"/>
                  <a:pt x="1774378" y="2446365"/>
                  <a:pt x="1769416" y="2655381"/>
                </a:cubicBezTo>
                <a:cubicBezTo>
                  <a:pt x="1639102" y="2616828"/>
                  <a:pt x="1488885" y="2628690"/>
                  <a:pt x="1338725" y="2731117"/>
                </a:cubicBezTo>
                <a:cubicBezTo>
                  <a:pt x="1296693" y="2759860"/>
                  <a:pt x="1282892" y="2769270"/>
                  <a:pt x="1235329" y="2769270"/>
                </a:cubicBezTo>
                <a:cubicBezTo>
                  <a:pt x="1188336" y="2769270"/>
                  <a:pt x="1173965" y="2759860"/>
                  <a:pt x="1131933" y="2731117"/>
                </a:cubicBezTo>
                <a:cubicBezTo>
                  <a:pt x="1072793" y="2690739"/>
                  <a:pt x="991525" y="2636047"/>
                  <a:pt x="842220" y="2636047"/>
                </a:cubicBezTo>
                <a:cubicBezTo>
                  <a:pt x="824541" y="2636047"/>
                  <a:pt x="807945" y="2636618"/>
                  <a:pt x="791920" y="2638272"/>
                </a:cubicBezTo>
                <a:lnTo>
                  <a:pt x="534315" y="1974270"/>
                </a:lnTo>
                <a:close/>
                <a:moveTo>
                  <a:pt x="1886442" y="794715"/>
                </a:moveTo>
                <a:lnTo>
                  <a:pt x="3233893" y="1533598"/>
                </a:lnTo>
                <a:cubicBezTo>
                  <a:pt x="3258188" y="1546886"/>
                  <a:pt x="3268682" y="1576142"/>
                  <a:pt x="3258759" y="1602148"/>
                </a:cubicBezTo>
                <a:lnTo>
                  <a:pt x="3151257" y="1879087"/>
                </a:lnTo>
                <a:lnTo>
                  <a:pt x="1885074" y="1175506"/>
                </a:lnTo>
                <a:close/>
                <a:moveTo>
                  <a:pt x="1775918" y="787586"/>
                </a:moveTo>
                <a:lnTo>
                  <a:pt x="1775861" y="798307"/>
                </a:lnTo>
                <a:cubicBezTo>
                  <a:pt x="1762116" y="823629"/>
                  <a:pt x="1771584" y="807660"/>
                  <a:pt x="1768561" y="1172483"/>
                </a:cubicBezTo>
                <a:lnTo>
                  <a:pt x="493937" y="1870076"/>
                </a:lnTo>
                <a:lnTo>
                  <a:pt x="390028" y="1602148"/>
                </a:lnTo>
                <a:cubicBezTo>
                  <a:pt x="380048" y="1576142"/>
                  <a:pt x="390542" y="1546886"/>
                  <a:pt x="414893" y="1533598"/>
                </a:cubicBezTo>
                <a:close/>
                <a:moveTo>
                  <a:pt x="1501262" y="0"/>
                </a:moveTo>
                <a:lnTo>
                  <a:pt x="2147014" y="0"/>
                </a:lnTo>
                <a:cubicBezTo>
                  <a:pt x="2177411" y="0"/>
                  <a:pt x="2202276" y="24865"/>
                  <a:pt x="2202276" y="55262"/>
                </a:cubicBezTo>
                <a:lnTo>
                  <a:pt x="2202276" y="430121"/>
                </a:lnTo>
                <a:lnTo>
                  <a:pt x="2777254" y="430121"/>
                </a:lnTo>
                <a:cubicBezTo>
                  <a:pt x="2807651" y="430121"/>
                  <a:pt x="2832516" y="454986"/>
                  <a:pt x="2832516" y="485383"/>
                </a:cubicBezTo>
                <a:lnTo>
                  <a:pt x="2832516" y="1187481"/>
                </a:lnTo>
                <a:lnTo>
                  <a:pt x="1903723" y="678316"/>
                </a:lnTo>
                <a:cubicBezTo>
                  <a:pt x="1879372" y="665028"/>
                  <a:pt x="1852282" y="657842"/>
                  <a:pt x="1824109" y="657842"/>
                </a:cubicBezTo>
                <a:cubicBezTo>
                  <a:pt x="1795366" y="657842"/>
                  <a:pt x="1767193" y="665028"/>
                  <a:pt x="1742271" y="679400"/>
                </a:cubicBezTo>
                <a:lnTo>
                  <a:pt x="1727329" y="687156"/>
                </a:lnTo>
                <a:lnTo>
                  <a:pt x="1725675" y="688810"/>
                </a:lnTo>
                <a:lnTo>
                  <a:pt x="816215" y="1187481"/>
                </a:lnTo>
                <a:lnTo>
                  <a:pt x="816215" y="485383"/>
                </a:lnTo>
                <a:cubicBezTo>
                  <a:pt x="816215" y="454986"/>
                  <a:pt x="841080" y="430121"/>
                  <a:pt x="871477" y="430121"/>
                </a:cubicBezTo>
                <a:lnTo>
                  <a:pt x="1445885" y="430121"/>
                </a:lnTo>
                <a:lnTo>
                  <a:pt x="1445885" y="55262"/>
                </a:lnTo>
                <a:cubicBezTo>
                  <a:pt x="1445999" y="24865"/>
                  <a:pt x="1470865" y="0"/>
                  <a:pt x="1501262" y="0"/>
                </a:cubicBezTo>
                <a:close/>
              </a:path>
            </a:pathLst>
          </a:custGeom>
          <a:solidFill>
            <a:schemeClr val="accent6"/>
          </a:solidFill>
          <a:ln w="0">
            <a:noFill/>
            <a:prstDash val="solid"/>
            <a:round/>
            <a:headEnd/>
            <a:tailEnd/>
          </a:ln>
        </p:spPr>
        <p:txBody>
          <a:bodyPr rtlCol="0" anchor="ctr"/>
          <a:lstStyle/>
          <a:p>
            <a:endParaRPr lang="en-US" sz="1350"/>
          </a:p>
        </p:txBody>
      </p:sp>
      <p:pic>
        <p:nvPicPr>
          <p:cNvPr id="190" name="Graphic 233">
            <a:extLst>
              <a:ext uri="{FF2B5EF4-FFF2-40B4-BE49-F238E27FC236}">
                <a16:creationId xmlns:a16="http://schemas.microsoft.com/office/drawing/2014/main" id="{B7B35017-13FA-8CCF-4A86-A6FE72CD5BAC}"/>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5116371" y="3755422"/>
            <a:ext cx="157163" cy="157623"/>
          </a:xfrm>
          <a:prstGeom prst="rect">
            <a:avLst/>
          </a:prstGeom>
        </p:spPr>
      </p:pic>
      <p:cxnSp>
        <p:nvCxnSpPr>
          <p:cNvPr id="191" name="Connector: Elbow 234">
            <a:extLst>
              <a:ext uri="{FF2B5EF4-FFF2-40B4-BE49-F238E27FC236}">
                <a16:creationId xmlns:a16="http://schemas.microsoft.com/office/drawing/2014/main" id="{E03A5F6B-07CA-DCCD-8211-5119C79F0415}"/>
              </a:ext>
            </a:extLst>
          </p:cNvPr>
          <p:cNvCxnSpPr>
            <a:cxnSpLocks/>
            <a:stCxn id="187" idx="0"/>
          </p:cNvCxnSpPr>
          <p:nvPr/>
        </p:nvCxnSpPr>
        <p:spPr>
          <a:xfrm rot="5400000" flipH="1" flipV="1">
            <a:off x="4850441" y="3628164"/>
            <a:ext cx="190518" cy="0"/>
          </a:xfrm>
          <a:prstGeom prst="bentConnector3">
            <a:avLst>
              <a:gd name="adj1" fmla="val 50000"/>
            </a:avLst>
          </a:prstGeom>
          <a:ln w="6350">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2" name="Rechteck 12">
            <a:extLst>
              <a:ext uri="{FF2B5EF4-FFF2-40B4-BE49-F238E27FC236}">
                <a16:creationId xmlns:a16="http://schemas.microsoft.com/office/drawing/2014/main" id="{D66759CC-1FFC-8B38-ED87-62ED5C483E0B}"/>
              </a:ext>
            </a:extLst>
          </p:cNvPr>
          <p:cNvSpPr/>
          <p:nvPr/>
        </p:nvSpPr>
        <p:spPr>
          <a:xfrm>
            <a:off x="220345" y="1561643"/>
            <a:ext cx="1257544" cy="851484"/>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193" name="RBContent12">
            <a:extLst>
              <a:ext uri="{FF2B5EF4-FFF2-40B4-BE49-F238E27FC236}">
                <a16:creationId xmlns:a16="http://schemas.microsoft.com/office/drawing/2014/main" id="{62531456-AD19-5516-32FE-1836CCC6E924}"/>
              </a:ext>
            </a:extLst>
          </p:cNvPr>
          <p:cNvSpPr txBox="1">
            <a:spLocks/>
          </p:cNvSpPr>
          <p:nvPr/>
        </p:nvSpPr>
        <p:spPr>
          <a:xfrm>
            <a:off x="279199" y="1782363"/>
            <a:ext cx="1188000" cy="572464"/>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900" b="1">
                <a:sym typeface="+mn-lt"/>
              </a:rPr>
              <a:t>Rio Grande LNG</a:t>
            </a:r>
          </a:p>
          <a:p>
            <a:pPr marL="0" lvl="1">
              <a:lnSpc>
                <a:spcPct val="90000"/>
              </a:lnSpc>
              <a:spcBef>
                <a:spcPts val="300"/>
              </a:spcBef>
              <a:buSzPct val="100000"/>
            </a:pPr>
            <a:r>
              <a:rPr lang="en-US" sz="800">
                <a:sym typeface="+mn-lt"/>
              </a:rPr>
              <a:t>Capex: USD 18 bn</a:t>
            </a:r>
          </a:p>
          <a:p>
            <a:pPr marL="0" lvl="1">
              <a:lnSpc>
                <a:spcPct val="90000"/>
              </a:lnSpc>
              <a:spcBef>
                <a:spcPts val="300"/>
              </a:spcBef>
              <a:buSzPct val="100000"/>
            </a:pPr>
            <a:r>
              <a:rPr lang="en-US" sz="800">
                <a:sym typeface="+mn-lt"/>
              </a:rPr>
              <a:t>Company: </a:t>
            </a:r>
            <a:r>
              <a:rPr lang="en-US" sz="800" err="1">
                <a:sym typeface="+mn-lt"/>
              </a:rPr>
              <a:t>NextDecade</a:t>
            </a:r>
            <a:endParaRPr lang="en-US" sz="800">
              <a:sym typeface="+mn-lt"/>
            </a:endParaRPr>
          </a:p>
          <a:p>
            <a:pPr marL="0" lvl="1">
              <a:lnSpc>
                <a:spcPct val="90000"/>
              </a:lnSpc>
              <a:spcBef>
                <a:spcPts val="300"/>
              </a:spcBef>
              <a:buSzPct val="100000"/>
            </a:pPr>
            <a:r>
              <a:rPr lang="en-US" sz="800">
                <a:sym typeface="+mn-lt"/>
              </a:rPr>
              <a:t>Completion: 2023</a:t>
            </a:r>
          </a:p>
        </p:txBody>
      </p:sp>
      <p:pic>
        <p:nvPicPr>
          <p:cNvPr id="194" name="Graphic 238">
            <a:extLst>
              <a:ext uri="{FF2B5EF4-FFF2-40B4-BE49-F238E27FC236}">
                <a16:creationId xmlns:a16="http://schemas.microsoft.com/office/drawing/2014/main" id="{0B0054E3-4BFA-B0B6-FD22-7BBDDF17DF0D}"/>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1035203" y="1593642"/>
            <a:ext cx="157163" cy="157623"/>
          </a:xfrm>
          <a:prstGeom prst="rect">
            <a:avLst/>
          </a:prstGeom>
        </p:spPr>
      </p:pic>
      <p:sp>
        <p:nvSpPr>
          <p:cNvPr id="195" name="Freeform: Shape 241">
            <a:extLst>
              <a:ext uri="{FF2B5EF4-FFF2-40B4-BE49-F238E27FC236}">
                <a16:creationId xmlns:a16="http://schemas.microsoft.com/office/drawing/2014/main" id="{55869DCA-7F2E-3BF6-AB18-0D1BA98F3C19}"/>
              </a:ext>
            </a:extLst>
          </p:cNvPr>
          <p:cNvSpPr>
            <a:spLocks noChangeAspect="1"/>
          </p:cNvSpPr>
          <p:nvPr/>
        </p:nvSpPr>
        <p:spPr>
          <a:xfrm>
            <a:off x="1263249" y="1595221"/>
            <a:ext cx="161692" cy="161738"/>
          </a:xfrm>
          <a:custGeom>
            <a:avLst/>
            <a:gdLst>
              <a:gd name="connsiteX0" fmla="*/ 842193 w 3648846"/>
              <a:gd name="connsiteY0" fmla="*/ 3403529 h 3649899"/>
              <a:gd name="connsiteX1" fmla="*/ 1069999 w 3648846"/>
              <a:gd name="connsiteY1" fmla="*/ 3480948 h 3649899"/>
              <a:gd name="connsiteX2" fmla="*/ 1401003 w 3648846"/>
              <a:gd name="connsiteY2" fmla="*/ 3480948 h 3649899"/>
              <a:gd name="connsiteX3" fmla="*/ 1856103 w 3648846"/>
              <a:gd name="connsiteY3" fmla="*/ 3480948 h 3649899"/>
              <a:gd name="connsiteX4" fmla="*/ 2187106 w 3648846"/>
              <a:gd name="connsiteY4" fmla="*/ 3480948 h 3649899"/>
              <a:gd name="connsiteX5" fmla="*/ 2642207 w 3648846"/>
              <a:gd name="connsiteY5" fmla="*/ 3480948 h 3649899"/>
              <a:gd name="connsiteX6" fmla="*/ 2973153 w 3648846"/>
              <a:gd name="connsiteY6" fmla="*/ 3480948 h 3649899"/>
              <a:gd name="connsiteX7" fmla="*/ 3428196 w 3648846"/>
              <a:gd name="connsiteY7" fmla="*/ 3480948 h 3649899"/>
              <a:gd name="connsiteX8" fmla="*/ 3593527 w 3648846"/>
              <a:gd name="connsiteY8" fmla="*/ 3538092 h 3649899"/>
              <a:gd name="connsiteX9" fmla="*/ 3648789 w 3648846"/>
              <a:gd name="connsiteY9" fmla="*/ 3593355 h 3649899"/>
              <a:gd name="connsiteX10" fmla="*/ 3593527 w 3648846"/>
              <a:gd name="connsiteY10" fmla="*/ 3648731 h 3649899"/>
              <a:gd name="connsiteX11" fmla="*/ 3366091 w 3648846"/>
              <a:gd name="connsiteY11" fmla="*/ 3572481 h 3649899"/>
              <a:gd name="connsiteX12" fmla="*/ 3035259 w 3648846"/>
              <a:gd name="connsiteY12" fmla="*/ 3572481 h 3649899"/>
              <a:gd name="connsiteX13" fmla="*/ 2580158 w 3648846"/>
              <a:gd name="connsiteY13" fmla="*/ 3572481 h 3649899"/>
              <a:gd name="connsiteX14" fmla="*/ 2249212 w 3648846"/>
              <a:gd name="connsiteY14" fmla="*/ 3572481 h 3649899"/>
              <a:gd name="connsiteX15" fmla="*/ 1793998 w 3648846"/>
              <a:gd name="connsiteY15" fmla="*/ 3572481 h 3649899"/>
              <a:gd name="connsiteX16" fmla="*/ 1463052 w 3648846"/>
              <a:gd name="connsiteY16" fmla="*/ 3572481 h 3649899"/>
              <a:gd name="connsiteX17" fmla="*/ 1007893 w 3648846"/>
              <a:gd name="connsiteY17" fmla="*/ 3572481 h 3649899"/>
              <a:gd name="connsiteX18" fmla="*/ 676548 w 3648846"/>
              <a:gd name="connsiteY18" fmla="*/ 3572481 h 3649899"/>
              <a:gd name="connsiteX19" fmla="*/ 220991 w 3648846"/>
              <a:gd name="connsiteY19" fmla="*/ 3572481 h 3649899"/>
              <a:gd name="connsiteX20" fmla="*/ 55262 w 3648846"/>
              <a:gd name="connsiteY20" fmla="*/ 3515280 h 3649899"/>
              <a:gd name="connsiteX21" fmla="*/ 0 w 3648846"/>
              <a:gd name="connsiteY21" fmla="*/ 3460018 h 3649899"/>
              <a:gd name="connsiteX22" fmla="*/ 55262 w 3648846"/>
              <a:gd name="connsiteY22" fmla="*/ 3404755 h 3649899"/>
              <a:gd name="connsiteX23" fmla="*/ 283040 w 3648846"/>
              <a:gd name="connsiteY23" fmla="*/ 3480948 h 3649899"/>
              <a:gd name="connsiteX24" fmla="*/ 614556 w 3648846"/>
              <a:gd name="connsiteY24" fmla="*/ 3480948 h 3649899"/>
              <a:gd name="connsiteX25" fmla="*/ 842193 w 3648846"/>
              <a:gd name="connsiteY25" fmla="*/ 3403529 h 3649899"/>
              <a:gd name="connsiteX26" fmla="*/ 842214 w 3648846"/>
              <a:gd name="connsiteY26" fmla="*/ 3074466 h 3649899"/>
              <a:gd name="connsiteX27" fmla="*/ 1069999 w 3648846"/>
              <a:gd name="connsiteY27" fmla="*/ 3151885 h 3649899"/>
              <a:gd name="connsiteX28" fmla="*/ 1401003 w 3648846"/>
              <a:gd name="connsiteY28" fmla="*/ 3151885 h 3649899"/>
              <a:gd name="connsiteX29" fmla="*/ 1856103 w 3648846"/>
              <a:gd name="connsiteY29" fmla="*/ 3151885 h 3649899"/>
              <a:gd name="connsiteX30" fmla="*/ 2187106 w 3648846"/>
              <a:gd name="connsiteY30" fmla="*/ 3151885 h 3649899"/>
              <a:gd name="connsiteX31" fmla="*/ 2642207 w 3648846"/>
              <a:gd name="connsiteY31" fmla="*/ 3151885 h 3649899"/>
              <a:gd name="connsiteX32" fmla="*/ 2973153 w 3648846"/>
              <a:gd name="connsiteY32" fmla="*/ 3151885 h 3649899"/>
              <a:gd name="connsiteX33" fmla="*/ 3428196 w 3648846"/>
              <a:gd name="connsiteY33" fmla="*/ 3151885 h 3649899"/>
              <a:gd name="connsiteX34" fmla="*/ 3593584 w 3648846"/>
              <a:gd name="connsiteY34" fmla="*/ 3209029 h 3649899"/>
              <a:gd name="connsiteX35" fmla="*/ 3648846 w 3648846"/>
              <a:gd name="connsiteY35" fmla="*/ 3264291 h 3649899"/>
              <a:gd name="connsiteX36" fmla="*/ 3593527 w 3648846"/>
              <a:gd name="connsiteY36" fmla="*/ 3319554 h 3649899"/>
              <a:gd name="connsiteX37" fmla="*/ 3366091 w 3648846"/>
              <a:gd name="connsiteY37" fmla="*/ 3243361 h 3649899"/>
              <a:gd name="connsiteX38" fmla="*/ 3035259 w 3648846"/>
              <a:gd name="connsiteY38" fmla="*/ 3243361 h 3649899"/>
              <a:gd name="connsiteX39" fmla="*/ 2580158 w 3648846"/>
              <a:gd name="connsiteY39" fmla="*/ 3243361 h 3649899"/>
              <a:gd name="connsiteX40" fmla="*/ 2249212 w 3648846"/>
              <a:gd name="connsiteY40" fmla="*/ 3243361 h 3649899"/>
              <a:gd name="connsiteX41" fmla="*/ 1793998 w 3648846"/>
              <a:gd name="connsiteY41" fmla="*/ 3243361 h 3649899"/>
              <a:gd name="connsiteX42" fmla="*/ 1463052 w 3648846"/>
              <a:gd name="connsiteY42" fmla="*/ 3243361 h 3649899"/>
              <a:gd name="connsiteX43" fmla="*/ 1007893 w 3648846"/>
              <a:gd name="connsiteY43" fmla="*/ 3243361 h 3649899"/>
              <a:gd name="connsiteX44" fmla="*/ 676548 w 3648846"/>
              <a:gd name="connsiteY44" fmla="*/ 3243361 h 3649899"/>
              <a:gd name="connsiteX45" fmla="*/ 220991 w 3648846"/>
              <a:gd name="connsiteY45" fmla="*/ 3243361 h 3649899"/>
              <a:gd name="connsiteX46" fmla="*/ 55262 w 3648846"/>
              <a:gd name="connsiteY46" fmla="*/ 3186217 h 3649899"/>
              <a:gd name="connsiteX47" fmla="*/ 0 w 3648846"/>
              <a:gd name="connsiteY47" fmla="*/ 3130955 h 3649899"/>
              <a:gd name="connsiteX48" fmla="*/ 55262 w 3648846"/>
              <a:gd name="connsiteY48" fmla="*/ 3075692 h 3649899"/>
              <a:gd name="connsiteX49" fmla="*/ 283040 w 3648846"/>
              <a:gd name="connsiteY49" fmla="*/ 3151885 h 3649899"/>
              <a:gd name="connsiteX50" fmla="*/ 614556 w 3648846"/>
              <a:gd name="connsiteY50" fmla="*/ 3151885 h 3649899"/>
              <a:gd name="connsiteX51" fmla="*/ 842214 w 3648846"/>
              <a:gd name="connsiteY51" fmla="*/ 3074466 h 3649899"/>
              <a:gd name="connsiteX52" fmla="*/ 842193 w 3648846"/>
              <a:gd name="connsiteY52" fmla="*/ 2745231 h 3649899"/>
              <a:gd name="connsiteX53" fmla="*/ 1069999 w 3648846"/>
              <a:gd name="connsiteY53" fmla="*/ 2822650 h 3649899"/>
              <a:gd name="connsiteX54" fmla="*/ 1401003 w 3648846"/>
              <a:gd name="connsiteY54" fmla="*/ 2822650 h 3649899"/>
              <a:gd name="connsiteX55" fmla="*/ 1856103 w 3648846"/>
              <a:gd name="connsiteY55" fmla="*/ 2822650 h 3649899"/>
              <a:gd name="connsiteX56" fmla="*/ 2187106 w 3648846"/>
              <a:gd name="connsiteY56" fmla="*/ 2822650 h 3649899"/>
              <a:gd name="connsiteX57" fmla="*/ 2642207 w 3648846"/>
              <a:gd name="connsiteY57" fmla="*/ 2822650 h 3649899"/>
              <a:gd name="connsiteX58" fmla="*/ 2973153 w 3648846"/>
              <a:gd name="connsiteY58" fmla="*/ 2822650 h 3649899"/>
              <a:gd name="connsiteX59" fmla="*/ 3428196 w 3648846"/>
              <a:gd name="connsiteY59" fmla="*/ 2822650 h 3649899"/>
              <a:gd name="connsiteX60" fmla="*/ 3593527 w 3648846"/>
              <a:gd name="connsiteY60" fmla="*/ 2879794 h 3649899"/>
              <a:gd name="connsiteX61" fmla="*/ 3648789 w 3648846"/>
              <a:gd name="connsiteY61" fmla="*/ 2935056 h 3649899"/>
              <a:gd name="connsiteX62" fmla="*/ 3593527 w 3648846"/>
              <a:gd name="connsiteY62" fmla="*/ 2990433 h 3649899"/>
              <a:gd name="connsiteX63" fmla="*/ 3366091 w 3648846"/>
              <a:gd name="connsiteY63" fmla="*/ 2914183 h 3649899"/>
              <a:gd name="connsiteX64" fmla="*/ 3035259 w 3648846"/>
              <a:gd name="connsiteY64" fmla="*/ 2914183 h 3649899"/>
              <a:gd name="connsiteX65" fmla="*/ 2580158 w 3648846"/>
              <a:gd name="connsiteY65" fmla="*/ 2914183 h 3649899"/>
              <a:gd name="connsiteX66" fmla="*/ 2249212 w 3648846"/>
              <a:gd name="connsiteY66" fmla="*/ 2914183 h 3649899"/>
              <a:gd name="connsiteX67" fmla="*/ 1793998 w 3648846"/>
              <a:gd name="connsiteY67" fmla="*/ 2914183 h 3649899"/>
              <a:gd name="connsiteX68" fmla="*/ 1463052 w 3648846"/>
              <a:gd name="connsiteY68" fmla="*/ 2914183 h 3649899"/>
              <a:gd name="connsiteX69" fmla="*/ 1007893 w 3648846"/>
              <a:gd name="connsiteY69" fmla="*/ 2914183 h 3649899"/>
              <a:gd name="connsiteX70" fmla="*/ 676548 w 3648846"/>
              <a:gd name="connsiteY70" fmla="*/ 2914183 h 3649899"/>
              <a:gd name="connsiteX71" fmla="*/ 220991 w 3648846"/>
              <a:gd name="connsiteY71" fmla="*/ 2914183 h 3649899"/>
              <a:gd name="connsiteX72" fmla="*/ 55262 w 3648846"/>
              <a:gd name="connsiteY72" fmla="*/ 2856982 h 3649899"/>
              <a:gd name="connsiteX73" fmla="*/ 0 w 3648846"/>
              <a:gd name="connsiteY73" fmla="*/ 2801720 h 3649899"/>
              <a:gd name="connsiteX74" fmla="*/ 55262 w 3648846"/>
              <a:gd name="connsiteY74" fmla="*/ 2746457 h 3649899"/>
              <a:gd name="connsiteX75" fmla="*/ 283040 w 3648846"/>
              <a:gd name="connsiteY75" fmla="*/ 2822650 h 3649899"/>
              <a:gd name="connsiteX76" fmla="*/ 614556 w 3648846"/>
              <a:gd name="connsiteY76" fmla="*/ 2822650 h 3649899"/>
              <a:gd name="connsiteX77" fmla="*/ 842193 w 3648846"/>
              <a:gd name="connsiteY77" fmla="*/ 2745231 h 3649899"/>
              <a:gd name="connsiteX78" fmla="*/ 1884447 w 3648846"/>
              <a:gd name="connsiteY78" fmla="*/ 1301941 h 3649899"/>
              <a:gd name="connsiteX79" fmla="*/ 3110652 w 3648846"/>
              <a:gd name="connsiteY79" fmla="*/ 1983109 h 3649899"/>
              <a:gd name="connsiteX80" fmla="*/ 2805483 w 3648846"/>
              <a:gd name="connsiteY80" fmla="*/ 2769270 h 3649899"/>
              <a:gd name="connsiteX81" fmla="*/ 2704312 w 3648846"/>
              <a:gd name="connsiteY81" fmla="*/ 2731117 h 3649899"/>
              <a:gd name="connsiteX82" fmla="*/ 2124943 w 3648846"/>
              <a:gd name="connsiteY82" fmla="*/ 2731117 h 3649899"/>
              <a:gd name="connsiteX83" fmla="*/ 2021547 w 3648846"/>
              <a:gd name="connsiteY83" fmla="*/ 2769270 h 3649899"/>
              <a:gd name="connsiteX84" fmla="*/ 1918151 w 3648846"/>
              <a:gd name="connsiteY84" fmla="*/ 2731117 h 3649899"/>
              <a:gd name="connsiteX85" fmla="*/ 1881139 w 3648846"/>
              <a:gd name="connsiteY85" fmla="*/ 2706765 h 3649899"/>
              <a:gd name="connsiteX86" fmla="*/ 1884447 w 3648846"/>
              <a:gd name="connsiteY86" fmla="*/ 1301941 h 3649899"/>
              <a:gd name="connsiteX87" fmla="*/ 1768276 w 3648846"/>
              <a:gd name="connsiteY87" fmla="*/ 1298690 h 3649899"/>
              <a:gd name="connsiteX88" fmla="*/ 1769416 w 3648846"/>
              <a:gd name="connsiteY88" fmla="*/ 2655381 h 3649899"/>
              <a:gd name="connsiteX89" fmla="*/ 1338725 w 3648846"/>
              <a:gd name="connsiteY89" fmla="*/ 2731117 h 3649899"/>
              <a:gd name="connsiteX90" fmla="*/ 1235329 w 3648846"/>
              <a:gd name="connsiteY90" fmla="*/ 2769270 h 3649899"/>
              <a:gd name="connsiteX91" fmla="*/ 1131933 w 3648846"/>
              <a:gd name="connsiteY91" fmla="*/ 2731117 h 3649899"/>
              <a:gd name="connsiteX92" fmla="*/ 842220 w 3648846"/>
              <a:gd name="connsiteY92" fmla="*/ 2636047 h 3649899"/>
              <a:gd name="connsiteX93" fmla="*/ 791920 w 3648846"/>
              <a:gd name="connsiteY93" fmla="*/ 2638272 h 3649899"/>
              <a:gd name="connsiteX94" fmla="*/ 534315 w 3648846"/>
              <a:gd name="connsiteY94" fmla="*/ 1974270 h 3649899"/>
              <a:gd name="connsiteX95" fmla="*/ 1886442 w 3648846"/>
              <a:gd name="connsiteY95" fmla="*/ 794715 h 3649899"/>
              <a:gd name="connsiteX96" fmla="*/ 3233893 w 3648846"/>
              <a:gd name="connsiteY96" fmla="*/ 1533598 h 3649899"/>
              <a:gd name="connsiteX97" fmla="*/ 3258759 w 3648846"/>
              <a:gd name="connsiteY97" fmla="*/ 1602148 h 3649899"/>
              <a:gd name="connsiteX98" fmla="*/ 3151257 w 3648846"/>
              <a:gd name="connsiteY98" fmla="*/ 1879087 h 3649899"/>
              <a:gd name="connsiteX99" fmla="*/ 1885074 w 3648846"/>
              <a:gd name="connsiteY99" fmla="*/ 1175506 h 3649899"/>
              <a:gd name="connsiteX100" fmla="*/ 1775918 w 3648846"/>
              <a:gd name="connsiteY100" fmla="*/ 787586 h 3649899"/>
              <a:gd name="connsiteX101" fmla="*/ 1775861 w 3648846"/>
              <a:gd name="connsiteY101" fmla="*/ 798307 h 3649899"/>
              <a:gd name="connsiteX102" fmla="*/ 1768561 w 3648846"/>
              <a:gd name="connsiteY102" fmla="*/ 1172483 h 3649899"/>
              <a:gd name="connsiteX103" fmla="*/ 493937 w 3648846"/>
              <a:gd name="connsiteY103" fmla="*/ 1870076 h 3649899"/>
              <a:gd name="connsiteX104" fmla="*/ 390028 w 3648846"/>
              <a:gd name="connsiteY104" fmla="*/ 1602148 h 3649899"/>
              <a:gd name="connsiteX105" fmla="*/ 414893 w 3648846"/>
              <a:gd name="connsiteY105" fmla="*/ 1533598 h 3649899"/>
              <a:gd name="connsiteX106" fmla="*/ 1501262 w 3648846"/>
              <a:gd name="connsiteY106" fmla="*/ 0 h 3649899"/>
              <a:gd name="connsiteX107" fmla="*/ 2147014 w 3648846"/>
              <a:gd name="connsiteY107" fmla="*/ 0 h 3649899"/>
              <a:gd name="connsiteX108" fmla="*/ 2202276 w 3648846"/>
              <a:gd name="connsiteY108" fmla="*/ 55262 h 3649899"/>
              <a:gd name="connsiteX109" fmla="*/ 2202276 w 3648846"/>
              <a:gd name="connsiteY109" fmla="*/ 430121 h 3649899"/>
              <a:gd name="connsiteX110" fmla="*/ 2777254 w 3648846"/>
              <a:gd name="connsiteY110" fmla="*/ 430121 h 3649899"/>
              <a:gd name="connsiteX111" fmla="*/ 2832516 w 3648846"/>
              <a:gd name="connsiteY111" fmla="*/ 485383 h 3649899"/>
              <a:gd name="connsiteX112" fmla="*/ 2832516 w 3648846"/>
              <a:gd name="connsiteY112" fmla="*/ 1187481 h 3649899"/>
              <a:gd name="connsiteX113" fmla="*/ 1903723 w 3648846"/>
              <a:gd name="connsiteY113" fmla="*/ 678316 h 3649899"/>
              <a:gd name="connsiteX114" fmla="*/ 1824109 w 3648846"/>
              <a:gd name="connsiteY114" fmla="*/ 657842 h 3649899"/>
              <a:gd name="connsiteX115" fmla="*/ 1742271 w 3648846"/>
              <a:gd name="connsiteY115" fmla="*/ 679400 h 3649899"/>
              <a:gd name="connsiteX116" fmla="*/ 1727329 w 3648846"/>
              <a:gd name="connsiteY116" fmla="*/ 687156 h 3649899"/>
              <a:gd name="connsiteX117" fmla="*/ 1725675 w 3648846"/>
              <a:gd name="connsiteY117" fmla="*/ 688810 h 3649899"/>
              <a:gd name="connsiteX118" fmla="*/ 816215 w 3648846"/>
              <a:gd name="connsiteY118" fmla="*/ 1187481 h 3649899"/>
              <a:gd name="connsiteX119" fmla="*/ 816215 w 3648846"/>
              <a:gd name="connsiteY119" fmla="*/ 485383 h 3649899"/>
              <a:gd name="connsiteX120" fmla="*/ 871477 w 3648846"/>
              <a:gd name="connsiteY120" fmla="*/ 430121 h 3649899"/>
              <a:gd name="connsiteX121" fmla="*/ 1445885 w 3648846"/>
              <a:gd name="connsiteY121" fmla="*/ 430121 h 3649899"/>
              <a:gd name="connsiteX122" fmla="*/ 1445885 w 3648846"/>
              <a:gd name="connsiteY122" fmla="*/ 55262 h 3649899"/>
              <a:gd name="connsiteX123" fmla="*/ 1501262 w 3648846"/>
              <a:gd name="connsiteY123" fmla="*/ 0 h 36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3648846" h="3649899">
                <a:moveTo>
                  <a:pt x="842193" y="3403529"/>
                </a:moveTo>
                <a:cubicBezTo>
                  <a:pt x="918000" y="3403500"/>
                  <a:pt x="993836" y="3429278"/>
                  <a:pt x="1069999" y="3480948"/>
                </a:cubicBezTo>
                <a:cubicBezTo>
                  <a:pt x="1184574" y="3558680"/>
                  <a:pt x="1286258" y="3558851"/>
                  <a:pt x="1401003" y="3480948"/>
                </a:cubicBezTo>
                <a:cubicBezTo>
                  <a:pt x="1551163" y="3378920"/>
                  <a:pt x="1702293" y="3376582"/>
                  <a:pt x="1856103" y="3480948"/>
                </a:cubicBezTo>
                <a:cubicBezTo>
                  <a:pt x="1970677" y="3558737"/>
                  <a:pt x="2072419" y="3558794"/>
                  <a:pt x="2187106" y="3480948"/>
                </a:cubicBezTo>
                <a:cubicBezTo>
                  <a:pt x="2336639" y="3379433"/>
                  <a:pt x="2487883" y="3376126"/>
                  <a:pt x="2642207" y="3480948"/>
                </a:cubicBezTo>
                <a:cubicBezTo>
                  <a:pt x="2756780" y="3558737"/>
                  <a:pt x="2858408" y="3558794"/>
                  <a:pt x="2973153" y="3480948"/>
                </a:cubicBezTo>
                <a:cubicBezTo>
                  <a:pt x="3122686" y="3379433"/>
                  <a:pt x="3273873" y="3376126"/>
                  <a:pt x="3428196" y="3480948"/>
                </a:cubicBezTo>
                <a:cubicBezTo>
                  <a:pt x="3475189" y="3512885"/>
                  <a:pt x="3512316" y="3538092"/>
                  <a:pt x="3593527" y="3538092"/>
                </a:cubicBezTo>
                <a:cubicBezTo>
                  <a:pt x="3624038" y="3538092"/>
                  <a:pt x="3648789" y="3562843"/>
                  <a:pt x="3648789" y="3593355"/>
                </a:cubicBezTo>
                <a:cubicBezTo>
                  <a:pt x="3648789" y="3623866"/>
                  <a:pt x="3624095" y="3648731"/>
                  <a:pt x="3593527" y="3648731"/>
                </a:cubicBezTo>
                <a:cubicBezTo>
                  <a:pt x="3478326" y="3648731"/>
                  <a:pt x="3418672" y="3608239"/>
                  <a:pt x="3366091" y="3572481"/>
                </a:cubicBezTo>
                <a:cubicBezTo>
                  <a:pt x="3251574" y="3494692"/>
                  <a:pt x="3149946" y="3494635"/>
                  <a:pt x="3035259" y="3572481"/>
                </a:cubicBezTo>
                <a:cubicBezTo>
                  <a:pt x="2885726" y="3673995"/>
                  <a:pt x="2734482" y="3677303"/>
                  <a:pt x="2580158" y="3572481"/>
                </a:cubicBezTo>
                <a:cubicBezTo>
                  <a:pt x="2465528" y="3494692"/>
                  <a:pt x="2363957" y="3494635"/>
                  <a:pt x="2249212" y="3572481"/>
                </a:cubicBezTo>
                <a:cubicBezTo>
                  <a:pt x="2099337" y="3674223"/>
                  <a:pt x="1948150" y="3677075"/>
                  <a:pt x="1793998" y="3572481"/>
                </a:cubicBezTo>
                <a:cubicBezTo>
                  <a:pt x="1679424" y="3494749"/>
                  <a:pt x="1577739" y="3494578"/>
                  <a:pt x="1463052" y="3572481"/>
                </a:cubicBezTo>
                <a:cubicBezTo>
                  <a:pt x="1312606" y="3674679"/>
                  <a:pt x="1161419" y="3676676"/>
                  <a:pt x="1007893" y="3572481"/>
                </a:cubicBezTo>
                <a:cubicBezTo>
                  <a:pt x="893149" y="3494635"/>
                  <a:pt x="791464" y="3494635"/>
                  <a:pt x="676548" y="3572481"/>
                </a:cubicBezTo>
                <a:cubicBezTo>
                  <a:pt x="524335" y="3675649"/>
                  <a:pt x="373376" y="3675763"/>
                  <a:pt x="220991" y="3572481"/>
                </a:cubicBezTo>
                <a:cubicBezTo>
                  <a:pt x="173884" y="3540545"/>
                  <a:pt x="136644" y="3515280"/>
                  <a:pt x="55262" y="3515280"/>
                </a:cubicBezTo>
                <a:cubicBezTo>
                  <a:pt x="24751" y="3515280"/>
                  <a:pt x="0" y="3490529"/>
                  <a:pt x="0" y="3460018"/>
                </a:cubicBezTo>
                <a:cubicBezTo>
                  <a:pt x="0" y="3429506"/>
                  <a:pt x="24751" y="3404755"/>
                  <a:pt x="55262" y="3404755"/>
                </a:cubicBezTo>
                <a:cubicBezTo>
                  <a:pt x="170634" y="3404755"/>
                  <a:pt x="230344" y="3445247"/>
                  <a:pt x="283040" y="3480948"/>
                </a:cubicBezTo>
                <a:cubicBezTo>
                  <a:pt x="397956" y="3558794"/>
                  <a:pt x="499641" y="3558794"/>
                  <a:pt x="614556" y="3480948"/>
                </a:cubicBezTo>
                <a:cubicBezTo>
                  <a:pt x="690606" y="3429393"/>
                  <a:pt x="766385" y="3403558"/>
                  <a:pt x="842193" y="3403529"/>
                </a:cubicBezTo>
                <a:close/>
                <a:moveTo>
                  <a:pt x="842214" y="3074466"/>
                </a:moveTo>
                <a:cubicBezTo>
                  <a:pt x="918000" y="3074452"/>
                  <a:pt x="993807" y="3100244"/>
                  <a:pt x="1069999" y="3151885"/>
                </a:cubicBezTo>
                <a:cubicBezTo>
                  <a:pt x="1184574" y="3229617"/>
                  <a:pt x="1286258" y="3229731"/>
                  <a:pt x="1401003" y="3151885"/>
                </a:cubicBezTo>
                <a:cubicBezTo>
                  <a:pt x="1550536" y="3050313"/>
                  <a:pt x="1701666" y="3047120"/>
                  <a:pt x="1856103" y="3151885"/>
                </a:cubicBezTo>
                <a:cubicBezTo>
                  <a:pt x="1970677" y="3229674"/>
                  <a:pt x="2072419" y="3229731"/>
                  <a:pt x="2187106" y="3151885"/>
                </a:cubicBezTo>
                <a:cubicBezTo>
                  <a:pt x="2339149" y="3048717"/>
                  <a:pt x="2489994" y="3048603"/>
                  <a:pt x="2642207" y="3151885"/>
                </a:cubicBezTo>
                <a:cubicBezTo>
                  <a:pt x="2756780" y="3229674"/>
                  <a:pt x="2858408" y="3229731"/>
                  <a:pt x="2973153" y="3151885"/>
                </a:cubicBezTo>
                <a:cubicBezTo>
                  <a:pt x="3125081" y="3048774"/>
                  <a:pt x="3276040" y="3048546"/>
                  <a:pt x="3428196" y="3151885"/>
                </a:cubicBezTo>
                <a:cubicBezTo>
                  <a:pt x="3475246" y="3183765"/>
                  <a:pt x="3512373" y="3209029"/>
                  <a:pt x="3593584" y="3209029"/>
                </a:cubicBezTo>
                <a:cubicBezTo>
                  <a:pt x="3624095" y="3209029"/>
                  <a:pt x="3648846" y="3233780"/>
                  <a:pt x="3648846" y="3264291"/>
                </a:cubicBezTo>
                <a:cubicBezTo>
                  <a:pt x="3648846" y="3294802"/>
                  <a:pt x="3624095" y="3319554"/>
                  <a:pt x="3593527" y="3319554"/>
                </a:cubicBezTo>
                <a:cubicBezTo>
                  <a:pt x="3478326" y="3319554"/>
                  <a:pt x="3418672" y="3279062"/>
                  <a:pt x="3366091" y="3243361"/>
                </a:cubicBezTo>
                <a:cubicBezTo>
                  <a:pt x="3251574" y="3165572"/>
                  <a:pt x="3149946" y="3165515"/>
                  <a:pt x="3035259" y="3243361"/>
                </a:cubicBezTo>
                <a:cubicBezTo>
                  <a:pt x="2883216" y="3346529"/>
                  <a:pt x="2732372" y="3346643"/>
                  <a:pt x="2580158" y="3243361"/>
                </a:cubicBezTo>
                <a:cubicBezTo>
                  <a:pt x="2465528" y="3165572"/>
                  <a:pt x="2363957" y="3165515"/>
                  <a:pt x="2249212" y="3243361"/>
                </a:cubicBezTo>
                <a:cubicBezTo>
                  <a:pt x="2097170" y="3346529"/>
                  <a:pt x="1946325" y="3346643"/>
                  <a:pt x="1793998" y="3243361"/>
                </a:cubicBezTo>
                <a:cubicBezTo>
                  <a:pt x="1679424" y="3165629"/>
                  <a:pt x="1577739" y="3165458"/>
                  <a:pt x="1463052" y="3243361"/>
                </a:cubicBezTo>
                <a:cubicBezTo>
                  <a:pt x="1313120" y="3345103"/>
                  <a:pt x="1162104" y="3347898"/>
                  <a:pt x="1007893" y="3243361"/>
                </a:cubicBezTo>
                <a:cubicBezTo>
                  <a:pt x="893320" y="3165572"/>
                  <a:pt x="791407" y="3165515"/>
                  <a:pt x="676548" y="3243361"/>
                </a:cubicBezTo>
                <a:cubicBezTo>
                  <a:pt x="524335" y="3346529"/>
                  <a:pt x="373376" y="3346643"/>
                  <a:pt x="220991" y="3243361"/>
                </a:cubicBezTo>
                <a:cubicBezTo>
                  <a:pt x="173884" y="3211425"/>
                  <a:pt x="136644" y="3186217"/>
                  <a:pt x="55262" y="3186217"/>
                </a:cubicBezTo>
                <a:cubicBezTo>
                  <a:pt x="24751" y="3186217"/>
                  <a:pt x="0" y="3161466"/>
                  <a:pt x="0" y="3130955"/>
                </a:cubicBezTo>
                <a:cubicBezTo>
                  <a:pt x="0" y="3100443"/>
                  <a:pt x="24751" y="3075692"/>
                  <a:pt x="55262" y="3075692"/>
                </a:cubicBezTo>
                <a:cubicBezTo>
                  <a:pt x="170634" y="3075692"/>
                  <a:pt x="230344" y="3116184"/>
                  <a:pt x="283040" y="3151885"/>
                </a:cubicBezTo>
                <a:cubicBezTo>
                  <a:pt x="397785" y="3229674"/>
                  <a:pt x="499698" y="3229731"/>
                  <a:pt x="614556" y="3151885"/>
                </a:cubicBezTo>
                <a:cubicBezTo>
                  <a:pt x="690663" y="3100301"/>
                  <a:pt x="766428" y="3074481"/>
                  <a:pt x="842214" y="3074466"/>
                </a:cubicBezTo>
                <a:close/>
                <a:moveTo>
                  <a:pt x="842193" y="2745231"/>
                </a:moveTo>
                <a:cubicBezTo>
                  <a:pt x="918000" y="2745202"/>
                  <a:pt x="993836" y="2770980"/>
                  <a:pt x="1069999" y="2822650"/>
                </a:cubicBezTo>
                <a:cubicBezTo>
                  <a:pt x="1184574" y="2900382"/>
                  <a:pt x="1286258" y="2900553"/>
                  <a:pt x="1401003" y="2822650"/>
                </a:cubicBezTo>
                <a:cubicBezTo>
                  <a:pt x="1551163" y="2720622"/>
                  <a:pt x="1702293" y="2718284"/>
                  <a:pt x="1856103" y="2822650"/>
                </a:cubicBezTo>
                <a:cubicBezTo>
                  <a:pt x="1970677" y="2900439"/>
                  <a:pt x="2072419" y="2900496"/>
                  <a:pt x="2187106" y="2822650"/>
                </a:cubicBezTo>
                <a:cubicBezTo>
                  <a:pt x="2336639" y="2721135"/>
                  <a:pt x="2487883" y="2717828"/>
                  <a:pt x="2642207" y="2822650"/>
                </a:cubicBezTo>
                <a:cubicBezTo>
                  <a:pt x="2756780" y="2900439"/>
                  <a:pt x="2858408" y="2900496"/>
                  <a:pt x="2973153" y="2822650"/>
                </a:cubicBezTo>
                <a:cubicBezTo>
                  <a:pt x="3122686" y="2721135"/>
                  <a:pt x="3273873" y="2717828"/>
                  <a:pt x="3428196" y="2822650"/>
                </a:cubicBezTo>
                <a:cubicBezTo>
                  <a:pt x="3475189" y="2854587"/>
                  <a:pt x="3512316" y="2879794"/>
                  <a:pt x="3593527" y="2879794"/>
                </a:cubicBezTo>
                <a:cubicBezTo>
                  <a:pt x="3624038" y="2879794"/>
                  <a:pt x="3648789" y="2904545"/>
                  <a:pt x="3648789" y="2935056"/>
                </a:cubicBezTo>
                <a:cubicBezTo>
                  <a:pt x="3648846" y="2965682"/>
                  <a:pt x="3624095" y="2990433"/>
                  <a:pt x="3593527" y="2990433"/>
                </a:cubicBezTo>
                <a:cubicBezTo>
                  <a:pt x="3478326" y="2990433"/>
                  <a:pt x="3418672" y="2949941"/>
                  <a:pt x="3366091" y="2914183"/>
                </a:cubicBezTo>
                <a:cubicBezTo>
                  <a:pt x="3251574" y="2836394"/>
                  <a:pt x="3149946" y="2836337"/>
                  <a:pt x="3035259" y="2914183"/>
                </a:cubicBezTo>
                <a:cubicBezTo>
                  <a:pt x="2885726" y="3015697"/>
                  <a:pt x="2734482" y="3019005"/>
                  <a:pt x="2580158" y="2914183"/>
                </a:cubicBezTo>
                <a:cubicBezTo>
                  <a:pt x="2465528" y="2836394"/>
                  <a:pt x="2363957" y="2836337"/>
                  <a:pt x="2249212" y="2914183"/>
                </a:cubicBezTo>
                <a:cubicBezTo>
                  <a:pt x="2099337" y="3015925"/>
                  <a:pt x="1948150" y="3018777"/>
                  <a:pt x="1793998" y="2914183"/>
                </a:cubicBezTo>
                <a:cubicBezTo>
                  <a:pt x="1679424" y="2836451"/>
                  <a:pt x="1577739" y="2836280"/>
                  <a:pt x="1463052" y="2914183"/>
                </a:cubicBezTo>
                <a:cubicBezTo>
                  <a:pt x="1312606" y="3016381"/>
                  <a:pt x="1161419" y="3018377"/>
                  <a:pt x="1007893" y="2914183"/>
                </a:cubicBezTo>
                <a:cubicBezTo>
                  <a:pt x="893149" y="2836337"/>
                  <a:pt x="791464" y="2836337"/>
                  <a:pt x="676548" y="2914183"/>
                </a:cubicBezTo>
                <a:cubicBezTo>
                  <a:pt x="524335" y="3017351"/>
                  <a:pt x="373376" y="3017465"/>
                  <a:pt x="220991" y="2914183"/>
                </a:cubicBezTo>
                <a:cubicBezTo>
                  <a:pt x="173884" y="2882247"/>
                  <a:pt x="136644" y="2856982"/>
                  <a:pt x="55262" y="2856982"/>
                </a:cubicBezTo>
                <a:cubicBezTo>
                  <a:pt x="24751" y="2856982"/>
                  <a:pt x="0" y="2832231"/>
                  <a:pt x="0" y="2801720"/>
                </a:cubicBezTo>
                <a:cubicBezTo>
                  <a:pt x="0" y="2771208"/>
                  <a:pt x="24751" y="2746457"/>
                  <a:pt x="55262" y="2746457"/>
                </a:cubicBezTo>
                <a:cubicBezTo>
                  <a:pt x="170634" y="2746457"/>
                  <a:pt x="230344" y="2786949"/>
                  <a:pt x="283040" y="2822650"/>
                </a:cubicBezTo>
                <a:cubicBezTo>
                  <a:pt x="397956" y="2900496"/>
                  <a:pt x="499641" y="2900496"/>
                  <a:pt x="614556" y="2822650"/>
                </a:cubicBezTo>
                <a:cubicBezTo>
                  <a:pt x="690606" y="2771094"/>
                  <a:pt x="766385" y="2745260"/>
                  <a:pt x="842193" y="2745231"/>
                </a:cubicBezTo>
                <a:close/>
                <a:moveTo>
                  <a:pt x="1884447" y="1301941"/>
                </a:moveTo>
                <a:lnTo>
                  <a:pt x="3110652" y="1983109"/>
                </a:lnTo>
                <a:lnTo>
                  <a:pt x="2805483" y="2769270"/>
                </a:lnTo>
                <a:cubicBezTo>
                  <a:pt x="2759574" y="2768700"/>
                  <a:pt x="2745773" y="2759290"/>
                  <a:pt x="2704312" y="2731117"/>
                </a:cubicBezTo>
                <a:cubicBezTo>
                  <a:pt x="2516169" y="2602742"/>
                  <a:pt x="2313256" y="2602628"/>
                  <a:pt x="2124943" y="2731117"/>
                </a:cubicBezTo>
                <a:cubicBezTo>
                  <a:pt x="2082911" y="2759860"/>
                  <a:pt x="2069110" y="2769270"/>
                  <a:pt x="2021547" y="2769270"/>
                </a:cubicBezTo>
                <a:cubicBezTo>
                  <a:pt x="1974554" y="2769270"/>
                  <a:pt x="1960182" y="2759860"/>
                  <a:pt x="1918151" y="2731117"/>
                </a:cubicBezTo>
                <a:cubicBezTo>
                  <a:pt x="1906517" y="2723361"/>
                  <a:pt x="1894370" y="2715091"/>
                  <a:pt x="1881139" y="2706765"/>
                </a:cubicBezTo>
                <a:cubicBezTo>
                  <a:pt x="1878401" y="2508300"/>
                  <a:pt x="1869505" y="2110800"/>
                  <a:pt x="1884447" y="1301941"/>
                </a:cubicBezTo>
                <a:close/>
                <a:moveTo>
                  <a:pt x="1768276" y="1298690"/>
                </a:moveTo>
                <a:cubicBezTo>
                  <a:pt x="1782134" y="2053884"/>
                  <a:pt x="1774378" y="2446365"/>
                  <a:pt x="1769416" y="2655381"/>
                </a:cubicBezTo>
                <a:cubicBezTo>
                  <a:pt x="1639102" y="2616828"/>
                  <a:pt x="1488885" y="2628690"/>
                  <a:pt x="1338725" y="2731117"/>
                </a:cubicBezTo>
                <a:cubicBezTo>
                  <a:pt x="1296693" y="2759860"/>
                  <a:pt x="1282892" y="2769270"/>
                  <a:pt x="1235329" y="2769270"/>
                </a:cubicBezTo>
                <a:cubicBezTo>
                  <a:pt x="1188336" y="2769270"/>
                  <a:pt x="1173965" y="2759860"/>
                  <a:pt x="1131933" y="2731117"/>
                </a:cubicBezTo>
                <a:cubicBezTo>
                  <a:pt x="1072793" y="2690739"/>
                  <a:pt x="991525" y="2636047"/>
                  <a:pt x="842220" y="2636047"/>
                </a:cubicBezTo>
                <a:cubicBezTo>
                  <a:pt x="824541" y="2636047"/>
                  <a:pt x="807945" y="2636618"/>
                  <a:pt x="791920" y="2638272"/>
                </a:cubicBezTo>
                <a:lnTo>
                  <a:pt x="534315" y="1974270"/>
                </a:lnTo>
                <a:close/>
                <a:moveTo>
                  <a:pt x="1886442" y="794715"/>
                </a:moveTo>
                <a:lnTo>
                  <a:pt x="3233893" y="1533598"/>
                </a:lnTo>
                <a:cubicBezTo>
                  <a:pt x="3258188" y="1546886"/>
                  <a:pt x="3268682" y="1576142"/>
                  <a:pt x="3258759" y="1602148"/>
                </a:cubicBezTo>
                <a:lnTo>
                  <a:pt x="3151257" y="1879087"/>
                </a:lnTo>
                <a:lnTo>
                  <a:pt x="1885074" y="1175506"/>
                </a:lnTo>
                <a:close/>
                <a:moveTo>
                  <a:pt x="1775918" y="787586"/>
                </a:moveTo>
                <a:lnTo>
                  <a:pt x="1775861" y="798307"/>
                </a:lnTo>
                <a:cubicBezTo>
                  <a:pt x="1762116" y="823629"/>
                  <a:pt x="1771584" y="807660"/>
                  <a:pt x="1768561" y="1172483"/>
                </a:cubicBezTo>
                <a:lnTo>
                  <a:pt x="493937" y="1870076"/>
                </a:lnTo>
                <a:lnTo>
                  <a:pt x="390028" y="1602148"/>
                </a:lnTo>
                <a:cubicBezTo>
                  <a:pt x="380048" y="1576142"/>
                  <a:pt x="390542" y="1546886"/>
                  <a:pt x="414893" y="1533598"/>
                </a:cubicBezTo>
                <a:close/>
                <a:moveTo>
                  <a:pt x="1501262" y="0"/>
                </a:moveTo>
                <a:lnTo>
                  <a:pt x="2147014" y="0"/>
                </a:lnTo>
                <a:cubicBezTo>
                  <a:pt x="2177411" y="0"/>
                  <a:pt x="2202276" y="24865"/>
                  <a:pt x="2202276" y="55262"/>
                </a:cubicBezTo>
                <a:lnTo>
                  <a:pt x="2202276" y="430121"/>
                </a:lnTo>
                <a:lnTo>
                  <a:pt x="2777254" y="430121"/>
                </a:lnTo>
                <a:cubicBezTo>
                  <a:pt x="2807651" y="430121"/>
                  <a:pt x="2832516" y="454986"/>
                  <a:pt x="2832516" y="485383"/>
                </a:cubicBezTo>
                <a:lnTo>
                  <a:pt x="2832516" y="1187481"/>
                </a:lnTo>
                <a:lnTo>
                  <a:pt x="1903723" y="678316"/>
                </a:lnTo>
                <a:cubicBezTo>
                  <a:pt x="1879372" y="665028"/>
                  <a:pt x="1852282" y="657842"/>
                  <a:pt x="1824109" y="657842"/>
                </a:cubicBezTo>
                <a:cubicBezTo>
                  <a:pt x="1795366" y="657842"/>
                  <a:pt x="1767193" y="665028"/>
                  <a:pt x="1742271" y="679400"/>
                </a:cubicBezTo>
                <a:lnTo>
                  <a:pt x="1727329" y="687156"/>
                </a:lnTo>
                <a:lnTo>
                  <a:pt x="1725675" y="688810"/>
                </a:lnTo>
                <a:lnTo>
                  <a:pt x="816215" y="1187481"/>
                </a:lnTo>
                <a:lnTo>
                  <a:pt x="816215" y="485383"/>
                </a:lnTo>
                <a:cubicBezTo>
                  <a:pt x="816215" y="454986"/>
                  <a:pt x="841080" y="430121"/>
                  <a:pt x="871477" y="430121"/>
                </a:cubicBezTo>
                <a:lnTo>
                  <a:pt x="1445885" y="430121"/>
                </a:lnTo>
                <a:lnTo>
                  <a:pt x="1445885" y="55262"/>
                </a:lnTo>
                <a:cubicBezTo>
                  <a:pt x="1445999" y="24865"/>
                  <a:pt x="1470865" y="0"/>
                  <a:pt x="1501262" y="0"/>
                </a:cubicBezTo>
                <a:close/>
              </a:path>
            </a:pathLst>
          </a:custGeom>
          <a:solidFill>
            <a:schemeClr val="accent6"/>
          </a:solidFill>
          <a:ln w="0">
            <a:noFill/>
            <a:prstDash val="solid"/>
            <a:round/>
            <a:headEnd/>
            <a:tailEnd/>
          </a:ln>
        </p:spPr>
        <p:txBody>
          <a:bodyPr rtlCol="0" anchor="ctr"/>
          <a:lstStyle/>
          <a:p>
            <a:endParaRPr lang="en-US" sz="1350"/>
          </a:p>
        </p:txBody>
      </p:sp>
      <p:cxnSp>
        <p:nvCxnSpPr>
          <p:cNvPr id="196" name="Connector: Elbow 243">
            <a:extLst>
              <a:ext uri="{FF2B5EF4-FFF2-40B4-BE49-F238E27FC236}">
                <a16:creationId xmlns:a16="http://schemas.microsoft.com/office/drawing/2014/main" id="{E5F5A145-1A3B-ED6B-CB18-15E0E6D68AEC}"/>
              </a:ext>
            </a:extLst>
          </p:cNvPr>
          <p:cNvCxnSpPr>
            <a:cxnSpLocks/>
          </p:cNvCxnSpPr>
          <p:nvPr/>
        </p:nvCxnSpPr>
        <p:spPr>
          <a:xfrm rot="10800000">
            <a:off x="844970" y="2417240"/>
            <a:ext cx="1753451" cy="191656"/>
          </a:xfrm>
          <a:prstGeom prst="bentConnector2">
            <a:avLst/>
          </a:prstGeom>
          <a:ln w="635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97" name="Rechteck 12">
            <a:extLst>
              <a:ext uri="{FF2B5EF4-FFF2-40B4-BE49-F238E27FC236}">
                <a16:creationId xmlns:a16="http://schemas.microsoft.com/office/drawing/2014/main" id="{6C89A18B-87A1-091E-866E-169AF6900B0B}"/>
              </a:ext>
            </a:extLst>
          </p:cNvPr>
          <p:cNvSpPr/>
          <p:nvPr/>
        </p:nvSpPr>
        <p:spPr>
          <a:xfrm>
            <a:off x="5704075" y="3723423"/>
            <a:ext cx="1289925" cy="851484"/>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198" name="RBContent12">
            <a:extLst>
              <a:ext uri="{FF2B5EF4-FFF2-40B4-BE49-F238E27FC236}">
                <a16:creationId xmlns:a16="http://schemas.microsoft.com/office/drawing/2014/main" id="{F5A4BBC0-176C-C365-6071-1C2B82FCA771}"/>
              </a:ext>
            </a:extLst>
          </p:cNvPr>
          <p:cNvSpPr txBox="1">
            <a:spLocks/>
          </p:cNvSpPr>
          <p:nvPr/>
        </p:nvSpPr>
        <p:spPr>
          <a:xfrm>
            <a:off x="5775628" y="3944143"/>
            <a:ext cx="1188000" cy="572464"/>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900" b="1">
                <a:sym typeface="+mn-lt"/>
              </a:rPr>
              <a:t>North Field </a:t>
            </a:r>
            <a:r>
              <a:rPr lang="en-US" sz="900" b="1" err="1">
                <a:sym typeface="+mn-lt"/>
              </a:rPr>
              <a:t>Expl</a:t>
            </a:r>
            <a:r>
              <a:rPr lang="en-US" sz="900" b="1">
                <a:sym typeface="+mn-lt"/>
              </a:rPr>
              <a:t>.</a:t>
            </a:r>
          </a:p>
          <a:p>
            <a:pPr marL="0" lvl="1">
              <a:lnSpc>
                <a:spcPct val="90000"/>
              </a:lnSpc>
              <a:spcBef>
                <a:spcPts val="300"/>
              </a:spcBef>
              <a:buSzPct val="100000"/>
            </a:pPr>
            <a:r>
              <a:rPr lang="en-US" sz="800">
                <a:sym typeface="+mn-lt"/>
              </a:rPr>
              <a:t>Capex: USD 10 bn</a:t>
            </a:r>
          </a:p>
          <a:p>
            <a:pPr marL="0" lvl="1">
              <a:lnSpc>
                <a:spcPct val="90000"/>
              </a:lnSpc>
              <a:spcBef>
                <a:spcPts val="300"/>
              </a:spcBef>
              <a:buSzPct val="100000"/>
            </a:pPr>
            <a:r>
              <a:rPr lang="en-US" sz="800">
                <a:sym typeface="+mn-lt"/>
              </a:rPr>
              <a:t>Company: Qatar Energy</a:t>
            </a:r>
          </a:p>
          <a:p>
            <a:pPr marL="0" lvl="1">
              <a:lnSpc>
                <a:spcPct val="90000"/>
              </a:lnSpc>
              <a:spcBef>
                <a:spcPts val="300"/>
              </a:spcBef>
              <a:buSzPct val="100000"/>
            </a:pPr>
            <a:r>
              <a:rPr lang="en-US" sz="800">
                <a:sym typeface="+mn-lt"/>
              </a:rPr>
              <a:t>Completion: 2025</a:t>
            </a:r>
          </a:p>
        </p:txBody>
      </p:sp>
      <p:sp>
        <p:nvSpPr>
          <p:cNvPr id="199" name="Freeform: Shape 248">
            <a:extLst>
              <a:ext uri="{FF2B5EF4-FFF2-40B4-BE49-F238E27FC236}">
                <a16:creationId xmlns:a16="http://schemas.microsoft.com/office/drawing/2014/main" id="{38396BB5-5EF2-2430-02E3-2EFCA2B575CF}"/>
              </a:ext>
            </a:extLst>
          </p:cNvPr>
          <p:cNvSpPr>
            <a:spLocks noChangeAspect="1"/>
          </p:cNvSpPr>
          <p:nvPr/>
        </p:nvSpPr>
        <p:spPr>
          <a:xfrm>
            <a:off x="6716326" y="3757001"/>
            <a:ext cx="161692" cy="161738"/>
          </a:xfrm>
          <a:custGeom>
            <a:avLst/>
            <a:gdLst>
              <a:gd name="connsiteX0" fmla="*/ 842193 w 3648846"/>
              <a:gd name="connsiteY0" fmla="*/ 3403529 h 3649899"/>
              <a:gd name="connsiteX1" fmla="*/ 1069999 w 3648846"/>
              <a:gd name="connsiteY1" fmla="*/ 3480948 h 3649899"/>
              <a:gd name="connsiteX2" fmla="*/ 1401003 w 3648846"/>
              <a:gd name="connsiteY2" fmla="*/ 3480948 h 3649899"/>
              <a:gd name="connsiteX3" fmla="*/ 1856103 w 3648846"/>
              <a:gd name="connsiteY3" fmla="*/ 3480948 h 3649899"/>
              <a:gd name="connsiteX4" fmla="*/ 2187106 w 3648846"/>
              <a:gd name="connsiteY4" fmla="*/ 3480948 h 3649899"/>
              <a:gd name="connsiteX5" fmla="*/ 2642207 w 3648846"/>
              <a:gd name="connsiteY5" fmla="*/ 3480948 h 3649899"/>
              <a:gd name="connsiteX6" fmla="*/ 2973153 w 3648846"/>
              <a:gd name="connsiteY6" fmla="*/ 3480948 h 3649899"/>
              <a:gd name="connsiteX7" fmla="*/ 3428196 w 3648846"/>
              <a:gd name="connsiteY7" fmla="*/ 3480948 h 3649899"/>
              <a:gd name="connsiteX8" fmla="*/ 3593527 w 3648846"/>
              <a:gd name="connsiteY8" fmla="*/ 3538092 h 3649899"/>
              <a:gd name="connsiteX9" fmla="*/ 3648789 w 3648846"/>
              <a:gd name="connsiteY9" fmla="*/ 3593355 h 3649899"/>
              <a:gd name="connsiteX10" fmla="*/ 3593527 w 3648846"/>
              <a:gd name="connsiteY10" fmla="*/ 3648731 h 3649899"/>
              <a:gd name="connsiteX11" fmla="*/ 3366091 w 3648846"/>
              <a:gd name="connsiteY11" fmla="*/ 3572481 h 3649899"/>
              <a:gd name="connsiteX12" fmla="*/ 3035259 w 3648846"/>
              <a:gd name="connsiteY12" fmla="*/ 3572481 h 3649899"/>
              <a:gd name="connsiteX13" fmla="*/ 2580158 w 3648846"/>
              <a:gd name="connsiteY13" fmla="*/ 3572481 h 3649899"/>
              <a:gd name="connsiteX14" fmla="*/ 2249212 w 3648846"/>
              <a:gd name="connsiteY14" fmla="*/ 3572481 h 3649899"/>
              <a:gd name="connsiteX15" fmla="*/ 1793998 w 3648846"/>
              <a:gd name="connsiteY15" fmla="*/ 3572481 h 3649899"/>
              <a:gd name="connsiteX16" fmla="*/ 1463052 w 3648846"/>
              <a:gd name="connsiteY16" fmla="*/ 3572481 h 3649899"/>
              <a:gd name="connsiteX17" fmla="*/ 1007893 w 3648846"/>
              <a:gd name="connsiteY17" fmla="*/ 3572481 h 3649899"/>
              <a:gd name="connsiteX18" fmla="*/ 676548 w 3648846"/>
              <a:gd name="connsiteY18" fmla="*/ 3572481 h 3649899"/>
              <a:gd name="connsiteX19" fmla="*/ 220991 w 3648846"/>
              <a:gd name="connsiteY19" fmla="*/ 3572481 h 3649899"/>
              <a:gd name="connsiteX20" fmla="*/ 55262 w 3648846"/>
              <a:gd name="connsiteY20" fmla="*/ 3515280 h 3649899"/>
              <a:gd name="connsiteX21" fmla="*/ 0 w 3648846"/>
              <a:gd name="connsiteY21" fmla="*/ 3460018 h 3649899"/>
              <a:gd name="connsiteX22" fmla="*/ 55262 w 3648846"/>
              <a:gd name="connsiteY22" fmla="*/ 3404755 h 3649899"/>
              <a:gd name="connsiteX23" fmla="*/ 283040 w 3648846"/>
              <a:gd name="connsiteY23" fmla="*/ 3480948 h 3649899"/>
              <a:gd name="connsiteX24" fmla="*/ 614556 w 3648846"/>
              <a:gd name="connsiteY24" fmla="*/ 3480948 h 3649899"/>
              <a:gd name="connsiteX25" fmla="*/ 842193 w 3648846"/>
              <a:gd name="connsiteY25" fmla="*/ 3403529 h 3649899"/>
              <a:gd name="connsiteX26" fmla="*/ 842214 w 3648846"/>
              <a:gd name="connsiteY26" fmla="*/ 3074466 h 3649899"/>
              <a:gd name="connsiteX27" fmla="*/ 1069999 w 3648846"/>
              <a:gd name="connsiteY27" fmla="*/ 3151885 h 3649899"/>
              <a:gd name="connsiteX28" fmla="*/ 1401003 w 3648846"/>
              <a:gd name="connsiteY28" fmla="*/ 3151885 h 3649899"/>
              <a:gd name="connsiteX29" fmla="*/ 1856103 w 3648846"/>
              <a:gd name="connsiteY29" fmla="*/ 3151885 h 3649899"/>
              <a:gd name="connsiteX30" fmla="*/ 2187106 w 3648846"/>
              <a:gd name="connsiteY30" fmla="*/ 3151885 h 3649899"/>
              <a:gd name="connsiteX31" fmla="*/ 2642207 w 3648846"/>
              <a:gd name="connsiteY31" fmla="*/ 3151885 h 3649899"/>
              <a:gd name="connsiteX32" fmla="*/ 2973153 w 3648846"/>
              <a:gd name="connsiteY32" fmla="*/ 3151885 h 3649899"/>
              <a:gd name="connsiteX33" fmla="*/ 3428196 w 3648846"/>
              <a:gd name="connsiteY33" fmla="*/ 3151885 h 3649899"/>
              <a:gd name="connsiteX34" fmla="*/ 3593584 w 3648846"/>
              <a:gd name="connsiteY34" fmla="*/ 3209029 h 3649899"/>
              <a:gd name="connsiteX35" fmla="*/ 3648846 w 3648846"/>
              <a:gd name="connsiteY35" fmla="*/ 3264291 h 3649899"/>
              <a:gd name="connsiteX36" fmla="*/ 3593527 w 3648846"/>
              <a:gd name="connsiteY36" fmla="*/ 3319554 h 3649899"/>
              <a:gd name="connsiteX37" fmla="*/ 3366091 w 3648846"/>
              <a:gd name="connsiteY37" fmla="*/ 3243361 h 3649899"/>
              <a:gd name="connsiteX38" fmla="*/ 3035259 w 3648846"/>
              <a:gd name="connsiteY38" fmla="*/ 3243361 h 3649899"/>
              <a:gd name="connsiteX39" fmla="*/ 2580158 w 3648846"/>
              <a:gd name="connsiteY39" fmla="*/ 3243361 h 3649899"/>
              <a:gd name="connsiteX40" fmla="*/ 2249212 w 3648846"/>
              <a:gd name="connsiteY40" fmla="*/ 3243361 h 3649899"/>
              <a:gd name="connsiteX41" fmla="*/ 1793998 w 3648846"/>
              <a:gd name="connsiteY41" fmla="*/ 3243361 h 3649899"/>
              <a:gd name="connsiteX42" fmla="*/ 1463052 w 3648846"/>
              <a:gd name="connsiteY42" fmla="*/ 3243361 h 3649899"/>
              <a:gd name="connsiteX43" fmla="*/ 1007893 w 3648846"/>
              <a:gd name="connsiteY43" fmla="*/ 3243361 h 3649899"/>
              <a:gd name="connsiteX44" fmla="*/ 676548 w 3648846"/>
              <a:gd name="connsiteY44" fmla="*/ 3243361 h 3649899"/>
              <a:gd name="connsiteX45" fmla="*/ 220991 w 3648846"/>
              <a:gd name="connsiteY45" fmla="*/ 3243361 h 3649899"/>
              <a:gd name="connsiteX46" fmla="*/ 55262 w 3648846"/>
              <a:gd name="connsiteY46" fmla="*/ 3186217 h 3649899"/>
              <a:gd name="connsiteX47" fmla="*/ 0 w 3648846"/>
              <a:gd name="connsiteY47" fmla="*/ 3130955 h 3649899"/>
              <a:gd name="connsiteX48" fmla="*/ 55262 w 3648846"/>
              <a:gd name="connsiteY48" fmla="*/ 3075692 h 3649899"/>
              <a:gd name="connsiteX49" fmla="*/ 283040 w 3648846"/>
              <a:gd name="connsiteY49" fmla="*/ 3151885 h 3649899"/>
              <a:gd name="connsiteX50" fmla="*/ 614556 w 3648846"/>
              <a:gd name="connsiteY50" fmla="*/ 3151885 h 3649899"/>
              <a:gd name="connsiteX51" fmla="*/ 842214 w 3648846"/>
              <a:gd name="connsiteY51" fmla="*/ 3074466 h 3649899"/>
              <a:gd name="connsiteX52" fmla="*/ 842193 w 3648846"/>
              <a:gd name="connsiteY52" fmla="*/ 2745231 h 3649899"/>
              <a:gd name="connsiteX53" fmla="*/ 1069999 w 3648846"/>
              <a:gd name="connsiteY53" fmla="*/ 2822650 h 3649899"/>
              <a:gd name="connsiteX54" fmla="*/ 1401003 w 3648846"/>
              <a:gd name="connsiteY54" fmla="*/ 2822650 h 3649899"/>
              <a:gd name="connsiteX55" fmla="*/ 1856103 w 3648846"/>
              <a:gd name="connsiteY55" fmla="*/ 2822650 h 3649899"/>
              <a:gd name="connsiteX56" fmla="*/ 2187106 w 3648846"/>
              <a:gd name="connsiteY56" fmla="*/ 2822650 h 3649899"/>
              <a:gd name="connsiteX57" fmla="*/ 2642207 w 3648846"/>
              <a:gd name="connsiteY57" fmla="*/ 2822650 h 3649899"/>
              <a:gd name="connsiteX58" fmla="*/ 2973153 w 3648846"/>
              <a:gd name="connsiteY58" fmla="*/ 2822650 h 3649899"/>
              <a:gd name="connsiteX59" fmla="*/ 3428196 w 3648846"/>
              <a:gd name="connsiteY59" fmla="*/ 2822650 h 3649899"/>
              <a:gd name="connsiteX60" fmla="*/ 3593527 w 3648846"/>
              <a:gd name="connsiteY60" fmla="*/ 2879794 h 3649899"/>
              <a:gd name="connsiteX61" fmla="*/ 3648789 w 3648846"/>
              <a:gd name="connsiteY61" fmla="*/ 2935056 h 3649899"/>
              <a:gd name="connsiteX62" fmla="*/ 3593527 w 3648846"/>
              <a:gd name="connsiteY62" fmla="*/ 2990433 h 3649899"/>
              <a:gd name="connsiteX63" fmla="*/ 3366091 w 3648846"/>
              <a:gd name="connsiteY63" fmla="*/ 2914183 h 3649899"/>
              <a:gd name="connsiteX64" fmla="*/ 3035259 w 3648846"/>
              <a:gd name="connsiteY64" fmla="*/ 2914183 h 3649899"/>
              <a:gd name="connsiteX65" fmla="*/ 2580158 w 3648846"/>
              <a:gd name="connsiteY65" fmla="*/ 2914183 h 3649899"/>
              <a:gd name="connsiteX66" fmla="*/ 2249212 w 3648846"/>
              <a:gd name="connsiteY66" fmla="*/ 2914183 h 3649899"/>
              <a:gd name="connsiteX67" fmla="*/ 1793998 w 3648846"/>
              <a:gd name="connsiteY67" fmla="*/ 2914183 h 3649899"/>
              <a:gd name="connsiteX68" fmla="*/ 1463052 w 3648846"/>
              <a:gd name="connsiteY68" fmla="*/ 2914183 h 3649899"/>
              <a:gd name="connsiteX69" fmla="*/ 1007893 w 3648846"/>
              <a:gd name="connsiteY69" fmla="*/ 2914183 h 3649899"/>
              <a:gd name="connsiteX70" fmla="*/ 676548 w 3648846"/>
              <a:gd name="connsiteY70" fmla="*/ 2914183 h 3649899"/>
              <a:gd name="connsiteX71" fmla="*/ 220991 w 3648846"/>
              <a:gd name="connsiteY71" fmla="*/ 2914183 h 3649899"/>
              <a:gd name="connsiteX72" fmla="*/ 55262 w 3648846"/>
              <a:gd name="connsiteY72" fmla="*/ 2856982 h 3649899"/>
              <a:gd name="connsiteX73" fmla="*/ 0 w 3648846"/>
              <a:gd name="connsiteY73" fmla="*/ 2801720 h 3649899"/>
              <a:gd name="connsiteX74" fmla="*/ 55262 w 3648846"/>
              <a:gd name="connsiteY74" fmla="*/ 2746457 h 3649899"/>
              <a:gd name="connsiteX75" fmla="*/ 283040 w 3648846"/>
              <a:gd name="connsiteY75" fmla="*/ 2822650 h 3649899"/>
              <a:gd name="connsiteX76" fmla="*/ 614556 w 3648846"/>
              <a:gd name="connsiteY76" fmla="*/ 2822650 h 3649899"/>
              <a:gd name="connsiteX77" fmla="*/ 842193 w 3648846"/>
              <a:gd name="connsiteY77" fmla="*/ 2745231 h 3649899"/>
              <a:gd name="connsiteX78" fmla="*/ 1884447 w 3648846"/>
              <a:gd name="connsiteY78" fmla="*/ 1301941 h 3649899"/>
              <a:gd name="connsiteX79" fmla="*/ 3110652 w 3648846"/>
              <a:gd name="connsiteY79" fmla="*/ 1983109 h 3649899"/>
              <a:gd name="connsiteX80" fmla="*/ 2805483 w 3648846"/>
              <a:gd name="connsiteY80" fmla="*/ 2769270 h 3649899"/>
              <a:gd name="connsiteX81" fmla="*/ 2704312 w 3648846"/>
              <a:gd name="connsiteY81" fmla="*/ 2731117 h 3649899"/>
              <a:gd name="connsiteX82" fmla="*/ 2124943 w 3648846"/>
              <a:gd name="connsiteY82" fmla="*/ 2731117 h 3649899"/>
              <a:gd name="connsiteX83" fmla="*/ 2021547 w 3648846"/>
              <a:gd name="connsiteY83" fmla="*/ 2769270 h 3649899"/>
              <a:gd name="connsiteX84" fmla="*/ 1918151 w 3648846"/>
              <a:gd name="connsiteY84" fmla="*/ 2731117 h 3649899"/>
              <a:gd name="connsiteX85" fmla="*/ 1881139 w 3648846"/>
              <a:gd name="connsiteY85" fmla="*/ 2706765 h 3649899"/>
              <a:gd name="connsiteX86" fmla="*/ 1884447 w 3648846"/>
              <a:gd name="connsiteY86" fmla="*/ 1301941 h 3649899"/>
              <a:gd name="connsiteX87" fmla="*/ 1768276 w 3648846"/>
              <a:gd name="connsiteY87" fmla="*/ 1298690 h 3649899"/>
              <a:gd name="connsiteX88" fmla="*/ 1769416 w 3648846"/>
              <a:gd name="connsiteY88" fmla="*/ 2655381 h 3649899"/>
              <a:gd name="connsiteX89" fmla="*/ 1338725 w 3648846"/>
              <a:gd name="connsiteY89" fmla="*/ 2731117 h 3649899"/>
              <a:gd name="connsiteX90" fmla="*/ 1235329 w 3648846"/>
              <a:gd name="connsiteY90" fmla="*/ 2769270 h 3649899"/>
              <a:gd name="connsiteX91" fmla="*/ 1131933 w 3648846"/>
              <a:gd name="connsiteY91" fmla="*/ 2731117 h 3649899"/>
              <a:gd name="connsiteX92" fmla="*/ 842220 w 3648846"/>
              <a:gd name="connsiteY92" fmla="*/ 2636047 h 3649899"/>
              <a:gd name="connsiteX93" fmla="*/ 791920 w 3648846"/>
              <a:gd name="connsiteY93" fmla="*/ 2638272 h 3649899"/>
              <a:gd name="connsiteX94" fmla="*/ 534315 w 3648846"/>
              <a:gd name="connsiteY94" fmla="*/ 1974270 h 3649899"/>
              <a:gd name="connsiteX95" fmla="*/ 1886442 w 3648846"/>
              <a:gd name="connsiteY95" fmla="*/ 794715 h 3649899"/>
              <a:gd name="connsiteX96" fmla="*/ 3233893 w 3648846"/>
              <a:gd name="connsiteY96" fmla="*/ 1533598 h 3649899"/>
              <a:gd name="connsiteX97" fmla="*/ 3258759 w 3648846"/>
              <a:gd name="connsiteY97" fmla="*/ 1602148 h 3649899"/>
              <a:gd name="connsiteX98" fmla="*/ 3151257 w 3648846"/>
              <a:gd name="connsiteY98" fmla="*/ 1879087 h 3649899"/>
              <a:gd name="connsiteX99" fmla="*/ 1885074 w 3648846"/>
              <a:gd name="connsiteY99" fmla="*/ 1175506 h 3649899"/>
              <a:gd name="connsiteX100" fmla="*/ 1775918 w 3648846"/>
              <a:gd name="connsiteY100" fmla="*/ 787586 h 3649899"/>
              <a:gd name="connsiteX101" fmla="*/ 1775861 w 3648846"/>
              <a:gd name="connsiteY101" fmla="*/ 798307 h 3649899"/>
              <a:gd name="connsiteX102" fmla="*/ 1768561 w 3648846"/>
              <a:gd name="connsiteY102" fmla="*/ 1172483 h 3649899"/>
              <a:gd name="connsiteX103" fmla="*/ 493937 w 3648846"/>
              <a:gd name="connsiteY103" fmla="*/ 1870076 h 3649899"/>
              <a:gd name="connsiteX104" fmla="*/ 390028 w 3648846"/>
              <a:gd name="connsiteY104" fmla="*/ 1602148 h 3649899"/>
              <a:gd name="connsiteX105" fmla="*/ 414893 w 3648846"/>
              <a:gd name="connsiteY105" fmla="*/ 1533598 h 3649899"/>
              <a:gd name="connsiteX106" fmla="*/ 1501262 w 3648846"/>
              <a:gd name="connsiteY106" fmla="*/ 0 h 3649899"/>
              <a:gd name="connsiteX107" fmla="*/ 2147014 w 3648846"/>
              <a:gd name="connsiteY107" fmla="*/ 0 h 3649899"/>
              <a:gd name="connsiteX108" fmla="*/ 2202276 w 3648846"/>
              <a:gd name="connsiteY108" fmla="*/ 55262 h 3649899"/>
              <a:gd name="connsiteX109" fmla="*/ 2202276 w 3648846"/>
              <a:gd name="connsiteY109" fmla="*/ 430121 h 3649899"/>
              <a:gd name="connsiteX110" fmla="*/ 2777254 w 3648846"/>
              <a:gd name="connsiteY110" fmla="*/ 430121 h 3649899"/>
              <a:gd name="connsiteX111" fmla="*/ 2832516 w 3648846"/>
              <a:gd name="connsiteY111" fmla="*/ 485383 h 3649899"/>
              <a:gd name="connsiteX112" fmla="*/ 2832516 w 3648846"/>
              <a:gd name="connsiteY112" fmla="*/ 1187481 h 3649899"/>
              <a:gd name="connsiteX113" fmla="*/ 1903723 w 3648846"/>
              <a:gd name="connsiteY113" fmla="*/ 678316 h 3649899"/>
              <a:gd name="connsiteX114" fmla="*/ 1824109 w 3648846"/>
              <a:gd name="connsiteY114" fmla="*/ 657842 h 3649899"/>
              <a:gd name="connsiteX115" fmla="*/ 1742271 w 3648846"/>
              <a:gd name="connsiteY115" fmla="*/ 679400 h 3649899"/>
              <a:gd name="connsiteX116" fmla="*/ 1727329 w 3648846"/>
              <a:gd name="connsiteY116" fmla="*/ 687156 h 3649899"/>
              <a:gd name="connsiteX117" fmla="*/ 1725675 w 3648846"/>
              <a:gd name="connsiteY117" fmla="*/ 688810 h 3649899"/>
              <a:gd name="connsiteX118" fmla="*/ 816215 w 3648846"/>
              <a:gd name="connsiteY118" fmla="*/ 1187481 h 3649899"/>
              <a:gd name="connsiteX119" fmla="*/ 816215 w 3648846"/>
              <a:gd name="connsiteY119" fmla="*/ 485383 h 3649899"/>
              <a:gd name="connsiteX120" fmla="*/ 871477 w 3648846"/>
              <a:gd name="connsiteY120" fmla="*/ 430121 h 3649899"/>
              <a:gd name="connsiteX121" fmla="*/ 1445885 w 3648846"/>
              <a:gd name="connsiteY121" fmla="*/ 430121 h 3649899"/>
              <a:gd name="connsiteX122" fmla="*/ 1445885 w 3648846"/>
              <a:gd name="connsiteY122" fmla="*/ 55262 h 3649899"/>
              <a:gd name="connsiteX123" fmla="*/ 1501262 w 3648846"/>
              <a:gd name="connsiteY123" fmla="*/ 0 h 36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3648846" h="3649899">
                <a:moveTo>
                  <a:pt x="842193" y="3403529"/>
                </a:moveTo>
                <a:cubicBezTo>
                  <a:pt x="918000" y="3403500"/>
                  <a:pt x="993836" y="3429278"/>
                  <a:pt x="1069999" y="3480948"/>
                </a:cubicBezTo>
                <a:cubicBezTo>
                  <a:pt x="1184574" y="3558680"/>
                  <a:pt x="1286258" y="3558851"/>
                  <a:pt x="1401003" y="3480948"/>
                </a:cubicBezTo>
                <a:cubicBezTo>
                  <a:pt x="1551163" y="3378920"/>
                  <a:pt x="1702293" y="3376582"/>
                  <a:pt x="1856103" y="3480948"/>
                </a:cubicBezTo>
                <a:cubicBezTo>
                  <a:pt x="1970677" y="3558737"/>
                  <a:pt x="2072419" y="3558794"/>
                  <a:pt x="2187106" y="3480948"/>
                </a:cubicBezTo>
                <a:cubicBezTo>
                  <a:pt x="2336639" y="3379433"/>
                  <a:pt x="2487883" y="3376126"/>
                  <a:pt x="2642207" y="3480948"/>
                </a:cubicBezTo>
                <a:cubicBezTo>
                  <a:pt x="2756780" y="3558737"/>
                  <a:pt x="2858408" y="3558794"/>
                  <a:pt x="2973153" y="3480948"/>
                </a:cubicBezTo>
                <a:cubicBezTo>
                  <a:pt x="3122686" y="3379433"/>
                  <a:pt x="3273873" y="3376126"/>
                  <a:pt x="3428196" y="3480948"/>
                </a:cubicBezTo>
                <a:cubicBezTo>
                  <a:pt x="3475189" y="3512885"/>
                  <a:pt x="3512316" y="3538092"/>
                  <a:pt x="3593527" y="3538092"/>
                </a:cubicBezTo>
                <a:cubicBezTo>
                  <a:pt x="3624038" y="3538092"/>
                  <a:pt x="3648789" y="3562843"/>
                  <a:pt x="3648789" y="3593355"/>
                </a:cubicBezTo>
                <a:cubicBezTo>
                  <a:pt x="3648789" y="3623866"/>
                  <a:pt x="3624095" y="3648731"/>
                  <a:pt x="3593527" y="3648731"/>
                </a:cubicBezTo>
                <a:cubicBezTo>
                  <a:pt x="3478326" y="3648731"/>
                  <a:pt x="3418672" y="3608239"/>
                  <a:pt x="3366091" y="3572481"/>
                </a:cubicBezTo>
                <a:cubicBezTo>
                  <a:pt x="3251574" y="3494692"/>
                  <a:pt x="3149946" y="3494635"/>
                  <a:pt x="3035259" y="3572481"/>
                </a:cubicBezTo>
                <a:cubicBezTo>
                  <a:pt x="2885726" y="3673995"/>
                  <a:pt x="2734482" y="3677303"/>
                  <a:pt x="2580158" y="3572481"/>
                </a:cubicBezTo>
                <a:cubicBezTo>
                  <a:pt x="2465528" y="3494692"/>
                  <a:pt x="2363957" y="3494635"/>
                  <a:pt x="2249212" y="3572481"/>
                </a:cubicBezTo>
                <a:cubicBezTo>
                  <a:pt x="2099337" y="3674223"/>
                  <a:pt x="1948150" y="3677075"/>
                  <a:pt x="1793998" y="3572481"/>
                </a:cubicBezTo>
                <a:cubicBezTo>
                  <a:pt x="1679424" y="3494749"/>
                  <a:pt x="1577739" y="3494578"/>
                  <a:pt x="1463052" y="3572481"/>
                </a:cubicBezTo>
                <a:cubicBezTo>
                  <a:pt x="1312606" y="3674679"/>
                  <a:pt x="1161419" y="3676676"/>
                  <a:pt x="1007893" y="3572481"/>
                </a:cubicBezTo>
                <a:cubicBezTo>
                  <a:pt x="893149" y="3494635"/>
                  <a:pt x="791464" y="3494635"/>
                  <a:pt x="676548" y="3572481"/>
                </a:cubicBezTo>
                <a:cubicBezTo>
                  <a:pt x="524335" y="3675649"/>
                  <a:pt x="373376" y="3675763"/>
                  <a:pt x="220991" y="3572481"/>
                </a:cubicBezTo>
                <a:cubicBezTo>
                  <a:pt x="173884" y="3540545"/>
                  <a:pt x="136644" y="3515280"/>
                  <a:pt x="55262" y="3515280"/>
                </a:cubicBezTo>
                <a:cubicBezTo>
                  <a:pt x="24751" y="3515280"/>
                  <a:pt x="0" y="3490529"/>
                  <a:pt x="0" y="3460018"/>
                </a:cubicBezTo>
                <a:cubicBezTo>
                  <a:pt x="0" y="3429506"/>
                  <a:pt x="24751" y="3404755"/>
                  <a:pt x="55262" y="3404755"/>
                </a:cubicBezTo>
                <a:cubicBezTo>
                  <a:pt x="170634" y="3404755"/>
                  <a:pt x="230344" y="3445247"/>
                  <a:pt x="283040" y="3480948"/>
                </a:cubicBezTo>
                <a:cubicBezTo>
                  <a:pt x="397956" y="3558794"/>
                  <a:pt x="499641" y="3558794"/>
                  <a:pt x="614556" y="3480948"/>
                </a:cubicBezTo>
                <a:cubicBezTo>
                  <a:pt x="690606" y="3429393"/>
                  <a:pt x="766385" y="3403558"/>
                  <a:pt x="842193" y="3403529"/>
                </a:cubicBezTo>
                <a:close/>
                <a:moveTo>
                  <a:pt x="842214" y="3074466"/>
                </a:moveTo>
                <a:cubicBezTo>
                  <a:pt x="918000" y="3074452"/>
                  <a:pt x="993807" y="3100244"/>
                  <a:pt x="1069999" y="3151885"/>
                </a:cubicBezTo>
                <a:cubicBezTo>
                  <a:pt x="1184574" y="3229617"/>
                  <a:pt x="1286258" y="3229731"/>
                  <a:pt x="1401003" y="3151885"/>
                </a:cubicBezTo>
                <a:cubicBezTo>
                  <a:pt x="1550536" y="3050313"/>
                  <a:pt x="1701666" y="3047120"/>
                  <a:pt x="1856103" y="3151885"/>
                </a:cubicBezTo>
                <a:cubicBezTo>
                  <a:pt x="1970677" y="3229674"/>
                  <a:pt x="2072419" y="3229731"/>
                  <a:pt x="2187106" y="3151885"/>
                </a:cubicBezTo>
                <a:cubicBezTo>
                  <a:pt x="2339149" y="3048717"/>
                  <a:pt x="2489994" y="3048603"/>
                  <a:pt x="2642207" y="3151885"/>
                </a:cubicBezTo>
                <a:cubicBezTo>
                  <a:pt x="2756780" y="3229674"/>
                  <a:pt x="2858408" y="3229731"/>
                  <a:pt x="2973153" y="3151885"/>
                </a:cubicBezTo>
                <a:cubicBezTo>
                  <a:pt x="3125081" y="3048774"/>
                  <a:pt x="3276040" y="3048546"/>
                  <a:pt x="3428196" y="3151885"/>
                </a:cubicBezTo>
                <a:cubicBezTo>
                  <a:pt x="3475246" y="3183765"/>
                  <a:pt x="3512373" y="3209029"/>
                  <a:pt x="3593584" y="3209029"/>
                </a:cubicBezTo>
                <a:cubicBezTo>
                  <a:pt x="3624095" y="3209029"/>
                  <a:pt x="3648846" y="3233780"/>
                  <a:pt x="3648846" y="3264291"/>
                </a:cubicBezTo>
                <a:cubicBezTo>
                  <a:pt x="3648846" y="3294802"/>
                  <a:pt x="3624095" y="3319554"/>
                  <a:pt x="3593527" y="3319554"/>
                </a:cubicBezTo>
                <a:cubicBezTo>
                  <a:pt x="3478326" y="3319554"/>
                  <a:pt x="3418672" y="3279062"/>
                  <a:pt x="3366091" y="3243361"/>
                </a:cubicBezTo>
                <a:cubicBezTo>
                  <a:pt x="3251574" y="3165572"/>
                  <a:pt x="3149946" y="3165515"/>
                  <a:pt x="3035259" y="3243361"/>
                </a:cubicBezTo>
                <a:cubicBezTo>
                  <a:pt x="2883216" y="3346529"/>
                  <a:pt x="2732372" y="3346643"/>
                  <a:pt x="2580158" y="3243361"/>
                </a:cubicBezTo>
                <a:cubicBezTo>
                  <a:pt x="2465528" y="3165572"/>
                  <a:pt x="2363957" y="3165515"/>
                  <a:pt x="2249212" y="3243361"/>
                </a:cubicBezTo>
                <a:cubicBezTo>
                  <a:pt x="2097170" y="3346529"/>
                  <a:pt x="1946325" y="3346643"/>
                  <a:pt x="1793998" y="3243361"/>
                </a:cubicBezTo>
                <a:cubicBezTo>
                  <a:pt x="1679424" y="3165629"/>
                  <a:pt x="1577739" y="3165458"/>
                  <a:pt x="1463052" y="3243361"/>
                </a:cubicBezTo>
                <a:cubicBezTo>
                  <a:pt x="1313120" y="3345103"/>
                  <a:pt x="1162104" y="3347898"/>
                  <a:pt x="1007893" y="3243361"/>
                </a:cubicBezTo>
                <a:cubicBezTo>
                  <a:pt x="893320" y="3165572"/>
                  <a:pt x="791407" y="3165515"/>
                  <a:pt x="676548" y="3243361"/>
                </a:cubicBezTo>
                <a:cubicBezTo>
                  <a:pt x="524335" y="3346529"/>
                  <a:pt x="373376" y="3346643"/>
                  <a:pt x="220991" y="3243361"/>
                </a:cubicBezTo>
                <a:cubicBezTo>
                  <a:pt x="173884" y="3211425"/>
                  <a:pt x="136644" y="3186217"/>
                  <a:pt x="55262" y="3186217"/>
                </a:cubicBezTo>
                <a:cubicBezTo>
                  <a:pt x="24751" y="3186217"/>
                  <a:pt x="0" y="3161466"/>
                  <a:pt x="0" y="3130955"/>
                </a:cubicBezTo>
                <a:cubicBezTo>
                  <a:pt x="0" y="3100443"/>
                  <a:pt x="24751" y="3075692"/>
                  <a:pt x="55262" y="3075692"/>
                </a:cubicBezTo>
                <a:cubicBezTo>
                  <a:pt x="170634" y="3075692"/>
                  <a:pt x="230344" y="3116184"/>
                  <a:pt x="283040" y="3151885"/>
                </a:cubicBezTo>
                <a:cubicBezTo>
                  <a:pt x="397785" y="3229674"/>
                  <a:pt x="499698" y="3229731"/>
                  <a:pt x="614556" y="3151885"/>
                </a:cubicBezTo>
                <a:cubicBezTo>
                  <a:pt x="690663" y="3100301"/>
                  <a:pt x="766428" y="3074481"/>
                  <a:pt x="842214" y="3074466"/>
                </a:cubicBezTo>
                <a:close/>
                <a:moveTo>
                  <a:pt x="842193" y="2745231"/>
                </a:moveTo>
                <a:cubicBezTo>
                  <a:pt x="918000" y="2745202"/>
                  <a:pt x="993836" y="2770980"/>
                  <a:pt x="1069999" y="2822650"/>
                </a:cubicBezTo>
                <a:cubicBezTo>
                  <a:pt x="1184574" y="2900382"/>
                  <a:pt x="1286258" y="2900553"/>
                  <a:pt x="1401003" y="2822650"/>
                </a:cubicBezTo>
                <a:cubicBezTo>
                  <a:pt x="1551163" y="2720622"/>
                  <a:pt x="1702293" y="2718284"/>
                  <a:pt x="1856103" y="2822650"/>
                </a:cubicBezTo>
                <a:cubicBezTo>
                  <a:pt x="1970677" y="2900439"/>
                  <a:pt x="2072419" y="2900496"/>
                  <a:pt x="2187106" y="2822650"/>
                </a:cubicBezTo>
                <a:cubicBezTo>
                  <a:pt x="2336639" y="2721135"/>
                  <a:pt x="2487883" y="2717828"/>
                  <a:pt x="2642207" y="2822650"/>
                </a:cubicBezTo>
                <a:cubicBezTo>
                  <a:pt x="2756780" y="2900439"/>
                  <a:pt x="2858408" y="2900496"/>
                  <a:pt x="2973153" y="2822650"/>
                </a:cubicBezTo>
                <a:cubicBezTo>
                  <a:pt x="3122686" y="2721135"/>
                  <a:pt x="3273873" y="2717828"/>
                  <a:pt x="3428196" y="2822650"/>
                </a:cubicBezTo>
                <a:cubicBezTo>
                  <a:pt x="3475189" y="2854587"/>
                  <a:pt x="3512316" y="2879794"/>
                  <a:pt x="3593527" y="2879794"/>
                </a:cubicBezTo>
                <a:cubicBezTo>
                  <a:pt x="3624038" y="2879794"/>
                  <a:pt x="3648789" y="2904545"/>
                  <a:pt x="3648789" y="2935056"/>
                </a:cubicBezTo>
                <a:cubicBezTo>
                  <a:pt x="3648846" y="2965682"/>
                  <a:pt x="3624095" y="2990433"/>
                  <a:pt x="3593527" y="2990433"/>
                </a:cubicBezTo>
                <a:cubicBezTo>
                  <a:pt x="3478326" y="2990433"/>
                  <a:pt x="3418672" y="2949941"/>
                  <a:pt x="3366091" y="2914183"/>
                </a:cubicBezTo>
                <a:cubicBezTo>
                  <a:pt x="3251574" y="2836394"/>
                  <a:pt x="3149946" y="2836337"/>
                  <a:pt x="3035259" y="2914183"/>
                </a:cubicBezTo>
                <a:cubicBezTo>
                  <a:pt x="2885726" y="3015697"/>
                  <a:pt x="2734482" y="3019005"/>
                  <a:pt x="2580158" y="2914183"/>
                </a:cubicBezTo>
                <a:cubicBezTo>
                  <a:pt x="2465528" y="2836394"/>
                  <a:pt x="2363957" y="2836337"/>
                  <a:pt x="2249212" y="2914183"/>
                </a:cubicBezTo>
                <a:cubicBezTo>
                  <a:pt x="2099337" y="3015925"/>
                  <a:pt x="1948150" y="3018777"/>
                  <a:pt x="1793998" y="2914183"/>
                </a:cubicBezTo>
                <a:cubicBezTo>
                  <a:pt x="1679424" y="2836451"/>
                  <a:pt x="1577739" y="2836280"/>
                  <a:pt x="1463052" y="2914183"/>
                </a:cubicBezTo>
                <a:cubicBezTo>
                  <a:pt x="1312606" y="3016381"/>
                  <a:pt x="1161419" y="3018377"/>
                  <a:pt x="1007893" y="2914183"/>
                </a:cubicBezTo>
                <a:cubicBezTo>
                  <a:pt x="893149" y="2836337"/>
                  <a:pt x="791464" y="2836337"/>
                  <a:pt x="676548" y="2914183"/>
                </a:cubicBezTo>
                <a:cubicBezTo>
                  <a:pt x="524335" y="3017351"/>
                  <a:pt x="373376" y="3017465"/>
                  <a:pt x="220991" y="2914183"/>
                </a:cubicBezTo>
                <a:cubicBezTo>
                  <a:pt x="173884" y="2882247"/>
                  <a:pt x="136644" y="2856982"/>
                  <a:pt x="55262" y="2856982"/>
                </a:cubicBezTo>
                <a:cubicBezTo>
                  <a:pt x="24751" y="2856982"/>
                  <a:pt x="0" y="2832231"/>
                  <a:pt x="0" y="2801720"/>
                </a:cubicBezTo>
                <a:cubicBezTo>
                  <a:pt x="0" y="2771208"/>
                  <a:pt x="24751" y="2746457"/>
                  <a:pt x="55262" y="2746457"/>
                </a:cubicBezTo>
                <a:cubicBezTo>
                  <a:pt x="170634" y="2746457"/>
                  <a:pt x="230344" y="2786949"/>
                  <a:pt x="283040" y="2822650"/>
                </a:cubicBezTo>
                <a:cubicBezTo>
                  <a:pt x="397956" y="2900496"/>
                  <a:pt x="499641" y="2900496"/>
                  <a:pt x="614556" y="2822650"/>
                </a:cubicBezTo>
                <a:cubicBezTo>
                  <a:pt x="690606" y="2771094"/>
                  <a:pt x="766385" y="2745260"/>
                  <a:pt x="842193" y="2745231"/>
                </a:cubicBezTo>
                <a:close/>
                <a:moveTo>
                  <a:pt x="1884447" y="1301941"/>
                </a:moveTo>
                <a:lnTo>
                  <a:pt x="3110652" y="1983109"/>
                </a:lnTo>
                <a:lnTo>
                  <a:pt x="2805483" y="2769270"/>
                </a:lnTo>
                <a:cubicBezTo>
                  <a:pt x="2759574" y="2768700"/>
                  <a:pt x="2745773" y="2759290"/>
                  <a:pt x="2704312" y="2731117"/>
                </a:cubicBezTo>
                <a:cubicBezTo>
                  <a:pt x="2516169" y="2602742"/>
                  <a:pt x="2313256" y="2602628"/>
                  <a:pt x="2124943" y="2731117"/>
                </a:cubicBezTo>
                <a:cubicBezTo>
                  <a:pt x="2082911" y="2759860"/>
                  <a:pt x="2069110" y="2769270"/>
                  <a:pt x="2021547" y="2769270"/>
                </a:cubicBezTo>
                <a:cubicBezTo>
                  <a:pt x="1974554" y="2769270"/>
                  <a:pt x="1960182" y="2759860"/>
                  <a:pt x="1918151" y="2731117"/>
                </a:cubicBezTo>
                <a:cubicBezTo>
                  <a:pt x="1906517" y="2723361"/>
                  <a:pt x="1894370" y="2715091"/>
                  <a:pt x="1881139" y="2706765"/>
                </a:cubicBezTo>
                <a:cubicBezTo>
                  <a:pt x="1878401" y="2508300"/>
                  <a:pt x="1869505" y="2110800"/>
                  <a:pt x="1884447" y="1301941"/>
                </a:cubicBezTo>
                <a:close/>
                <a:moveTo>
                  <a:pt x="1768276" y="1298690"/>
                </a:moveTo>
                <a:cubicBezTo>
                  <a:pt x="1782134" y="2053884"/>
                  <a:pt x="1774378" y="2446365"/>
                  <a:pt x="1769416" y="2655381"/>
                </a:cubicBezTo>
                <a:cubicBezTo>
                  <a:pt x="1639102" y="2616828"/>
                  <a:pt x="1488885" y="2628690"/>
                  <a:pt x="1338725" y="2731117"/>
                </a:cubicBezTo>
                <a:cubicBezTo>
                  <a:pt x="1296693" y="2759860"/>
                  <a:pt x="1282892" y="2769270"/>
                  <a:pt x="1235329" y="2769270"/>
                </a:cubicBezTo>
                <a:cubicBezTo>
                  <a:pt x="1188336" y="2769270"/>
                  <a:pt x="1173965" y="2759860"/>
                  <a:pt x="1131933" y="2731117"/>
                </a:cubicBezTo>
                <a:cubicBezTo>
                  <a:pt x="1072793" y="2690739"/>
                  <a:pt x="991525" y="2636047"/>
                  <a:pt x="842220" y="2636047"/>
                </a:cubicBezTo>
                <a:cubicBezTo>
                  <a:pt x="824541" y="2636047"/>
                  <a:pt x="807945" y="2636618"/>
                  <a:pt x="791920" y="2638272"/>
                </a:cubicBezTo>
                <a:lnTo>
                  <a:pt x="534315" y="1974270"/>
                </a:lnTo>
                <a:close/>
                <a:moveTo>
                  <a:pt x="1886442" y="794715"/>
                </a:moveTo>
                <a:lnTo>
                  <a:pt x="3233893" y="1533598"/>
                </a:lnTo>
                <a:cubicBezTo>
                  <a:pt x="3258188" y="1546886"/>
                  <a:pt x="3268682" y="1576142"/>
                  <a:pt x="3258759" y="1602148"/>
                </a:cubicBezTo>
                <a:lnTo>
                  <a:pt x="3151257" y="1879087"/>
                </a:lnTo>
                <a:lnTo>
                  <a:pt x="1885074" y="1175506"/>
                </a:lnTo>
                <a:close/>
                <a:moveTo>
                  <a:pt x="1775918" y="787586"/>
                </a:moveTo>
                <a:lnTo>
                  <a:pt x="1775861" y="798307"/>
                </a:lnTo>
                <a:cubicBezTo>
                  <a:pt x="1762116" y="823629"/>
                  <a:pt x="1771584" y="807660"/>
                  <a:pt x="1768561" y="1172483"/>
                </a:cubicBezTo>
                <a:lnTo>
                  <a:pt x="493937" y="1870076"/>
                </a:lnTo>
                <a:lnTo>
                  <a:pt x="390028" y="1602148"/>
                </a:lnTo>
                <a:cubicBezTo>
                  <a:pt x="380048" y="1576142"/>
                  <a:pt x="390542" y="1546886"/>
                  <a:pt x="414893" y="1533598"/>
                </a:cubicBezTo>
                <a:close/>
                <a:moveTo>
                  <a:pt x="1501262" y="0"/>
                </a:moveTo>
                <a:lnTo>
                  <a:pt x="2147014" y="0"/>
                </a:lnTo>
                <a:cubicBezTo>
                  <a:pt x="2177411" y="0"/>
                  <a:pt x="2202276" y="24865"/>
                  <a:pt x="2202276" y="55262"/>
                </a:cubicBezTo>
                <a:lnTo>
                  <a:pt x="2202276" y="430121"/>
                </a:lnTo>
                <a:lnTo>
                  <a:pt x="2777254" y="430121"/>
                </a:lnTo>
                <a:cubicBezTo>
                  <a:pt x="2807651" y="430121"/>
                  <a:pt x="2832516" y="454986"/>
                  <a:pt x="2832516" y="485383"/>
                </a:cubicBezTo>
                <a:lnTo>
                  <a:pt x="2832516" y="1187481"/>
                </a:lnTo>
                <a:lnTo>
                  <a:pt x="1903723" y="678316"/>
                </a:lnTo>
                <a:cubicBezTo>
                  <a:pt x="1879372" y="665028"/>
                  <a:pt x="1852282" y="657842"/>
                  <a:pt x="1824109" y="657842"/>
                </a:cubicBezTo>
                <a:cubicBezTo>
                  <a:pt x="1795366" y="657842"/>
                  <a:pt x="1767193" y="665028"/>
                  <a:pt x="1742271" y="679400"/>
                </a:cubicBezTo>
                <a:lnTo>
                  <a:pt x="1727329" y="687156"/>
                </a:lnTo>
                <a:lnTo>
                  <a:pt x="1725675" y="688810"/>
                </a:lnTo>
                <a:lnTo>
                  <a:pt x="816215" y="1187481"/>
                </a:lnTo>
                <a:lnTo>
                  <a:pt x="816215" y="485383"/>
                </a:lnTo>
                <a:cubicBezTo>
                  <a:pt x="816215" y="454986"/>
                  <a:pt x="841080" y="430121"/>
                  <a:pt x="871477" y="430121"/>
                </a:cubicBezTo>
                <a:lnTo>
                  <a:pt x="1445885" y="430121"/>
                </a:lnTo>
                <a:lnTo>
                  <a:pt x="1445885" y="55262"/>
                </a:lnTo>
                <a:cubicBezTo>
                  <a:pt x="1445999" y="24865"/>
                  <a:pt x="1470865" y="0"/>
                  <a:pt x="1501262" y="0"/>
                </a:cubicBezTo>
                <a:close/>
              </a:path>
            </a:pathLst>
          </a:custGeom>
          <a:solidFill>
            <a:schemeClr val="accent6"/>
          </a:solidFill>
          <a:ln w="0">
            <a:noFill/>
            <a:prstDash val="solid"/>
            <a:round/>
            <a:headEnd/>
            <a:tailEnd/>
          </a:ln>
        </p:spPr>
        <p:txBody>
          <a:bodyPr rtlCol="0" anchor="ctr"/>
          <a:lstStyle/>
          <a:p>
            <a:endParaRPr lang="en-US" sz="1350"/>
          </a:p>
        </p:txBody>
      </p:sp>
      <p:cxnSp>
        <p:nvCxnSpPr>
          <p:cNvPr id="200" name="Connector: Elbow 250">
            <a:extLst>
              <a:ext uri="{FF2B5EF4-FFF2-40B4-BE49-F238E27FC236}">
                <a16:creationId xmlns:a16="http://schemas.microsoft.com/office/drawing/2014/main" id="{7A88B870-4692-D548-398A-4C43B760A30F}"/>
              </a:ext>
            </a:extLst>
          </p:cNvPr>
          <p:cNvCxnSpPr>
            <a:cxnSpLocks/>
            <a:stCxn id="197" idx="0"/>
          </p:cNvCxnSpPr>
          <p:nvPr/>
        </p:nvCxnSpPr>
        <p:spPr>
          <a:xfrm rot="16200000" flipV="1">
            <a:off x="5335765" y="2710150"/>
            <a:ext cx="868016" cy="1158530"/>
          </a:xfrm>
          <a:prstGeom prst="bentConnector2">
            <a:avLst/>
          </a:prstGeom>
          <a:ln w="6350">
            <a:solidFill>
              <a:schemeClr val="accent3"/>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pic>
        <p:nvPicPr>
          <p:cNvPr id="201" name="Graphic 251">
            <a:extLst>
              <a:ext uri="{FF2B5EF4-FFF2-40B4-BE49-F238E27FC236}">
                <a16:creationId xmlns:a16="http://schemas.microsoft.com/office/drawing/2014/main" id="{7BDD125B-A3F7-CD1E-87B3-049FA916A8E2}"/>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6488280" y="3755422"/>
            <a:ext cx="157163" cy="157623"/>
          </a:xfrm>
          <a:prstGeom prst="rect">
            <a:avLst/>
          </a:prstGeom>
        </p:spPr>
      </p:pic>
      <p:sp>
        <p:nvSpPr>
          <p:cNvPr id="202" name="Rechteck 12">
            <a:extLst>
              <a:ext uri="{FF2B5EF4-FFF2-40B4-BE49-F238E27FC236}">
                <a16:creationId xmlns:a16="http://schemas.microsoft.com/office/drawing/2014/main" id="{9002647A-01CA-F75C-411F-85129DB3DC16}"/>
              </a:ext>
            </a:extLst>
          </p:cNvPr>
          <p:cNvSpPr/>
          <p:nvPr/>
        </p:nvSpPr>
        <p:spPr>
          <a:xfrm>
            <a:off x="2949702" y="3723423"/>
            <a:ext cx="1331044" cy="851484"/>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203" name="RBContent12">
            <a:extLst>
              <a:ext uri="{FF2B5EF4-FFF2-40B4-BE49-F238E27FC236}">
                <a16:creationId xmlns:a16="http://schemas.microsoft.com/office/drawing/2014/main" id="{06F39196-9693-0DCF-CF71-802FD87321AA}"/>
              </a:ext>
            </a:extLst>
          </p:cNvPr>
          <p:cNvSpPr txBox="1">
            <a:spLocks/>
          </p:cNvSpPr>
          <p:nvPr/>
        </p:nvSpPr>
        <p:spPr>
          <a:xfrm>
            <a:off x="3021255" y="3944143"/>
            <a:ext cx="1224000" cy="572464"/>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900" b="1" err="1">
                <a:sym typeface="+mn-lt"/>
              </a:rPr>
              <a:t>Jafurah</a:t>
            </a:r>
            <a:r>
              <a:rPr lang="en-US" sz="900" b="1">
                <a:sym typeface="+mn-lt"/>
              </a:rPr>
              <a:t> Gas Field</a:t>
            </a:r>
          </a:p>
          <a:p>
            <a:pPr marL="0" lvl="1">
              <a:lnSpc>
                <a:spcPct val="90000"/>
              </a:lnSpc>
              <a:spcBef>
                <a:spcPts val="300"/>
              </a:spcBef>
              <a:buSzPct val="100000"/>
            </a:pPr>
            <a:r>
              <a:rPr lang="en-US" sz="800">
                <a:sym typeface="+mn-lt"/>
              </a:rPr>
              <a:t>Capex: USD 110 bn</a:t>
            </a:r>
          </a:p>
          <a:p>
            <a:pPr marL="0" lvl="1">
              <a:lnSpc>
                <a:spcPct val="90000"/>
              </a:lnSpc>
              <a:spcBef>
                <a:spcPts val="300"/>
              </a:spcBef>
              <a:buSzPct val="100000"/>
            </a:pPr>
            <a:r>
              <a:rPr lang="en-US" sz="800">
                <a:sym typeface="+mn-lt"/>
              </a:rPr>
              <a:t>Company: Saudi Aramco</a:t>
            </a:r>
          </a:p>
          <a:p>
            <a:pPr marL="0" lvl="1">
              <a:lnSpc>
                <a:spcPct val="90000"/>
              </a:lnSpc>
              <a:spcBef>
                <a:spcPts val="300"/>
              </a:spcBef>
              <a:buSzPct val="100000"/>
            </a:pPr>
            <a:r>
              <a:rPr lang="en-US" sz="800">
                <a:sym typeface="+mn-lt"/>
              </a:rPr>
              <a:t>Completion: </a:t>
            </a:r>
            <a:r>
              <a:rPr lang="en-US" sz="800" err="1">
                <a:sym typeface="+mn-lt"/>
              </a:rPr>
              <a:t>n.a.</a:t>
            </a:r>
            <a:endParaRPr lang="en-US" sz="800">
              <a:sym typeface="+mn-lt"/>
            </a:endParaRPr>
          </a:p>
        </p:txBody>
      </p:sp>
      <p:cxnSp>
        <p:nvCxnSpPr>
          <p:cNvPr id="204" name="Connector: Elbow 258">
            <a:extLst>
              <a:ext uri="{FF2B5EF4-FFF2-40B4-BE49-F238E27FC236}">
                <a16:creationId xmlns:a16="http://schemas.microsoft.com/office/drawing/2014/main" id="{DD93F20A-2D3E-9DD4-6BD2-2DC59959ABC1}"/>
              </a:ext>
            </a:extLst>
          </p:cNvPr>
          <p:cNvCxnSpPr>
            <a:cxnSpLocks/>
            <a:stCxn id="202" idx="0"/>
          </p:cNvCxnSpPr>
          <p:nvPr/>
        </p:nvCxnSpPr>
        <p:spPr>
          <a:xfrm rot="5400000" flipH="1" flipV="1">
            <a:off x="3940173" y="2610116"/>
            <a:ext cx="788359" cy="1438256"/>
          </a:xfrm>
          <a:prstGeom prst="bentConnector2">
            <a:avLst/>
          </a:prstGeom>
          <a:ln w="6350">
            <a:solidFill>
              <a:schemeClr val="accent3"/>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pic>
        <p:nvPicPr>
          <p:cNvPr id="205" name="Graphic 261">
            <a:extLst>
              <a:ext uri="{FF2B5EF4-FFF2-40B4-BE49-F238E27FC236}">
                <a16:creationId xmlns:a16="http://schemas.microsoft.com/office/drawing/2014/main" id="{423C3425-06F9-CF52-81E0-1A6EBAD44C9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06956" y="3755652"/>
            <a:ext cx="157163" cy="157163"/>
          </a:xfrm>
          <a:prstGeom prst="rect">
            <a:avLst/>
          </a:prstGeom>
        </p:spPr>
      </p:pic>
      <p:sp>
        <p:nvSpPr>
          <p:cNvPr id="206" name="Freeform: Shape 262">
            <a:extLst>
              <a:ext uri="{FF2B5EF4-FFF2-40B4-BE49-F238E27FC236}">
                <a16:creationId xmlns:a16="http://schemas.microsoft.com/office/drawing/2014/main" id="{F94A1B29-30B6-29C3-21C4-B913DE56AC1F}"/>
              </a:ext>
            </a:extLst>
          </p:cNvPr>
          <p:cNvSpPr>
            <a:spLocks noChangeAspect="1"/>
          </p:cNvSpPr>
          <p:nvPr/>
        </p:nvSpPr>
        <p:spPr>
          <a:xfrm>
            <a:off x="4120237" y="3754751"/>
            <a:ext cx="107173" cy="164768"/>
          </a:xfrm>
          <a:custGeom>
            <a:avLst/>
            <a:gdLst>
              <a:gd name="connsiteX0" fmla="*/ 1149709 w 2394395"/>
              <a:gd name="connsiteY0" fmla="*/ 2844075 h 3681157"/>
              <a:gd name="connsiteX1" fmla="*/ 1239895 w 2394395"/>
              <a:gd name="connsiteY1" fmla="*/ 2844075 h 3681157"/>
              <a:gd name="connsiteX2" fmla="*/ 1239895 w 2394395"/>
              <a:gd name="connsiteY2" fmla="*/ 3339576 h 3681157"/>
              <a:gd name="connsiteX3" fmla="*/ 1249267 w 2394395"/>
              <a:gd name="connsiteY3" fmla="*/ 3366861 h 3681157"/>
              <a:gd name="connsiteX4" fmla="*/ 1257182 w 2394395"/>
              <a:gd name="connsiteY4" fmla="*/ 3394146 h 3681157"/>
              <a:gd name="connsiteX5" fmla="*/ 1274469 w 2394395"/>
              <a:gd name="connsiteY5" fmla="*/ 3411850 h 3681157"/>
              <a:gd name="connsiteX6" fmla="*/ 1291965 w 2394395"/>
              <a:gd name="connsiteY6" fmla="*/ 3429345 h 3681157"/>
              <a:gd name="connsiteX7" fmla="*/ 1320291 w 2394395"/>
              <a:gd name="connsiteY7" fmla="*/ 3439134 h 3681157"/>
              <a:gd name="connsiteX8" fmla="*/ 1381943 w 2394395"/>
              <a:gd name="connsiteY8" fmla="*/ 3447049 h 3681157"/>
              <a:gd name="connsiteX9" fmla="*/ 1909935 w 2394395"/>
              <a:gd name="connsiteY9" fmla="*/ 3447049 h 3681157"/>
              <a:gd name="connsiteX10" fmla="*/ 1909935 w 2394395"/>
              <a:gd name="connsiteY10" fmla="*/ 3538484 h 3681157"/>
              <a:gd name="connsiteX11" fmla="*/ 1337788 w 2394395"/>
              <a:gd name="connsiteY11" fmla="*/ 3538484 h 3681157"/>
              <a:gd name="connsiteX12" fmla="*/ 1284050 w 2394395"/>
              <a:gd name="connsiteY12" fmla="*/ 3528903 h 3681157"/>
              <a:gd name="connsiteX13" fmla="*/ 1249267 w 2394395"/>
              <a:gd name="connsiteY13" fmla="*/ 3503285 h 3681157"/>
              <a:gd name="connsiteX14" fmla="*/ 1213026 w 2394395"/>
              <a:gd name="connsiteY14" fmla="*/ 3476000 h 3681157"/>
              <a:gd name="connsiteX15" fmla="*/ 1187616 w 2394395"/>
              <a:gd name="connsiteY15" fmla="*/ 3447049 h 3681157"/>
              <a:gd name="connsiteX16" fmla="*/ 1168663 w 2394395"/>
              <a:gd name="connsiteY16" fmla="*/ 3402269 h 3681157"/>
              <a:gd name="connsiteX17" fmla="*/ 1149709 w 2394395"/>
              <a:gd name="connsiteY17" fmla="*/ 3358946 h 3681157"/>
              <a:gd name="connsiteX18" fmla="*/ 1241354 w 2394395"/>
              <a:gd name="connsiteY18" fmla="*/ 2302961 h 3681157"/>
              <a:gd name="connsiteX19" fmla="*/ 1241354 w 2394395"/>
              <a:gd name="connsiteY19" fmla="*/ 2601844 h 3681157"/>
              <a:gd name="connsiteX20" fmla="*/ 1523991 w 2394395"/>
              <a:gd name="connsiteY20" fmla="*/ 2601844 h 3681157"/>
              <a:gd name="connsiteX21" fmla="*/ 1151377 w 2394395"/>
              <a:gd name="connsiteY21" fmla="*/ 2302961 h 3681157"/>
              <a:gd name="connsiteX22" fmla="*/ 868739 w 2394395"/>
              <a:gd name="connsiteY22" fmla="*/ 2601844 h 3681157"/>
              <a:gd name="connsiteX23" fmla="*/ 1151377 w 2394395"/>
              <a:gd name="connsiteY23" fmla="*/ 2601844 h 3681157"/>
              <a:gd name="connsiteX24" fmla="*/ 1197198 w 2394395"/>
              <a:gd name="connsiteY24" fmla="*/ 2111759 h 3681157"/>
              <a:gd name="connsiteX25" fmla="*/ 1757890 w 2394395"/>
              <a:gd name="connsiteY25" fmla="*/ 2701402 h 3681157"/>
              <a:gd name="connsiteX26" fmla="*/ 636714 w 2394395"/>
              <a:gd name="connsiteY26" fmla="*/ 2701402 h 3681157"/>
              <a:gd name="connsiteX27" fmla="*/ 1572937 w 2394395"/>
              <a:gd name="connsiteY27" fmla="*/ 1851408 h 3681157"/>
              <a:gd name="connsiteX28" fmla="*/ 1421517 w 2394395"/>
              <a:gd name="connsiteY28" fmla="*/ 2009703 h 3681157"/>
              <a:gd name="connsiteX29" fmla="*/ 1609386 w 2394395"/>
              <a:gd name="connsiteY29" fmla="*/ 2204237 h 3681157"/>
              <a:gd name="connsiteX30" fmla="*/ 811880 w 2394395"/>
              <a:gd name="connsiteY30" fmla="*/ 1851200 h 3681157"/>
              <a:gd name="connsiteX31" fmla="*/ 780429 w 2394395"/>
              <a:gd name="connsiteY31" fmla="*/ 2207153 h 3681157"/>
              <a:gd name="connsiteX32" fmla="*/ 964966 w 2394395"/>
              <a:gd name="connsiteY32" fmla="*/ 2010953 h 3681157"/>
              <a:gd name="connsiteX33" fmla="*/ 1650417 w 2394395"/>
              <a:gd name="connsiteY33" fmla="*/ 1626673 h 3681157"/>
              <a:gd name="connsiteX34" fmla="*/ 1738729 w 2394395"/>
              <a:gd name="connsiteY34" fmla="*/ 2482708 h 3681157"/>
              <a:gd name="connsiteX35" fmla="*/ 1282801 w 2394395"/>
              <a:gd name="connsiteY35" fmla="*/ 2009494 h 3681157"/>
              <a:gd name="connsiteX36" fmla="*/ 736064 w 2394395"/>
              <a:gd name="connsiteY36" fmla="*/ 1626465 h 3681157"/>
              <a:gd name="connsiteX37" fmla="*/ 1102223 w 2394395"/>
              <a:gd name="connsiteY37" fmla="*/ 2009286 h 3681157"/>
              <a:gd name="connsiteX38" fmla="*/ 655668 w 2394395"/>
              <a:gd name="connsiteY38" fmla="*/ 2482501 h 3681157"/>
              <a:gd name="connsiteX39" fmla="*/ 1241354 w 2394395"/>
              <a:gd name="connsiteY39" fmla="*/ 1182410 h 3681157"/>
              <a:gd name="connsiteX40" fmla="*/ 1241354 w 2394395"/>
              <a:gd name="connsiteY40" fmla="*/ 1726858 h 3681157"/>
              <a:gd name="connsiteX41" fmla="*/ 1496915 w 2394395"/>
              <a:gd name="connsiteY41" fmla="*/ 1454634 h 3681157"/>
              <a:gd name="connsiteX42" fmla="*/ 1151585 w 2394395"/>
              <a:gd name="connsiteY42" fmla="*/ 1180744 h 3681157"/>
              <a:gd name="connsiteX43" fmla="*/ 889567 w 2394395"/>
              <a:gd name="connsiteY43" fmla="*/ 1454634 h 3681157"/>
              <a:gd name="connsiteX44" fmla="*/ 1151377 w 2394395"/>
              <a:gd name="connsiteY44" fmla="*/ 1729982 h 3681157"/>
              <a:gd name="connsiteX45" fmla="*/ 1151585 w 2394395"/>
              <a:gd name="connsiteY45" fmla="*/ 1729982 h 3681157"/>
              <a:gd name="connsiteX46" fmla="*/ 1197199 w 2394395"/>
              <a:gd name="connsiteY46" fmla="*/ 989334 h 3681157"/>
              <a:gd name="connsiteX47" fmla="*/ 1634380 w 2394395"/>
              <a:gd name="connsiteY47" fmla="*/ 1454634 h 3681157"/>
              <a:gd name="connsiteX48" fmla="*/ 1197199 w 2394395"/>
              <a:gd name="connsiteY48" fmla="*/ 1921600 h 3681157"/>
              <a:gd name="connsiteX49" fmla="*/ 750644 w 2394395"/>
              <a:gd name="connsiteY49" fmla="*/ 1454634 h 3681157"/>
              <a:gd name="connsiteX50" fmla="*/ 1473586 w 2394395"/>
              <a:gd name="connsiteY50" fmla="*/ 844372 h 3681157"/>
              <a:gd name="connsiteX51" fmla="*/ 1421516 w 2394395"/>
              <a:gd name="connsiteY51" fmla="*/ 896650 h 3681157"/>
              <a:gd name="connsiteX52" fmla="*/ 1486083 w 2394395"/>
              <a:gd name="connsiteY52" fmla="*/ 963092 h 3681157"/>
              <a:gd name="connsiteX53" fmla="*/ 916227 w 2394395"/>
              <a:gd name="connsiteY53" fmla="*/ 844371 h 3681157"/>
              <a:gd name="connsiteX54" fmla="*/ 905188 w 2394395"/>
              <a:gd name="connsiteY54" fmla="*/ 963091 h 3681157"/>
              <a:gd name="connsiteX55" fmla="*/ 966631 w 2394395"/>
              <a:gd name="connsiteY55" fmla="*/ 896650 h 3681157"/>
              <a:gd name="connsiteX56" fmla="*/ 1552108 w 2394395"/>
              <a:gd name="connsiteY56" fmla="*/ 618386 h 3681157"/>
              <a:gd name="connsiteX57" fmla="*/ 1615217 w 2394395"/>
              <a:gd name="connsiteY57" fmla="*/ 1246146 h 3681157"/>
              <a:gd name="connsiteX58" fmla="*/ 1282801 w 2394395"/>
              <a:gd name="connsiteY58" fmla="*/ 896650 h 3681157"/>
              <a:gd name="connsiteX59" fmla="*/ 840621 w 2394395"/>
              <a:gd name="connsiteY59" fmla="*/ 618177 h 3681157"/>
              <a:gd name="connsiteX60" fmla="*/ 1102221 w 2394395"/>
              <a:gd name="connsiteY60" fmla="*/ 896441 h 3681157"/>
              <a:gd name="connsiteX61" fmla="*/ 779178 w 2394395"/>
              <a:gd name="connsiteY61" fmla="*/ 1245937 h 3681157"/>
              <a:gd name="connsiteX62" fmla="*/ 1242187 w 2394395"/>
              <a:gd name="connsiteY62" fmla="*/ 535907 h 3681157"/>
              <a:gd name="connsiteX63" fmla="*/ 1242187 w 2394395"/>
              <a:gd name="connsiteY63" fmla="*/ 600891 h 3681157"/>
              <a:gd name="connsiteX64" fmla="*/ 1305296 w 2394395"/>
              <a:gd name="connsiteY64" fmla="*/ 535907 h 3681157"/>
              <a:gd name="connsiteX65" fmla="*/ 1085768 w 2394395"/>
              <a:gd name="connsiteY65" fmla="*/ 535907 h 3681157"/>
              <a:gd name="connsiteX66" fmla="*/ 1152209 w 2394395"/>
              <a:gd name="connsiteY66" fmla="*/ 604015 h 3681157"/>
              <a:gd name="connsiteX67" fmla="*/ 1152209 w 2394395"/>
              <a:gd name="connsiteY67" fmla="*/ 535907 h 3681157"/>
              <a:gd name="connsiteX68" fmla="*/ 845620 w 2394395"/>
              <a:gd name="connsiteY68" fmla="*/ 437598 h 3681157"/>
              <a:gd name="connsiteX69" fmla="*/ 1539195 w 2394395"/>
              <a:gd name="connsiteY69" fmla="*/ 437598 h 3681157"/>
              <a:gd name="connsiteX70" fmla="*/ 1198031 w 2394395"/>
              <a:gd name="connsiteY70" fmla="*/ 789594 h 3681157"/>
              <a:gd name="connsiteX71" fmla="*/ 740855 w 2394395"/>
              <a:gd name="connsiteY71" fmla="*/ 358451 h 3681157"/>
              <a:gd name="connsiteX72" fmla="*/ 747103 w 2394395"/>
              <a:gd name="connsiteY72" fmla="*/ 363242 h 3681157"/>
              <a:gd name="connsiteX73" fmla="*/ 753351 w 2394395"/>
              <a:gd name="connsiteY73" fmla="*/ 369490 h 3681157"/>
              <a:gd name="connsiteX74" fmla="*/ 766056 w 2394395"/>
              <a:gd name="connsiteY74" fmla="*/ 388444 h 3681157"/>
              <a:gd name="connsiteX75" fmla="*/ 773971 w 2394395"/>
              <a:gd name="connsiteY75" fmla="*/ 407397 h 3681157"/>
              <a:gd name="connsiteX76" fmla="*/ 778762 w 2394395"/>
              <a:gd name="connsiteY76" fmla="*/ 428017 h 3681157"/>
              <a:gd name="connsiteX77" fmla="*/ 778762 w 2394395"/>
              <a:gd name="connsiteY77" fmla="*/ 448637 h 3681157"/>
              <a:gd name="connsiteX78" fmla="*/ 501123 w 2394395"/>
              <a:gd name="connsiteY78" fmla="*/ 2721399 h 3681157"/>
              <a:gd name="connsiteX79" fmla="*/ 496333 w 2394395"/>
              <a:gd name="connsiteY79" fmla="*/ 2746809 h 3681157"/>
              <a:gd name="connsiteX80" fmla="*/ 483628 w 2394395"/>
              <a:gd name="connsiteY80" fmla="*/ 2767428 h 3681157"/>
              <a:gd name="connsiteX81" fmla="*/ 467798 w 2394395"/>
              <a:gd name="connsiteY81" fmla="*/ 2786382 h 3681157"/>
              <a:gd name="connsiteX82" fmla="*/ 448845 w 2394395"/>
              <a:gd name="connsiteY82" fmla="*/ 2799087 h 3681157"/>
              <a:gd name="connsiteX83" fmla="*/ 426767 w 2394395"/>
              <a:gd name="connsiteY83" fmla="*/ 2808668 h 3681157"/>
              <a:gd name="connsiteX84" fmla="*/ 401565 w 2394395"/>
              <a:gd name="connsiteY84" fmla="*/ 2810334 h 3681157"/>
              <a:gd name="connsiteX85" fmla="*/ 234108 w 2394395"/>
              <a:gd name="connsiteY85" fmla="*/ 2810334 h 3681157"/>
              <a:gd name="connsiteX86" fmla="*/ 234108 w 2394395"/>
              <a:gd name="connsiteY86" fmla="*/ 2926139 h 3681157"/>
              <a:gd name="connsiteX87" fmla="*/ 232441 w 2394395"/>
              <a:gd name="connsiteY87" fmla="*/ 2948425 h 3681157"/>
              <a:gd name="connsiteX88" fmla="*/ 224527 w 2394395"/>
              <a:gd name="connsiteY88" fmla="*/ 2970711 h 3681157"/>
              <a:gd name="connsiteX89" fmla="*/ 211822 w 2394395"/>
              <a:gd name="connsiteY89" fmla="*/ 2988206 h 3681157"/>
              <a:gd name="connsiteX90" fmla="*/ 195992 w 2394395"/>
              <a:gd name="connsiteY90" fmla="*/ 3004035 h 3681157"/>
              <a:gd name="connsiteX91" fmla="*/ 177039 w 2394395"/>
              <a:gd name="connsiteY91" fmla="*/ 3016741 h 3681157"/>
              <a:gd name="connsiteX92" fmla="*/ 156419 w 2394395"/>
              <a:gd name="connsiteY92" fmla="*/ 3024655 h 3681157"/>
              <a:gd name="connsiteX93" fmla="*/ 134341 w 2394395"/>
              <a:gd name="connsiteY93" fmla="*/ 3026322 h 3681157"/>
              <a:gd name="connsiteX94" fmla="*/ 99558 w 2394395"/>
              <a:gd name="connsiteY94" fmla="*/ 3026322 h 3681157"/>
              <a:gd name="connsiteX95" fmla="*/ 99558 w 2394395"/>
              <a:gd name="connsiteY95" fmla="*/ 3581182 h 3681157"/>
              <a:gd name="connsiteX96" fmla="*/ 2295045 w 2394395"/>
              <a:gd name="connsiteY96" fmla="*/ 3581182 h 3681157"/>
              <a:gd name="connsiteX97" fmla="*/ 2295253 w 2394395"/>
              <a:gd name="connsiteY97" fmla="*/ 3581182 h 3681157"/>
              <a:gd name="connsiteX98" fmla="*/ 2295253 w 2394395"/>
              <a:gd name="connsiteY98" fmla="*/ 3026946 h 3681157"/>
              <a:gd name="connsiteX99" fmla="*/ 2252556 w 2394395"/>
              <a:gd name="connsiteY99" fmla="*/ 3026946 h 3681157"/>
              <a:gd name="connsiteX100" fmla="*/ 2228812 w 2394395"/>
              <a:gd name="connsiteY100" fmla="*/ 3025280 h 3681157"/>
              <a:gd name="connsiteX101" fmla="*/ 2208192 w 2394395"/>
              <a:gd name="connsiteY101" fmla="*/ 3017365 h 3681157"/>
              <a:gd name="connsiteX102" fmla="*/ 2189239 w 2394395"/>
              <a:gd name="connsiteY102" fmla="*/ 3004660 h 3681157"/>
              <a:gd name="connsiteX103" fmla="*/ 2173409 w 2394395"/>
              <a:gd name="connsiteY103" fmla="*/ 2988831 h 3681157"/>
              <a:gd name="connsiteX104" fmla="*/ 2160704 w 2394395"/>
              <a:gd name="connsiteY104" fmla="*/ 2971336 h 3681157"/>
              <a:gd name="connsiteX105" fmla="*/ 2154456 w 2394395"/>
              <a:gd name="connsiteY105" fmla="*/ 2949049 h 3681157"/>
              <a:gd name="connsiteX106" fmla="*/ 2151332 w 2394395"/>
              <a:gd name="connsiteY106" fmla="*/ 2926763 h 3681157"/>
              <a:gd name="connsiteX107" fmla="*/ 2151332 w 2394395"/>
              <a:gd name="connsiteY107" fmla="*/ 2810959 h 3681157"/>
              <a:gd name="connsiteX108" fmla="*/ 1993455 w 2394395"/>
              <a:gd name="connsiteY108" fmla="*/ 2810959 h 3681157"/>
              <a:gd name="connsiteX109" fmla="*/ 1968253 w 2394395"/>
              <a:gd name="connsiteY109" fmla="*/ 2809293 h 3681157"/>
              <a:gd name="connsiteX110" fmla="*/ 1946175 w 2394395"/>
              <a:gd name="connsiteY110" fmla="*/ 2799712 h 3681157"/>
              <a:gd name="connsiteX111" fmla="*/ 1925555 w 2394395"/>
              <a:gd name="connsiteY111" fmla="*/ 2787007 h 3681157"/>
              <a:gd name="connsiteX112" fmla="*/ 1909726 w 2394395"/>
              <a:gd name="connsiteY112" fmla="*/ 2768053 h 3681157"/>
              <a:gd name="connsiteX113" fmla="*/ 1898687 w 2394395"/>
              <a:gd name="connsiteY113" fmla="*/ 2747434 h 3681157"/>
              <a:gd name="connsiteX114" fmla="*/ 1893896 w 2394395"/>
              <a:gd name="connsiteY114" fmla="*/ 2722023 h 3681157"/>
              <a:gd name="connsiteX115" fmla="*/ 1615842 w 2394395"/>
              <a:gd name="connsiteY115" fmla="*/ 448637 h 3681157"/>
              <a:gd name="connsiteX116" fmla="*/ 1615842 w 2394395"/>
              <a:gd name="connsiteY116" fmla="*/ 428017 h 3681157"/>
              <a:gd name="connsiteX117" fmla="*/ 1620632 w 2394395"/>
              <a:gd name="connsiteY117" fmla="*/ 407397 h 3681157"/>
              <a:gd name="connsiteX118" fmla="*/ 1628547 w 2394395"/>
              <a:gd name="connsiteY118" fmla="*/ 388444 h 3681157"/>
              <a:gd name="connsiteX119" fmla="*/ 1641252 w 2394395"/>
              <a:gd name="connsiteY119" fmla="*/ 369490 h 3681157"/>
              <a:gd name="connsiteX120" fmla="*/ 1647500 w 2394395"/>
              <a:gd name="connsiteY120" fmla="*/ 363242 h 3681157"/>
              <a:gd name="connsiteX121" fmla="*/ 1653749 w 2394395"/>
              <a:gd name="connsiteY121" fmla="*/ 358451 h 3681157"/>
              <a:gd name="connsiteX122" fmla="*/ 615886 w 2394395"/>
              <a:gd name="connsiteY122" fmla="*/ 256810 h 3681157"/>
              <a:gd name="connsiteX123" fmla="*/ 1768928 w 2394395"/>
              <a:gd name="connsiteY123" fmla="*/ 256810 h 3681157"/>
              <a:gd name="connsiteX124" fmla="*/ 1768928 w 2394395"/>
              <a:gd name="connsiteY124" fmla="*/ 437598 h 3681157"/>
              <a:gd name="connsiteX125" fmla="*/ 1715192 w 2394395"/>
              <a:gd name="connsiteY125" fmla="*/ 437598 h 3681157"/>
              <a:gd name="connsiteX126" fmla="*/ 1993246 w 2394395"/>
              <a:gd name="connsiteY126" fmla="*/ 2710984 h 3681157"/>
              <a:gd name="connsiteX127" fmla="*/ 2252348 w 2394395"/>
              <a:gd name="connsiteY127" fmla="*/ 2710984 h 3681157"/>
              <a:gd name="connsiteX128" fmla="*/ 2252348 w 2394395"/>
              <a:gd name="connsiteY128" fmla="*/ 2926555 h 3681157"/>
              <a:gd name="connsiteX129" fmla="*/ 2394395 w 2394395"/>
              <a:gd name="connsiteY129" fmla="*/ 2926555 h 3681157"/>
              <a:gd name="connsiteX130" fmla="*/ 2394395 w 2394395"/>
              <a:gd name="connsiteY130" fmla="*/ 3681157 h 3681157"/>
              <a:gd name="connsiteX131" fmla="*/ 0 w 2394395"/>
              <a:gd name="connsiteY131" fmla="*/ 3681157 h 3681157"/>
              <a:gd name="connsiteX132" fmla="*/ 0 w 2394395"/>
              <a:gd name="connsiteY132" fmla="*/ 2926555 h 3681157"/>
              <a:gd name="connsiteX133" fmla="*/ 134341 w 2394395"/>
              <a:gd name="connsiteY133" fmla="*/ 2926555 h 3681157"/>
              <a:gd name="connsiteX134" fmla="*/ 134341 w 2394395"/>
              <a:gd name="connsiteY134" fmla="*/ 2710984 h 3681157"/>
              <a:gd name="connsiteX135" fmla="*/ 401149 w 2394395"/>
              <a:gd name="connsiteY135" fmla="*/ 2710984 h 3681157"/>
              <a:gd name="connsiteX136" fmla="*/ 678995 w 2394395"/>
              <a:gd name="connsiteY136" fmla="*/ 437598 h 3681157"/>
              <a:gd name="connsiteX137" fmla="*/ 615886 w 2394395"/>
              <a:gd name="connsiteY137" fmla="*/ 437598 h 3681157"/>
              <a:gd name="connsiteX138" fmla="*/ 912269 w 2394395"/>
              <a:gd name="connsiteY138" fmla="*/ 0 h 3681157"/>
              <a:gd name="connsiteX139" fmla="*/ 1472962 w 2394395"/>
              <a:gd name="connsiteY139" fmla="*/ 0 h 3681157"/>
              <a:gd name="connsiteX140" fmla="*/ 1472962 w 2394395"/>
              <a:gd name="connsiteY140" fmla="*/ 209323 h 3681157"/>
              <a:gd name="connsiteX141" fmla="*/ 912269 w 2394395"/>
              <a:gd name="connsiteY141" fmla="*/ 209323 h 368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2394395" h="3681157">
                <a:moveTo>
                  <a:pt x="1149709" y="2844075"/>
                </a:moveTo>
                <a:lnTo>
                  <a:pt x="1239895" y="2844075"/>
                </a:lnTo>
                <a:lnTo>
                  <a:pt x="1239895" y="3339576"/>
                </a:lnTo>
                <a:lnTo>
                  <a:pt x="1249267" y="3366861"/>
                </a:lnTo>
                <a:lnTo>
                  <a:pt x="1257182" y="3394146"/>
                </a:lnTo>
                <a:lnTo>
                  <a:pt x="1274469" y="3411850"/>
                </a:lnTo>
                <a:lnTo>
                  <a:pt x="1291965" y="3429345"/>
                </a:lnTo>
                <a:lnTo>
                  <a:pt x="1320291" y="3439134"/>
                </a:lnTo>
                <a:lnTo>
                  <a:pt x="1381943" y="3447049"/>
                </a:lnTo>
                <a:lnTo>
                  <a:pt x="1909935" y="3447049"/>
                </a:lnTo>
                <a:lnTo>
                  <a:pt x="1909935" y="3538484"/>
                </a:lnTo>
                <a:lnTo>
                  <a:pt x="1337788" y="3538484"/>
                </a:lnTo>
                <a:lnTo>
                  <a:pt x="1284050" y="3528903"/>
                </a:lnTo>
                <a:lnTo>
                  <a:pt x="1249267" y="3503285"/>
                </a:lnTo>
                <a:lnTo>
                  <a:pt x="1213026" y="3476000"/>
                </a:lnTo>
                <a:lnTo>
                  <a:pt x="1187616" y="3447049"/>
                </a:lnTo>
                <a:lnTo>
                  <a:pt x="1168663" y="3402269"/>
                </a:lnTo>
                <a:lnTo>
                  <a:pt x="1149709" y="3358946"/>
                </a:lnTo>
                <a:close/>
                <a:moveTo>
                  <a:pt x="1241354" y="2302961"/>
                </a:moveTo>
                <a:lnTo>
                  <a:pt x="1241354" y="2601844"/>
                </a:lnTo>
                <a:lnTo>
                  <a:pt x="1523991" y="2601844"/>
                </a:lnTo>
                <a:close/>
                <a:moveTo>
                  <a:pt x="1151377" y="2302961"/>
                </a:moveTo>
                <a:lnTo>
                  <a:pt x="868739" y="2601844"/>
                </a:lnTo>
                <a:lnTo>
                  <a:pt x="1151377" y="2601844"/>
                </a:lnTo>
                <a:close/>
                <a:moveTo>
                  <a:pt x="1197198" y="2111759"/>
                </a:moveTo>
                <a:lnTo>
                  <a:pt x="1757890" y="2701402"/>
                </a:lnTo>
                <a:lnTo>
                  <a:pt x="636714" y="2701402"/>
                </a:lnTo>
                <a:close/>
                <a:moveTo>
                  <a:pt x="1572937" y="1851408"/>
                </a:moveTo>
                <a:lnTo>
                  <a:pt x="1421517" y="2009703"/>
                </a:lnTo>
                <a:lnTo>
                  <a:pt x="1609386" y="2204237"/>
                </a:lnTo>
                <a:close/>
                <a:moveTo>
                  <a:pt x="811880" y="1851200"/>
                </a:moveTo>
                <a:lnTo>
                  <a:pt x="780429" y="2207153"/>
                </a:lnTo>
                <a:lnTo>
                  <a:pt x="964966" y="2010953"/>
                </a:lnTo>
                <a:close/>
                <a:moveTo>
                  <a:pt x="1650417" y="1626673"/>
                </a:moveTo>
                <a:lnTo>
                  <a:pt x="1738729" y="2482708"/>
                </a:lnTo>
                <a:lnTo>
                  <a:pt x="1282801" y="2009494"/>
                </a:lnTo>
                <a:close/>
                <a:moveTo>
                  <a:pt x="736064" y="1626465"/>
                </a:moveTo>
                <a:lnTo>
                  <a:pt x="1102223" y="2009286"/>
                </a:lnTo>
                <a:lnTo>
                  <a:pt x="655668" y="2482501"/>
                </a:lnTo>
                <a:close/>
                <a:moveTo>
                  <a:pt x="1241354" y="1182410"/>
                </a:moveTo>
                <a:lnTo>
                  <a:pt x="1241354" y="1726858"/>
                </a:lnTo>
                <a:lnTo>
                  <a:pt x="1496915" y="1454634"/>
                </a:lnTo>
                <a:close/>
                <a:moveTo>
                  <a:pt x="1151585" y="1180744"/>
                </a:moveTo>
                <a:lnTo>
                  <a:pt x="889567" y="1454634"/>
                </a:lnTo>
                <a:lnTo>
                  <a:pt x="1151377" y="1729982"/>
                </a:lnTo>
                <a:lnTo>
                  <a:pt x="1151585" y="1729982"/>
                </a:lnTo>
                <a:close/>
                <a:moveTo>
                  <a:pt x="1197199" y="989334"/>
                </a:moveTo>
                <a:lnTo>
                  <a:pt x="1634380" y="1454634"/>
                </a:lnTo>
                <a:lnTo>
                  <a:pt x="1197199" y="1921600"/>
                </a:lnTo>
                <a:lnTo>
                  <a:pt x="750644" y="1454634"/>
                </a:lnTo>
                <a:close/>
                <a:moveTo>
                  <a:pt x="1473586" y="844372"/>
                </a:moveTo>
                <a:lnTo>
                  <a:pt x="1421516" y="896650"/>
                </a:lnTo>
                <a:lnTo>
                  <a:pt x="1486083" y="963092"/>
                </a:lnTo>
                <a:close/>
                <a:moveTo>
                  <a:pt x="916227" y="844371"/>
                </a:moveTo>
                <a:lnTo>
                  <a:pt x="905188" y="963091"/>
                </a:lnTo>
                <a:lnTo>
                  <a:pt x="966631" y="896650"/>
                </a:lnTo>
                <a:close/>
                <a:moveTo>
                  <a:pt x="1552108" y="618386"/>
                </a:moveTo>
                <a:lnTo>
                  <a:pt x="1615217" y="1246146"/>
                </a:lnTo>
                <a:lnTo>
                  <a:pt x="1282801" y="896650"/>
                </a:lnTo>
                <a:close/>
                <a:moveTo>
                  <a:pt x="840621" y="618177"/>
                </a:moveTo>
                <a:lnTo>
                  <a:pt x="1102221" y="896441"/>
                </a:lnTo>
                <a:lnTo>
                  <a:pt x="779178" y="1245937"/>
                </a:lnTo>
                <a:close/>
                <a:moveTo>
                  <a:pt x="1242187" y="535907"/>
                </a:moveTo>
                <a:lnTo>
                  <a:pt x="1242187" y="600891"/>
                </a:lnTo>
                <a:lnTo>
                  <a:pt x="1305296" y="535907"/>
                </a:lnTo>
                <a:close/>
                <a:moveTo>
                  <a:pt x="1085768" y="535907"/>
                </a:moveTo>
                <a:lnTo>
                  <a:pt x="1152209" y="604015"/>
                </a:lnTo>
                <a:lnTo>
                  <a:pt x="1152209" y="535907"/>
                </a:lnTo>
                <a:close/>
                <a:moveTo>
                  <a:pt x="845620" y="437598"/>
                </a:moveTo>
                <a:lnTo>
                  <a:pt x="1539195" y="437598"/>
                </a:lnTo>
                <a:lnTo>
                  <a:pt x="1198031" y="789594"/>
                </a:lnTo>
                <a:close/>
                <a:moveTo>
                  <a:pt x="740855" y="358451"/>
                </a:moveTo>
                <a:lnTo>
                  <a:pt x="747103" y="363242"/>
                </a:lnTo>
                <a:lnTo>
                  <a:pt x="753351" y="369490"/>
                </a:lnTo>
                <a:lnTo>
                  <a:pt x="766056" y="388444"/>
                </a:lnTo>
                <a:lnTo>
                  <a:pt x="773971" y="407397"/>
                </a:lnTo>
                <a:lnTo>
                  <a:pt x="778762" y="428017"/>
                </a:lnTo>
                <a:lnTo>
                  <a:pt x="778762" y="448637"/>
                </a:lnTo>
                <a:lnTo>
                  <a:pt x="501123" y="2721399"/>
                </a:lnTo>
                <a:lnTo>
                  <a:pt x="496333" y="2746809"/>
                </a:lnTo>
                <a:lnTo>
                  <a:pt x="483628" y="2767428"/>
                </a:lnTo>
                <a:lnTo>
                  <a:pt x="467798" y="2786382"/>
                </a:lnTo>
                <a:lnTo>
                  <a:pt x="448845" y="2799087"/>
                </a:lnTo>
                <a:lnTo>
                  <a:pt x="426767" y="2808668"/>
                </a:lnTo>
                <a:lnTo>
                  <a:pt x="401565" y="2810334"/>
                </a:lnTo>
                <a:lnTo>
                  <a:pt x="234108" y="2810334"/>
                </a:lnTo>
                <a:lnTo>
                  <a:pt x="234108" y="2926139"/>
                </a:lnTo>
                <a:lnTo>
                  <a:pt x="232441" y="2948425"/>
                </a:lnTo>
                <a:lnTo>
                  <a:pt x="224527" y="2970711"/>
                </a:lnTo>
                <a:lnTo>
                  <a:pt x="211822" y="2988206"/>
                </a:lnTo>
                <a:lnTo>
                  <a:pt x="195992" y="3004035"/>
                </a:lnTo>
                <a:lnTo>
                  <a:pt x="177039" y="3016741"/>
                </a:lnTo>
                <a:lnTo>
                  <a:pt x="156419" y="3024655"/>
                </a:lnTo>
                <a:lnTo>
                  <a:pt x="134341" y="3026322"/>
                </a:lnTo>
                <a:lnTo>
                  <a:pt x="99558" y="3026322"/>
                </a:lnTo>
                <a:lnTo>
                  <a:pt x="99558" y="3581182"/>
                </a:lnTo>
                <a:lnTo>
                  <a:pt x="2295045" y="3581182"/>
                </a:lnTo>
                <a:lnTo>
                  <a:pt x="2295253" y="3581182"/>
                </a:lnTo>
                <a:lnTo>
                  <a:pt x="2295253" y="3026946"/>
                </a:lnTo>
                <a:lnTo>
                  <a:pt x="2252556" y="3026946"/>
                </a:lnTo>
                <a:lnTo>
                  <a:pt x="2228812" y="3025280"/>
                </a:lnTo>
                <a:lnTo>
                  <a:pt x="2208192" y="3017365"/>
                </a:lnTo>
                <a:lnTo>
                  <a:pt x="2189239" y="3004660"/>
                </a:lnTo>
                <a:lnTo>
                  <a:pt x="2173409" y="2988831"/>
                </a:lnTo>
                <a:lnTo>
                  <a:pt x="2160704" y="2971336"/>
                </a:lnTo>
                <a:lnTo>
                  <a:pt x="2154456" y="2949049"/>
                </a:lnTo>
                <a:lnTo>
                  <a:pt x="2151332" y="2926763"/>
                </a:lnTo>
                <a:lnTo>
                  <a:pt x="2151332" y="2810959"/>
                </a:lnTo>
                <a:lnTo>
                  <a:pt x="1993455" y="2810959"/>
                </a:lnTo>
                <a:lnTo>
                  <a:pt x="1968253" y="2809293"/>
                </a:lnTo>
                <a:lnTo>
                  <a:pt x="1946175" y="2799712"/>
                </a:lnTo>
                <a:lnTo>
                  <a:pt x="1925555" y="2787007"/>
                </a:lnTo>
                <a:lnTo>
                  <a:pt x="1909726" y="2768053"/>
                </a:lnTo>
                <a:lnTo>
                  <a:pt x="1898687" y="2747434"/>
                </a:lnTo>
                <a:lnTo>
                  <a:pt x="1893896" y="2722023"/>
                </a:lnTo>
                <a:lnTo>
                  <a:pt x="1615842" y="448637"/>
                </a:lnTo>
                <a:lnTo>
                  <a:pt x="1615842" y="428017"/>
                </a:lnTo>
                <a:lnTo>
                  <a:pt x="1620632" y="407397"/>
                </a:lnTo>
                <a:lnTo>
                  <a:pt x="1628547" y="388444"/>
                </a:lnTo>
                <a:lnTo>
                  <a:pt x="1641252" y="369490"/>
                </a:lnTo>
                <a:lnTo>
                  <a:pt x="1647500" y="363242"/>
                </a:lnTo>
                <a:lnTo>
                  <a:pt x="1653749" y="358451"/>
                </a:lnTo>
                <a:close/>
                <a:moveTo>
                  <a:pt x="615886" y="256810"/>
                </a:moveTo>
                <a:lnTo>
                  <a:pt x="1768928" y="256810"/>
                </a:lnTo>
                <a:lnTo>
                  <a:pt x="1768928" y="437598"/>
                </a:lnTo>
                <a:lnTo>
                  <a:pt x="1715192" y="437598"/>
                </a:lnTo>
                <a:lnTo>
                  <a:pt x="1993246" y="2710984"/>
                </a:lnTo>
                <a:lnTo>
                  <a:pt x="2252348" y="2710984"/>
                </a:lnTo>
                <a:lnTo>
                  <a:pt x="2252348" y="2926555"/>
                </a:lnTo>
                <a:lnTo>
                  <a:pt x="2394395" y="2926555"/>
                </a:lnTo>
                <a:lnTo>
                  <a:pt x="2394395" y="3681157"/>
                </a:lnTo>
                <a:lnTo>
                  <a:pt x="0" y="3681157"/>
                </a:lnTo>
                <a:lnTo>
                  <a:pt x="0" y="2926555"/>
                </a:lnTo>
                <a:lnTo>
                  <a:pt x="134341" y="2926555"/>
                </a:lnTo>
                <a:lnTo>
                  <a:pt x="134341" y="2710984"/>
                </a:lnTo>
                <a:lnTo>
                  <a:pt x="401149" y="2710984"/>
                </a:lnTo>
                <a:lnTo>
                  <a:pt x="678995" y="437598"/>
                </a:lnTo>
                <a:lnTo>
                  <a:pt x="615886" y="437598"/>
                </a:lnTo>
                <a:close/>
                <a:moveTo>
                  <a:pt x="912269" y="0"/>
                </a:moveTo>
                <a:lnTo>
                  <a:pt x="1472962" y="0"/>
                </a:lnTo>
                <a:lnTo>
                  <a:pt x="1472962" y="209323"/>
                </a:lnTo>
                <a:lnTo>
                  <a:pt x="912269" y="209323"/>
                </a:lnTo>
                <a:close/>
              </a:path>
            </a:pathLst>
          </a:custGeom>
          <a:solidFill>
            <a:schemeClr val="accent6"/>
          </a:solidFill>
          <a:ln w="0">
            <a:noFill/>
            <a:prstDash val="solid"/>
            <a:round/>
            <a:headEnd/>
            <a:tailEnd/>
          </a:ln>
        </p:spPr>
        <p:txBody>
          <a:bodyPr rtlCol="0" anchor="ctr"/>
          <a:lstStyle/>
          <a:p>
            <a:endParaRPr lang="en-US" sz="1350"/>
          </a:p>
        </p:txBody>
      </p:sp>
      <p:sp>
        <p:nvSpPr>
          <p:cNvPr id="207" name="Rechteck 12">
            <a:extLst>
              <a:ext uri="{FF2B5EF4-FFF2-40B4-BE49-F238E27FC236}">
                <a16:creationId xmlns:a16="http://schemas.microsoft.com/office/drawing/2014/main" id="{7534D845-F93D-1E88-4C67-08B6C0A45EB5}"/>
              </a:ext>
            </a:extLst>
          </p:cNvPr>
          <p:cNvSpPr/>
          <p:nvPr/>
        </p:nvSpPr>
        <p:spPr>
          <a:xfrm>
            <a:off x="1689819" y="1558360"/>
            <a:ext cx="1257544" cy="851484"/>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208" name="RBContent12">
            <a:extLst>
              <a:ext uri="{FF2B5EF4-FFF2-40B4-BE49-F238E27FC236}">
                <a16:creationId xmlns:a16="http://schemas.microsoft.com/office/drawing/2014/main" id="{91958DB0-D44B-8F8E-8EE7-898F9703F83E}"/>
              </a:ext>
            </a:extLst>
          </p:cNvPr>
          <p:cNvSpPr txBox="1">
            <a:spLocks/>
          </p:cNvSpPr>
          <p:nvPr/>
        </p:nvSpPr>
        <p:spPr>
          <a:xfrm>
            <a:off x="1748672" y="1779080"/>
            <a:ext cx="1188000" cy="572464"/>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900" b="1">
                <a:sym typeface="+mn-lt"/>
              </a:rPr>
              <a:t>Fort Hills Oil Sands</a:t>
            </a:r>
          </a:p>
          <a:p>
            <a:pPr marL="0" lvl="1">
              <a:lnSpc>
                <a:spcPct val="90000"/>
              </a:lnSpc>
              <a:spcBef>
                <a:spcPts val="300"/>
              </a:spcBef>
              <a:buSzPct val="100000"/>
            </a:pPr>
            <a:r>
              <a:rPr lang="en-US" sz="800">
                <a:sym typeface="+mn-lt"/>
              </a:rPr>
              <a:t>Capex: USD 10 bn</a:t>
            </a:r>
          </a:p>
          <a:p>
            <a:pPr marL="0" lvl="1">
              <a:lnSpc>
                <a:spcPct val="90000"/>
              </a:lnSpc>
              <a:spcBef>
                <a:spcPts val="300"/>
              </a:spcBef>
              <a:buSzPct val="100000"/>
            </a:pPr>
            <a:r>
              <a:rPr lang="en-US" sz="800">
                <a:sym typeface="+mn-lt"/>
              </a:rPr>
              <a:t>Company: Suncor, Total</a:t>
            </a:r>
          </a:p>
          <a:p>
            <a:pPr marL="0" lvl="1">
              <a:lnSpc>
                <a:spcPct val="90000"/>
              </a:lnSpc>
              <a:spcBef>
                <a:spcPts val="300"/>
              </a:spcBef>
              <a:buSzPct val="100000"/>
            </a:pPr>
            <a:r>
              <a:rPr lang="en-US" sz="800">
                <a:sym typeface="+mn-lt"/>
              </a:rPr>
              <a:t>Completion: </a:t>
            </a:r>
            <a:r>
              <a:rPr lang="en-US" sz="800" err="1">
                <a:sym typeface="+mn-lt"/>
              </a:rPr>
              <a:t>n.a.</a:t>
            </a:r>
            <a:endParaRPr lang="en-US" sz="800">
              <a:sym typeface="+mn-lt"/>
            </a:endParaRPr>
          </a:p>
        </p:txBody>
      </p:sp>
      <p:sp>
        <p:nvSpPr>
          <p:cNvPr id="209" name="Freeform: Shape 269">
            <a:extLst>
              <a:ext uri="{FF2B5EF4-FFF2-40B4-BE49-F238E27FC236}">
                <a16:creationId xmlns:a16="http://schemas.microsoft.com/office/drawing/2014/main" id="{9D939EDC-945A-3DE4-A4AD-8BE16A7F4229}"/>
              </a:ext>
            </a:extLst>
          </p:cNvPr>
          <p:cNvSpPr>
            <a:spLocks noChangeAspect="1"/>
          </p:cNvSpPr>
          <p:nvPr/>
        </p:nvSpPr>
        <p:spPr>
          <a:xfrm>
            <a:off x="2792994" y="1589863"/>
            <a:ext cx="101420" cy="155924"/>
          </a:xfrm>
          <a:custGeom>
            <a:avLst/>
            <a:gdLst>
              <a:gd name="connsiteX0" fmla="*/ 1149709 w 2394395"/>
              <a:gd name="connsiteY0" fmla="*/ 2844075 h 3681157"/>
              <a:gd name="connsiteX1" fmla="*/ 1239895 w 2394395"/>
              <a:gd name="connsiteY1" fmla="*/ 2844075 h 3681157"/>
              <a:gd name="connsiteX2" fmla="*/ 1239895 w 2394395"/>
              <a:gd name="connsiteY2" fmla="*/ 3339576 h 3681157"/>
              <a:gd name="connsiteX3" fmla="*/ 1249267 w 2394395"/>
              <a:gd name="connsiteY3" fmla="*/ 3366861 h 3681157"/>
              <a:gd name="connsiteX4" fmla="*/ 1257182 w 2394395"/>
              <a:gd name="connsiteY4" fmla="*/ 3394146 h 3681157"/>
              <a:gd name="connsiteX5" fmla="*/ 1274469 w 2394395"/>
              <a:gd name="connsiteY5" fmla="*/ 3411850 h 3681157"/>
              <a:gd name="connsiteX6" fmla="*/ 1291965 w 2394395"/>
              <a:gd name="connsiteY6" fmla="*/ 3429345 h 3681157"/>
              <a:gd name="connsiteX7" fmla="*/ 1320291 w 2394395"/>
              <a:gd name="connsiteY7" fmla="*/ 3439134 h 3681157"/>
              <a:gd name="connsiteX8" fmla="*/ 1381943 w 2394395"/>
              <a:gd name="connsiteY8" fmla="*/ 3447049 h 3681157"/>
              <a:gd name="connsiteX9" fmla="*/ 1909935 w 2394395"/>
              <a:gd name="connsiteY9" fmla="*/ 3447049 h 3681157"/>
              <a:gd name="connsiteX10" fmla="*/ 1909935 w 2394395"/>
              <a:gd name="connsiteY10" fmla="*/ 3538484 h 3681157"/>
              <a:gd name="connsiteX11" fmla="*/ 1337788 w 2394395"/>
              <a:gd name="connsiteY11" fmla="*/ 3538484 h 3681157"/>
              <a:gd name="connsiteX12" fmla="*/ 1284050 w 2394395"/>
              <a:gd name="connsiteY12" fmla="*/ 3528903 h 3681157"/>
              <a:gd name="connsiteX13" fmla="*/ 1249267 w 2394395"/>
              <a:gd name="connsiteY13" fmla="*/ 3503285 h 3681157"/>
              <a:gd name="connsiteX14" fmla="*/ 1213026 w 2394395"/>
              <a:gd name="connsiteY14" fmla="*/ 3476000 h 3681157"/>
              <a:gd name="connsiteX15" fmla="*/ 1187616 w 2394395"/>
              <a:gd name="connsiteY15" fmla="*/ 3447049 h 3681157"/>
              <a:gd name="connsiteX16" fmla="*/ 1168663 w 2394395"/>
              <a:gd name="connsiteY16" fmla="*/ 3402269 h 3681157"/>
              <a:gd name="connsiteX17" fmla="*/ 1149709 w 2394395"/>
              <a:gd name="connsiteY17" fmla="*/ 3358946 h 3681157"/>
              <a:gd name="connsiteX18" fmla="*/ 1241354 w 2394395"/>
              <a:gd name="connsiteY18" fmla="*/ 2302961 h 3681157"/>
              <a:gd name="connsiteX19" fmla="*/ 1241354 w 2394395"/>
              <a:gd name="connsiteY19" fmla="*/ 2601844 h 3681157"/>
              <a:gd name="connsiteX20" fmla="*/ 1523991 w 2394395"/>
              <a:gd name="connsiteY20" fmla="*/ 2601844 h 3681157"/>
              <a:gd name="connsiteX21" fmla="*/ 1151377 w 2394395"/>
              <a:gd name="connsiteY21" fmla="*/ 2302961 h 3681157"/>
              <a:gd name="connsiteX22" fmla="*/ 868739 w 2394395"/>
              <a:gd name="connsiteY22" fmla="*/ 2601844 h 3681157"/>
              <a:gd name="connsiteX23" fmla="*/ 1151377 w 2394395"/>
              <a:gd name="connsiteY23" fmla="*/ 2601844 h 3681157"/>
              <a:gd name="connsiteX24" fmla="*/ 1197198 w 2394395"/>
              <a:gd name="connsiteY24" fmla="*/ 2111759 h 3681157"/>
              <a:gd name="connsiteX25" fmla="*/ 1757890 w 2394395"/>
              <a:gd name="connsiteY25" fmla="*/ 2701402 h 3681157"/>
              <a:gd name="connsiteX26" fmla="*/ 636714 w 2394395"/>
              <a:gd name="connsiteY26" fmla="*/ 2701402 h 3681157"/>
              <a:gd name="connsiteX27" fmla="*/ 1572937 w 2394395"/>
              <a:gd name="connsiteY27" fmla="*/ 1851408 h 3681157"/>
              <a:gd name="connsiteX28" fmla="*/ 1421517 w 2394395"/>
              <a:gd name="connsiteY28" fmla="*/ 2009703 h 3681157"/>
              <a:gd name="connsiteX29" fmla="*/ 1609386 w 2394395"/>
              <a:gd name="connsiteY29" fmla="*/ 2204237 h 3681157"/>
              <a:gd name="connsiteX30" fmla="*/ 811880 w 2394395"/>
              <a:gd name="connsiteY30" fmla="*/ 1851200 h 3681157"/>
              <a:gd name="connsiteX31" fmla="*/ 780429 w 2394395"/>
              <a:gd name="connsiteY31" fmla="*/ 2207153 h 3681157"/>
              <a:gd name="connsiteX32" fmla="*/ 964966 w 2394395"/>
              <a:gd name="connsiteY32" fmla="*/ 2010953 h 3681157"/>
              <a:gd name="connsiteX33" fmla="*/ 1650417 w 2394395"/>
              <a:gd name="connsiteY33" fmla="*/ 1626673 h 3681157"/>
              <a:gd name="connsiteX34" fmla="*/ 1738729 w 2394395"/>
              <a:gd name="connsiteY34" fmla="*/ 2482708 h 3681157"/>
              <a:gd name="connsiteX35" fmla="*/ 1282801 w 2394395"/>
              <a:gd name="connsiteY35" fmla="*/ 2009494 h 3681157"/>
              <a:gd name="connsiteX36" fmla="*/ 736064 w 2394395"/>
              <a:gd name="connsiteY36" fmla="*/ 1626465 h 3681157"/>
              <a:gd name="connsiteX37" fmla="*/ 1102223 w 2394395"/>
              <a:gd name="connsiteY37" fmla="*/ 2009286 h 3681157"/>
              <a:gd name="connsiteX38" fmla="*/ 655668 w 2394395"/>
              <a:gd name="connsiteY38" fmla="*/ 2482501 h 3681157"/>
              <a:gd name="connsiteX39" fmla="*/ 1241354 w 2394395"/>
              <a:gd name="connsiteY39" fmla="*/ 1182410 h 3681157"/>
              <a:gd name="connsiteX40" fmla="*/ 1241354 w 2394395"/>
              <a:gd name="connsiteY40" fmla="*/ 1726858 h 3681157"/>
              <a:gd name="connsiteX41" fmla="*/ 1496915 w 2394395"/>
              <a:gd name="connsiteY41" fmla="*/ 1454634 h 3681157"/>
              <a:gd name="connsiteX42" fmla="*/ 1151585 w 2394395"/>
              <a:gd name="connsiteY42" fmla="*/ 1180744 h 3681157"/>
              <a:gd name="connsiteX43" fmla="*/ 889567 w 2394395"/>
              <a:gd name="connsiteY43" fmla="*/ 1454634 h 3681157"/>
              <a:gd name="connsiteX44" fmla="*/ 1151377 w 2394395"/>
              <a:gd name="connsiteY44" fmla="*/ 1729982 h 3681157"/>
              <a:gd name="connsiteX45" fmla="*/ 1151585 w 2394395"/>
              <a:gd name="connsiteY45" fmla="*/ 1729982 h 3681157"/>
              <a:gd name="connsiteX46" fmla="*/ 1197199 w 2394395"/>
              <a:gd name="connsiteY46" fmla="*/ 989334 h 3681157"/>
              <a:gd name="connsiteX47" fmla="*/ 1634380 w 2394395"/>
              <a:gd name="connsiteY47" fmla="*/ 1454634 h 3681157"/>
              <a:gd name="connsiteX48" fmla="*/ 1197199 w 2394395"/>
              <a:gd name="connsiteY48" fmla="*/ 1921600 h 3681157"/>
              <a:gd name="connsiteX49" fmla="*/ 750644 w 2394395"/>
              <a:gd name="connsiteY49" fmla="*/ 1454634 h 3681157"/>
              <a:gd name="connsiteX50" fmla="*/ 1473586 w 2394395"/>
              <a:gd name="connsiteY50" fmla="*/ 844372 h 3681157"/>
              <a:gd name="connsiteX51" fmla="*/ 1421516 w 2394395"/>
              <a:gd name="connsiteY51" fmla="*/ 896650 h 3681157"/>
              <a:gd name="connsiteX52" fmla="*/ 1486083 w 2394395"/>
              <a:gd name="connsiteY52" fmla="*/ 963092 h 3681157"/>
              <a:gd name="connsiteX53" fmla="*/ 916227 w 2394395"/>
              <a:gd name="connsiteY53" fmla="*/ 844371 h 3681157"/>
              <a:gd name="connsiteX54" fmla="*/ 905188 w 2394395"/>
              <a:gd name="connsiteY54" fmla="*/ 963091 h 3681157"/>
              <a:gd name="connsiteX55" fmla="*/ 966631 w 2394395"/>
              <a:gd name="connsiteY55" fmla="*/ 896650 h 3681157"/>
              <a:gd name="connsiteX56" fmla="*/ 1552108 w 2394395"/>
              <a:gd name="connsiteY56" fmla="*/ 618386 h 3681157"/>
              <a:gd name="connsiteX57" fmla="*/ 1615217 w 2394395"/>
              <a:gd name="connsiteY57" fmla="*/ 1246146 h 3681157"/>
              <a:gd name="connsiteX58" fmla="*/ 1282801 w 2394395"/>
              <a:gd name="connsiteY58" fmla="*/ 896650 h 3681157"/>
              <a:gd name="connsiteX59" fmla="*/ 840621 w 2394395"/>
              <a:gd name="connsiteY59" fmla="*/ 618177 h 3681157"/>
              <a:gd name="connsiteX60" fmla="*/ 1102221 w 2394395"/>
              <a:gd name="connsiteY60" fmla="*/ 896441 h 3681157"/>
              <a:gd name="connsiteX61" fmla="*/ 779178 w 2394395"/>
              <a:gd name="connsiteY61" fmla="*/ 1245937 h 3681157"/>
              <a:gd name="connsiteX62" fmla="*/ 1242187 w 2394395"/>
              <a:gd name="connsiteY62" fmla="*/ 535907 h 3681157"/>
              <a:gd name="connsiteX63" fmla="*/ 1242187 w 2394395"/>
              <a:gd name="connsiteY63" fmla="*/ 600891 h 3681157"/>
              <a:gd name="connsiteX64" fmla="*/ 1305296 w 2394395"/>
              <a:gd name="connsiteY64" fmla="*/ 535907 h 3681157"/>
              <a:gd name="connsiteX65" fmla="*/ 1085768 w 2394395"/>
              <a:gd name="connsiteY65" fmla="*/ 535907 h 3681157"/>
              <a:gd name="connsiteX66" fmla="*/ 1152209 w 2394395"/>
              <a:gd name="connsiteY66" fmla="*/ 604015 h 3681157"/>
              <a:gd name="connsiteX67" fmla="*/ 1152209 w 2394395"/>
              <a:gd name="connsiteY67" fmla="*/ 535907 h 3681157"/>
              <a:gd name="connsiteX68" fmla="*/ 845620 w 2394395"/>
              <a:gd name="connsiteY68" fmla="*/ 437598 h 3681157"/>
              <a:gd name="connsiteX69" fmla="*/ 1539195 w 2394395"/>
              <a:gd name="connsiteY69" fmla="*/ 437598 h 3681157"/>
              <a:gd name="connsiteX70" fmla="*/ 1198031 w 2394395"/>
              <a:gd name="connsiteY70" fmla="*/ 789594 h 3681157"/>
              <a:gd name="connsiteX71" fmla="*/ 740855 w 2394395"/>
              <a:gd name="connsiteY71" fmla="*/ 358451 h 3681157"/>
              <a:gd name="connsiteX72" fmla="*/ 747103 w 2394395"/>
              <a:gd name="connsiteY72" fmla="*/ 363242 h 3681157"/>
              <a:gd name="connsiteX73" fmla="*/ 753351 w 2394395"/>
              <a:gd name="connsiteY73" fmla="*/ 369490 h 3681157"/>
              <a:gd name="connsiteX74" fmla="*/ 766056 w 2394395"/>
              <a:gd name="connsiteY74" fmla="*/ 388444 h 3681157"/>
              <a:gd name="connsiteX75" fmla="*/ 773971 w 2394395"/>
              <a:gd name="connsiteY75" fmla="*/ 407397 h 3681157"/>
              <a:gd name="connsiteX76" fmla="*/ 778762 w 2394395"/>
              <a:gd name="connsiteY76" fmla="*/ 428017 h 3681157"/>
              <a:gd name="connsiteX77" fmla="*/ 778762 w 2394395"/>
              <a:gd name="connsiteY77" fmla="*/ 448637 h 3681157"/>
              <a:gd name="connsiteX78" fmla="*/ 501123 w 2394395"/>
              <a:gd name="connsiteY78" fmla="*/ 2721399 h 3681157"/>
              <a:gd name="connsiteX79" fmla="*/ 496333 w 2394395"/>
              <a:gd name="connsiteY79" fmla="*/ 2746809 h 3681157"/>
              <a:gd name="connsiteX80" fmla="*/ 483628 w 2394395"/>
              <a:gd name="connsiteY80" fmla="*/ 2767428 h 3681157"/>
              <a:gd name="connsiteX81" fmla="*/ 467798 w 2394395"/>
              <a:gd name="connsiteY81" fmla="*/ 2786382 h 3681157"/>
              <a:gd name="connsiteX82" fmla="*/ 448845 w 2394395"/>
              <a:gd name="connsiteY82" fmla="*/ 2799087 h 3681157"/>
              <a:gd name="connsiteX83" fmla="*/ 426767 w 2394395"/>
              <a:gd name="connsiteY83" fmla="*/ 2808668 h 3681157"/>
              <a:gd name="connsiteX84" fmla="*/ 401565 w 2394395"/>
              <a:gd name="connsiteY84" fmla="*/ 2810334 h 3681157"/>
              <a:gd name="connsiteX85" fmla="*/ 234108 w 2394395"/>
              <a:gd name="connsiteY85" fmla="*/ 2810334 h 3681157"/>
              <a:gd name="connsiteX86" fmla="*/ 234108 w 2394395"/>
              <a:gd name="connsiteY86" fmla="*/ 2926139 h 3681157"/>
              <a:gd name="connsiteX87" fmla="*/ 232441 w 2394395"/>
              <a:gd name="connsiteY87" fmla="*/ 2948425 h 3681157"/>
              <a:gd name="connsiteX88" fmla="*/ 224527 w 2394395"/>
              <a:gd name="connsiteY88" fmla="*/ 2970711 h 3681157"/>
              <a:gd name="connsiteX89" fmla="*/ 211822 w 2394395"/>
              <a:gd name="connsiteY89" fmla="*/ 2988206 h 3681157"/>
              <a:gd name="connsiteX90" fmla="*/ 195992 w 2394395"/>
              <a:gd name="connsiteY90" fmla="*/ 3004035 h 3681157"/>
              <a:gd name="connsiteX91" fmla="*/ 177039 w 2394395"/>
              <a:gd name="connsiteY91" fmla="*/ 3016741 h 3681157"/>
              <a:gd name="connsiteX92" fmla="*/ 156419 w 2394395"/>
              <a:gd name="connsiteY92" fmla="*/ 3024655 h 3681157"/>
              <a:gd name="connsiteX93" fmla="*/ 134341 w 2394395"/>
              <a:gd name="connsiteY93" fmla="*/ 3026322 h 3681157"/>
              <a:gd name="connsiteX94" fmla="*/ 99558 w 2394395"/>
              <a:gd name="connsiteY94" fmla="*/ 3026322 h 3681157"/>
              <a:gd name="connsiteX95" fmla="*/ 99558 w 2394395"/>
              <a:gd name="connsiteY95" fmla="*/ 3581182 h 3681157"/>
              <a:gd name="connsiteX96" fmla="*/ 2295045 w 2394395"/>
              <a:gd name="connsiteY96" fmla="*/ 3581182 h 3681157"/>
              <a:gd name="connsiteX97" fmla="*/ 2295253 w 2394395"/>
              <a:gd name="connsiteY97" fmla="*/ 3581182 h 3681157"/>
              <a:gd name="connsiteX98" fmla="*/ 2295253 w 2394395"/>
              <a:gd name="connsiteY98" fmla="*/ 3026946 h 3681157"/>
              <a:gd name="connsiteX99" fmla="*/ 2252556 w 2394395"/>
              <a:gd name="connsiteY99" fmla="*/ 3026946 h 3681157"/>
              <a:gd name="connsiteX100" fmla="*/ 2228812 w 2394395"/>
              <a:gd name="connsiteY100" fmla="*/ 3025280 h 3681157"/>
              <a:gd name="connsiteX101" fmla="*/ 2208192 w 2394395"/>
              <a:gd name="connsiteY101" fmla="*/ 3017365 h 3681157"/>
              <a:gd name="connsiteX102" fmla="*/ 2189239 w 2394395"/>
              <a:gd name="connsiteY102" fmla="*/ 3004660 h 3681157"/>
              <a:gd name="connsiteX103" fmla="*/ 2173409 w 2394395"/>
              <a:gd name="connsiteY103" fmla="*/ 2988831 h 3681157"/>
              <a:gd name="connsiteX104" fmla="*/ 2160704 w 2394395"/>
              <a:gd name="connsiteY104" fmla="*/ 2971336 h 3681157"/>
              <a:gd name="connsiteX105" fmla="*/ 2154456 w 2394395"/>
              <a:gd name="connsiteY105" fmla="*/ 2949049 h 3681157"/>
              <a:gd name="connsiteX106" fmla="*/ 2151332 w 2394395"/>
              <a:gd name="connsiteY106" fmla="*/ 2926763 h 3681157"/>
              <a:gd name="connsiteX107" fmla="*/ 2151332 w 2394395"/>
              <a:gd name="connsiteY107" fmla="*/ 2810959 h 3681157"/>
              <a:gd name="connsiteX108" fmla="*/ 1993455 w 2394395"/>
              <a:gd name="connsiteY108" fmla="*/ 2810959 h 3681157"/>
              <a:gd name="connsiteX109" fmla="*/ 1968253 w 2394395"/>
              <a:gd name="connsiteY109" fmla="*/ 2809293 h 3681157"/>
              <a:gd name="connsiteX110" fmla="*/ 1946175 w 2394395"/>
              <a:gd name="connsiteY110" fmla="*/ 2799712 h 3681157"/>
              <a:gd name="connsiteX111" fmla="*/ 1925555 w 2394395"/>
              <a:gd name="connsiteY111" fmla="*/ 2787007 h 3681157"/>
              <a:gd name="connsiteX112" fmla="*/ 1909726 w 2394395"/>
              <a:gd name="connsiteY112" fmla="*/ 2768053 h 3681157"/>
              <a:gd name="connsiteX113" fmla="*/ 1898687 w 2394395"/>
              <a:gd name="connsiteY113" fmla="*/ 2747434 h 3681157"/>
              <a:gd name="connsiteX114" fmla="*/ 1893896 w 2394395"/>
              <a:gd name="connsiteY114" fmla="*/ 2722023 h 3681157"/>
              <a:gd name="connsiteX115" fmla="*/ 1615842 w 2394395"/>
              <a:gd name="connsiteY115" fmla="*/ 448637 h 3681157"/>
              <a:gd name="connsiteX116" fmla="*/ 1615842 w 2394395"/>
              <a:gd name="connsiteY116" fmla="*/ 428017 h 3681157"/>
              <a:gd name="connsiteX117" fmla="*/ 1620632 w 2394395"/>
              <a:gd name="connsiteY117" fmla="*/ 407397 h 3681157"/>
              <a:gd name="connsiteX118" fmla="*/ 1628547 w 2394395"/>
              <a:gd name="connsiteY118" fmla="*/ 388444 h 3681157"/>
              <a:gd name="connsiteX119" fmla="*/ 1641252 w 2394395"/>
              <a:gd name="connsiteY119" fmla="*/ 369490 h 3681157"/>
              <a:gd name="connsiteX120" fmla="*/ 1647500 w 2394395"/>
              <a:gd name="connsiteY120" fmla="*/ 363242 h 3681157"/>
              <a:gd name="connsiteX121" fmla="*/ 1653749 w 2394395"/>
              <a:gd name="connsiteY121" fmla="*/ 358451 h 3681157"/>
              <a:gd name="connsiteX122" fmla="*/ 615886 w 2394395"/>
              <a:gd name="connsiteY122" fmla="*/ 256810 h 3681157"/>
              <a:gd name="connsiteX123" fmla="*/ 1768928 w 2394395"/>
              <a:gd name="connsiteY123" fmla="*/ 256810 h 3681157"/>
              <a:gd name="connsiteX124" fmla="*/ 1768928 w 2394395"/>
              <a:gd name="connsiteY124" fmla="*/ 437598 h 3681157"/>
              <a:gd name="connsiteX125" fmla="*/ 1715192 w 2394395"/>
              <a:gd name="connsiteY125" fmla="*/ 437598 h 3681157"/>
              <a:gd name="connsiteX126" fmla="*/ 1993246 w 2394395"/>
              <a:gd name="connsiteY126" fmla="*/ 2710984 h 3681157"/>
              <a:gd name="connsiteX127" fmla="*/ 2252348 w 2394395"/>
              <a:gd name="connsiteY127" fmla="*/ 2710984 h 3681157"/>
              <a:gd name="connsiteX128" fmla="*/ 2252348 w 2394395"/>
              <a:gd name="connsiteY128" fmla="*/ 2926555 h 3681157"/>
              <a:gd name="connsiteX129" fmla="*/ 2394395 w 2394395"/>
              <a:gd name="connsiteY129" fmla="*/ 2926555 h 3681157"/>
              <a:gd name="connsiteX130" fmla="*/ 2394395 w 2394395"/>
              <a:gd name="connsiteY130" fmla="*/ 3681157 h 3681157"/>
              <a:gd name="connsiteX131" fmla="*/ 0 w 2394395"/>
              <a:gd name="connsiteY131" fmla="*/ 3681157 h 3681157"/>
              <a:gd name="connsiteX132" fmla="*/ 0 w 2394395"/>
              <a:gd name="connsiteY132" fmla="*/ 2926555 h 3681157"/>
              <a:gd name="connsiteX133" fmla="*/ 134341 w 2394395"/>
              <a:gd name="connsiteY133" fmla="*/ 2926555 h 3681157"/>
              <a:gd name="connsiteX134" fmla="*/ 134341 w 2394395"/>
              <a:gd name="connsiteY134" fmla="*/ 2710984 h 3681157"/>
              <a:gd name="connsiteX135" fmla="*/ 401149 w 2394395"/>
              <a:gd name="connsiteY135" fmla="*/ 2710984 h 3681157"/>
              <a:gd name="connsiteX136" fmla="*/ 678995 w 2394395"/>
              <a:gd name="connsiteY136" fmla="*/ 437598 h 3681157"/>
              <a:gd name="connsiteX137" fmla="*/ 615886 w 2394395"/>
              <a:gd name="connsiteY137" fmla="*/ 437598 h 3681157"/>
              <a:gd name="connsiteX138" fmla="*/ 912269 w 2394395"/>
              <a:gd name="connsiteY138" fmla="*/ 0 h 3681157"/>
              <a:gd name="connsiteX139" fmla="*/ 1472962 w 2394395"/>
              <a:gd name="connsiteY139" fmla="*/ 0 h 3681157"/>
              <a:gd name="connsiteX140" fmla="*/ 1472962 w 2394395"/>
              <a:gd name="connsiteY140" fmla="*/ 209323 h 3681157"/>
              <a:gd name="connsiteX141" fmla="*/ 912269 w 2394395"/>
              <a:gd name="connsiteY141" fmla="*/ 209323 h 368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2394395" h="3681157">
                <a:moveTo>
                  <a:pt x="1149709" y="2844075"/>
                </a:moveTo>
                <a:lnTo>
                  <a:pt x="1239895" y="2844075"/>
                </a:lnTo>
                <a:lnTo>
                  <a:pt x="1239895" y="3339576"/>
                </a:lnTo>
                <a:lnTo>
                  <a:pt x="1249267" y="3366861"/>
                </a:lnTo>
                <a:lnTo>
                  <a:pt x="1257182" y="3394146"/>
                </a:lnTo>
                <a:lnTo>
                  <a:pt x="1274469" y="3411850"/>
                </a:lnTo>
                <a:lnTo>
                  <a:pt x="1291965" y="3429345"/>
                </a:lnTo>
                <a:lnTo>
                  <a:pt x="1320291" y="3439134"/>
                </a:lnTo>
                <a:lnTo>
                  <a:pt x="1381943" y="3447049"/>
                </a:lnTo>
                <a:lnTo>
                  <a:pt x="1909935" y="3447049"/>
                </a:lnTo>
                <a:lnTo>
                  <a:pt x="1909935" y="3538484"/>
                </a:lnTo>
                <a:lnTo>
                  <a:pt x="1337788" y="3538484"/>
                </a:lnTo>
                <a:lnTo>
                  <a:pt x="1284050" y="3528903"/>
                </a:lnTo>
                <a:lnTo>
                  <a:pt x="1249267" y="3503285"/>
                </a:lnTo>
                <a:lnTo>
                  <a:pt x="1213026" y="3476000"/>
                </a:lnTo>
                <a:lnTo>
                  <a:pt x="1187616" y="3447049"/>
                </a:lnTo>
                <a:lnTo>
                  <a:pt x="1168663" y="3402269"/>
                </a:lnTo>
                <a:lnTo>
                  <a:pt x="1149709" y="3358946"/>
                </a:lnTo>
                <a:close/>
                <a:moveTo>
                  <a:pt x="1241354" y="2302961"/>
                </a:moveTo>
                <a:lnTo>
                  <a:pt x="1241354" y="2601844"/>
                </a:lnTo>
                <a:lnTo>
                  <a:pt x="1523991" y="2601844"/>
                </a:lnTo>
                <a:close/>
                <a:moveTo>
                  <a:pt x="1151377" y="2302961"/>
                </a:moveTo>
                <a:lnTo>
                  <a:pt x="868739" y="2601844"/>
                </a:lnTo>
                <a:lnTo>
                  <a:pt x="1151377" y="2601844"/>
                </a:lnTo>
                <a:close/>
                <a:moveTo>
                  <a:pt x="1197198" y="2111759"/>
                </a:moveTo>
                <a:lnTo>
                  <a:pt x="1757890" y="2701402"/>
                </a:lnTo>
                <a:lnTo>
                  <a:pt x="636714" y="2701402"/>
                </a:lnTo>
                <a:close/>
                <a:moveTo>
                  <a:pt x="1572937" y="1851408"/>
                </a:moveTo>
                <a:lnTo>
                  <a:pt x="1421517" y="2009703"/>
                </a:lnTo>
                <a:lnTo>
                  <a:pt x="1609386" y="2204237"/>
                </a:lnTo>
                <a:close/>
                <a:moveTo>
                  <a:pt x="811880" y="1851200"/>
                </a:moveTo>
                <a:lnTo>
                  <a:pt x="780429" y="2207153"/>
                </a:lnTo>
                <a:lnTo>
                  <a:pt x="964966" y="2010953"/>
                </a:lnTo>
                <a:close/>
                <a:moveTo>
                  <a:pt x="1650417" y="1626673"/>
                </a:moveTo>
                <a:lnTo>
                  <a:pt x="1738729" y="2482708"/>
                </a:lnTo>
                <a:lnTo>
                  <a:pt x="1282801" y="2009494"/>
                </a:lnTo>
                <a:close/>
                <a:moveTo>
                  <a:pt x="736064" y="1626465"/>
                </a:moveTo>
                <a:lnTo>
                  <a:pt x="1102223" y="2009286"/>
                </a:lnTo>
                <a:lnTo>
                  <a:pt x="655668" y="2482501"/>
                </a:lnTo>
                <a:close/>
                <a:moveTo>
                  <a:pt x="1241354" y="1182410"/>
                </a:moveTo>
                <a:lnTo>
                  <a:pt x="1241354" y="1726858"/>
                </a:lnTo>
                <a:lnTo>
                  <a:pt x="1496915" y="1454634"/>
                </a:lnTo>
                <a:close/>
                <a:moveTo>
                  <a:pt x="1151585" y="1180744"/>
                </a:moveTo>
                <a:lnTo>
                  <a:pt x="889567" y="1454634"/>
                </a:lnTo>
                <a:lnTo>
                  <a:pt x="1151377" y="1729982"/>
                </a:lnTo>
                <a:lnTo>
                  <a:pt x="1151585" y="1729982"/>
                </a:lnTo>
                <a:close/>
                <a:moveTo>
                  <a:pt x="1197199" y="989334"/>
                </a:moveTo>
                <a:lnTo>
                  <a:pt x="1634380" y="1454634"/>
                </a:lnTo>
                <a:lnTo>
                  <a:pt x="1197199" y="1921600"/>
                </a:lnTo>
                <a:lnTo>
                  <a:pt x="750644" y="1454634"/>
                </a:lnTo>
                <a:close/>
                <a:moveTo>
                  <a:pt x="1473586" y="844372"/>
                </a:moveTo>
                <a:lnTo>
                  <a:pt x="1421516" y="896650"/>
                </a:lnTo>
                <a:lnTo>
                  <a:pt x="1486083" y="963092"/>
                </a:lnTo>
                <a:close/>
                <a:moveTo>
                  <a:pt x="916227" y="844371"/>
                </a:moveTo>
                <a:lnTo>
                  <a:pt x="905188" y="963091"/>
                </a:lnTo>
                <a:lnTo>
                  <a:pt x="966631" y="896650"/>
                </a:lnTo>
                <a:close/>
                <a:moveTo>
                  <a:pt x="1552108" y="618386"/>
                </a:moveTo>
                <a:lnTo>
                  <a:pt x="1615217" y="1246146"/>
                </a:lnTo>
                <a:lnTo>
                  <a:pt x="1282801" y="896650"/>
                </a:lnTo>
                <a:close/>
                <a:moveTo>
                  <a:pt x="840621" y="618177"/>
                </a:moveTo>
                <a:lnTo>
                  <a:pt x="1102221" y="896441"/>
                </a:lnTo>
                <a:lnTo>
                  <a:pt x="779178" y="1245937"/>
                </a:lnTo>
                <a:close/>
                <a:moveTo>
                  <a:pt x="1242187" y="535907"/>
                </a:moveTo>
                <a:lnTo>
                  <a:pt x="1242187" y="600891"/>
                </a:lnTo>
                <a:lnTo>
                  <a:pt x="1305296" y="535907"/>
                </a:lnTo>
                <a:close/>
                <a:moveTo>
                  <a:pt x="1085768" y="535907"/>
                </a:moveTo>
                <a:lnTo>
                  <a:pt x="1152209" y="604015"/>
                </a:lnTo>
                <a:lnTo>
                  <a:pt x="1152209" y="535907"/>
                </a:lnTo>
                <a:close/>
                <a:moveTo>
                  <a:pt x="845620" y="437598"/>
                </a:moveTo>
                <a:lnTo>
                  <a:pt x="1539195" y="437598"/>
                </a:lnTo>
                <a:lnTo>
                  <a:pt x="1198031" y="789594"/>
                </a:lnTo>
                <a:close/>
                <a:moveTo>
                  <a:pt x="740855" y="358451"/>
                </a:moveTo>
                <a:lnTo>
                  <a:pt x="747103" y="363242"/>
                </a:lnTo>
                <a:lnTo>
                  <a:pt x="753351" y="369490"/>
                </a:lnTo>
                <a:lnTo>
                  <a:pt x="766056" y="388444"/>
                </a:lnTo>
                <a:lnTo>
                  <a:pt x="773971" y="407397"/>
                </a:lnTo>
                <a:lnTo>
                  <a:pt x="778762" y="428017"/>
                </a:lnTo>
                <a:lnTo>
                  <a:pt x="778762" y="448637"/>
                </a:lnTo>
                <a:lnTo>
                  <a:pt x="501123" y="2721399"/>
                </a:lnTo>
                <a:lnTo>
                  <a:pt x="496333" y="2746809"/>
                </a:lnTo>
                <a:lnTo>
                  <a:pt x="483628" y="2767428"/>
                </a:lnTo>
                <a:lnTo>
                  <a:pt x="467798" y="2786382"/>
                </a:lnTo>
                <a:lnTo>
                  <a:pt x="448845" y="2799087"/>
                </a:lnTo>
                <a:lnTo>
                  <a:pt x="426767" y="2808668"/>
                </a:lnTo>
                <a:lnTo>
                  <a:pt x="401565" y="2810334"/>
                </a:lnTo>
                <a:lnTo>
                  <a:pt x="234108" y="2810334"/>
                </a:lnTo>
                <a:lnTo>
                  <a:pt x="234108" y="2926139"/>
                </a:lnTo>
                <a:lnTo>
                  <a:pt x="232441" y="2948425"/>
                </a:lnTo>
                <a:lnTo>
                  <a:pt x="224527" y="2970711"/>
                </a:lnTo>
                <a:lnTo>
                  <a:pt x="211822" y="2988206"/>
                </a:lnTo>
                <a:lnTo>
                  <a:pt x="195992" y="3004035"/>
                </a:lnTo>
                <a:lnTo>
                  <a:pt x="177039" y="3016741"/>
                </a:lnTo>
                <a:lnTo>
                  <a:pt x="156419" y="3024655"/>
                </a:lnTo>
                <a:lnTo>
                  <a:pt x="134341" y="3026322"/>
                </a:lnTo>
                <a:lnTo>
                  <a:pt x="99558" y="3026322"/>
                </a:lnTo>
                <a:lnTo>
                  <a:pt x="99558" y="3581182"/>
                </a:lnTo>
                <a:lnTo>
                  <a:pt x="2295045" y="3581182"/>
                </a:lnTo>
                <a:lnTo>
                  <a:pt x="2295253" y="3581182"/>
                </a:lnTo>
                <a:lnTo>
                  <a:pt x="2295253" y="3026946"/>
                </a:lnTo>
                <a:lnTo>
                  <a:pt x="2252556" y="3026946"/>
                </a:lnTo>
                <a:lnTo>
                  <a:pt x="2228812" y="3025280"/>
                </a:lnTo>
                <a:lnTo>
                  <a:pt x="2208192" y="3017365"/>
                </a:lnTo>
                <a:lnTo>
                  <a:pt x="2189239" y="3004660"/>
                </a:lnTo>
                <a:lnTo>
                  <a:pt x="2173409" y="2988831"/>
                </a:lnTo>
                <a:lnTo>
                  <a:pt x="2160704" y="2971336"/>
                </a:lnTo>
                <a:lnTo>
                  <a:pt x="2154456" y="2949049"/>
                </a:lnTo>
                <a:lnTo>
                  <a:pt x="2151332" y="2926763"/>
                </a:lnTo>
                <a:lnTo>
                  <a:pt x="2151332" y="2810959"/>
                </a:lnTo>
                <a:lnTo>
                  <a:pt x="1993455" y="2810959"/>
                </a:lnTo>
                <a:lnTo>
                  <a:pt x="1968253" y="2809293"/>
                </a:lnTo>
                <a:lnTo>
                  <a:pt x="1946175" y="2799712"/>
                </a:lnTo>
                <a:lnTo>
                  <a:pt x="1925555" y="2787007"/>
                </a:lnTo>
                <a:lnTo>
                  <a:pt x="1909726" y="2768053"/>
                </a:lnTo>
                <a:lnTo>
                  <a:pt x="1898687" y="2747434"/>
                </a:lnTo>
                <a:lnTo>
                  <a:pt x="1893896" y="2722023"/>
                </a:lnTo>
                <a:lnTo>
                  <a:pt x="1615842" y="448637"/>
                </a:lnTo>
                <a:lnTo>
                  <a:pt x="1615842" y="428017"/>
                </a:lnTo>
                <a:lnTo>
                  <a:pt x="1620632" y="407397"/>
                </a:lnTo>
                <a:lnTo>
                  <a:pt x="1628547" y="388444"/>
                </a:lnTo>
                <a:lnTo>
                  <a:pt x="1641252" y="369490"/>
                </a:lnTo>
                <a:lnTo>
                  <a:pt x="1647500" y="363242"/>
                </a:lnTo>
                <a:lnTo>
                  <a:pt x="1653749" y="358451"/>
                </a:lnTo>
                <a:close/>
                <a:moveTo>
                  <a:pt x="615886" y="256810"/>
                </a:moveTo>
                <a:lnTo>
                  <a:pt x="1768928" y="256810"/>
                </a:lnTo>
                <a:lnTo>
                  <a:pt x="1768928" y="437598"/>
                </a:lnTo>
                <a:lnTo>
                  <a:pt x="1715192" y="437598"/>
                </a:lnTo>
                <a:lnTo>
                  <a:pt x="1993246" y="2710984"/>
                </a:lnTo>
                <a:lnTo>
                  <a:pt x="2252348" y="2710984"/>
                </a:lnTo>
                <a:lnTo>
                  <a:pt x="2252348" y="2926555"/>
                </a:lnTo>
                <a:lnTo>
                  <a:pt x="2394395" y="2926555"/>
                </a:lnTo>
                <a:lnTo>
                  <a:pt x="2394395" y="3681157"/>
                </a:lnTo>
                <a:lnTo>
                  <a:pt x="0" y="3681157"/>
                </a:lnTo>
                <a:lnTo>
                  <a:pt x="0" y="2926555"/>
                </a:lnTo>
                <a:lnTo>
                  <a:pt x="134341" y="2926555"/>
                </a:lnTo>
                <a:lnTo>
                  <a:pt x="134341" y="2710984"/>
                </a:lnTo>
                <a:lnTo>
                  <a:pt x="401149" y="2710984"/>
                </a:lnTo>
                <a:lnTo>
                  <a:pt x="678995" y="437598"/>
                </a:lnTo>
                <a:lnTo>
                  <a:pt x="615886" y="437598"/>
                </a:lnTo>
                <a:close/>
                <a:moveTo>
                  <a:pt x="912269" y="0"/>
                </a:moveTo>
                <a:lnTo>
                  <a:pt x="1472962" y="0"/>
                </a:lnTo>
                <a:lnTo>
                  <a:pt x="1472962" y="209323"/>
                </a:lnTo>
                <a:lnTo>
                  <a:pt x="912269" y="209323"/>
                </a:lnTo>
                <a:close/>
              </a:path>
            </a:pathLst>
          </a:custGeom>
          <a:solidFill>
            <a:schemeClr val="accent6"/>
          </a:solidFill>
          <a:ln w="0">
            <a:noFill/>
            <a:prstDash val="solid"/>
            <a:round/>
            <a:headEnd/>
            <a:tailEnd/>
          </a:ln>
        </p:spPr>
        <p:txBody>
          <a:bodyPr rtlCol="0" anchor="ctr"/>
          <a:lstStyle/>
          <a:p>
            <a:endParaRPr lang="en-US" sz="1350"/>
          </a:p>
        </p:txBody>
      </p:sp>
      <p:pic>
        <p:nvPicPr>
          <p:cNvPr id="210" name="Graphic 270">
            <a:extLst>
              <a:ext uri="{FF2B5EF4-FFF2-40B4-BE49-F238E27FC236}">
                <a16:creationId xmlns:a16="http://schemas.microsoft.com/office/drawing/2014/main" id="{A73CD6CF-4E7E-9DEB-B9D4-9181AA228FA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504677" y="1590589"/>
            <a:ext cx="157163" cy="157163"/>
          </a:xfrm>
          <a:prstGeom prst="rect">
            <a:avLst/>
          </a:prstGeom>
        </p:spPr>
      </p:pic>
      <p:cxnSp>
        <p:nvCxnSpPr>
          <p:cNvPr id="211" name="Connector: Elbow 271">
            <a:extLst>
              <a:ext uri="{FF2B5EF4-FFF2-40B4-BE49-F238E27FC236}">
                <a16:creationId xmlns:a16="http://schemas.microsoft.com/office/drawing/2014/main" id="{DC99B6E8-D7DA-4EDA-F2BA-7492BCD48FCC}"/>
              </a:ext>
            </a:extLst>
          </p:cNvPr>
          <p:cNvCxnSpPr>
            <a:cxnSpLocks/>
          </p:cNvCxnSpPr>
          <p:nvPr/>
        </p:nvCxnSpPr>
        <p:spPr>
          <a:xfrm rot="10800000">
            <a:off x="2344623" y="2415943"/>
            <a:ext cx="579068" cy="45359"/>
          </a:xfrm>
          <a:prstGeom prst="bentConnector2">
            <a:avLst/>
          </a:prstGeom>
          <a:ln w="635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212" name="Rechteck 12">
            <a:extLst>
              <a:ext uri="{FF2B5EF4-FFF2-40B4-BE49-F238E27FC236}">
                <a16:creationId xmlns:a16="http://schemas.microsoft.com/office/drawing/2014/main" id="{791EECDE-09EA-D1E5-24BB-5788176C3AC0}"/>
              </a:ext>
            </a:extLst>
          </p:cNvPr>
          <p:cNvSpPr/>
          <p:nvPr/>
        </p:nvSpPr>
        <p:spPr>
          <a:xfrm>
            <a:off x="220345" y="2717213"/>
            <a:ext cx="1257544" cy="851484"/>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213" name="RBContent12">
            <a:extLst>
              <a:ext uri="{FF2B5EF4-FFF2-40B4-BE49-F238E27FC236}">
                <a16:creationId xmlns:a16="http://schemas.microsoft.com/office/drawing/2014/main" id="{24E4D08E-35E4-EC21-4B42-4AEC55AAF325}"/>
              </a:ext>
            </a:extLst>
          </p:cNvPr>
          <p:cNvSpPr txBox="1">
            <a:spLocks/>
          </p:cNvSpPr>
          <p:nvPr/>
        </p:nvSpPr>
        <p:spPr>
          <a:xfrm>
            <a:off x="279199" y="2937933"/>
            <a:ext cx="1188000" cy="572464"/>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900" b="1">
                <a:sym typeface="+mn-lt"/>
              </a:rPr>
              <a:t>Trion Oil </a:t>
            </a:r>
            <a:r>
              <a:rPr lang="en-US" sz="900" b="1" err="1">
                <a:sym typeface="+mn-lt"/>
              </a:rPr>
              <a:t>FIeld</a:t>
            </a:r>
            <a:endParaRPr lang="en-US" sz="900" b="1">
              <a:sym typeface="+mn-lt"/>
            </a:endParaRPr>
          </a:p>
          <a:p>
            <a:pPr marL="0" lvl="1">
              <a:lnSpc>
                <a:spcPct val="90000"/>
              </a:lnSpc>
              <a:spcBef>
                <a:spcPts val="300"/>
              </a:spcBef>
              <a:buSzPct val="100000"/>
            </a:pPr>
            <a:r>
              <a:rPr lang="en-US" sz="800">
                <a:sym typeface="+mn-lt"/>
              </a:rPr>
              <a:t>Capex: USD 7 bn</a:t>
            </a:r>
          </a:p>
          <a:p>
            <a:pPr marL="0" lvl="1">
              <a:lnSpc>
                <a:spcPct val="90000"/>
              </a:lnSpc>
              <a:spcBef>
                <a:spcPts val="300"/>
              </a:spcBef>
              <a:buSzPct val="100000"/>
            </a:pPr>
            <a:r>
              <a:rPr lang="en-US" sz="800">
                <a:sym typeface="+mn-lt"/>
              </a:rPr>
              <a:t>Company: Woodside E.</a:t>
            </a:r>
          </a:p>
          <a:p>
            <a:pPr marL="0" lvl="1">
              <a:lnSpc>
                <a:spcPct val="90000"/>
              </a:lnSpc>
              <a:spcBef>
                <a:spcPts val="300"/>
              </a:spcBef>
              <a:buSzPct val="100000"/>
            </a:pPr>
            <a:r>
              <a:rPr lang="en-US" sz="800">
                <a:sym typeface="+mn-lt"/>
              </a:rPr>
              <a:t>Completion: </a:t>
            </a:r>
            <a:r>
              <a:rPr lang="en-US" sz="800" err="1">
                <a:sym typeface="+mn-lt"/>
              </a:rPr>
              <a:t>n.a.</a:t>
            </a:r>
            <a:endParaRPr lang="en-US" sz="800">
              <a:sym typeface="+mn-lt"/>
            </a:endParaRPr>
          </a:p>
        </p:txBody>
      </p:sp>
      <p:pic>
        <p:nvPicPr>
          <p:cNvPr id="214" name="Graphic 277">
            <a:extLst>
              <a:ext uri="{FF2B5EF4-FFF2-40B4-BE49-F238E27FC236}">
                <a16:creationId xmlns:a16="http://schemas.microsoft.com/office/drawing/2014/main" id="{86FB3FEC-2F94-34BF-BF42-BE223C666D5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35203" y="2749442"/>
            <a:ext cx="157163" cy="157163"/>
          </a:xfrm>
          <a:prstGeom prst="rect">
            <a:avLst/>
          </a:prstGeom>
        </p:spPr>
      </p:pic>
      <p:sp>
        <p:nvSpPr>
          <p:cNvPr id="215" name="Freeform: Shape 278">
            <a:extLst>
              <a:ext uri="{FF2B5EF4-FFF2-40B4-BE49-F238E27FC236}">
                <a16:creationId xmlns:a16="http://schemas.microsoft.com/office/drawing/2014/main" id="{FBB5CC83-5F00-9A8E-C132-8FAB3435560E}"/>
              </a:ext>
            </a:extLst>
          </p:cNvPr>
          <p:cNvSpPr>
            <a:spLocks noChangeAspect="1"/>
          </p:cNvSpPr>
          <p:nvPr/>
        </p:nvSpPr>
        <p:spPr>
          <a:xfrm>
            <a:off x="1293385" y="2753698"/>
            <a:ext cx="101420" cy="155924"/>
          </a:xfrm>
          <a:custGeom>
            <a:avLst/>
            <a:gdLst>
              <a:gd name="connsiteX0" fmla="*/ 1149709 w 2394395"/>
              <a:gd name="connsiteY0" fmla="*/ 2844075 h 3681157"/>
              <a:gd name="connsiteX1" fmla="*/ 1239895 w 2394395"/>
              <a:gd name="connsiteY1" fmla="*/ 2844075 h 3681157"/>
              <a:gd name="connsiteX2" fmla="*/ 1239895 w 2394395"/>
              <a:gd name="connsiteY2" fmla="*/ 3339576 h 3681157"/>
              <a:gd name="connsiteX3" fmla="*/ 1249267 w 2394395"/>
              <a:gd name="connsiteY3" fmla="*/ 3366861 h 3681157"/>
              <a:gd name="connsiteX4" fmla="*/ 1257182 w 2394395"/>
              <a:gd name="connsiteY4" fmla="*/ 3394146 h 3681157"/>
              <a:gd name="connsiteX5" fmla="*/ 1274469 w 2394395"/>
              <a:gd name="connsiteY5" fmla="*/ 3411850 h 3681157"/>
              <a:gd name="connsiteX6" fmla="*/ 1291965 w 2394395"/>
              <a:gd name="connsiteY6" fmla="*/ 3429345 h 3681157"/>
              <a:gd name="connsiteX7" fmla="*/ 1320291 w 2394395"/>
              <a:gd name="connsiteY7" fmla="*/ 3439134 h 3681157"/>
              <a:gd name="connsiteX8" fmla="*/ 1381943 w 2394395"/>
              <a:gd name="connsiteY8" fmla="*/ 3447049 h 3681157"/>
              <a:gd name="connsiteX9" fmla="*/ 1909935 w 2394395"/>
              <a:gd name="connsiteY9" fmla="*/ 3447049 h 3681157"/>
              <a:gd name="connsiteX10" fmla="*/ 1909935 w 2394395"/>
              <a:gd name="connsiteY10" fmla="*/ 3538484 h 3681157"/>
              <a:gd name="connsiteX11" fmla="*/ 1337788 w 2394395"/>
              <a:gd name="connsiteY11" fmla="*/ 3538484 h 3681157"/>
              <a:gd name="connsiteX12" fmla="*/ 1284050 w 2394395"/>
              <a:gd name="connsiteY12" fmla="*/ 3528903 h 3681157"/>
              <a:gd name="connsiteX13" fmla="*/ 1249267 w 2394395"/>
              <a:gd name="connsiteY13" fmla="*/ 3503285 h 3681157"/>
              <a:gd name="connsiteX14" fmla="*/ 1213026 w 2394395"/>
              <a:gd name="connsiteY14" fmla="*/ 3476000 h 3681157"/>
              <a:gd name="connsiteX15" fmla="*/ 1187616 w 2394395"/>
              <a:gd name="connsiteY15" fmla="*/ 3447049 h 3681157"/>
              <a:gd name="connsiteX16" fmla="*/ 1168663 w 2394395"/>
              <a:gd name="connsiteY16" fmla="*/ 3402269 h 3681157"/>
              <a:gd name="connsiteX17" fmla="*/ 1149709 w 2394395"/>
              <a:gd name="connsiteY17" fmla="*/ 3358946 h 3681157"/>
              <a:gd name="connsiteX18" fmla="*/ 1241354 w 2394395"/>
              <a:gd name="connsiteY18" fmla="*/ 2302961 h 3681157"/>
              <a:gd name="connsiteX19" fmla="*/ 1241354 w 2394395"/>
              <a:gd name="connsiteY19" fmla="*/ 2601844 h 3681157"/>
              <a:gd name="connsiteX20" fmla="*/ 1523991 w 2394395"/>
              <a:gd name="connsiteY20" fmla="*/ 2601844 h 3681157"/>
              <a:gd name="connsiteX21" fmla="*/ 1151377 w 2394395"/>
              <a:gd name="connsiteY21" fmla="*/ 2302961 h 3681157"/>
              <a:gd name="connsiteX22" fmla="*/ 868739 w 2394395"/>
              <a:gd name="connsiteY22" fmla="*/ 2601844 h 3681157"/>
              <a:gd name="connsiteX23" fmla="*/ 1151377 w 2394395"/>
              <a:gd name="connsiteY23" fmla="*/ 2601844 h 3681157"/>
              <a:gd name="connsiteX24" fmla="*/ 1197198 w 2394395"/>
              <a:gd name="connsiteY24" fmla="*/ 2111759 h 3681157"/>
              <a:gd name="connsiteX25" fmla="*/ 1757890 w 2394395"/>
              <a:gd name="connsiteY25" fmla="*/ 2701402 h 3681157"/>
              <a:gd name="connsiteX26" fmla="*/ 636714 w 2394395"/>
              <a:gd name="connsiteY26" fmla="*/ 2701402 h 3681157"/>
              <a:gd name="connsiteX27" fmla="*/ 1572937 w 2394395"/>
              <a:gd name="connsiteY27" fmla="*/ 1851408 h 3681157"/>
              <a:gd name="connsiteX28" fmla="*/ 1421517 w 2394395"/>
              <a:gd name="connsiteY28" fmla="*/ 2009703 h 3681157"/>
              <a:gd name="connsiteX29" fmla="*/ 1609386 w 2394395"/>
              <a:gd name="connsiteY29" fmla="*/ 2204237 h 3681157"/>
              <a:gd name="connsiteX30" fmla="*/ 811880 w 2394395"/>
              <a:gd name="connsiteY30" fmla="*/ 1851200 h 3681157"/>
              <a:gd name="connsiteX31" fmla="*/ 780429 w 2394395"/>
              <a:gd name="connsiteY31" fmla="*/ 2207153 h 3681157"/>
              <a:gd name="connsiteX32" fmla="*/ 964966 w 2394395"/>
              <a:gd name="connsiteY32" fmla="*/ 2010953 h 3681157"/>
              <a:gd name="connsiteX33" fmla="*/ 1650417 w 2394395"/>
              <a:gd name="connsiteY33" fmla="*/ 1626673 h 3681157"/>
              <a:gd name="connsiteX34" fmla="*/ 1738729 w 2394395"/>
              <a:gd name="connsiteY34" fmla="*/ 2482708 h 3681157"/>
              <a:gd name="connsiteX35" fmla="*/ 1282801 w 2394395"/>
              <a:gd name="connsiteY35" fmla="*/ 2009494 h 3681157"/>
              <a:gd name="connsiteX36" fmla="*/ 736064 w 2394395"/>
              <a:gd name="connsiteY36" fmla="*/ 1626465 h 3681157"/>
              <a:gd name="connsiteX37" fmla="*/ 1102223 w 2394395"/>
              <a:gd name="connsiteY37" fmla="*/ 2009286 h 3681157"/>
              <a:gd name="connsiteX38" fmla="*/ 655668 w 2394395"/>
              <a:gd name="connsiteY38" fmla="*/ 2482501 h 3681157"/>
              <a:gd name="connsiteX39" fmla="*/ 1241354 w 2394395"/>
              <a:gd name="connsiteY39" fmla="*/ 1182410 h 3681157"/>
              <a:gd name="connsiteX40" fmla="*/ 1241354 w 2394395"/>
              <a:gd name="connsiteY40" fmla="*/ 1726858 h 3681157"/>
              <a:gd name="connsiteX41" fmla="*/ 1496915 w 2394395"/>
              <a:gd name="connsiteY41" fmla="*/ 1454634 h 3681157"/>
              <a:gd name="connsiteX42" fmla="*/ 1151585 w 2394395"/>
              <a:gd name="connsiteY42" fmla="*/ 1180744 h 3681157"/>
              <a:gd name="connsiteX43" fmla="*/ 889567 w 2394395"/>
              <a:gd name="connsiteY43" fmla="*/ 1454634 h 3681157"/>
              <a:gd name="connsiteX44" fmla="*/ 1151377 w 2394395"/>
              <a:gd name="connsiteY44" fmla="*/ 1729982 h 3681157"/>
              <a:gd name="connsiteX45" fmla="*/ 1151585 w 2394395"/>
              <a:gd name="connsiteY45" fmla="*/ 1729982 h 3681157"/>
              <a:gd name="connsiteX46" fmla="*/ 1197199 w 2394395"/>
              <a:gd name="connsiteY46" fmla="*/ 989334 h 3681157"/>
              <a:gd name="connsiteX47" fmla="*/ 1634380 w 2394395"/>
              <a:gd name="connsiteY47" fmla="*/ 1454634 h 3681157"/>
              <a:gd name="connsiteX48" fmla="*/ 1197199 w 2394395"/>
              <a:gd name="connsiteY48" fmla="*/ 1921600 h 3681157"/>
              <a:gd name="connsiteX49" fmla="*/ 750644 w 2394395"/>
              <a:gd name="connsiteY49" fmla="*/ 1454634 h 3681157"/>
              <a:gd name="connsiteX50" fmla="*/ 1473586 w 2394395"/>
              <a:gd name="connsiteY50" fmla="*/ 844372 h 3681157"/>
              <a:gd name="connsiteX51" fmla="*/ 1421516 w 2394395"/>
              <a:gd name="connsiteY51" fmla="*/ 896650 h 3681157"/>
              <a:gd name="connsiteX52" fmla="*/ 1486083 w 2394395"/>
              <a:gd name="connsiteY52" fmla="*/ 963092 h 3681157"/>
              <a:gd name="connsiteX53" fmla="*/ 916227 w 2394395"/>
              <a:gd name="connsiteY53" fmla="*/ 844371 h 3681157"/>
              <a:gd name="connsiteX54" fmla="*/ 905188 w 2394395"/>
              <a:gd name="connsiteY54" fmla="*/ 963091 h 3681157"/>
              <a:gd name="connsiteX55" fmla="*/ 966631 w 2394395"/>
              <a:gd name="connsiteY55" fmla="*/ 896650 h 3681157"/>
              <a:gd name="connsiteX56" fmla="*/ 1552108 w 2394395"/>
              <a:gd name="connsiteY56" fmla="*/ 618386 h 3681157"/>
              <a:gd name="connsiteX57" fmla="*/ 1615217 w 2394395"/>
              <a:gd name="connsiteY57" fmla="*/ 1246146 h 3681157"/>
              <a:gd name="connsiteX58" fmla="*/ 1282801 w 2394395"/>
              <a:gd name="connsiteY58" fmla="*/ 896650 h 3681157"/>
              <a:gd name="connsiteX59" fmla="*/ 840621 w 2394395"/>
              <a:gd name="connsiteY59" fmla="*/ 618177 h 3681157"/>
              <a:gd name="connsiteX60" fmla="*/ 1102221 w 2394395"/>
              <a:gd name="connsiteY60" fmla="*/ 896441 h 3681157"/>
              <a:gd name="connsiteX61" fmla="*/ 779178 w 2394395"/>
              <a:gd name="connsiteY61" fmla="*/ 1245937 h 3681157"/>
              <a:gd name="connsiteX62" fmla="*/ 1242187 w 2394395"/>
              <a:gd name="connsiteY62" fmla="*/ 535907 h 3681157"/>
              <a:gd name="connsiteX63" fmla="*/ 1242187 w 2394395"/>
              <a:gd name="connsiteY63" fmla="*/ 600891 h 3681157"/>
              <a:gd name="connsiteX64" fmla="*/ 1305296 w 2394395"/>
              <a:gd name="connsiteY64" fmla="*/ 535907 h 3681157"/>
              <a:gd name="connsiteX65" fmla="*/ 1085768 w 2394395"/>
              <a:gd name="connsiteY65" fmla="*/ 535907 h 3681157"/>
              <a:gd name="connsiteX66" fmla="*/ 1152209 w 2394395"/>
              <a:gd name="connsiteY66" fmla="*/ 604015 h 3681157"/>
              <a:gd name="connsiteX67" fmla="*/ 1152209 w 2394395"/>
              <a:gd name="connsiteY67" fmla="*/ 535907 h 3681157"/>
              <a:gd name="connsiteX68" fmla="*/ 845620 w 2394395"/>
              <a:gd name="connsiteY68" fmla="*/ 437598 h 3681157"/>
              <a:gd name="connsiteX69" fmla="*/ 1539195 w 2394395"/>
              <a:gd name="connsiteY69" fmla="*/ 437598 h 3681157"/>
              <a:gd name="connsiteX70" fmla="*/ 1198031 w 2394395"/>
              <a:gd name="connsiteY70" fmla="*/ 789594 h 3681157"/>
              <a:gd name="connsiteX71" fmla="*/ 740855 w 2394395"/>
              <a:gd name="connsiteY71" fmla="*/ 358451 h 3681157"/>
              <a:gd name="connsiteX72" fmla="*/ 747103 w 2394395"/>
              <a:gd name="connsiteY72" fmla="*/ 363242 h 3681157"/>
              <a:gd name="connsiteX73" fmla="*/ 753351 w 2394395"/>
              <a:gd name="connsiteY73" fmla="*/ 369490 h 3681157"/>
              <a:gd name="connsiteX74" fmla="*/ 766056 w 2394395"/>
              <a:gd name="connsiteY74" fmla="*/ 388444 h 3681157"/>
              <a:gd name="connsiteX75" fmla="*/ 773971 w 2394395"/>
              <a:gd name="connsiteY75" fmla="*/ 407397 h 3681157"/>
              <a:gd name="connsiteX76" fmla="*/ 778762 w 2394395"/>
              <a:gd name="connsiteY76" fmla="*/ 428017 h 3681157"/>
              <a:gd name="connsiteX77" fmla="*/ 778762 w 2394395"/>
              <a:gd name="connsiteY77" fmla="*/ 448637 h 3681157"/>
              <a:gd name="connsiteX78" fmla="*/ 501123 w 2394395"/>
              <a:gd name="connsiteY78" fmla="*/ 2721399 h 3681157"/>
              <a:gd name="connsiteX79" fmla="*/ 496333 w 2394395"/>
              <a:gd name="connsiteY79" fmla="*/ 2746809 h 3681157"/>
              <a:gd name="connsiteX80" fmla="*/ 483628 w 2394395"/>
              <a:gd name="connsiteY80" fmla="*/ 2767428 h 3681157"/>
              <a:gd name="connsiteX81" fmla="*/ 467798 w 2394395"/>
              <a:gd name="connsiteY81" fmla="*/ 2786382 h 3681157"/>
              <a:gd name="connsiteX82" fmla="*/ 448845 w 2394395"/>
              <a:gd name="connsiteY82" fmla="*/ 2799087 h 3681157"/>
              <a:gd name="connsiteX83" fmla="*/ 426767 w 2394395"/>
              <a:gd name="connsiteY83" fmla="*/ 2808668 h 3681157"/>
              <a:gd name="connsiteX84" fmla="*/ 401565 w 2394395"/>
              <a:gd name="connsiteY84" fmla="*/ 2810334 h 3681157"/>
              <a:gd name="connsiteX85" fmla="*/ 234108 w 2394395"/>
              <a:gd name="connsiteY85" fmla="*/ 2810334 h 3681157"/>
              <a:gd name="connsiteX86" fmla="*/ 234108 w 2394395"/>
              <a:gd name="connsiteY86" fmla="*/ 2926139 h 3681157"/>
              <a:gd name="connsiteX87" fmla="*/ 232441 w 2394395"/>
              <a:gd name="connsiteY87" fmla="*/ 2948425 h 3681157"/>
              <a:gd name="connsiteX88" fmla="*/ 224527 w 2394395"/>
              <a:gd name="connsiteY88" fmla="*/ 2970711 h 3681157"/>
              <a:gd name="connsiteX89" fmla="*/ 211822 w 2394395"/>
              <a:gd name="connsiteY89" fmla="*/ 2988206 h 3681157"/>
              <a:gd name="connsiteX90" fmla="*/ 195992 w 2394395"/>
              <a:gd name="connsiteY90" fmla="*/ 3004035 h 3681157"/>
              <a:gd name="connsiteX91" fmla="*/ 177039 w 2394395"/>
              <a:gd name="connsiteY91" fmla="*/ 3016741 h 3681157"/>
              <a:gd name="connsiteX92" fmla="*/ 156419 w 2394395"/>
              <a:gd name="connsiteY92" fmla="*/ 3024655 h 3681157"/>
              <a:gd name="connsiteX93" fmla="*/ 134341 w 2394395"/>
              <a:gd name="connsiteY93" fmla="*/ 3026322 h 3681157"/>
              <a:gd name="connsiteX94" fmla="*/ 99558 w 2394395"/>
              <a:gd name="connsiteY94" fmla="*/ 3026322 h 3681157"/>
              <a:gd name="connsiteX95" fmla="*/ 99558 w 2394395"/>
              <a:gd name="connsiteY95" fmla="*/ 3581182 h 3681157"/>
              <a:gd name="connsiteX96" fmla="*/ 2295045 w 2394395"/>
              <a:gd name="connsiteY96" fmla="*/ 3581182 h 3681157"/>
              <a:gd name="connsiteX97" fmla="*/ 2295253 w 2394395"/>
              <a:gd name="connsiteY97" fmla="*/ 3581182 h 3681157"/>
              <a:gd name="connsiteX98" fmla="*/ 2295253 w 2394395"/>
              <a:gd name="connsiteY98" fmla="*/ 3026946 h 3681157"/>
              <a:gd name="connsiteX99" fmla="*/ 2252556 w 2394395"/>
              <a:gd name="connsiteY99" fmla="*/ 3026946 h 3681157"/>
              <a:gd name="connsiteX100" fmla="*/ 2228812 w 2394395"/>
              <a:gd name="connsiteY100" fmla="*/ 3025280 h 3681157"/>
              <a:gd name="connsiteX101" fmla="*/ 2208192 w 2394395"/>
              <a:gd name="connsiteY101" fmla="*/ 3017365 h 3681157"/>
              <a:gd name="connsiteX102" fmla="*/ 2189239 w 2394395"/>
              <a:gd name="connsiteY102" fmla="*/ 3004660 h 3681157"/>
              <a:gd name="connsiteX103" fmla="*/ 2173409 w 2394395"/>
              <a:gd name="connsiteY103" fmla="*/ 2988831 h 3681157"/>
              <a:gd name="connsiteX104" fmla="*/ 2160704 w 2394395"/>
              <a:gd name="connsiteY104" fmla="*/ 2971336 h 3681157"/>
              <a:gd name="connsiteX105" fmla="*/ 2154456 w 2394395"/>
              <a:gd name="connsiteY105" fmla="*/ 2949049 h 3681157"/>
              <a:gd name="connsiteX106" fmla="*/ 2151332 w 2394395"/>
              <a:gd name="connsiteY106" fmla="*/ 2926763 h 3681157"/>
              <a:gd name="connsiteX107" fmla="*/ 2151332 w 2394395"/>
              <a:gd name="connsiteY107" fmla="*/ 2810959 h 3681157"/>
              <a:gd name="connsiteX108" fmla="*/ 1993455 w 2394395"/>
              <a:gd name="connsiteY108" fmla="*/ 2810959 h 3681157"/>
              <a:gd name="connsiteX109" fmla="*/ 1968253 w 2394395"/>
              <a:gd name="connsiteY109" fmla="*/ 2809293 h 3681157"/>
              <a:gd name="connsiteX110" fmla="*/ 1946175 w 2394395"/>
              <a:gd name="connsiteY110" fmla="*/ 2799712 h 3681157"/>
              <a:gd name="connsiteX111" fmla="*/ 1925555 w 2394395"/>
              <a:gd name="connsiteY111" fmla="*/ 2787007 h 3681157"/>
              <a:gd name="connsiteX112" fmla="*/ 1909726 w 2394395"/>
              <a:gd name="connsiteY112" fmla="*/ 2768053 h 3681157"/>
              <a:gd name="connsiteX113" fmla="*/ 1898687 w 2394395"/>
              <a:gd name="connsiteY113" fmla="*/ 2747434 h 3681157"/>
              <a:gd name="connsiteX114" fmla="*/ 1893896 w 2394395"/>
              <a:gd name="connsiteY114" fmla="*/ 2722023 h 3681157"/>
              <a:gd name="connsiteX115" fmla="*/ 1615842 w 2394395"/>
              <a:gd name="connsiteY115" fmla="*/ 448637 h 3681157"/>
              <a:gd name="connsiteX116" fmla="*/ 1615842 w 2394395"/>
              <a:gd name="connsiteY116" fmla="*/ 428017 h 3681157"/>
              <a:gd name="connsiteX117" fmla="*/ 1620632 w 2394395"/>
              <a:gd name="connsiteY117" fmla="*/ 407397 h 3681157"/>
              <a:gd name="connsiteX118" fmla="*/ 1628547 w 2394395"/>
              <a:gd name="connsiteY118" fmla="*/ 388444 h 3681157"/>
              <a:gd name="connsiteX119" fmla="*/ 1641252 w 2394395"/>
              <a:gd name="connsiteY119" fmla="*/ 369490 h 3681157"/>
              <a:gd name="connsiteX120" fmla="*/ 1647500 w 2394395"/>
              <a:gd name="connsiteY120" fmla="*/ 363242 h 3681157"/>
              <a:gd name="connsiteX121" fmla="*/ 1653749 w 2394395"/>
              <a:gd name="connsiteY121" fmla="*/ 358451 h 3681157"/>
              <a:gd name="connsiteX122" fmla="*/ 615886 w 2394395"/>
              <a:gd name="connsiteY122" fmla="*/ 256810 h 3681157"/>
              <a:gd name="connsiteX123" fmla="*/ 1768928 w 2394395"/>
              <a:gd name="connsiteY123" fmla="*/ 256810 h 3681157"/>
              <a:gd name="connsiteX124" fmla="*/ 1768928 w 2394395"/>
              <a:gd name="connsiteY124" fmla="*/ 437598 h 3681157"/>
              <a:gd name="connsiteX125" fmla="*/ 1715192 w 2394395"/>
              <a:gd name="connsiteY125" fmla="*/ 437598 h 3681157"/>
              <a:gd name="connsiteX126" fmla="*/ 1993246 w 2394395"/>
              <a:gd name="connsiteY126" fmla="*/ 2710984 h 3681157"/>
              <a:gd name="connsiteX127" fmla="*/ 2252348 w 2394395"/>
              <a:gd name="connsiteY127" fmla="*/ 2710984 h 3681157"/>
              <a:gd name="connsiteX128" fmla="*/ 2252348 w 2394395"/>
              <a:gd name="connsiteY128" fmla="*/ 2926555 h 3681157"/>
              <a:gd name="connsiteX129" fmla="*/ 2394395 w 2394395"/>
              <a:gd name="connsiteY129" fmla="*/ 2926555 h 3681157"/>
              <a:gd name="connsiteX130" fmla="*/ 2394395 w 2394395"/>
              <a:gd name="connsiteY130" fmla="*/ 3681157 h 3681157"/>
              <a:gd name="connsiteX131" fmla="*/ 0 w 2394395"/>
              <a:gd name="connsiteY131" fmla="*/ 3681157 h 3681157"/>
              <a:gd name="connsiteX132" fmla="*/ 0 w 2394395"/>
              <a:gd name="connsiteY132" fmla="*/ 2926555 h 3681157"/>
              <a:gd name="connsiteX133" fmla="*/ 134341 w 2394395"/>
              <a:gd name="connsiteY133" fmla="*/ 2926555 h 3681157"/>
              <a:gd name="connsiteX134" fmla="*/ 134341 w 2394395"/>
              <a:gd name="connsiteY134" fmla="*/ 2710984 h 3681157"/>
              <a:gd name="connsiteX135" fmla="*/ 401149 w 2394395"/>
              <a:gd name="connsiteY135" fmla="*/ 2710984 h 3681157"/>
              <a:gd name="connsiteX136" fmla="*/ 678995 w 2394395"/>
              <a:gd name="connsiteY136" fmla="*/ 437598 h 3681157"/>
              <a:gd name="connsiteX137" fmla="*/ 615886 w 2394395"/>
              <a:gd name="connsiteY137" fmla="*/ 437598 h 3681157"/>
              <a:gd name="connsiteX138" fmla="*/ 912269 w 2394395"/>
              <a:gd name="connsiteY138" fmla="*/ 0 h 3681157"/>
              <a:gd name="connsiteX139" fmla="*/ 1472962 w 2394395"/>
              <a:gd name="connsiteY139" fmla="*/ 0 h 3681157"/>
              <a:gd name="connsiteX140" fmla="*/ 1472962 w 2394395"/>
              <a:gd name="connsiteY140" fmla="*/ 209323 h 3681157"/>
              <a:gd name="connsiteX141" fmla="*/ 912269 w 2394395"/>
              <a:gd name="connsiteY141" fmla="*/ 209323 h 368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2394395" h="3681157">
                <a:moveTo>
                  <a:pt x="1149709" y="2844075"/>
                </a:moveTo>
                <a:lnTo>
                  <a:pt x="1239895" y="2844075"/>
                </a:lnTo>
                <a:lnTo>
                  <a:pt x="1239895" y="3339576"/>
                </a:lnTo>
                <a:lnTo>
                  <a:pt x="1249267" y="3366861"/>
                </a:lnTo>
                <a:lnTo>
                  <a:pt x="1257182" y="3394146"/>
                </a:lnTo>
                <a:lnTo>
                  <a:pt x="1274469" y="3411850"/>
                </a:lnTo>
                <a:lnTo>
                  <a:pt x="1291965" y="3429345"/>
                </a:lnTo>
                <a:lnTo>
                  <a:pt x="1320291" y="3439134"/>
                </a:lnTo>
                <a:lnTo>
                  <a:pt x="1381943" y="3447049"/>
                </a:lnTo>
                <a:lnTo>
                  <a:pt x="1909935" y="3447049"/>
                </a:lnTo>
                <a:lnTo>
                  <a:pt x="1909935" y="3538484"/>
                </a:lnTo>
                <a:lnTo>
                  <a:pt x="1337788" y="3538484"/>
                </a:lnTo>
                <a:lnTo>
                  <a:pt x="1284050" y="3528903"/>
                </a:lnTo>
                <a:lnTo>
                  <a:pt x="1249267" y="3503285"/>
                </a:lnTo>
                <a:lnTo>
                  <a:pt x="1213026" y="3476000"/>
                </a:lnTo>
                <a:lnTo>
                  <a:pt x="1187616" y="3447049"/>
                </a:lnTo>
                <a:lnTo>
                  <a:pt x="1168663" y="3402269"/>
                </a:lnTo>
                <a:lnTo>
                  <a:pt x="1149709" y="3358946"/>
                </a:lnTo>
                <a:close/>
                <a:moveTo>
                  <a:pt x="1241354" y="2302961"/>
                </a:moveTo>
                <a:lnTo>
                  <a:pt x="1241354" y="2601844"/>
                </a:lnTo>
                <a:lnTo>
                  <a:pt x="1523991" y="2601844"/>
                </a:lnTo>
                <a:close/>
                <a:moveTo>
                  <a:pt x="1151377" y="2302961"/>
                </a:moveTo>
                <a:lnTo>
                  <a:pt x="868739" y="2601844"/>
                </a:lnTo>
                <a:lnTo>
                  <a:pt x="1151377" y="2601844"/>
                </a:lnTo>
                <a:close/>
                <a:moveTo>
                  <a:pt x="1197198" y="2111759"/>
                </a:moveTo>
                <a:lnTo>
                  <a:pt x="1757890" y="2701402"/>
                </a:lnTo>
                <a:lnTo>
                  <a:pt x="636714" y="2701402"/>
                </a:lnTo>
                <a:close/>
                <a:moveTo>
                  <a:pt x="1572937" y="1851408"/>
                </a:moveTo>
                <a:lnTo>
                  <a:pt x="1421517" y="2009703"/>
                </a:lnTo>
                <a:lnTo>
                  <a:pt x="1609386" y="2204237"/>
                </a:lnTo>
                <a:close/>
                <a:moveTo>
                  <a:pt x="811880" y="1851200"/>
                </a:moveTo>
                <a:lnTo>
                  <a:pt x="780429" y="2207153"/>
                </a:lnTo>
                <a:lnTo>
                  <a:pt x="964966" y="2010953"/>
                </a:lnTo>
                <a:close/>
                <a:moveTo>
                  <a:pt x="1650417" y="1626673"/>
                </a:moveTo>
                <a:lnTo>
                  <a:pt x="1738729" y="2482708"/>
                </a:lnTo>
                <a:lnTo>
                  <a:pt x="1282801" y="2009494"/>
                </a:lnTo>
                <a:close/>
                <a:moveTo>
                  <a:pt x="736064" y="1626465"/>
                </a:moveTo>
                <a:lnTo>
                  <a:pt x="1102223" y="2009286"/>
                </a:lnTo>
                <a:lnTo>
                  <a:pt x="655668" y="2482501"/>
                </a:lnTo>
                <a:close/>
                <a:moveTo>
                  <a:pt x="1241354" y="1182410"/>
                </a:moveTo>
                <a:lnTo>
                  <a:pt x="1241354" y="1726858"/>
                </a:lnTo>
                <a:lnTo>
                  <a:pt x="1496915" y="1454634"/>
                </a:lnTo>
                <a:close/>
                <a:moveTo>
                  <a:pt x="1151585" y="1180744"/>
                </a:moveTo>
                <a:lnTo>
                  <a:pt x="889567" y="1454634"/>
                </a:lnTo>
                <a:lnTo>
                  <a:pt x="1151377" y="1729982"/>
                </a:lnTo>
                <a:lnTo>
                  <a:pt x="1151585" y="1729982"/>
                </a:lnTo>
                <a:close/>
                <a:moveTo>
                  <a:pt x="1197199" y="989334"/>
                </a:moveTo>
                <a:lnTo>
                  <a:pt x="1634380" y="1454634"/>
                </a:lnTo>
                <a:lnTo>
                  <a:pt x="1197199" y="1921600"/>
                </a:lnTo>
                <a:lnTo>
                  <a:pt x="750644" y="1454634"/>
                </a:lnTo>
                <a:close/>
                <a:moveTo>
                  <a:pt x="1473586" y="844372"/>
                </a:moveTo>
                <a:lnTo>
                  <a:pt x="1421516" y="896650"/>
                </a:lnTo>
                <a:lnTo>
                  <a:pt x="1486083" y="963092"/>
                </a:lnTo>
                <a:close/>
                <a:moveTo>
                  <a:pt x="916227" y="844371"/>
                </a:moveTo>
                <a:lnTo>
                  <a:pt x="905188" y="963091"/>
                </a:lnTo>
                <a:lnTo>
                  <a:pt x="966631" y="896650"/>
                </a:lnTo>
                <a:close/>
                <a:moveTo>
                  <a:pt x="1552108" y="618386"/>
                </a:moveTo>
                <a:lnTo>
                  <a:pt x="1615217" y="1246146"/>
                </a:lnTo>
                <a:lnTo>
                  <a:pt x="1282801" y="896650"/>
                </a:lnTo>
                <a:close/>
                <a:moveTo>
                  <a:pt x="840621" y="618177"/>
                </a:moveTo>
                <a:lnTo>
                  <a:pt x="1102221" y="896441"/>
                </a:lnTo>
                <a:lnTo>
                  <a:pt x="779178" y="1245937"/>
                </a:lnTo>
                <a:close/>
                <a:moveTo>
                  <a:pt x="1242187" y="535907"/>
                </a:moveTo>
                <a:lnTo>
                  <a:pt x="1242187" y="600891"/>
                </a:lnTo>
                <a:lnTo>
                  <a:pt x="1305296" y="535907"/>
                </a:lnTo>
                <a:close/>
                <a:moveTo>
                  <a:pt x="1085768" y="535907"/>
                </a:moveTo>
                <a:lnTo>
                  <a:pt x="1152209" y="604015"/>
                </a:lnTo>
                <a:lnTo>
                  <a:pt x="1152209" y="535907"/>
                </a:lnTo>
                <a:close/>
                <a:moveTo>
                  <a:pt x="845620" y="437598"/>
                </a:moveTo>
                <a:lnTo>
                  <a:pt x="1539195" y="437598"/>
                </a:lnTo>
                <a:lnTo>
                  <a:pt x="1198031" y="789594"/>
                </a:lnTo>
                <a:close/>
                <a:moveTo>
                  <a:pt x="740855" y="358451"/>
                </a:moveTo>
                <a:lnTo>
                  <a:pt x="747103" y="363242"/>
                </a:lnTo>
                <a:lnTo>
                  <a:pt x="753351" y="369490"/>
                </a:lnTo>
                <a:lnTo>
                  <a:pt x="766056" y="388444"/>
                </a:lnTo>
                <a:lnTo>
                  <a:pt x="773971" y="407397"/>
                </a:lnTo>
                <a:lnTo>
                  <a:pt x="778762" y="428017"/>
                </a:lnTo>
                <a:lnTo>
                  <a:pt x="778762" y="448637"/>
                </a:lnTo>
                <a:lnTo>
                  <a:pt x="501123" y="2721399"/>
                </a:lnTo>
                <a:lnTo>
                  <a:pt x="496333" y="2746809"/>
                </a:lnTo>
                <a:lnTo>
                  <a:pt x="483628" y="2767428"/>
                </a:lnTo>
                <a:lnTo>
                  <a:pt x="467798" y="2786382"/>
                </a:lnTo>
                <a:lnTo>
                  <a:pt x="448845" y="2799087"/>
                </a:lnTo>
                <a:lnTo>
                  <a:pt x="426767" y="2808668"/>
                </a:lnTo>
                <a:lnTo>
                  <a:pt x="401565" y="2810334"/>
                </a:lnTo>
                <a:lnTo>
                  <a:pt x="234108" y="2810334"/>
                </a:lnTo>
                <a:lnTo>
                  <a:pt x="234108" y="2926139"/>
                </a:lnTo>
                <a:lnTo>
                  <a:pt x="232441" y="2948425"/>
                </a:lnTo>
                <a:lnTo>
                  <a:pt x="224527" y="2970711"/>
                </a:lnTo>
                <a:lnTo>
                  <a:pt x="211822" y="2988206"/>
                </a:lnTo>
                <a:lnTo>
                  <a:pt x="195992" y="3004035"/>
                </a:lnTo>
                <a:lnTo>
                  <a:pt x="177039" y="3016741"/>
                </a:lnTo>
                <a:lnTo>
                  <a:pt x="156419" y="3024655"/>
                </a:lnTo>
                <a:lnTo>
                  <a:pt x="134341" y="3026322"/>
                </a:lnTo>
                <a:lnTo>
                  <a:pt x="99558" y="3026322"/>
                </a:lnTo>
                <a:lnTo>
                  <a:pt x="99558" y="3581182"/>
                </a:lnTo>
                <a:lnTo>
                  <a:pt x="2295045" y="3581182"/>
                </a:lnTo>
                <a:lnTo>
                  <a:pt x="2295253" y="3581182"/>
                </a:lnTo>
                <a:lnTo>
                  <a:pt x="2295253" y="3026946"/>
                </a:lnTo>
                <a:lnTo>
                  <a:pt x="2252556" y="3026946"/>
                </a:lnTo>
                <a:lnTo>
                  <a:pt x="2228812" y="3025280"/>
                </a:lnTo>
                <a:lnTo>
                  <a:pt x="2208192" y="3017365"/>
                </a:lnTo>
                <a:lnTo>
                  <a:pt x="2189239" y="3004660"/>
                </a:lnTo>
                <a:lnTo>
                  <a:pt x="2173409" y="2988831"/>
                </a:lnTo>
                <a:lnTo>
                  <a:pt x="2160704" y="2971336"/>
                </a:lnTo>
                <a:lnTo>
                  <a:pt x="2154456" y="2949049"/>
                </a:lnTo>
                <a:lnTo>
                  <a:pt x="2151332" y="2926763"/>
                </a:lnTo>
                <a:lnTo>
                  <a:pt x="2151332" y="2810959"/>
                </a:lnTo>
                <a:lnTo>
                  <a:pt x="1993455" y="2810959"/>
                </a:lnTo>
                <a:lnTo>
                  <a:pt x="1968253" y="2809293"/>
                </a:lnTo>
                <a:lnTo>
                  <a:pt x="1946175" y="2799712"/>
                </a:lnTo>
                <a:lnTo>
                  <a:pt x="1925555" y="2787007"/>
                </a:lnTo>
                <a:lnTo>
                  <a:pt x="1909726" y="2768053"/>
                </a:lnTo>
                <a:lnTo>
                  <a:pt x="1898687" y="2747434"/>
                </a:lnTo>
                <a:lnTo>
                  <a:pt x="1893896" y="2722023"/>
                </a:lnTo>
                <a:lnTo>
                  <a:pt x="1615842" y="448637"/>
                </a:lnTo>
                <a:lnTo>
                  <a:pt x="1615842" y="428017"/>
                </a:lnTo>
                <a:lnTo>
                  <a:pt x="1620632" y="407397"/>
                </a:lnTo>
                <a:lnTo>
                  <a:pt x="1628547" y="388444"/>
                </a:lnTo>
                <a:lnTo>
                  <a:pt x="1641252" y="369490"/>
                </a:lnTo>
                <a:lnTo>
                  <a:pt x="1647500" y="363242"/>
                </a:lnTo>
                <a:lnTo>
                  <a:pt x="1653749" y="358451"/>
                </a:lnTo>
                <a:close/>
                <a:moveTo>
                  <a:pt x="615886" y="256810"/>
                </a:moveTo>
                <a:lnTo>
                  <a:pt x="1768928" y="256810"/>
                </a:lnTo>
                <a:lnTo>
                  <a:pt x="1768928" y="437598"/>
                </a:lnTo>
                <a:lnTo>
                  <a:pt x="1715192" y="437598"/>
                </a:lnTo>
                <a:lnTo>
                  <a:pt x="1993246" y="2710984"/>
                </a:lnTo>
                <a:lnTo>
                  <a:pt x="2252348" y="2710984"/>
                </a:lnTo>
                <a:lnTo>
                  <a:pt x="2252348" y="2926555"/>
                </a:lnTo>
                <a:lnTo>
                  <a:pt x="2394395" y="2926555"/>
                </a:lnTo>
                <a:lnTo>
                  <a:pt x="2394395" y="3681157"/>
                </a:lnTo>
                <a:lnTo>
                  <a:pt x="0" y="3681157"/>
                </a:lnTo>
                <a:lnTo>
                  <a:pt x="0" y="2926555"/>
                </a:lnTo>
                <a:lnTo>
                  <a:pt x="134341" y="2926555"/>
                </a:lnTo>
                <a:lnTo>
                  <a:pt x="134341" y="2710984"/>
                </a:lnTo>
                <a:lnTo>
                  <a:pt x="401149" y="2710984"/>
                </a:lnTo>
                <a:lnTo>
                  <a:pt x="678995" y="437598"/>
                </a:lnTo>
                <a:lnTo>
                  <a:pt x="615886" y="437598"/>
                </a:lnTo>
                <a:close/>
                <a:moveTo>
                  <a:pt x="912269" y="0"/>
                </a:moveTo>
                <a:lnTo>
                  <a:pt x="1472962" y="0"/>
                </a:lnTo>
                <a:lnTo>
                  <a:pt x="1472962" y="209323"/>
                </a:lnTo>
                <a:lnTo>
                  <a:pt x="912269" y="209323"/>
                </a:lnTo>
                <a:close/>
              </a:path>
            </a:pathLst>
          </a:custGeom>
          <a:solidFill>
            <a:schemeClr val="accent6"/>
          </a:solidFill>
          <a:ln w="0">
            <a:noFill/>
            <a:prstDash val="solid"/>
            <a:round/>
            <a:headEnd/>
            <a:tailEnd/>
          </a:ln>
        </p:spPr>
        <p:txBody>
          <a:bodyPr rtlCol="0" anchor="ctr"/>
          <a:lstStyle/>
          <a:p>
            <a:endParaRPr lang="en-US" sz="1350"/>
          </a:p>
        </p:txBody>
      </p:sp>
      <p:sp>
        <p:nvSpPr>
          <p:cNvPr id="216" name="Rechteck 12">
            <a:extLst>
              <a:ext uri="{FF2B5EF4-FFF2-40B4-BE49-F238E27FC236}">
                <a16:creationId xmlns:a16="http://schemas.microsoft.com/office/drawing/2014/main" id="{800F75DF-F6D8-2C9A-288B-AB72A0A44579}"/>
              </a:ext>
            </a:extLst>
          </p:cNvPr>
          <p:cNvSpPr/>
          <p:nvPr/>
        </p:nvSpPr>
        <p:spPr>
          <a:xfrm>
            <a:off x="3163504" y="1554586"/>
            <a:ext cx="1274725" cy="851484"/>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217" name="RBContent12">
            <a:extLst>
              <a:ext uri="{FF2B5EF4-FFF2-40B4-BE49-F238E27FC236}">
                <a16:creationId xmlns:a16="http://schemas.microsoft.com/office/drawing/2014/main" id="{D9DE9095-46AF-A67C-D27D-50A356ABE033}"/>
              </a:ext>
            </a:extLst>
          </p:cNvPr>
          <p:cNvSpPr txBox="1">
            <a:spLocks/>
          </p:cNvSpPr>
          <p:nvPr/>
        </p:nvSpPr>
        <p:spPr>
          <a:xfrm>
            <a:off x="3232913" y="1775306"/>
            <a:ext cx="1188000" cy="572464"/>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900" b="1" err="1">
                <a:sym typeface="+mn-lt"/>
              </a:rPr>
              <a:t>Statfjord</a:t>
            </a:r>
            <a:r>
              <a:rPr lang="en-US" sz="900" b="1">
                <a:sym typeface="+mn-lt"/>
              </a:rPr>
              <a:t> Oil Field </a:t>
            </a:r>
          </a:p>
          <a:p>
            <a:pPr marL="0" lvl="1">
              <a:lnSpc>
                <a:spcPct val="90000"/>
              </a:lnSpc>
              <a:spcBef>
                <a:spcPts val="300"/>
              </a:spcBef>
              <a:buSzPct val="100000"/>
            </a:pPr>
            <a:r>
              <a:rPr lang="en-US" sz="800">
                <a:sym typeface="+mn-lt"/>
              </a:rPr>
              <a:t>Capex: USD 8 bn</a:t>
            </a:r>
          </a:p>
          <a:p>
            <a:pPr marL="0" lvl="1">
              <a:lnSpc>
                <a:spcPct val="90000"/>
              </a:lnSpc>
              <a:spcBef>
                <a:spcPts val="300"/>
              </a:spcBef>
              <a:buSzPct val="100000"/>
            </a:pPr>
            <a:r>
              <a:rPr lang="en-US" sz="800">
                <a:sym typeface="+mn-lt"/>
              </a:rPr>
              <a:t>Company: Equinor</a:t>
            </a:r>
          </a:p>
          <a:p>
            <a:pPr marL="0" lvl="1">
              <a:lnSpc>
                <a:spcPct val="90000"/>
              </a:lnSpc>
              <a:spcBef>
                <a:spcPts val="300"/>
              </a:spcBef>
              <a:buSzPct val="100000"/>
            </a:pPr>
            <a:r>
              <a:rPr lang="en-US" sz="800">
                <a:sym typeface="+mn-lt"/>
              </a:rPr>
              <a:t>Completion: </a:t>
            </a:r>
            <a:r>
              <a:rPr lang="en-US" sz="800" err="1">
                <a:sym typeface="+mn-lt"/>
              </a:rPr>
              <a:t>n.a.</a:t>
            </a:r>
            <a:endParaRPr lang="en-US" sz="800">
              <a:sym typeface="+mn-lt"/>
            </a:endParaRPr>
          </a:p>
        </p:txBody>
      </p:sp>
      <p:sp>
        <p:nvSpPr>
          <p:cNvPr id="218" name="Freeform: Shape 287">
            <a:extLst>
              <a:ext uri="{FF2B5EF4-FFF2-40B4-BE49-F238E27FC236}">
                <a16:creationId xmlns:a16="http://schemas.microsoft.com/office/drawing/2014/main" id="{2EB4B1F3-C37D-85F8-5682-71C9078001A5}"/>
              </a:ext>
            </a:extLst>
          </p:cNvPr>
          <p:cNvSpPr>
            <a:spLocks noChangeAspect="1"/>
          </p:cNvSpPr>
          <p:nvPr/>
        </p:nvSpPr>
        <p:spPr>
          <a:xfrm>
            <a:off x="4241735" y="1588164"/>
            <a:ext cx="161692" cy="161738"/>
          </a:xfrm>
          <a:custGeom>
            <a:avLst/>
            <a:gdLst>
              <a:gd name="connsiteX0" fmla="*/ 842193 w 3648846"/>
              <a:gd name="connsiteY0" fmla="*/ 3403529 h 3649899"/>
              <a:gd name="connsiteX1" fmla="*/ 1069999 w 3648846"/>
              <a:gd name="connsiteY1" fmla="*/ 3480948 h 3649899"/>
              <a:gd name="connsiteX2" fmla="*/ 1401003 w 3648846"/>
              <a:gd name="connsiteY2" fmla="*/ 3480948 h 3649899"/>
              <a:gd name="connsiteX3" fmla="*/ 1856103 w 3648846"/>
              <a:gd name="connsiteY3" fmla="*/ 3480948 h 3649899"/>
              <a:gd name="connsiteX4" fmla="*/ 2187106 w 3648846"/>
              <a:gd name="connsiteY4" fmla="*/ 3480948 h 3649899"/>
              <a:gd name="connsiteX5" fmla="*/ 2642207 w 3648846"/>
              <a:gd name="connsiteY5" fmla="*/ 3480948 h 3649899"/>
              <a:gd name="connsiteX6" fmla="*/ 2973153 w 3648846"/>
              <a:gd name="connsiteY6" fmla="*/ 3480948 h 3649899"/>
              <a:gd name="connsiteX7" fmla="*/ 3428196 w 3648846"/>
              <a:gd name="connsiteY7" fmla="*/ 3480948 h 3649899"/>
              <a:gd name="connsiteX8" fmla="*/ 3593527 w 3648846"/>
              <a:gd name="connsiteY8" fmla="*/ 3538092 h 3649899"/>
              <a:gd name="connsiteX9" fmla="*/ 3648789 w 3648846"/>
              <a:gd name="connsiteY9" fmla="*/ 3593355 h 3649899"/>
              <a:gd name="connsiteX10" fmla="*/ 3593527 w 3648846"/>
              <a:gd name="connsiteY10" fmla="*/ 3648731 h 3649899"/>
              <a:gd name="connsiteX11" fmla="*/ 3366091 w 3648846"/>
              <a:gd name="connsiteY11" fmla="*/ 3572481 h 3649899"/>
              <a:gd name="connsiteX12" fmla="*/ 3035259 w 3648846"/>
              <a:gd name="connsiteY12" fmla="*/ 3572481 h 3649899"/>
              <a:gd name="connsiteX13" fmla="*/ 2580158 w 3648846"/>
              <a:gd name="connsiteY13" fmla="*/ 3572481 h 3649899"/>
              <a:gd name="connsiteX14" fmla="*/ 2249212 w 3648846"/>
              <a:gd name="connsiteY14" fmla="*/ 3572481 h 3649899"/>
              <a:gd name="connsiteX15" fmla="*/ 1793998 w 3648846"/>
              <a:gd name="connsiteY15" fmla="*/ 3572481 h 3649899"/>
              <a:gd name="connsiteX16" fmla="*/ 1463052 w 3648846"/>
              <a:gd name="connsiteY16" fmla="*/ 3572481 h 3649899"/>
              <a:gd name="connsiteX17" fmla="*/ 1007893 w 3648846"/>
              <a:gd name="connsiteY17" fmla="*/ 3572481 h 3649899"/>
              <a:gd name="connsiteX18" fmla="*/ 676548 w 3648846"/>
              <a:gd name="connsiteY18" fmla="*/ 3572481 h 3649899"/>
              <a:gd name="connsiteX19" fmla="*/ 220991 w 3648846"/>
              <a:gd name="connsiteY19" fmla="*/ 3572481 h 3649899"/>
              <a:gd name="connsiteX20" fmla="*/ 55262 w 3648846"/>
              <a:gd name="connsiteY20" fmla="*/ 3515280 h 3649899"/>
              <a:gd name="connsiteX21" fmla="*/ 0 w 3648846"/>
              <a:gd name="connsiteY21" fmla="*/ 3460018 h 3649899"/>
              <a:gd name="connsiteX22" fmla="*/ 55262 w 3648846"/>
              <a:gd name="connsiteY22" fmla="*/ 3404755 h 3649899"/>
              <a:gd name="connsiteX23" fmla="*/ 283040 w 3648846"/>
              <a:gd name="connsiteY23" fmla="*/ 3480948 h 3649899"/>
              <a:gd name="connsiteX24" fmla="*/ 614556 w 3648846"/>
              <a:gd name="connsiteY24" fmla="*/ 3480948 h 3649899"/>
              <a:gd name="connsiteX25" fmla="*/ 842193 w 3648846"/>
              <a:gd name="connsiteY25" fmla="*/ 3403529 h 3649899"/>
              <a:gd name="connsiteX26" fmla="*/ 842214 w 3648846"/>
              <a:gd name="connsiteY26" fmla="*/ 3074466 h 3649899"/>
              <a:gd name="connsiteX27" fmla="*/ 1069999 w 3648846"/>
              <a:gd name="connsiteY27" fmla="*/ 3151885 h 3649899"/>
              <a:gd name="connsiteX28" fmla="*/ 1401003 w 3648846"/>
              <a:gd name="connsiteY28" fmla="*/ 3151885 h 3649899"/>
              <a:gd name="connsiteX29" fmla="*/ 1856103 w 3648846"/>
              <a:gd name="connsiteY29" fmla="*/ 3151885 h 3649899"/>
              <a:gd name="connsiteX30" fmla="*/ 2187106 w 3648846"/>
              <a:gd name="connsiteY30" fmla="*/ 3151885 h 3649899"/>
              <a:gd name="connsiteX31" fmla="*/ 2642207 w 3648846"/>
              <a:gd name="connsiteY31" fmla="*/ 3151885 h 3649899"/>
              <a:gd name="connsiteX32" fmla="*/ 2973153 w 3648846"/>
              <a:gd name="connsiteY32" fmla="*/ 3151885 h 3649899"/>
              <a:gd name="connsiteX33" fmla="*/ 3428196 w 3648846"/>
              <a:gd name="connsiteY33" fmla="*/ 3151885 h 3649899"/>
              <a:gd name="connsiteX34" fmla="*/ 3593584 w 3648846"/>
              <a:gd name="connsiteY34" fmla="*/ 3209029 h 3649899"/>
              <a:gd name="connsiteX35" fmla="*/ 3648846 w 3648846"/>
              <a:gd name="connsiteY35" fmla="*/ 3264291 h 3649899"/>
              <a:gd name="connsiteX36" fmla="*/ 3593527 w 3648846"/>
              <a:gd name="connsiteY36" fmla="*/ 3319554 h 3649899"/>
              <a:gd name="connsiteX37" fmla="*/ 3366091 w 3648846"/>
              <a:gd name="connsiteY37" fmla="*/ 3243361 h 3649899"/>
              <a:gd name="connsiteX38" fmla="*/ 3035259 w 3648846"/>
              <a:gd name="connsiteY38" fmla="*/ 3243361 h 3649899"/>
              <a:gd name="connsiteX39" fmla="*/ 2580158 w 3648846"/>
              <a:gd name="connsiteY39" fmla="*/ 3243361 h 3649899"/>
              <a:gd name="connsiteX40" fmla="*/ 2249212 w 3648846"/>
              <a:gd name="connsiteY40" fmla="*/ 3243361 h 3649899"/>
              <a:gd name="connsiteX41" fmla="*/ 1793998 w 3648846"/>
              <a:gd name="connsiteY41" fmla="*/ 3243361 h 3649899"/>
              <a:gd name="connsiteX42" fmla="*/ 1463052 w 3648846"/>
              <a:gd name="connsiteY42" fmla="*/ 3243361 h 3649899"/>
              <a:gd name="connsiteX43" fmla="*/ 1007893 w 3648846"/>
              <a:gd name="connsiteY43" fmla="*/ 3243361 h 3649899"/>
              <a:gd name="connsiteX44" fmla="*/ 676548 w 3648846"/>
              <a:gd name="connsiteY44" fmla="*/ 3243361 h 3649899"/>
              <a:gd name="connsiteX45" fmla="*/ 220991 w 3648846"/>
              <a:gd name="connsiteY45" fmla="*/ 3243361 h 3649899"/>
              <a:gd name="connsiteX46" fmla="*/ 55262 w 3648846"/>
              <a:gd name="connsiteY46" fmla="*/ 3186217 h 3649899"/>
              <a:gd name="connsiteX47" fmla="*/ 0 w 3648846"/>
              <a:gd name="connsiteY47" fmla="*/ 3130955 h 3649899"/>
              <a:gd name="connsiteX48" fmla="*/ 55262 w 3648846"/>
              <a:gd name="connsiteY48" fmla="*/ 3075692 h 3649899"/>
              <a:gd name="connsiteX49" fmla="*/ 283040 w 3648846"/>
              <a:gd name="connsiteY49" fmla="*/ 3151885 h 3649899"/>
              <a:gd name="connsiteX50" fmla="*/ 614556 w 3648846"/>
              <a:gd name="connsiteY50" fmla="*/ 3151885 h 3649899"/>
              <a:gd name="connsiteX51" fmla="*/ 842214 w 3648846"/>
              <a:gd name="connsiteY51" fmla="*/ 3074466 h 3649899"/>
              <a:gd name="connsiteX52" fmla="*/ 842193 w 3648846"/>
              <a:gd name="connsiteY52" fmla="*/ 2745231 h 3649899"/>
              <a:gd name="connsiteX53" fmla="*/ 1069999 w 3648846"/>
              <a:gd name="connsiteY53" fmla="*/ 2822650 h 3649899"/>
              <a:gd name="connsiteX54" fmla="*/ 1401003 w 3648846"/>
              <a:gd name="connsiteY54" fmla="*/ 2822650 h 3649899"/>
              <a:gd name="connsiteX55" fmla="*/ 1856103 w 3648846"/>
              <a:gd name="connsiteY55" fmla="*/ 2822650 h 3649899"/>
              <a:gd name="connsiteX56" fmla="*/ 2187106 w 3648846"/>
              <a:gd name="connsiteY56" fmla="*/ 2822650 h 3649899"/>
              <a:gd name="connsiteX57" fmla="*/ 2642207 w 3648846"/>
              <a:gd name="connsiteY57" fmla="*/ 2822650 h 3649899"/>
              <a:gd name="connsiteX58" fmla="*/ 2973153 w 3648846"/>
              <a:gd name="connsiteY58" fmla="*/ 2822650 h 3649899"/>
              <a:gd name="connsiteX59" fmla="*/ 3428196 w 3648846"/>
              <a:gd name="connsiteY59" fmla="*/ 2822650 h 3649899"/>
              <a:gd name="connsiteX60" fmla="*/ 3593527 w 3648846"/>
              <a:gd name="connsiteY60" fmla="*/ 2879794 h 3649899"/>
              <a:gd name="connsiteX61" fmla="*/ 3648789 w 3648846"/>
              <a:gd name="connsiteY61" fmla="*/ 2935056 h 3649899"/>
              <a:gd name="connsiteX62" fmla="*/ 3593527 w 3648846"/>
              <a:gd name="connsiteY62" fmla="*/ 2990433 h 3649899"/>
              <a:gd name="connsiteX63" fmla="*/ 3366091 w 3648846"/>
              <a:gd name="connsiteY63" fmla="*/ 2914183 h 3649899"/>
              <a:gd name="connsiteX64" fmla="*/ 3035259 w 3648846"/>
              <a:gd name="connsiteY64" fmla="*/ 2914183 h 3649899"/>
              <a:gd name="connsiteX65" fmla="*/ 2580158 w 3648846"/>
              <a:gd name="connsiteY65" fmla="*/ 2914183 h 3649899"/>
              <a:gd name="connsiteX66" fmla="*/ 2249212 w 3648846"/>
              <a:gd name="connsiteY66" fmla="*/ 2914183 h 3649899"/>
              <a:gd name="connsiteX67" fmla="*/ 1793998 w 3648846"/>
              <a:gd name="connsiteY67" fmla="*/ 2914183 h 3649899"/>
              <a:gd name="connsiteX68" fmla="*/ 1463052 w 3648846"/>
              <a:gd name="connsiteY68" fmla="*/ 2914183 h 3649899"/>
              <a:gd name="connsiteX69" fmla="*/ 1007893 w 3648846"/>
              <a:gd name="connsiteY69" fmla="*/ 2914183 h 3649899"/>
              <a:gd name="connsiteX70" fmla="*/ 676548 w 3648846"/>
              <a:gd name="connsiteY70" fmla="*/ 2914183 h 3649899"/>
              <a:gd name="connsiteX71" fmla="*/ 220991 w 3648846"/>
              <a:gd name="connsiteY71" fmla="*/ 2914183 h 3649899"/>
              <a:gd name="connsiteX72" fmla="*/ 55262 w 3648846"/>
              <a:gd name="connsiteY72" fmla="*/ 2856982 h 3649899"/>
              <a:gd name="connsiteX73" fmla="*/ 0 w 3648846"/>
              <a:gd name="connsiteY73" fmla="*/ 2801720 h 3649899"/>
              <a:gd name="connsiteX74" fmla="*/ 55262 w 3648846"/>
              <a:gd name="connsiteY74" fmla="*/ 2746457 h 3649899"/>
              <a:gd name="connsiteX75" fmla="*/ 283040 w 3648846"/>
              <a:gd name="connsiteY75" fmla="*/ 2822650 h 3649899"/>
              <a:gd name="connsiteX76" fmla="*/ 614556 w 3648846"/>
              <a:gd name="connsiteY76" fmla="*/ 2822650 h 3649899"/>
              <a:gd name="connsiteX77" fmla="*/ 842193 w 3648846"/>
              <a:gd name="connsiteY77" fmla="*/ 2745231 h 3649899"/>
              <a:gd name="connsiteX78" fmla="*/ 1884447 w 3648846"/>
              <a:gd name="connsiteY78" fmla="*/ 1301941 h 3649899"/>
              <a:gd name="connsiteX79" fmla="*/ 3110652 w 3648846"/>
              <a:gd name="connsiteY79" fmla="*/ 1983109 h 3649899"/>
              <a:gd name="connsiteX80" fmla="*/ 2805483 w 3648846"/>
              <a:gd name="connsiteY80" fmla="*/ 2769270 h 3649899"/>
              <a:gd name="connsiteX81" fmla="*/ 2704312 w 3648846"/>
              <a:gd name="connsiteY81" fmla="*/ 2731117 h 3649899"/>
              <a:gd name="connsiteX82" fmla="*/ 2124943 w 3648846"/>
              <a:gd name="connsiteY82" fmla="*/ 2731117 h 3649899"/>
              <a:gd name="connsiteX83" fmla="*/ 2021547 w 3648846"/>
              <a:gd name="connsiteY83" fmla="*/ 2769270 h 3649899"/>
              <a:gd name="connsiteX84" fmla="*/ 1918151 w 3648846"/>
              <a:gd name="connsiteY84" fmla="*/ 2731117 h 3649899"/>
              <a:gd name="connsiteX85" fmla="*/ 1881139 w 3648846"/>
              <a:gd name="connsiteY85" fmla="*/ 2706765 h 3649899"/>
              <a:gd name="connsiteX86" fmla="*/ 1884447 w 3648846"/>
              <a:gd name="connsiteY86" fmla="*/ 1301941 h 3649899"/>
              <a:gd name="connsiteX87" fmla="*/ 1768276 w 3648846"/>
              <a:gd name="connsiteY87" fmla="*/ 1298690 h 3649899"/>
              <a:gd name="connsiteX88" fmla="*/ 1769416 w 3648846"/>
              <a:gd name="connsiteY88" fmla="*/ 2655381 h 3649899"/>
              <a:gd name="connsiteX89" fmla="*/ 1338725 w 3648846"/>
              <a:gd name="connsiteY89" fmla="*/ 2731117 h 3649899"/>
              <a:gd name="connsiteX90" fmla="*/ 1235329 w 3648846"/>
              <a:gd name="connsiteY90" fmla="*/ 2769270 h 3649899"/>
              <a:gd name="connsiteX91" fmla="*/ 1131933 w 3648846"/>
              <a:gd name="connsiteY91" fmla="*/ 2731117 h 3649899"/>
              <a:gd name="connsiteX92" fmla="*/ 842220 w 3648846"/>
              <a:gd name="connsiteY92" fmla="*/ 2636047 h 3649899"/>
              <a:gd name="connsiteX93" fmla="*/ 791920 w 3648846"/>
              <a:gd name="connsiteY93" fmla="*/ 2638272 h 3649899"/>
              <a:gd name="connsiteX94" fmla="*/ 534315 w 3648846"/>
              <a:gd name="connsiteY94" fmla="*/ 1974270 h 3649899"/>
              <a:gd name="connsiteX95" fmla="*/ 1886442 w 3648846"/>
              <a:gd name="connsiteY95" fmla="*/ 794715 h 3649899"/>
              <a:gd name="connsiteX96" fmla="*/ 3233893 w 3648846"/>
              <a:gd name="connsiteY96" fmla="*/ 1533598 h 3649899"/>
              <a:gd name="connsiteX97" fmla="*/ 3258759 w 3648846"/>
              <a:gd name="connsiteY97" fmla="*/ 1602148 h 3649899"/>
              <a:gd name="connsiteX98" fmla="*/ 3151257 w 3648846"/>
              <a:gd name="connsiteY98" fmla="*/ 1879087 h 3649899"/>
              <a:gd name="connsiteX99" fmla="*/ 1885074 w 3648846"/>
              <a:gd name="connsiteY99" fmla="*/ 1175506 h 3649899"/>
              <a:gd name="connsiteX100" fmla="*/ 1775918 w 3648846"/>
              <a:gd name="connsiteY100" fmla="*/ 787586 h 3649899"/>
              <a:gd name="connsiteX101" fmla="*/ 1775861 w 3648846"/>
              <a:gd name="connsiteY101" fmla="*/ 798307 h 3649899"/>
              <a:gd name="connsiteX102" fmla="*/ 1768561 w 3648846"/>
              <a:gd name="connsiteY102" fmla="*/ 1172483 h 3649899"/>
              <a:gd name="connsiteX103" fmla="*/ 493937 w 3648846"/>
              <a:gd name="connsiteY103" fmla="*/ 1870076 h 3649899"/>
              <a:gd name="connsiteX104" fmla="*/ 390028 w 3648846"/>
              <a:gd name="connsiteY104" fmla="*/ 1602148 h 3649899"/>
              <a:gd name="connsiteX105" fmla="*/ 414893 w 3648846"/>
              <a:gd name="connsiteY105" fmla="*/ 1533598 h 3649899"/>
              <a:gd name="connsiteX106" fmla="*/ 1501262 w 3648846"/>
              <a:gd name="connsiteY106" fmla="*/ 0 h 3649899"/>
              <a:gd name="connsiteX107" fmla="*/ 2147014 w 3648846"/>
              <a:gd name="connsiteY107" fmla="*/ 0 h 3649899"/>
              <a:gd name="connsiteX108" fmla="*/ 2202276 w 3648846"/>
              <a:gd name="connsiteY108" fmla="*/ 55262 h 3649899"/>
              <a:gd name="connsiteX109" fmla="*/ 2202276 w 3648846"/>
              <a:gd name="connsiteY109" fmla="*/ 430121 h 3649899"/>
              <a:gd name="connsiteX110" fmla="*/ 2777254 w 3648846"/>
              <a:gd name="connsiteY110" fmla="*/ 430121 h 3649899"/>
              <a:gd name="connsiteX111" fmla="*/ 2832516 w 3648846"/>
              <a:gd name="connsiteY111" fmla="*/ 485383 h 3649899"/>
              <a:gd name="connsiteX112" fmla="*/ 2832516 w 3648846"/>
              <a:gd name="connsiteY112" fmla="*/ 1187481 h 3649899"/>
              <a:gd name="connsiteX113" fmla="*/ 1903723 w 3648846"/>
              <a:gd name="connsiteY113" fmla="*/ 678316 h 3649899"/>
              <a:gd name="connsiteX114" fmla="*/ 1824109 w 3648846"/>
              <a:gd name="connsiteY114" fmla="*/ 657842 h 3649899"/>
              <a:gd name="connsiteX115" fmla="*/ 1742271 w 3648846"/>
              <a:gd name="connsiteY115" fmla="*/ 679400 h 3649899"/>
              <a:gd name="connsiteX116" fmla="*/ 1727329 w 3648846"/>
              <a:gd name="connsiteY116" fmla="*/ 687156 h 3649899"/>
              <a:gd name="connsiteX117" fmla="*/ 1725675 w 3648846"/>
              <a:gd name="connsiteY117" fmla="*/ 688810 h 3649899"/>
              <a:gd name="connsiteX118" fmla="*/ 816215 w 3648846"/>
              <a:gd name="connsiteY118" fmla="*/ 1187481 h 3649899"/>
              <a:gd name="connsiteX119" fmla="*/ 816215 w 3648846"/>
              <a:gd name="connsiteY119" fmla="*/ 485383 h 3649899"/>
              <a:gd name="connsiteX120" fmla="*/ 871477 w 3648846"/>
              <a:gd name="connsiteY120" fmla="*/ 430121 h 3649899"/>
              <a:gd name="connsiteX121" fmla="*/ 1445885 w 3648846"/>
              <a:gd name="connsiteY121" fmla="*/ 430121 h 3649899"/>
              <a:gd name="connsiteX122" fmla="*/ 1445885 w 3648846"/>
              <a:gd name="connsiteY122" fmla="*/ 55262 h 3649899"/>
              <a:gd name="connsiteX123" fmla="*/ 1501262 w 3648846"/>
              <a:gd name="connsiteY123" fmla="*/ 0 h 36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3648846" h="3649899">
                <a:moveTo>
                  <a:pt x="842193" y="3403529"/>
                </a:moveTo>
                <a:cubicBezTo>
                  <a:pt x="918000" y="3403500"/>
                  <a:pt x="993836" y="3429278"/>
                  <a:pt x="1069999" y="3480948"/>
                </a:cubicBezTo>
                <a:cubicBezTo>
                  <a:pt x="1184574" y="3558680"/>
                  <a:pt x="1286258" y="3558851"/>
                  <a:pt x="1401003" y="3480948"/>
                </a:cubicBezTo>
                <a:cubicBezTo>
                  <a:pt x="1551163" y="3378920"/>
                  <a:pt x="1702293" y="3376582"/>
                  <a:pt x="1856103" y="3480948"/>
                </a:cubicBezTo>
                <a:cubicBezTo>
                  <a:pt x="1970677" y="3558737"/>
                  <a:pt x="2072419" y="3558794"/>
                  <a:pt x="2187106" y="3480948"/>
                </a:cubicBezTo>
                <a:cubicBezTo>
                  <a:pt x="2336639" y="3379433"/>
                  <a:pt x="2487883" y="3376126"/>
                  <a:pt x="2642207" y="3480948"/>
                </a:cubicBezTo>
                <a:cubicBezTo>
                  <a:pt x="2756780" y="3558737"/>
                  <a:pt x="2858408" y="3558794"/>
                  <a:pt x="2973153" y="3480948"/>
                </a:cubicBezTo>
                <a:cubicBezTo>
                  <a:pt x="3122686" y="3379433"/>
                  <a:pt x="3273873" y="3376126"/>
                  <a:pt x="3428196" y="3480948"/>
                </a:cubicBezTo>
                <a:cubicBezTo>
                  <a:pt x="3475189" y="3512885"/>
                  <a:pt x="3512316" y="3538092"/>
                  <a:pt x="3593527" y="3538092"/>
                </a:cubicBezTo>
                <a:cubicBezTo>
                  <a:pt x="3624038" y="3538092"/>
                  <a:pt x="3648789" y="3562843"/>
                  <a:pt x="3648789" y="3593355"/>
                </a:cubicBezTo>
                <a:cubicBezTo>
                  <a:pt x="3648789" y="3623866"/>
                  <a:pt x="3624095" y="3648731"/>
                  <a:pt x="3593527" y="3648731"/>
                </a:cubicBezTo>
                <a:cubicBezTo>
                  <a:pt x="3478326" y="3648731"/>
                  <a:pt x="3418672" y="3608239"/>
                  <a:pt x="3366091" y="3572481"/>
                </a:cubicBezTo>
                <a:cubicBezTo>
                  <a:pt x="3251574" y="3494692"/>
                  <a:pt x="3149946" y="3494635"/>
                  <a:pt x="3035259" y="3572481"/>
                </a:cubicBezTo>
                <a:cubicBezTo>
                  <a:pt x="2885726" y="3673995"/>
                  <a:pt x="2734482" y="3677303"/>
                  <a:pt x="2580158" y="3572481"/>
                </a:cubicBezTo>
                <a:cubicBezTo>
                  <a:pt x="2465528" y="3494692"/>
                  <a:pt x="2363957" y="3494635"/>
                  <a:pt x="2249212" y="3572481"/>
                </a:cubicBezTo>
                <a:cubicBezTo>
                  <a:pt x="2099337" y="3674223"/>
                  <a:pt x="1948150" y="3677075"/>
                  <a:pt x="1793998" y="3572481"/>
                </a:cubicBezTo>
                <a:cubicBezTo>
                  <a:pt x="1679424" y="3494749"/>
                  <a:pt x="1577739" y="3494578"/>
                  <a:pt x="1463052" y="3572481"/>
                </a:cubicBezTo>
                <a:cubicBezTo>
                  <a:pt x="1312606" y="3674679"/>
                  <a:pt x="1161419" y="3676676"/>
                  <a:pt x="1007893" y="3572481"/>
                </a:cubicBezTo>
                <a:cubicBezTo>
                  <a:pt x="893149" y="3494635"/>
                  <a:pt x="791464" y="3494635"/>
                  <a:pt x="676548" y="3572481"/>
                </a:cubicBezTo>
                <a:cubicBezTo>
                  <a:pt x="524335" y="3675649"/>
                  <a:pt x="373376" y="3675763"/>
                  <a:pt x="220991" y="3572481"/>
                </a:cubicBezTo>
                <a:cubicBezTo>
                  <a:pt x="173884" y="3540545"/>
                  <a:pt x="136644" y="3515280"/>
                  <a:pt x="55262" y="3515280"/>
                </a:cubicBezTo>
                <a:cubicBezTo>
                  <a:pt x="24751" y="3515280"/>
                  <a:pt x="0" y="3490529"/>
                  <a:pt x="0" y="3460018"/>
                </a:cubicBezTo>
                <a:cubicBezTo>
                  <a:pt x="0" y="3429506"/>
                  <a:pt x="24751" y="3404755"/>
                  <a:pt x="55262" y="3404755"/>
                </a:cubicBezTo>
                <a:cubicBezTo>
                  <a:pt x="170634" y="3404755"/>
                  <a:pt x="230344" y="3445247"/>
                  <a:pt x="283040" y="3480948"/>
                </a:cubicBezTo>
                <a:cubicBezTo>
                  <a:pt x="397956" y="3558794"/>
                  <a:pt x="499641" y="3558794"/>
                  <a:pt x="614556" y="3480948"/>
                </a:cubicBezTo>
                <a:cubicBezTo>
                  <a:pt x="690606" y="3429393"/>
                  <a:pt x="766385" y="3403558"/>
                  <a:pt x="842193" y="3403529"/>
                </a:cubicBezTo>
                <a:close/>
                <a:moveTo>
                  <a:pt x="842214" y="3074466"/>
                </a:moveTo>
                <a:cubicBezTo>
                  <a:pt x="918000" y="3074452"/>
                  <a:pt x="993807" y="3100244"/>
                  <a:pt x="1069999" y="3151885"/>
                </a:cubicBezTo>
                <a:cubicBezTo>
                  <a:pt x="1184574" y="3229617"/>
                  <a:pt x="1286258" y="3229731"/>
                  <a:pt x="1401003" y="3151885"/>
                </a:cubicBezTo>
                <a:cubicBezTo>
                  <a:pt x="1550536" y="3050313"/>
                  <a:pt x="1701666" y="3047120"/>
                  <a:pt x="1856103" y="3151885"/>
                </a:cubicBezTo>
                <a:cubicBezTo>
                  <a:pt x="1970677" y="3229674"/>
                  <a:pt x="2072419" y="3229731"/>
                  <a:pt x="2187106" y="3151885"/>
                </a:cubicBezTo>
                <a:cubicBezTo>
                  <a:pt x="2339149" y="3048717"/>
                  <a:pt x="2489994" y="3048603"/>
                  <a:pt x="2642207" y="3151885"/>
                </a:cubicBezTo>
                <a:cubicBezTo>
                  <a:pt x="2756780" y="3229674"/>
                  <a:pt x="2858408" y="3229731"/>
                  <a:pt x="2973153" y="3151885"/>
                </a:cubicBezTo>
                <a:cubicBezTo>
                  <a:pt x="3125081" y="3048774"/>
                  <a:pt x="3276040" y="3048546"/>
                  <a:pt x="3428196" y="3151885"/>
                </a:cubicBezTo>
                <a:cubicBezTo>
                  <a:pt x="3475246" y="3183765"/>
                  <a:pt x="3512373" y="3209029"/>
                  <a:pt x="3593584" y="3209029"/>
                </a:cubicBezTo>
                <a:cubicBezTo>
                  <a:pt x="3624095" y="3209029"/>
                  <a:pt x="3648846" y="3233780"/>
                  <a:pt x="3648846" y="3264291"/>
                </a:cubicBezTo>
                <a:cubicBezTo>
                  <a:pt x="3648846" y="3294802"/>
                  <a:pt x="3624095" y="3319554"/>
                  <a:pt x="3593527" y="3319554"/>
                </a:cubicBezTo>
                <a:cubicBezTo>
                  <a:pt x="3478326" y="3319554"/>
                  <a:pt x="3418672" y="3279062"/>
                  <a:pt x="3366091" y="3243361"/>
                </a:cubicBezTo>
                <a:cubicBezTo>
                  <a:pt x="3251574" y="3165572"/>
                  <a:pt x="3149946" y="3165515"/>
                  <a:pt x="3035259" y="3243361"/>
                </a:cubicBezTo>
                <a:cubicBezTo>
                  <a:pt x="2883216" y="3346529"/>
                  <a:pt x="2732372" y="3346643"/>
                  <a:pt x="2580158" y="3243361"/>
                </a:cubicBezTo>
                <a:cubicBezTo>
                  <a:pt x="2465528" y="3165572"/>
                  <a:pt x="2363957" y="3165515"/>
                  <a:pt x="2249212" y="3243361"/>
                </a:cubicBezTo>
                <a:cubicBezTo>
                  <a:pt x="2097170" y="3346529"/>
                  <a:pt x="1946325" y="3346643"/>
                  <a:pt x="1793998" y="3243361"/>
                </a:cubicBezTo>
                <a:cubicBezTo>
                  <a:pt x="1679424" y="3165629"/>
                  <a:pt x="1577739" y="3165458"/>
                  <a:pt x="1463052" y="3243361"/>
                </a:cubicBezTo>
                <a:cubicBezTo>
                  <a:pt x="1313120" y="3345103"/>
                  <a:pt x="1162104" y="3347898"/>
                  <a:pt x="1007893" y="3243361"/>
                </a:cubicBezTo>
                <a:cubicBezTo>
                  <a:pt x="893320" y="3165572"/>
                  <a:pt x="791407" y="3165515"/>
                  <a:pt x="676548" y="3243361"/>
                </a:cubicBezTo>
                <a:cubicBezTo>
                  <a:pt x="524335" y="3346529"/>
                  <a:pt x="373376" y="3346643"/>
                  <a:pt x="220991" y="3243361"/>
                </a:cubicBezTo>
                <a:cubicBezTo>
                  <a:pt x="173884" y="3211425"/>
                  <a:pt x="136644" y="3186217"/>
                  <a:pt x="55262" y="3186217"/>
                </a:cubicBezTo>
                <a:cubicBezTo>
                  <a:pt x="24751" y="3186217"/>
                  <a:pt x="0" y="3161466"/>
                  <a:pt x="0" y="3130955"/>
                </a:cubicBezTo>
                <a:cubicBezTo>
                  <a:pt x="0" y="3100443"/>
                  <a:pt x="24751" y="3075692"/>
                  <a:pt x="55262" y="3075692"/>
                </a:cubicBezTo>
                <a:cubicBezTo>
                  <a:pt x="170634" y="3075692"/>
                  <a:pt x="230344" y="3116184"/>
                  <a:pt x="283040" y="3151885"/>
                </a:cubicBezTo>
                <a:cubicBezTo>
                  <a:pt x="397785" y="3229674"/>
                  <a:pt x="499698" y="3229731"/>
                  <a:pt x="614556" y="3151885"/>
                </a:cubicBezTo>
                <a:cubicBezTo>
                  <a:pt x="690663" y="3100301"/>
                  <a:pt x="766428" y="3074481"/>
                  <a:pt x="842214" y="3074466"/>
                </a:cubicBezTo>
                <a:close/>
                <a:moveTo>
                  <a:pt x="842193" y="2745231"/>
                </a:moveTo>
                <a:cubicBezTo>
                  <a:pt x="918000" y="2745202"/>
                  <a:pt x="993836" y="2770980"/>
                  <a:pt x="1069999" y="2822650"/>
                </a:cubicBezTo>
                <a:cubicBezTo>
                  <a:pt x="1184574" y="2900382"/>
                  <a:pt x="1286258" y="2900553"/>
                  <a:pt x="1401003" y="2822650"/>
                </a:cubicBezTo>
                <a:cubicBezTo>
                  <a:pt x="1551163" y="2720622"/>
                  <a:pt x="1702293" y="2718284"/>
                  <a:pt x="1856103" y="2822650"/>
                </a:cubicBezTo>
                <a:cubicBezTo>
                  <a:pt x="1970677" y="2900439"/>
                  <a:pt x="2072419" y="2900496"/>
                  <a:pt x="2187106" y="2822650"/>
                </a:cubicBezTo>
                <a:cubicBezTo>
                  <a:pt x="2336639" y="2721135"/>
                  <a:pt x="2487883" y="2717828"/>
                  <a:pt x="2642207" y="2822650"/>
                </a:cubicBezTo>
                <a:cubicBezTo>
                  <a:pt x="2756780" y="2900439"/>
                  <a:pt x="2858408" y="2900496"/>
                  <a:pt x="2973153" y="2822650"/>
                </a:cubicBezTo>
                <a:cubicBezTo>
                  <a:pt x="3122686" y="2721135"/>
                  <a:pt x="3273873" y="2717828"/>
                  <a:pt x="3428196" y="2822650"/>
                </a:cubicBezTo>
                <a:cubicBezTo>
                  <a:pt x="3475189" y="2854587"/>
                  <a:pt x="3512316" y="2879794"/>
                  <a:pt x="3593527" y="2879794"/>
                </a:cubicBezTo>
                <a:cubicBezTo>
                  <a:pt x="3624038" y="2879794"/>
                  <a:pt x="3648789" y="2904545"/>
                  <a:pt x="3648789" y="2935056"/>
                </a:cubicBezTo>
                <a:cubicBezTo>
                  <a:pt x="3648846" y="2965682"/>
                  <a:pt x="3624095" y="2990433"/>
                  <a:pt x="3593527" y="2990433"/>
                </a:cubicBezTo>
                <a:cubicBezTo>
                  <a:pt x="3478326" y="2990433"/>
                  <a:pt x="3418672" y="2949941"/>
                  <a:pt x="3366091" y="2914183"/>
                </a:cubicBezTo>
                <a:cubicBezTo>
                  <a:pt x="3251574" y="2836394"/>
                  <a:pt x="3149946" y="2836337"/>
                  <a:pt x="3035259" y="2914183"/>
                </a:cubicBezTo>
                <a:cubicBezTo>
                  <a:pt x="2885726" y="3015697"/>
                  <a:pt x="2734482" y="3019005"/>
                  <a:pt x="2580158" y="2914183"/>
                </a:cubicBezTo>
                <a:cubicBezTo>
                  <a:pt x="2465528" y="2836394"/>
                  <a:pt x="2363957" y="2836337"/>
                  <a:pt x="2249212" y="2914183"/>
                </a:cubicBezTo>
                <a:cubicBezTo>
                  <a:pt x="2099337" y="3015925"/>
                  <a:pt x="1948150" y="3018777"/>
                  <a:pt x="1793998" y="2914183"/>
                </a:cubicBezTo>
                <a:cubicBezTo>
                  <a:pt x="1679424" y="2836451"/>
                  <a:pt x="1577739" y="2836280"/>
                  <a:pt x="1463052" y="2914183"/>
                </a:cubicBezTo>
                <a:cubicBezTo>
                  <a:pt x="1312606" y="3016381"/>
                  <a:pt x="1161419" y="3018377"/>
                  <a:pt x="1007893" y="2914183"/>
                </a:cubicBezTo>
                <a:cubicBezTo>
                  <a:pt x="893149" y="2836337"/>
                  <a:pt x="791464" y="2836337"/>
                  <a:pt x="676548" y="2914183"/>
                </a:cubicBezTo>
                <a:cubicBezTo>
                  <a:pt x="524335" y="3017351"/>
                  <a:pt x="373376" y="3017465"/>
                  <a:pt x="220991" y="2914183"/>
                </a:cubicBezTo>
                <a:cubicBezTo>
                  <a:pt x="173884" y="2882247"/>
                  <a:pt x="136644" y="2856982"/>
                  <a:pt x="55262" y="2856982"/>
                </a:cubicBezTo>
                <a:cubicBezTo>
                  <a:pt x="24751" y="2856982"/>
                  <a:pt x="0" y="2832231"/>
                  <a:pt x="0" y="2801720"/>
                </a:cubicBezTo>
                <a:cubicBezTo>
                  <a:pt x="0" y="2771208"/>
                  <a:pt x="24751" y="2746457"/>
                  <a:pt x="55262" y="2746457"/>
                </a:cubicBezTo>
                <a:cubicBezTo>
                  <a:pt x="170634" y="2746457"/>
                  <a:pt x="230344" y="2786949"/>
                  <a:pt x="283040" y="2822650"/>
                </a:cubicBezTo>
                <a:cubicBezTo>
                  <a:pt x="397956" y="2900496"/>
                  <a:pt x="499641" y="2900496"/>
                  <a:pt x="614556" y="2822650"/>
                </a:cubicBezTo>
                <a:cubicBezTo>
                  <a:pt x="690606" y="2771094"/>
                  <a:pt x="766385" y="2745260"/>
                  <a:pt x="842193" y="2745231"/>
                </a:cubicBezTo>
                <a:close/>
                <a:moveTo>
                  <a:pt x="1884447" y="1301941"/>
                </a:moveTo>
                <a:lnTo>
                  <a:pt x="3110652" y="1983109"/>
                </a:lnTo>
                <a:lnTo>
                  <a:pt x="2805483" y="2769270"/>
                </a:lnTo>
                <a:cubicBezTo>
                  <a:pt x="2759574" y="2768700"/>
                  <a:pt x="2745773" y="2759290"/>
                  <a:pt x="2704312" y="2731117"/>
                </a:cubicBezTo>
                <a:cubicBezTo>
                  <a:pt x="2516169" y="2602742"/>
                  <a:pt x="2313256" y="2602628"/>
                  <a:pt x="2124943" y="2731117"/>
                </a:cubicBezTo>
                <a:cubicBezTo>
                  <a:pt x="2082911" y="2759860"/>
                  <a:pt x="2069110" y="2769270"/>
                  <a:pt x="2021547" y="2769270"/>
                </a:cubicBezTo>
                <a:cubicBezTo>
                  <a:pt x="1974554" y="2769270"/>
                  <a:pt x="1960182" y="2759860"/>
                  <a:pt x="1918151" y="2731117"/>
                </a:cubicBezTo>
                <a:cubicBezTo>
                  <a:pt x="1906517" y="2723361"/>
                  <a:pt x="1894370" y="2715091"/>
                  <a:pt x="1881139" y="2706765"/>
                </a:cubicBezTo>
                <a:cubicBezTo>
                  <a:pt x="1878401" y="2508300"/>
                  <a:pt x="1869505" y="2110800"/>
                  <a:pt x="1884447" y="1301941"/>
                </a:cubicBezTo>
                <a:close/>
                <a:moveTo>
                  <a:pt x="1768276" y="1298690"/>
                </a:moveTo>
                <a:cubicBezTo>
                  <a:pt x="1782134" y="2053884"/>
                  <a:pt x="1774378" y="2446365"/>
                  <a:pt x="1769416" y="2655381"/>
                </a:cubicBezTo>
                <a:cubicBezTo>
                  <a:pt x="1639102" y="2616828"/>
                  <a:pt x="1488885" y="2628690"/>
                  <a:pt x="1338725" y="2731117"/>
                </a:cubicBezTo>
                <a:cubicBezTo>
                  <a:pt x="1296693" y="2759860"/>
                  <a:pt x="1282892" y="2769270"/>
                  <a:pt x="1235329" y="2769270"/>
                </a:cubicBezTo>
                <a:cubicBezTo>
                  <a:pt x="1188336" y="2769270"/>
                  <a:pt x="1173965" y="2759860"/>
                  <a:pt x="1131933" y="2731117"/>
                </a:cubicBezTo>
                <a:cubicBezTo>
                  <a:pt x="1072793" y="2690739"/>
                  <a:pt x="991525" y="2636047"/>
                  <a:pt x="842220" y="2636047"/>
                </a:cubicBezTo>
                <a:cubicBezTo>
                  <a:pt x="824541" y="2636047"/>
                  <a:pt x="807945" y="2636618"/>
                  <a:pt x="791920" y="2638272"/>
                </a:cubicBezTo>
                <a:lnTo>
                  <a:pt x="534315" y="1974270"/>
                </a:lnTo>
                <a:close/>
                <a:moveTo>
                  <a:pt x="1886442" y="794715"/>
                </a:moveTo>
                <a:lnTo>
                  <a:pt x="3233893" y="1533598"/>
                </a:lnTo>
                <a:cubicBezTo>
                  <a:pt x="3258188" y="1546886"/>
                  <a:pt x="3268682" y="1576142"/>
                  <a:pt x="3258759" y="1602148"/>
                </a:cubicBezTo>
                <a:lnTo>
                  <a:pt x="3151257" y="1879087"/>
                </a:lnTo>
                <a:lnTo>
                  <a:pt x="1885074" y="1175506"/>
                </a:lnTo>
                <a:close/>
                <a:moveTo>
                  <a:pt x="1775918" y="787586"/>
                </a:moveTo>
                <a:lnTo>
                  <a:pt x="1775861" y="798307"/>
                </a:lnTo>
                <a:cubicBezTo>
                  <a:pt x="1762116" y="823629"/>
                  <a:pt x="1771584" y="807660"/>
                  <a:pt x="1768561" y="1172483"/>
                </a:cubicBezTo>
                <a:lnTo>
                  <a:pt x="493937" y="1870076"/>
                </a:lnTo>
                <a:lnTo>
                  <a:pt x="390028" y="1602148"/>
                </a:lnTo>
                <a:cubicBezTo>
                  <a:pt x="380048" y="1576142"/>
                  <a:pt x="390542" y="1546886"/>
                  <a:pt x="414893" y="1533598"/>
                </a:cubicBezTo>
                <a:close/>
                <a:moveTo>
                  <a:pt x="1501262" y="0"/>
                </a:moveTo>
                <a:lnTo>
                  <a:pt x="2147014" y="0"/>
                </a:lnTo>
                <a:cubicBezTo>
                  <a:pt x="2177411" y="0"/>
                  <a:pt x="2202276" y="24865"/>
                  <a:pt x="2202276" y="55262"/>
                </a:cubicBezTo>
                <a:lnTo>
                  <a:pt x="2202276" y="430121"/>
                </a:lnTo>
                <a:lnTo>
                  <a:pt x="2777254" y="430121"/>
                </a:lnTo>
                <a:cubicBezTo>
                  <a:pt x="2807651" y="430121"/>
                  <a:pt x="2832516" y="454986"/>
                  <a:pt x="2832516" y="485383"/>
                </a:cubicBezTo>
                <a:lnTo>
                  <a:pt x="2832516" y="1187481"/>
                </a:lnTo>
                <a:lnTo>
                  <a:pt x="1903723" y="678316"/>
                </a:lnTo>
                <a:cubicBezTo>
                  <a:pt x="1879372" y="665028"/>
                  <a:pt x="1852282" y="657842"/>
                  <a:pt x="1824109" y="657842"/>
                </a:cubicBezTo>
                <a:cubicBezTo>
                  <a:pt x="1795366" y="657842"/>
                  <a:pt x="1767193" y="665028"/>
                  <a:pt x="1742271" y="679400"/>
                </a:cubicBezTo>
                <a:lnTo>
                  <a:pt x="1727329" y="687156"/>
                </a:lnTo>
                <a:lnTo>
                  <a:pt x="1725675" y="688810"/>
                </a:lnTo>
                <a:lnTo>
                  <a:pt x="816215" y="1187481"/>
                </a:lnTo>
                <a:lnTo>
                  <a:pt x="816215" y="485383"/>
                </a:lnTo>
                <a:cubicBezTo>
                  <a:pt x="816215" y="454986"/>
                  <a:pt x="841080" y="430121"/>
                  <a:pt x="871477" y="430121"/>
                </a:cubicBezTo>
                <a:lnTo>
                  <a:pt x="1445885" y="430121"/>
                </a:lnTo>
                <a:lnTo>
                  <a:pt x="1445885" y="55262"/>
                </a:lnTo>
                <a:cubicBezTo>
                  <a:pt x="1445999" y="24865"/>
                  <a:pt x="1470865" y="0"/>
                  <a:pt x="1501262" y="0"/>
                </a:cubicBezTo>
                <a:close/>
              </a:path>
            </a:pathLst>
          </a:custGeom>
          <a:solidFill>
            <a:schemeClr val="accent6"/>
          </a:solidFill>
          <a:ln w="0">
            <a:noFill/>
            <a:prstDash val="solid"/>
            <a:round/>
            <a:headEnd/>
            <a:tailEnd/>
          </a:ln>
        </p:spPr>
        <p:txBody>
          <a:bodyPr rtlCol="0" anchor="ctr"/>
          <a:lstStyle/>
          <a:p>
            <a:endParaRPr lang="en-US" sz="1350"/>
          </a:p>
        </p:txBody>
      </p:sp>
      <p:cxnSp>
        <p:nvCxnSpPr>
          <p:cNvPr id="219" name="Connector: Elbow 289">
            <a:extLst>
              <a:ext uri="{FF2B5EF4-FFF2-40B4-BE49-F238E27FC236}">
                <a16:creationId xmlns:a16="http://schemas.microsoft.com/office/drawing/2014/main" id="{55F2B8DB-C3A0-C04F-DB80-414C64A8A364}"/>
              </a:ext>
            </a:extLst>
          </p:cNvPr>
          <p:cNvCxnSpPr>
            <a:cxnSpLocks/>
          </p:cNvCxnSpPr>
          <p:nvPr/>
        </p:nvCxnSpPr>
        <p:spPr>
          <a:xfrm flipH="1">
            <a:off x="1477889" y="2876686"/>
            <a:ext cx="1229966" cy="0"/>
          </a:xfrm>
          <a:prstGeom prst="straightConnector1">
            <a:avLst/>
          </a:prstGeom>
          <a:ln w="635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pic>
        <p:nvPicPr>
          <p:cNvPr id="220" name="Graphic 294">
            <a:extLst>
              <a:ext uri="{FF2B5EF4-FFF2-40B4-BE49-F238E27FC236}">
                <a16:creationId xmlns:a16="http://schemas.microsoft.com/office/drawing/2014/main" id="{382E422A-0D45-1E1E-BA1E-36E7E75145B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012685" y="1588394"/>
            <a:ext cx="157163" cy="157163"/>
          </a:xfrm>
          <a:prstGeom prst="rect">
            <a:avLst/>
          </a:prstGeom>
        </p:spPr>
      </p:pic>
      <p:sp>
        <p:nvSpPr>
          <p:cNvPr id="221" name="Rechteck 12">
            <a:extLst>
              <a:ext uri="{FF2B5EF4-FFF2-40B4-BE49-F238E27FC236}">
                <a16:creationId xmlns:a16="http://schemas.microsoft.com/office/drawing/2014/main" id="{FD2D0E24-7E5F-3A08-F0DA-695CFF93CF01}"/>
              </a:ext>
            </a:extLst>
          </p:cNvPr>
          <p:cNvSpPr/>
          <p:nvPr/>
        </p:nvSpPr>
        <p:spPr>
          <a:xfrm>
            <a:off x="7586402" y="1554586"/>
            <a:ext cx="1274725" cy="851484"/>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222" name="RBContent12">
            <a:extLst>
              <a:ext uri="{FF2B5EF4-FFF2-40B4-BE49-F238E27FC236}">
                <a16:creationId xmlns:a16="http://schemas.microsoft.com/office/drawing/2014/main" id="{83368701-C7F2-E694-F7A4-88181B08C64C}"/>
              </a:ext>
            </a:extLst>
          </p:cNvPr>
          <p:cNvSpPr txBox="1">
            <a:spLocks/>
          </p:cNvSpPr>
          <p:nvPr/>
        </p:nvSpPr>
        <p:spPr>
          <a:xfrm>
            <a:off x="7662635" y="1775306"/>
            <a:ext cx="1188000" cy="572464"/>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900" b="1">
                <a:sym typeface="+mn-lt"/>
              </a:rPr>
              <a:t>Yulong refinery</a:t>
            </a:r>
          </a:p>
          <a:p>
            <a:pPr marL="0" lvl="1">
              <a:lnSpc>
                <a:spcPct val="90000"/>
              </a:lnSpc>
              <a:spcBef>
                <a:spcPts val="300"/>
              </a:spcBef>
              <a:buSzPct val="100000"/>
            </a:pPr>
            <a:r>
              <a:rPr lang="en-US" sz="800">
                <a:sym typeface="+mn-lt"/>
              </a:rPr>
              <a:t>Capex: USD 17.5 bn</a:t>
            </a:r>
          </a:p>
          <a:p>
            <a:pPr marL="0" lvl="1">
              <a:lnSpc>
                <a:spcPct val="90000"/>
              </a:lnSpc>
              <a:spcBef>
                <a:spcPts val="300"/>
              </a:spcBef>
              <a:buSzPct val="100000"/>
            </a:pPr>
            <a:r>
              <a:rPr lang="en-US" sz="800">
                <a:sym typeface="+mn-lt"/>
              </a:rPr>
              <a:t>Company: Shandong Y.</a:t>
            </a:r>
          </a:p>
          <a:p>
            <a:pPr marL="0" lvl="1">
              <a:lnSpc>
                <a:spcPct val="90000"/>
              </a:lnSpc>
              <a:spcBef>
                <a:spcPts val="300"/>
              </a:spcBef>
              <a:buSzPct val="100000"/>
            </a:pPr>
            <a:r>
              <a:rPr lang="en-US" sz="800">
                <a:sym typeface="+mn-lt"/>
              </a:rPr>
              <a:t>Completion: 2024</a:t>
            </a:r>
          </a:p>
        </p:txBody>
      </p:sp>
      <p:pic>
        <p:nvPicPr>
          <p:cNvPr id="223" name="Graphic 302">
            <a:extLst>
              <a:ext uri="{FF2B5EF4-FFF2-40B4-BE49-F238E27FC236}">
                <a16:creationId xmlns:a16="http://schemas.microsoft.com/office/drawing/2014/main" id="{77DAC1E0-7FF7-85AC-57F2-593D042CFC5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435583" y="1588394"/>
            <a:ext cx="157163" cy="157163"/>
          </a:xfrm>
          <a:prstGeom prst="rect">
            <a:avLst/>
          </a:prstGeom>
        </p:spPr>
      </p:pic>
      <p:sp>
        <p:nvSpPr>
          <p:cNvPr id="224" name="Freeform 12">
            <a:extLst>
              <a:ext uri="{FF2B5EF4-FFF2-40B4-BE49-F238E27FC236}">
                <a16:creationId xmlns:a16="http://schemas.microsoft.com/office/drawing/2014/main" id="{CAC69BE2-E3E3-30D0-DC86-C8F231BB7AC9}"/>
              </a:ext>
            </a:extLst>
          </p:cNvPr>
          <p:cNvSpPr>
            <a:spLocks noChangeAspect="1" noEditPoints="1"/>
          </p:cNvSpPr>
          <p:nvPr/>
        </p:nvSpPr>
        <p:spPr bwMode="auto">
          <a:xfrm>
            <a:off x="8651138" y="1588164"/>
            <a:ext cx="171367" cy="157163"/>
          </a:xfrm>
          <a:custGeom>
            <a:avLst/>
            <a:gdLst>
              <a:gd name="T0" fmla="*/ 1048 w 1059"/>
              <a:gd name="T1" fmla="*/ 698 h 973"/>
              <a:gd name="T2" fmla="*/ 1034 w 1059"/>
              <a:gd name="T3" fmla="*/ 656 h 973"/>
              <a:gd name="T4" fmla="*/ 1010 w 1059"/>
              <a:gd name="T5" fmla="*/ 639 h 973"/>
              <a:gd name="T6" fmla="*/ 928 w 1059"/>
              <a:gd name="T7" fmla="*/ 313 h 973"/>
              <a:gd name="T8" fmla="*/ 917 w 1059"/>
              <a:gd name="T9" fmla="*/ 124 h 973"/>
              <a:gd name="T10" fmla="*/ 928 w 1059"/>
              <a:gd name="T11" fmla="*/ 7 h 973"/>
              <a:gd name="T12" fmla="*/ 833 w 1059"/>
              <a:gd name="T13" fmla="*/ 3 h 973"/>
              <a:gd name="T14" fmla="*/ 827 w 1059"/>
              <a:gd name="T15" fmla="*/ 115 h 973"/>
              <a:gd name="T16" fmla="*/ 845 w 1059"/>
              <a:gd name="T17" fmla="*/ 304 h 973"/>
              <a:gd name="T18" fmla="*/ 826 w 1059"/>
              <a:gd name="T19" fmla="*/ 412 h 973"/>
              <a:gd name="T20" fmla="*/ 751 w 1059"/>
              <a:gd name="T21" fmla="*/ 639 h 973"/>
              <a:gd name="T22" fmla="*/ 730 w 1059"/>
              <a:gd name="T23" fmla="*/ 694 h 973"/>
              <a:gd name="T24" fmla="*/ 707 w 1059"/>
              <a:gd name="T25" fmla="*/ 713 h 973"/>
              <a:gd name="T26" fmla="*/ 674 w 1059"/>
              <a:gd name="T27" fmla="*/ 660 h 973"/>
              <a:gd name="T28" fmla="*/ 626 w 1059"/>
              <a:gd name="T29" fmla="*/ 639 h 973"/>
              <a:gd name="T30" fmla="*/ 578 w 1059"/>
              <a:gd name="T31" fmla="*/ 313 h 973"/>
              <a:gd name="T32" fmla="*/ 569 w 1059"/>
              <a:gd name="T33" fmla="*/ 123 h 973"/>
              <a:gd name="T34" fmla="*/ 575 w 1059"/>
              <a:gd name="T35" fmla="*/ 3 h 973"/>
              <a:gd name="T36" fmla="*/ 478 w 1059"/>
              <a:gd name="T37" fmla="*/ 7 h 973"/>
              <a:gd name="T38" fmla="*/ 483 w 1059"/>
              <a:gd name="T39" fmla="*/ 119 h 973"/>
              <a:gd name="T40" fmla="*/ 488 w 1059"/>
              <a:gd name="T41" fmla="*/ 304 h 973"/>
              <a:gd name="T42" fmla="*/ 476 w 1059"/>
              <a:gd name="T43" fmla="*/ 414 h 973"/>
              <a:gd name="T44" fmla="*/ 396 w 1059"/>
              <a:gd name="T45" fmla="*/ 640 h 973"/>
              <a:gd name="T46" fmla="*/ 381 w 1059"/>
              <a:gd name="T47" fmla="*/ 694 h 973"/>
              <a:gd name="T48" fmla="*/ 356 w 1059"/>
              <a:gd name="T49" fmla="*/ 715 h 973"/>
              <a:gd name="T50" fmla="*/ 332 w 1059"/>
              <a:gd name="T51" fmla="*/ 694 h 973"/>
              <a:gd name="T52" fmla="*/ 315 w 1059"/>
              <a:gd name="T53" fmla="*/ 640 h 973"/>
              <a:gd name="T54" fmla="*/ 228 w 1059"/>
              <a:gd name="T55" fmla="*/ 412 h 973"/>
              <a:gd name="T56" fmla="*/ 213 w 1059"/>
              <a:gd name="T57" fmla="*/ 124 h 973"/>
              <a:gd name="T58" fmla="*/ 228 w 1059"/>
              <a:gd name="T59" fmla="*/ 12 h 973"/>
              <a:gd name="T60" fmla="*/ 136 w 1059"/>
              <a:gd name="T61" fmla="*/ 1 h 973"/>
              <a:gd name="T62" fmla="*/ 126 w 1059"/>
              <a:gd name="T63" fmla="*/ 114 h 973"/>
              <a:gd name="T64" fmla="*/ 143 w 1059"/>
              <a:gd name="T65" fmla="*/ 304 h 973"/>
              <a:gd name="T66" fmla="*/ 126 w 1059"/>
              <a:gd name="T67" fmla="*/ 412 h 973"/>
              <a:gd name="T68" fmla="*/ 54 w 1059"/>
              <a:gd name="T69" fmla="*/ 639 h 973"/>
              <a:gd name="T70" fmla="*/ 30 w 1059"/>
              <a:gd name="T71" fmla="*/ 656 h 973"/>
              <a:gd name="T72" fmla="*/ 13 w 1059"/>
              <a:gd name="T73" fmla="*/ 698 h 973"/>
              <a:gd name="T74" fmla="*/ 1059 w 1059"/>
              <a:gd name="T75" fmla="*/ 907 h 973"/>
              <a:gd name="T76" fmla="*/ 136 w 1059"/>
              <a:gd name="T77" fmla="*/ 593 h 973"/>
              <a:gd name="T78" fmla="*/ 136 w 1059"/>
              <a:gd name="T79" fmla="*/ 447 h 973"/>
              <a:gd name="T80" fmla="*/ 232 w 1059"/>
              <a:gd name="T81" fmla="*/ 522 h 973"/>
              <a:gd name="T82" fmla="*/ 258 w 1059"/>
              <a:gd name="T83" fmla="*/ 639 h 973"/>
              <a:gd name="T84" fmla="*/ 491 w 1059"/>
              <a:gd name="T85" fmla="*/ 593 h 973"/>
              <a:gd name="T86" fmla="*/ 491 w 1059"/>
              <a:gd name="T87" fmla="*/ 447 h 973"/>
              <a:gd name="T88" fmla="*/ 584 w 1059"/>
              <a:gd name="T89" fmla="*/ 522 h 973"/>
              <a:gd name="T90" fmla="*/ 611 w 1059"/>
              <a:gd name="T91" fmla="*/ 639 h 973"/>
              <a:gd name="T92" fmla="*/ 841 w 1059"/>
              <a:gd name="T93" fmla="*/ 593 h 973"/>
              <a:gd name="T94" fmla="*/ 841 w 1059"/>
              <a:gd name="T95" fmla="*/ 447 h 973"/>
              <a:gd name="T96" fmla="*/ 935 w 1059"/>
              <a:gd name="T97" fmla="*/ 522 h 973"/>
              <a:gd name="T98" fmla="*/ 962 w 1059"/>
              <a:gd name="T99" fmla="*/ 639 h 973"/>
              <a:gd name="T100" fmla="*/ 1048 w 1059"/>
              <a:gd name="T101" fmla="*/ 929 h 973"/>
              <a:gd name="T102" fmla="*/ 5 w 1059"/>
              <a:gd name="T103" fmla="*/ 933 h 973"/>
              <a:gd name="T104" fmla="*/ 1 w 1059"/>
              <a:gd name="T105" fmla="*/ 962 h 973"/>
              <a:gd name="T106" fmla="*/ 1044 w 1059"/>
              <a:gd name="T107" fmla="*/ 973 h 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9" h="973">
                <a:moveTo>
                  <a:pt x="1059" y="720"/>
                </a:moveTo>
                <a:lnTo>
                  <a:pt x="1059" y="720"/>
                </a:lnTo>
                <a:lnTo>
                  <a:pt x="1059" y="715"/>
                </a:lnTo>
                <a:lnTo>
                  <a:pt x="1057" y="710"/>
                </a:lnTo>
                <a:lnTo>
                  <a:pt x="1056" y="706"/>
                </a:lnTo>
                <a:lnTo>
                  <a:pt x="1052" y="702"/>
                </a:lnTo>
                <a:lnTo>
                  <a:pt x="1048" y="698"/>
                </a:lnTo>
                <a:lnTo>
                  <a:pt x="1044" y="697"/>
                </a:lnTo>
                <a:lnTo>
                  <a:pt x="1039" y="694"/>
                </a:lnTo>
                <a:lnTo>
                  <a:pt x="1034" y="694"/>
                </a:lnTo>
                <a:lnTo>
                  <a:pt x="1034" y="694"/>
                </a:lnTo>
                <a:lnTo>
                  <a:pt x="1034" y="660"/>
                </a:lnTo>
                <a:lnTo>
                  <a:pt x="1034" y="660"/>
                </a:lnTo>
                <a:lnTo>
                  <a:pt x="1034" y="656"/>
                </a:lnTo>
                <a:lnTo>
                  <a:pt x="1032" y="652"/>
                </a:lnTo>
                <a:lnTo>
                  <a:pt x="1029" y="649"/>
                </a:lnTo>
                <a:lnTo>
                  <a:pt x="1027" y="645"/>
                </a:lnTo>
                <a:lnTo>
                  <a:pt x="1023" y="642"/>
                </a:lnTo>
                <a:lnTo>
                  <a:pt x="1019" y="640"/>
                </a:lnTo>
                <a:lnTo>
                  <a:pt x="1015" y="639"/>
                </a:lnTo>
                <a:lnTo>
                  <a:pt x="1010" y="639"/>
                </a:lnTo>
                <a:lnTo>
                  <a:pt x="977" y="639"/>
                </a:lnTo>
                <a:lnTo>
                  <a:pt x="925" y="422"/>
                </a:lnTo>
                <a:lnTo>
                  <a:pt x="925" y="422"/>
                </a:lnTo>
                <a:lnTo>
                  <a:pt x="926" y="419"/>
                </a:lnTo>
                <a:lnTo>
                  <a:pt x="928" y="417"/>
                </a:lnTo>
                <a:lnTo>
                  <a:pt x="928" y="412"/>
                </a:lnTo>
                <a:lnTo>
                  <a:pt x="928" y="313"/>
                </a:lnTo>
                <a:lnTo>
                  <a:pt x="928" y="313"/>
                </a:lnTo>
                <a:lnTo>
                  <a:pt x="926" y="308"/>
                </a:lnTo>
                <a:lnTo>
                  <a:pt x="925" y="304"/>
                </a:lnTo>
                <a:lnTo>
                  <a:pt x="921" y="300"/>
                </a:lnTo>
                <a:lnTo>
                  <a:pt x="917" y="299"/>
                </a:lnTo>
                <a:lnTo>
                  <a:pt x="917" y="124"/>
                </a:lnTo>
                <a:lnTo>
                  <a:pt x="917" y="124"/>
                </a:lnTo>
                <a:lnTo>
                  <a:pt x="921" y="123"/>
                </a:lnTo>
                <a:lnTo>
                  <a:pt x="925" y="120"/>
                </a:lnTo>
                <a:lnTo>
                  <a:pt x="926" y="115"/>
                </a:lnTo>
                <a:lnTo>
                  <a:pt x="928" y="110"/>
                </a:lnTo>
                <a:lnTo>
                  <a:pt x="928" y="12"/>
                </a:lnTo>
                <a:lnTo>
                  <a:pt x="928" y="12"/>
                </a:lnTo>
                <a:lnTo>
                  <a:pt x="928" y="7"/>
                </a:lnTo>
                <a:lnTo>
                  <a:pt x="926" y="3"/>
                </a:lnTo>
                <a:lnTo>
                  <a:pt x="923" y="1"/>
                </a:lnTo>
                <a:lnTo>
                  <a:pt x="919" y="0"/>
                </a:lnTo>
                <a:lnTo>
                  <a:pt x="845" y="0"/>
                </a:lnTo>
                <a:lnTo>
                  <a:pt x="845" y="0"/>
                </a:lnTo>
                <a:lnTo>
                  <a:pt x="839" y="1"/>
                </a:lnTo>
                <a:lnTo>
                  <a:pt x="833" y="3"/>
                </a:lnTo>
                <a:lnTo>
                  <a:pt x="827" y="7"/>
                </a:lnTo>
                <a:lnTo>
                  <a:pt x="826" y="10"/>
                </a:lnTo>
                <a:lnTo>
                  <a:pt x="826" y="12"/>
                </a:lnTo>
                <a:lnTo>
                  <a:pt x="826" y="110"/>
                </a:lnTo>
                <a:lnTo>
                  <a:pt x="826" y="110"/>
                </a:lnTo>
                <a:lnTo>
                  <a:pt x="826" y="114"/>
                </a:lnTo>
                <a:lnTo>
                  <a:pt x="827" y="115"/>
                </a:lnTo>
                <a:lnTo>
                  <a:pt x="833" y="119"/>
                </a:lnTo>
                <a:lnTo>
                  <a:pt x="839" y="121"/>
                </a:lnTo>
                <a:lnTo>
                  <a:pt x="845" y="121"/>
                </a:lnTo>
                <a:lnTo>
                  <a:pt x="841" y="121"/>
                </a:lnTo>
                <a:lnTo>
                  <a:pt x="841" y="304"/>
                </a:lnTo>
                <a:lnTo>
                  <a:pt x="845" y="304"/>
                </a:lnTo>
                <a:lnTo>
                  <a:pt x="845" y="304"/>
                </a:lnTo>
                <a:lnTo>
                  <a:pt x="839" y="304"/>
                </a:lnTo>
                <a:lnTo>
                  <a:pt x="833" y="305"/>
                </a:lnTo>
                <a:lnTo>
                  <a:pt x="827" y="309"/>
                </a:lnTo>
                <a:lnTo>
                  <a:pt x="826" y="310"/>
                </a:lnTo>
                <a:lnTo>
                  <a:pt x="826" y="313"/>
                </a:lnTo>
                <a:lnTo>
                  <a:pt x="826" y="412"/>
                </a:lnTo>
                <a:lnTo>
                  <a:pt x="826" y="412"/>
                </a:lnTo>
                <a:lnTo>
                  <a:pt x="827" y="414"/>
                </a:lnTo>
                <a:lnTo>
                  <a:pt x="829" y="417"/>
                </a:lnTo>
                <a:lnTo>
                  <a:pt x="834" y="422"/>
                </a:lnTo>
                <a:lnTo>
                  <a:pt x="787" y="639"/>
                </a:lnTo>
                <a:lnTo>
                  <a:pt x="756" y="639"/>
                </a:lnTo>
                <a:lnTo>
                  <a:pt x="756" y="639"/>
                </a:lnTo>
                <a:lnTo>
                  <a:pt x="751" y="639"/>
                </a:lnTo>
                <a:lnTo>
                  <a:pt x="748" y="640"/>
                </a:lnTo>
                <a:lnTo>
                  <a:pt x="739" y="645"/>
                </a:lnTo>
                <a:lnTo>
                  <a:pt x="735" y="649"/>
                </a:lnTo>
                <a:lnTo>
                  <a:pt x="732" y="652"/>
                </a:lnTo>
                <a:lnTo>
                  <a:pt x="731" y="656"/>
                </a:lnTo>
                <a:lnTo>
                  <a:pt x="730" y="660"/>
                </a:lnTo>
                <a:lnTo>
                  <a:pt x="730" y="694"/>
                </a:lnTo>
                <a:lnTo>
                  <a:pt x="732" y="694"/>
                </a:lnTo>
                <a:lnTo>
                  <a:pt x="732" y="694"/>
                </a:lnTo>
                <a:lnTo>
                  <a:pt x="724" y="696"/>
                </a:lnTo>
                <a:lnTo>
                  <a:pt x="717" y="699"/>
                </a:lnTo>
                <a:lnTo>
                  <a:pt x="711" y="706"/>
                </a:lnTo>
                <a:lnTo>
                  <a:pt x="707" y="713"/>
                </a:lnTo>
                <a:lnTo>
                  <a:pt x="707" y="713"/>
                </a:lnTo>
                <a:lnTo>
                  <a:pt x="704" y="706"/>
                </a:lnTo>
                <a:lnTo>
                  <a:pt x="698" y="699"/>
                </a:lnTo>
                <a:lnTo>
                  <a:pt x="692" y="696"/>
                </a:lnTo>
                <a:lnTo>
                  <a:pt x="683" y="694"/>
                </a:lnTo>
                <a:lnTo>
                  <a:pt x="674" y="694"/>
                </a:lnTo>
                <a:lnTo>
                  <a:pt x="674" y="660"/>
                </a:lnTo>
                <a:lnTo>
                  <a:pt x="674" y="660"/>
                </a:lnTo>
                <a:lnTo>
                  <a:pt x="673" y="652"/>
                </a:lnTo>
                <a:lnTo>
                  <a:pt x="672" y="645"/>
                </a:lnTo>
                <a:lnTo>
                  <a:pt x="669" y="642"/>
                </a:lnTo>
                <a:lnTo>
                  <a:pt x="666" y="640"/>
                </a:lnTo>
                <a:lnTo>
                  <a:pt x="663" y="639"/>
                </a:lnTo>
                <a:lnTo>
                  <a:pt x="659" y="639"/>
                </a:lnTo>
                <a:lnTo>
                  <a:pt x="626" y="639"/>
                </a:lnTo>
                <a:lnTo>
                  <a:pt x="575" y="422"/>
                </a:lnTo>
                <a:lnTo>
                  <a:pt x="575" y="422"/>
                </a:lnTo>
                <a:lnTo>
                  <a:pt x="576" y="419"/>
                </a:lnTo>
                <a:lnTo>
                  <a:pt x="578" y="417"/>
                </a:lnTo>
                <a:lnTo>
                  <a:pt x="578" y="412"/>
                </a:lnTo>
                <a:lnTo>
                  <a:pt x="578" y="313"/>
                </a:lnTo>
                <a:lnTo>
                  <a:pt x="578" y="313"/>
                </a:lnTo>
                <a:lnTo>
                  <a:pt x="576" y="308"/>
                </a:lnTo>
                <a:lnTo>
                  <a:pt x="574" y="304"/>
                </a:lnTo>
                <a:lnTo>
                  <a:pt x="569" y="300"/>
                </a:lnTo>
                <a:lnTo>
                  <a:pt x="562" y="299"/>
                </a:lnTo>
                <a:lnTo>
                  <a:pt x="562" y="124"/>
                </a:lnTo>
                <a:lnTo>
                  <a:pt x="562" y="124"/>
                </a:lnTo>
                <a:lnTo>
                  <a:pt x="569" y="123"/>
                </a:lnTo>
                <a:lnTo>
                  <a:pt x="574" y="120"/>
                </a:lnTo>
                <a:lnTo>
                  <a:pt x="576" y="115"/>
                </a:lnTo>
                <a:lnTo>
                  <a:pt x="578" y="110"/>
                </a:lnTo>
                <a:lnTo>
                  <a:pt x="578" y="12"/>
                </a:lnTo>
                <a:lnTo>
                  <a:pt x="578" y="12"/>
                </a:lnTo>
                <a:lnTo>
                  <a:pt x="578" y="7"/>
                </a:lnTo>
                <a:lnTo>
                  <a:pt x="575" y="3"/>
                </a:lnTo>
                <a:lnTo>
                  <a:pt x="573" y="1"/>
                </a:lnTo>
                <a:lnTo>
                  <a:pt x="568" y="0"/>
                </a:lnTo>
                <a:lnTo>
                  <a:pt x="494" y="0"/>
                </a:lnTo>
                <a:lnTo>
                  <a:pt x="494" y="0"/>
                </a:lnTo>
                <a:lnTo>
                  <a:pt x="488" y="1"/>
                </a:lnTo>
                <a:lnTo>
                  <a:pt x="483" y="3"/>
                </a:lnTo>
                <a:lnTo>
                  <a:pt x="478" y="7"/>
                </a:lnTo>
                <a:lnTo>
                  <a:pt x="476" y="10"/>
                </a:lnTo>
                <a:lnTo>
                  <a:pt x="476" y="12"/>
                </a:lnTo>
                <a:lnTo>
                  <a:pt x="476" y="110"/>
                </a:lnTo>
                <a:lnTo>
                  <a:pt x="476" y="110"/>
                </a:lnTo>
                <a:lnTo>
                  <a:pt x="476" y="114"/>
                </a:lnTo>
                <a:lnTo>
                  <a:pt x="478" y="115"/>
                </a:lnTo>
                <a:lnTo>
                  <a:pt x="483" y="119"/>
                </a:lnTo>
                <a:lnTo>
                  <a:pt x="488" y="121"/>
                </a:lnTo>
                <a:lnTo>
                  <a:pt x="494" y="121"/>
                </a:lnTo>
                <a:lnTo>
                  <a:pt x="491" y="121"/>
                </a:lnTo>
                <a:lnTo>
                  <a:pt x="491" y="304"/>
                </a:lnTo>
                <a:lnTo>
                  <a:pt x="494" y="304"/>
                </a:lnTo>
                <a:lnTo>
                  <a:pt x="494" y="304"/>
                </a:lnTo>
                <a:lnTo>
                  <a:pt x="488" y="304"/>
                </a:lnTo>
                <a:lnTo>
                  <a:pt x="483" y="305"/>
                </a:lnTo>
                <a:lnTo>
                  <a:pt x="478" y="309"/>
                </a:lnTo>
                <a:lnTo>
                  <a:pt x="476" y="310"/>
                </a:lnTo>
                <a:lnTo>
                  <a:pt x="476" y="313"/>
                </a:lnTo>
                <a:lnTo>
                  <a:pt x="476" y="412"/>
                </a:lnTo>
                <a:lnTo>
                  <a:pt x="476" y="412"/>
                </a:lnTo>
                <a:lnTo>
                  <a:pt x="476" y="414"/>
                </a:lnTo>
                <a:lnTo>
                  <a:pt x="479" y="417"/>
                </a:lnTo>
                <a:lnTo>
                  <a:pt x="483" y="422"/>
                </a:lnTo>
                <a:lnTo>
                  <a:pt x="436" y="639"/>
                </a:lnTo>
                <a:lnTo>
                  <a:pt x="405" y="639"/>
                </a:lnTo>
                <a:lnTo>
                  <a:pt x="405" y="639"/>
                </a:lnTo>
                <a:lnTo>
                  <a:pt x="401" y="639"/>
                </a:lnTo>
                <a:lnTo>
                  <a:pt x="396" y="640"/>
                </a:lnTo>
                <a:lnTo>
                  <a:pt x="389" y="645"/>
                </a:lnTo>
                <a:lnTo>
                  <a:pt x="385" y="649"/>
                </a:lnTo>
                <a:lnTo>
                  <a:pt x="382" y="652"/>
                </a:lnTo>
                <a:lnTo>
                  <a:pt x="380" y="656"/>
                </a:lnTo>
                <a:lnTo>
                  <a:pt x="380" y="660"/>
                </a:lnTo>
                <a:lnTo>
                  <a:pt x="380" y="694"/>
                </a:lnTo>
                <a:lnTo>
                  <a:pt x="381" y="694"/>
                </a:lnTo>
                <a:lnTo>
                  <a:pt x="381" y="694"/>
                </a:lnTo>
                <a:lnTo>
                  <a:pt x="376" y="694"/>
                </a:lnTo>
                <a:lnTo>
                  <a:pt x="372" y="696"/>
                </a:lnTo>
                <a:lnTo>
                  <a:pt x="365" y="701"/>
                </a:lnTo>
                <a:lnTo>
                  <a:pt x="360" y="707"/>
                </a:lnTo>
                <a:lnTo>
                  <a:pt x="357" y="711"/>
                </a:lnTo>
                <a:lnTo>
                  <a:pt x="356" y="715"/>
                </a:lnTo>
                <a:lnTo>
                  <a:pt x="356" y="715"/>
                </a:lnTo>
                <a:lnTo>
                  <a:pt x="355" y="711"/>
                </a:lnTo>
                <a:lnTo>
                  <a:pt x="353" y="707"/>
                </a:lnTo>
                <a:lnTo>
                  <a:pt x="347" y="701"/>
                </a:lnTo>
                <a:lnTo>
                  <a:pt x="341" y="696"/>
                </a:lnTo>
                <a:lnTo>
                  <a:pt x="336" y="694"/>
                </a:lnTo>
                <a:lnTo>
                  <a:pt x="332" y="694"/>
                </a:lnTo>
                <a:lnTo>
                  <a:pt x="324" y="694"/>
                </a:lnTo>
                <a:lnTo>
                  <a:pt x="324" y="660"/>
                </a:lnTo>
                <a:lnTo>
                  <a:pt x="324" y="660"/>
                </a:lnTo>
                <a:lnTo>
                  <a:pt x="323" y="652"/>
                </a:lnTo>
                <a:lnTo>
                  <a:pt x="320" y="645"/>
                </a:lnTo>
                <a:lnTo>
                  <a:pt x="318" y="642"/>
                </a:lnTo>
                <a:lnTo>
                  <a:pt x="315" y="640"/>
                </a:lnTo>
                <a:lnTo>
                  <a:pt x="311" y="639"/>
                </a:lnTo>
                <a:lnTo>
                  <a:pt x="308" y="639"/>
                </a:lnTo>
                <a:lnTo>
                  <a:pt x="275" y="639"/>
                </a:lnTo>
                <a:lnTo>
                  <a:pt x="224" y="422"/>
                </a:lnTo>
                <a:lnTo>
                  <a:pt x="224" y="422"/>
                </a:lnTo>
                <a:lnTo>
                  <a:pt x="226" y="417"/>
                </a:lnTo>
                <a:lnTo>
                  <a:pt x="228" y="412"/>
                </a:lnTo>
                <a:lnTo>
                  <a:pt x="228" y="313"/>
                </a:lnTo>
                <a:lnTo>
                  <a:pt x="228" y="313"/>
                </a:lnTo>
                <a:lnTo>
                  <a:pt x="226" y="308"/>
                </a:lnTo>
                <a:lnTo>
                  <a:pt x="224" y="304"/>
                </a:lnTo>
                <a:lnTo>
                  <a:pt x="219" y="300"/>
                </a:lnTo>
                <a:lnTo>
                  <a:pt x="213" y="299"/>
                </a:lnTo>
                <a:lnTo>
                  <a:pt x="213" y="124"/>
                </a:lnTo>
                <a:lnTo>
                  <a:pt x="213" y="124"/>
                </a:lnTo>
                <a:lnTo>
                  <a:pt x="219" y="123"/>
                </a:lnTo>
                <a:lnTo>
                  <a:pt x="224" y="120"/>
                </a:lnTo>
                <a:lnTo>
                  <a:pt x="226" y="115"/>
                </a:lnTo>
                <a:lnTo>
                  <a:pt x="228" y="110"/>
                </a:lnTo>
                <a:lnTo>
                  <a:pt x="228" y="12"/>
                </a:lnTo>
                <a:lnTo>
                  <a:pt x="228" y="12"/>
                </a:lnTo>
                <a:lnTo>
                  <a:pt x="226" y="7"/>
                </a:lnTo>
                <a:lnTo>
                  <a:pt x="224" y="3"/>
                </a:lnTo>
                <a:lnTo>
                  <a:pt x="220" y="1"/>
                </a:lnTo>
                <a:lnTo>
                  <a:pt x="215" y="0"/>
                </a:lnTo>
                <a:lnTo>
                  <a:pt x="143" y="0"/>
                </a:lnTo>
                <a:lnTo>
                  <a:pt x="143" y="0"/>
                </a:lnTo>
                <a:lnTo>
                  <a:pt x="136" y="1"/>
                </a:lnTo>
                <a:lnTo>
                  <a:pt x="131" y="3"/>
                </a:lnTo>
                <a:lnTo>
                  <a:pt x="128" y="7"/>
                </a:lnTo>
                <a:lnTo>
                  <a:pt x="126" y="10"/>
                </a:lnTo>
                <a:lnTo>
                  <a:pt x="126" y="12"/>
                </a:lnTo>
                <a:lnTo>
                  <a:pt x="126" y="110"/>
                </a:lnTo>
                <a:lnTo>
                  <a:pt x="126" y="110"/>
                </a:lnTo>
                <a:lnTo>
                  <a:pt x="126" y="114"/>
                </a:lnTo>
                <a:lnTo>
                  <a:pt x="128" y="115"/>
                </a:lnTo>
                <a:lnTo>
                  <a:pt x="131" y="119"/>
                </a:lnTo>
                <a:lnTo>
                  <a:pt x="136" y="121"/>
                </a:lnTo>
                <a:lnTo>
                  <a:pt x="143" y="121"/>
                </a:lnTo>
                <a:lnTo>
                  <a:pt x="136" y="121"/>
                </a:lnTo>
                <a:lnTo>
                  <a:pt x="136" y="304"/>
                </a:lnTo>
                <a:lnTo>
                  <a:pt x="143" y="304"/>
                </a:lnTo>
                <a:lnTo>
                  <a:pt x="143" y="304"/>
                </a:lnTo>
                <a:lnTo>
                  <a:pt x="136" y="304"/>
                </a:lnTo>
                <a:lnTo>
                  <a:pt x="131" y="305"/>
                </a:lnTo>
                <a:lnTo>
                  <a:pt x="128" y="309"/>
                </a:lnTo>
                <a:lnTo>
                  <a:pt x="126" y="310"/>
                </a:lnTo>
                <a:lnTo>
                  <a:pt x="126" y="313"/>
                </a:lnTo>
                <a:lnTo>
                  <a:pt x="126" y="412"/>
                </a:lnTo>
                <a:lnTo>
                  <a:pt x="126" y="412"/>
                </a:lnTo>
                <a:lnTo>
                  <a:pt x="126" y="414"/>
                </a:lnTo>
                <a:lnTo>
                  <a:pt x="128" y="417"/>
                </a:lnTo>
                <a:lnTo>
                  <a:pt x="131" y="422"/>
                </a:lnTo>
                <a:lnTo>
                  <a:pt x="83" y="639"/>
                </a:lnTo>
                <a:lnTo>
                  <a:pt x="54" y="639"/>
                </a:lnTo>
                <a:lnTo>
                  <a:pt x="54" y="639"/>
                </a:lnTo>
                <a:lnTo>
                  <a:pt x="49" y="639"/>
                </a:lnTo>
                <a:lnTo>
                  <a:pt x="45" y="640"/>
                </a:lnTo>
                <a:lnTo>
                  <a:pt x="41" y="642"/>
                </a:lnTo>
                <a:lnTo>
                  <a:pt x="38" y="645"/>
                </a:lnTo>
                <a:lnTo>
                  <a:pt x="34" y="649"/>
                </a:lnTo>
                <a:lnTo>
                  <a:pt x="32" y="652"/>
                </a:lnTo>
                <a:lnTo>
                  <a:pt x="30" y="656"/>
                </a:lnTo>
                <a:lnTo>
                  <a:pt x="30" y="660"/>
                </a:lnTo>
                <a:lnTo>
                  <a:pt x="30" y="694"/>
                </a:lnTo>
                <a:lnTo>
                  <a:pt x="30" y="694"/>
                </a:lnTo>
                <a:lnTo>
                  <a:pt x="30" y="694"/>
                </a:lnTo>
                <a:lnTo>
                  <a:pt x="24" y="694"/>
                </a:lnTo>
                <a:lnTo>
                  <a:pt x="19" y="697"/>
                </a:lnTo>
                <a:lnTo>
                  <a:pt x="13" y="698"/>
                </a:lnTo>
                <a:lnTo>
                  <a:pt x="10" y="702"/>
                </a:lnTo>
                <a:lnTo>
                  <a:pt x="6" y="706"/>
                </a:lnTo>
                <a:lnTo>
                  <a:pt x="2" y="710"/>
                </a:lnTo>
                <a:lnTo>
                  <a:pt x="1" y="715"/>
                </a:lnTo>
                <a:lnTo>
                  <a:pt x="0" y="720"/>
                </a:lnTo>
                <a:lnTo>
                  <a:pt x="0" y="907"/>
                </a:lnTo>
                <a:lnTo>
                  <a:pt x="1059" y="907"/>
                </a:lnTo>
                <a:lnTo>
                  <a:pt x="1059" y="720"/>
                </a:lnTo>
                <a:close/>
                <a:moveTo>
                  <a:pt x="136" y="639"/>
                </a:moveTo>
                <a:lnTo>
                  <a:pt x="100" y="639"/>
                </a:lnTo>
                <a:lnTo>
                  <a:pt x="107" y="603"/>
                </a:lnTo>
                <a:lnTo>
                  <a:pt x="136" y="603"/>
                </a:lnTo>
                <a:lnTo>
                  <a:pt x="136" y="639"/>
                </a:lnTo>
                <a:close/>
                <a:moveTo>
                  <a:pt x="136" y="593"/>
                </a:moveTo>
                <a:lnTo>
                  <a:pt x="110" y="593"/>
                </a:lnTo>
                <a:lnTo>
                  <a:pt x="126" y="522"/>
                </a:lnTo>
                <a:lnTo>
                  <a:pt x="136" y="522"/>
                </a:lnTo>
                <a:lnTo>
                  <a:pt x="136" y="593"/>
                </a:lnTo>
                <a:close/>
                <a:moveTo>
                  <a:pt x="136" y="507"/>
                </a:moveTo>
                <a:lnTo>
                  <a:pt x="129" y="507"/>
                </a:lnTo>
                <a:lnTo>
                  <a:pt x="136" y="447"/>
                </a:lnTo>
                <a:lnTo>
                  <a:pt x="136" y="507"/>
                </a:lnTo>
                <a:close/>
                <a:moveTo>
                  <a:pt x="213" y="456"/>
                </a:moveTo>
                <a:lnTo>
                  <a:pt x="229" y="507"/>
                </a:lnTo>
                <a:lnTo>
                  <a:pt x="213" y="507"/>
                </a:lnTo>
                <a:lnTo>
                  <a:pt x="213" y="456"/>
                </a:lnTo>
                <a:close/>
                <a:moveTo>
                  <a:pt x="213" y="522"/>
                </a:moveTo>
                <a:lnTo>
                  <a:pt x="232" y="522"/>
                </a:lnTo>
                <a:lnTo>
                  <a:pt x="248" y="593"/>
                </a:lnTo>
                <a:lnTo>
                  <a:pt x="213" y="593"/>
                </a:lnTo>
                <a:lnTo>
                  <a:pt x="213" y="522"/>
                </a:lnTo>
                <a:close/>
                <a:moveTo>
                  <a:pt x="213" y="639"/>
                </a:moveTo>
                <a:lnTo>
                  <a:pt x="213" y="603"/>
                </a:lnTo>
                <a:lnTo>
                  <a:pt x="251" y="603"/>
                </a:lnTo>
                <a:lnTo>
                  <a:pt x="258" y="639"/>
                </a:lnTo>
                <a:lnTo>
                  <a:pt x="213" y="639"/>
                </a:lnTo>
                <a:close/>
                <a:moveTo>
                  <a:pt x="491" y="639"/>
                </a:moveTo>
                <a:lnTo>
                  <a:pt x="451" y="639"/>
                </a:lnTo>
                <a:lnTo>
                  <a:pt x="460" y="603"/>
                </a:lnTo>
                <a:lnTo>
                  <a:pt x="491" y="603"/>
                </a:lnTo>
                <a:lnTo>
                  <a:pt x="491" y="639"/>
                </a:lnTo>
                <a:close/>
                <a:moveTo>
                  <a:pt x="491" y="593"/>
                </a:moveTo>
                <a:lnTo>
                  <a:pt x="462" y="593"/>
                </a:lnTo>
                <a:lnTo>
                  <a:pt x="478" y="522"/>
                </a:lnTo>
                <a:lnTo>
                  <a:pt x="491" y="522"/>
                </a:lnTo>
                <a:lnTo>
                  <a:pt x="491" y="593"/>
                </a:lnTo>
                <a:close/>
                <a:moveTo>
                  <a:pt x="491" y="507"/>
                </a:moveTo>
                <a:lnTo>
                  <a:pt x="480" y="507"/>
                </a:lnTo>
                <a:lnTo>
                  <a:pt x="491" y="447"/>
                </a:lnTo>
                <a:lnTo>
                  <a:pt x="491" y="507"/>
                </a:lnTo>
                <a:close/>
                <a:moveTo>
                  <a:pt x="562" y="456"/>
                </a:moveTo>
                <a:lnTo>
                  <a:pt x="581" y="507"/>
                </a:lnTo>
                <a:lnTo>
                  <a:pt x="562" y="507"/>
                </a:lnTo>
                <a:lnTo>
                  <a:pt x="562" y="456"/>
                </a:lnTo>
                <a:close/>
                <a:moveTo>
                  <a:pt x="562" y="522"/>
                </a:moveTo>
                <a:lnTo>
                  <a:pt x="584" y="522"/>
                </a:lnTo>
                <a:lnTo>
                  <a:pt x="599" y="593"/>
                </a:lnTo>
                <a:lnTo>
                  <a:pt x="562" y="593"/>
                </a:lnTo>
                <a:lnTo>
                  <a:pt x="562" y="522"/>
                </a:lnTo>
                <a:close/>
                <a:moveTo>
                  <a:pt x="562" y="639"/>
                </a:moveTo>
                <a:lnTo>
                  <a:pt x="562" y="603"/>
                </a:lnTo>
                <a:lnTo>
                  <a:pt x="602" y="603"/>
                </a:lnTo>
                <a:lnTo>
                  <a:pt x="611" y="639"/>
                </a:lnTo>
                <a:lnTo>
                  <a:pt x="562" y="639"/>
                </a:lnTo>
                <a:close/>
                <a:moveTo>
                  <a:pt x="841" y="639"/>
                </a:moveTo>
                <a:lnTo>
                  <a:pt x="802" y="639"/>
                </a:lnTo>
                <a:lnTo>
                  <a:pt x="811" y="603"/>
                </a:lnTo>
                <a:lnTo>
                  <a:pt x="841" y="603"/>
                </a:lnTo>
                <a:lnTo>
                  <a:pt x="841" y="639"/>
                </a:lnTo>
                <a:close/>
                <a:moveTo>
                  <a:pt x="841" y="593"/>
                </a:moveTo>
                <a:lnTo>
                  <a:pt x="814" y="593"/>
                </a:lnTo>
                <a:lnTo>
                  <a:pt x="829" y="522"/>
                </a:lnTo>
                <a:lnTo>
                  <a:pt x="841" y="522"/>
                </a:lnTo>
                <a:lnTo>
                  <a:pt x="841" y="593"/>
                </a:lnTo>
                <a:close/>
                <a:moveTo>
                  <a:pt x="841" y="507"/>
                </a:moveTo>
                <a:lnTo>
                  <a:pt x="831" y="507"/>
                </a:lnTo>
                <a:lnTo>
                  <a:pt x="841" y="447"/>
                </a:lnTo>
                <a:lnTo>
                  <a:pt x="841" y="507"/>
                </a:lnTo>
                <a:close/>
                <a:moveTo>
                  <a:pt x="917" y="456"/>
                </a:moveTo>
                <a:lnTo>
                  <a:pt x="933" y="507"/>
                </a:lnTo>
                <a:lnTo>
                  <a:pt x="917" y="507"/>
                </a:lnTo>
                <a:lnTo>
                  <a:pt x="917" y="456"/>
                </a:lnTo>
                <a:close/>
                <a:moveTo>
                  <a:pt x="917" y="522"/>
                </a:moveTo>
                <a:lnTo>
                  <a:pt x="935" y="522"/>
                </a:lnTo>
                <a:lnTo>
                  <a:pt x="950" y="593"/>
                </a:lnTo>
                <a:lnTo>
                  <a:pt x="917" y="593"/>
                </a:lnTo>
                <a:lnTo>
                  <a:pt x="917" y="522"/>
                </a:lnTo>
                <a:close/>
                <a:moveTo>
                  <a:pt x="917" y="639"/>
                </a:moveTo>
                <a:lnTo>
                  <a:pt x="917" y="603"/>
                </a:lnTo>
                <a:lnTo>
                  <a:pt x="953" y="603"/>
                </a:lnTo>
                <a:lnTo>
                  <a:pt x="962" y="639"/>
                </a:lnTo>
                <a:lnTo>
                  <a:pt x="917" y="639"/>
                </a:lnTo>
                <a:close/>
                <a:moveTo>
                  <a:pt x="1059" y="947"/>
                </a:moveTo>
                <a:lnTo>
                  <a:pt x="1059" y="947"/>
                </a:lnTo>
                <a:lnTo>
                  <a:pt x="1059" y="943"/>
                </a:lnTo>
                <a:lnTo>
                  <a:pt x="1058" y="939"/>
                </a:lnTo>
                <a:lnTo>
                  <a:pt x="1054" y="933"/>
                </a:lnTo>
                <a:lnTo>
                  <a:pt x="1048" y="929"/>
                </a:lnTo>
                <a:lnTo>
                  <a:pt x="1044" y="928"/>
                </a:lnTo>
                <a:lnTo>
                  <a:pt x="1040" y="928"/>
                </a:lnTo>
                <a:lnTo>
                  <a:pt x="19" y="928"/>
                </a:lnTo>
                <a:lnTo>
                  <a:pt x="19" y="928"/>
                </a:lnTo>
                <a:lnTo>
                  <a:pt x="15" y="928"/>
                </a:lnTo>
                <a:lnTo>
                  <a:pt x="11" y="929"/>
                </a:lnTo>
                <a:lnTo>
                  <a:pt x="5" y="933"/>
                </a:lnTo>
                <a:lnTo>
                  <a:pt x="1" y="939"/>
                </a:lnTo>
                <a:lnTo>
                  <a:pt x="0" y="943"/>
                </a:lnTo>
                <a:lnTo>
                  <a:pt x="0" y="947"/>
                </a:lnTo>
                <a:lnTo>
                  <a:pt x="0" y="954"/>
                </a:lnTo>
                <a:lnTo>
                  <a:pt x="0" y="954"/>
                </a:lnTo>
                <a:lnTo>
                  <a:pt x="0" y="958"/>
                </a:lnTo>
                <a:lnTo>
                  <a:pt x="1" y="962"/>
                </a:lnTo>
                <a:lnTo>
                  <a:pt x="5" y="968"/>
                </a:lnTo>
                <a:lnTo>
                  <a:pt x="11" y="972"/>
                </a:lnTo>
                <a:lnTo>
                  <a:pt x="15" y="973"/>
                </a:lnTo>
                <a:lnTo>
                  <a:pt x="19" y="973"/>
                </a:lnTo>
                <a:lnTo>
                  <a:pt x="1040" y="973"/>
                </a:lnTo>
                <a:lnTo>
                  <a:pt x="1040" y="973"/>
                </a:lnTo>
                <a:lnTo>
                  <a:pt x="1044" y="973"/>
                </a:lnTo>
                <a:lnTo>
                  <a:pt x="1048" y="972"/>
                </a:lnTo>
                <a:lnTo>
                  <a:pt x="1054" y="968"/>
                </a:lnTo>
                <a:lnTo>
                  <a:pt x="1058" y="962"/>
                </a:lnTo>
                <a:lnTo>
                  <a:pt x="1059" y="958"/>
                </a:lnTo>
                <a:lnTo>
                  <a:pt x="1059" y="954"/>
                </a:lnTo>
                <a:lnTo>
                  <a:pt x="1059" y="947"/>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a:solidFill>
                <a:schemeClr val="bg1"/>
              </a:solidFill>
            </a:endParaRPr>
          </a:p>
        </p:txBody>
      </p:sp>
      <p:cxnSp>
        <p:nvCxnSpPr>
          <p:cNvPr id="225" name="Connector: Elbow 304">
            <a:extLst>
              <a:ext uri="{FF2B5EF4-FFF2-40B4-BE49-F238E27FC236}">
                <a16:creationId xmlns:a16="http://schemas.microsoft.com/office/drawing/2014/main" id="{21E778CB-9527-C9F5-ECA4-FECD47C6887B}"/>
              </a:ext>
            </a:extLst>
          </p:cNvPr>
          <p:cNvCxnSpPr>
            <a:cxnSpLocks/>
            <a:stCxn id="221" idx="1"/>
          </p:cNvCxnSpPr>
          <p:nvPr/>
        </p:nvCxnSpPr>
        <p:spPr>
          <a:xfrm rot="10800000" flipV="1">
            <a:off x="6051736" y="1980328"/>
            <a:ext cx="1534667" cy="611196"/>
          </a:xfrm>
          <a:prstGeom prst="bentConnector3">
            <a:avLst>
              <a:gd name="adj1" fmla="val 15243"/>
            </a:avLst>
          </a:prstGeom>
          <a:ln w="6350">
            <a:solidFill>
              <a:schemeClr val="accent3"/>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26" name="Rechteck 12">
            <a:extLst>
              <a:ext uri="{FF2B5EF4-FFF2-40B4-BE49-F238E27FC236}">
                <a16:creationId xmlns:a16="http://schemas.microsoft.com/office/drawing/2014/main" id="{5D788D94-A210-C4FA-97C1-BD42F710CF79}"/>
              </a:ext>
            </a:extLst>
          </p:cNvPr>
          <p:cNvSpPr/>
          <p:nvPr/>
        </p:nvSpPr>
        <p:spPr>
          <a:xfrm>
            <a:off x="7586402" y="2471460"/>
            <a:ext cx="1274725" cy="851484"/>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227" name="RBContent12">
            <a:extLst>
              <a:ext uri="{FF2B5EF4-FFF2-40B4-BE49-F238E27FC236}">
                <a16:creationId xmlns:a16="http://schemas.microsoft.com/office/drawing/2014/main" id="{8C8278C8-C423-BD55-A2EE-EB21B9B4FB54}"/>
              </a:ext>
            </a:extLst>
          </p:cNvPr>
          <p:cNvSpPr txBox="1">
            <a:spLocks/>
          </p:cNvSpPr>
          <p:nvPr/>
        </p:nvSpPr>
        <p:spPr>
          <a:xfrm>
            <a:off x="7662635" y="2692180"/>
            <a:ext cx="1188000" cy="572464"/>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900" b="1">
                <a:sym typeface="+mn-lt"/>
              </a:rPr>
              <a:t>Liaoning refinery</a:t>
            </a:r>
          </a:p>
          <a:p>
            <a:pPr marL="0" lvl="1">
              <a:lnSpc>
                <a:spcPct val="90000"/>
              </a:lnSpc>
              <a:spcBef>
                <a:spcPts val="300"/>
              </a:spcBef>
              <a:buSzPct val="100000"/>
            </a:pPr>
            <a:r>
              <a:rPr lang="en-US" sz="800">
                <a:sym typeface="+mn-lt"/>
              </a:rPr>
              <a:t>Capex: USD 12 bn</a:t>
            </a:r>
          </a:p>
          <a:p>
            <a:pPr marL="0" lvl="1">
              <a:lnSpc>
                <a:spcPct val="90000"/>
              </a:lnSpc>
              <a:spcBef>
                <a:spcPts val="300"/>
              </a:spcBef>
              <a:buSzPct val="100000"/>
            </a:pPr>
            <a:r>
              <a:rPr lang="en-US" sz="800">
                <a:sym typeface="+mn-lt"/>
              </a:rPr>
              <a:t>Company: Saudi Aram.</a:t>
            </a:r>
          </a:p>
          <a:p>
            <a:pPr marL="0" lvl="1">
              <a:lnSpc>
                <a:spcPct val="90000"/>
              </a:lnSpc>
              <a:spcBef>
                <a:spcPts val="300"/>
              </a:spcBef>
              <a:buSzPct val="100000"/>
            </a:pPr>
            <a:r>
              <a:rPr lang="en-US" sz="800">
                <a:sym typeface="+mn-lt"/>
              </a:rPr>
              <a:t>Completion: 2026</a:t>
            </a:r>
          </a:p>
        </p:txBody>
      </p:sp>
      <p:pic>
        <p:nvPicPr>
          <p:cNvPr id="228" name="Graphic 309">
            <a:extLst>
              <a:ext uri="{FF2B5EF4-FFF2-40B4-BE49-F238E27FC236}">
                <a16:creationId xmlns:a16="http://schemas.microsoft.com/office/drawing/2014/main" id="{6CACDFD3-988E-02C7-029B-ACBAEAEC6AA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435583" y="2505268"/>
            <a:ext cx="157163" cy="157163"/>
          </a:xfrm>
          <a:prstGeom prst="rect">
            <a:avLst/>
          </a:prstGeom>
        </p:spPr>
      </p:pic>
      <p:sp>
        <p:nvSpPr>
          <p:cNvPr id="229" name="Freeform 12">
            <a:extLst>
              <a:ext uri="{FF2B5EF4-FFF2-40B4-BE49-F238E27FC236}">
                <a16:creationId xmlns:a16="http://schemas.microsoft.com/office/drawing/2014/main" id="{0B8ADB3D-782B-848C-B7E0-4D3C15D239C5}"/>
              </a:ext>
            </a:extLst>
          </p:cNvPr>
          <p:cNvSpPr>
            <a:spLocks noChangeAspect="1" noEditPoints="1"/>
          </p:cNvSpPr>
          <p:nvPr/>
        </p:nvSpPr>
        <p:spPr bwMode="auto">
          <a:xfrm>
            <a:off x="8651138" y="2505038"/>
            <a:ext cx="171367" cy="157163"/>
          </a:xfrm>
          <a:custGeom>
            <a:avLst/>
            <a:gdLst>
              <a:gd name="T0" fmla="*/ 1048 w 1059"/>
              <a:gd name="T1" fmla="*/ 698 h 973"/>
              <a:gd name="T2" fmla="*/ 1034 w 1059"/>
              <a:gd name="T3" fmla="*/ 656 h 973"/>
              <a:gd name="T4" fmla="*/ 1010 w 1059"/>
              <a:gd name="T5" fmla="*/ 639 h 973"/>
              <a:gd name="T6" fmla="*/ 928 w 1059"/>
              <a:gd name="T7" fmla="*/ 313 h 973"/>
              <a:gd name="T8" fmla="*/ 917 w 1059"/>
              <a:gd name="T9" fmla="*/ 124 h 973"/>
              <a:gd name="T10" fmla="*/ 928 w 1059"/>
              <a:gd name="T11" fmla="*/ 7 h 973"/>
              <a:gd name="T12" fmla="*/ 833 w 1059"/>
              <a:gd name="T13" fmla="*/ 3 h 973"/>
              <a:gd name="T14" fmla="*/ 827 w 1059"/>
              <a:gd name="T15" fmla="*/ 115 h 973"/>
              <a:gd name="T16" fmla="*/ 845 w 1059"/>
              <a:gd name="T17" fmla="*/ 304 h 973"/>
              <a:gd name="T18" fmla="*/ 826 w 1059"/>
              <a:gd name="T19" fmla="*/ 412 h 973"/>
              <a:gd name="T20" fmla="*/ 751 w 1059"/>
              <a:gd name="T21" fmla="*/ 639 h 973"/>
              <a:gd name="T22" fmla="*/ 730 w 1059"/>
              <a:gd name="T23" fmla="*/ 694 h 973"/>
              <a:gd name="T24" fmla="*/ 707 w 1059"/>
              <a:gd name="T25" fmla="*/ 713 h 973"/>
              <a:gd name="T26" fmla="*/ 674 w 1059"/>
              <a:gd name="T27" fmla="*/ 660 h 973"/>
              <a:gd name="T28" fmla="*/ 626 w 1059"/>
              <a:gd name="T29" fmla="*/ 639 h 973"/>
              <a:gd name="T30" fmla="*/ 578 w 1059"/>
              <a:gd name="T31" fmla="*/ 313 h 973"/>
              <a:gd name="T32" fmla="*/ 569 w 1059"/>
              <a:gd name="T33" fmla="*/ 123 h 973"/>
              <a:gd name="T34" fmla="*/ 575 w 1059"/>
              <a:gd name="T35" fmla="*/ 3 h 973"/>
              <a:gd name="T36" fmla="*/ 478 w 1059"/>
              <a:gd name="T37" fmla="*/ 7 h 973"/>
              <a:gd name="T38" fmla="*/ 483 w 1059"/>
              <a:gd name="T39" fmla="*/ 119 h 973"/>
              <a:gd name="T40" fmla="*/ 488 w 1059"/>
              <a:gd name="T41" fmla="*/ 304 h 973"/>
              <a:gd name="T42" fmla="*/ 476 w 1059"/>
              <a:gd name="T43" fmla="*/ 414 h 973"/>
              <a:gd name="T44" fmla="*/ 396 w 1059"/>
              <a:gd name="T45" fmla="*/ 640 h 973"/>
              <a:gd name="T46" fmla="*/ 381 w 1059"/>
              <a:gd name="T47" fmla="*/ 694 h 973"/>
              <a:gd name="T48" fmla="*/ 356 w 1059"/>
              <a:gd name="T49" fmla="*/ 715 h 973"/>
              <a:gd name="T50" fmla="*/ 332 w 1059"/>
              <a:gd name="T51" fmla="*/ 694 h 973"/>
              <a:gd name="T52" fmla="*/ 315 w 1059"/>
              <a:gd name="T53" fmla="*/ 640 h 973"/>
              <a:gd name="T54" fmla="*/ 228 w 1059"/>
              <a:gd name="T55" fmla="*/ 412 h 973"/>
              <a:gd name="T56" fmla="*/ 213 w 1059"/>
              <a:gd name="T57" fmla="*/ 124 h 973"/>
              <a:gd name="T58" fmla="*/ 228 w 1059"/>
              <a:gd name="T59" fmla="*/ 12 h 973"/>
              <a:gd name="T60" fmla="*/ 136 w 1059"/>
              <a:gd name="T61" fmla="*/ 1 h 973"/>
              <a:gd name="T62" fmla="*/ 126 w 1059"/>
              <a:gd name="T63" fmla="*/ 114 h 973"/>
              <a:gd name="T64" fmla="*/ 143 w 1059"/>
              <a:gd name="T65" fmla="*/ 304 h 973"/>
              <a:gd name="T66" fmla="*/ 126 w 1059"/>
              <a:gd name="T67" fmla="*/ 412 h 973"/>
              <a:gd name="T68" fmla="*/ 54 w 1059"/>
              <a:gd name="T69" fmla="*/ 639 h 973"/>
              <a:gd name="T70" fmla="*/ 30 w 1059"/>
              <a:gd name="T71" fmla="*/ 656 h 973"/>
              <a:gd name="T72" fmla="*/ 13 w 1059"/>
              <a:gd name="T73" fmla="*/ 698 h 973"/>
              <a:gd name="T74" fmla="*/ 1059 w 1059"/>
              <a:gd name="T75" fmla="*/ 907 h 973"/>
              <a:gd name="T76" fmla="*/ 136 w 1059"/>
              <a:gd name="T77" fmla="*/ 593 h 973"/>
              <a:gd name="T78" fmla="*/ 136 w 1059"/>
              <a:gd name="T79" fmla="*/ 447 h 973"/>
              <a:gd name="T80" fmla="*/ 232 w 1059"/>
              <a:gd name="T81" fmla="*/ 522 h 973"/>
              <a:gd name="T82" fmla="*/ 258 w 1059"/>
              <a:gd name="T83" fmla="*/ 639 h 973"/>
              <a:gd name="T84" fmla="*/ 491 w 1059"/>
              <a:gd name="T85" fmla="*/ 593 h 973"/>
              <a:gd name="T86" fmla="*/ 491 w 1059"/>
              <a:gd name="T87" fmla="*/ 447 h 973"/>
              <a:gd name="T88" fmla="*/ 584 w 1059"/>
              <a:gd name="T89" fmla="*/ 522 h 973"/>
              <a:gd name="T90" fmla="*/ 611 w 1059"/>
              <a:gd name="T91" fmla="*/ 639 h 973"/>
              <a:gd name="T92" fmla="*/ 841 w 1059"/>
              <a:gd name="T93" fmla="*/ 593 h 973"/>
              <a:gd name="T94" fmla="*/ 841 w 1059"/>
              <a:gd name="T95" fmla="*/ 447 h 973"/>
              <a:gd name="T96" fmla="*/ 935 w 1059"/>
              <a:gd name="T97" fmla="*/ 522 h 973"/>
              <a:gd name="T98" fmla="*/ 962 w 1059"/>
              <a:gd name="T99" fmla="*/ 639 h 973"/>
              <a:gd name="T100" fmla="*/ 1048 w 1059"/>
              <a:gd name="T101" fmla="*/ 929 h 973"/>
              <a:gd name="T102" fmla="*/ 5 w 1059"/>
              <a:gd name="T103" fmla="*/ 933 h 973"/>
              <a:gd name="T104" fmla="*/ 1 w 1059"/>
              <a:gd name="T105" fmla="*/ 962 h 973"/>
              <a:gd name="T106" fmla="*/ 1044 w 1059"/>
              <a:gd name="T107" fmla="*/ 973 h 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9" h="973">
                <a:moveTo>
                  <a:pt x="1059" y="720"/>
                </a:moveTo>
                <a:lnTo>
                  <a:pt x="1059" y="720"/>
                </a:lnTo>
                <a:lnTo>
                  <a:pt x="1059" y="715"/>
                </a:lnTo>
                <a:lnTo>
                  <a:pt x="1057" y="710"/>
                </a:lnTo>
                <a:lnTo>
                  <a:pt x="1056" y="706"/>
                </a:lnTo>
                <a:lnTo>
                  <a:pt x="1052" y="702"/>
                </a:lnTo>
                <a:lnTo>
                  <a:pt x="1048" y="698"/>
                </a:lnTo>
                <a:lnTo>
                  <a:pt x="1044" y="697"/>
                </a:lnTo>
                <a:lnTo>
                  <a:pt x="1039" y="694"/>
                </a:lnTo>
                <a:lnTo>
                  <a:pt x="1034" y="694"/>
                </a:lnTo>
                <a:lnTo>
                  <a:pt x="1034" y="694"/>
                </a:lnTo>
                <a:lnTo>
                  <a:pt x="1034" y="660"/>
                </a:lnTo>
                <a:lnTo>
                  <a:pt x="1034" y="660"/>
                </a:lnTo>
                <a:lnTo>
                  <a:pt x="1034" y="656"/>
                </a:lnTo>
                <a:lnTo>
                  <a:pt x="1032" y="652"/>
                </a:lnTo>
                <a:lnTo>
                  <a:pt x="1029" y="649"/>
                </a:lnTo>
                <a:lnTo>
                  <a:pt x="1027" y="645"/>
                </a:lnTo>
                <a:lnTo>
                  <a:pt x="1023" y="642"/>
                </a:lnTo>
                <a:lnTo>
                  <a:pt x="1019" y="640"/>
                </a:lnTo>
                <a:lnTo>
                  <a:pt x="1015" y="639"/>
                </a:lnTo>
                <a:lnTo>
                  <a:pt x="1010" y="639"/>
                </a:lnTo>
                <a:lnTo>
                  <a:pt x="977" y="639"/>
                </a:lnTo>
                <a:lnTo>
                  <a:pt x="925" y="422"/>
                </a:lnTo>
                <a:lnTo>
                  <a:pt x="925" y="422"/>
                </a:lnTo>
                <a:lnTo>
                  <a:pt x="926" y="419"/>
                </a:lnTo>
                <a:lnTo>
                  <a:pt x="928" y="417"/>
                </a:lnTo>
                <a:lnTo>
                  <a:pt x="928" y="412"/>
                </a:lnTo>
                <a:lnTo>
                  <a:pt x="928" y="313"/>
                </a:lnTo>
                <a:lnTo>
                  <a:pt x="928" y="313"/>
                </a:lnTo>
                <a:lnTo>
                  <a:pt x="926" y="308"/>
                </a:lnTo>
                <a:lnTo>
                  <a:pt x="925" y="304"/>
                </a:lnTo>
                <a:lnTo>
                  <a:pt x="921" y="300"/>
                </a:lnTo>
                <a:lnTo>
                  <a:pt x="917" y="299"/>
                </a:lnTo>
                <a:lnTo>
                  <a:pt x="917" y="124"/>
                </a:lnTo>
                <a:lnTo>
                  <a:pt x="917" y="124"/>
                </a:lnTo>
                <a:lnTo>
                  <a:pt x="921" y="123"/>
                </a:lnTo>
                <a:lnTo>
                  <a:pt x="925" y="120"/>
                </a:lnTo>
                <a:lnTo>
                  <a:pt x="926" y="115"/>
                </a:lnTo>
                <a:lnTo>
                  <a:pt x="928" y="110"/>
                </a:lnTo>
                <a:lnTo>
                  <a:pt x="928" y="12"/>
                </a:lnTo>
                <a:lnTo>
                  <a:pt x="928" y="12"/>
                </a:lnTo>
                <a:lnTo>
                  <a:pt x="928" y="7"/>
                </a:lnTo>
                <a:lnTo>
                  <a:pt x="926" y="3"/>
                </a:lnTo>
                <a:lnTo>
                  <a:pt x="923" y="1"/>
                </a:lnTo>
                <a:lnTo>
                  <a:pt x="919" y="0"/>
                </a:lnTo>
                <a:lnTo>
                  <a:pt x="845" y="0"/>
                </a:lnTo>
                <a:lnTo>
                  <a:pt x="845" y="0"/>
                </a:lnTo>
                <a:lnTo>
                  <a:pt x="839" y="1"/>
                </a:lnTo>
                <a:lnTo>
                  <a:pt x="833" y="3"/>
                </a:lnTo>
                <a:lnTo>
                  <a:pt x="827" y="7"/>
                </a:lnTo>
                <a:lnTo>
                  <a:pt x="826" y="10"/>
                </a:lnTo>
                <a:lnTo>
                  <a:pt x="826" y="12"/>
                </a:lnTo>
                <a:lnTo>
                  <a:pt x="826" y="110"/>
                </a:lnTo>
                <a:lnTo>
                  <a:pt x="826" y="110"/>
                </a:lnTo>
                <a:lnTo>
                  <a:pt x="826" y="114"/>
                </a:lnTo>
                <a:lnTo>
                  <a:pt x="827" y="115"/>
                </a:lnTo>
                <a:lnTo>
                  <a:pt x="833" y="119"/>
                </a:lnTo>
                <a:lnTo>
                  <a:pt x="839" y="121"/>
                </a:lnTo>
                <a:lnTo>
                  <a:pt x="845" y="121"/>
                </a:lnTo>
                <a:lnTo>
                  <a:pt x="841" y="121"/>
                </a:lnTo>
                <a:lnTo>
                  <a:pt x="841" y="304"/>
                </a:lnTo>
                <a:lnTo>
                  <a:pt x="845" y="304"/>
                </a:lnTo>
                <a:lnTo>
                  <a:pt x="845" y="304"/>
                </a:lnTo>
                <a:lnTo>
                  <a:pt x="839" y="304"/>
                </a:lnTo>
                <a:lnTo>
                  <a:pt x="833" y="305"/>
                </a:lnTo>
                <a:lnTo>
                  <a:pt x="827" y="309"/>
                </a:lnTo>
                <a:lnTo>
                  <a:pt x="826" y="310"/>
                </a:lnTo>
                <a:lnTo>
                  <a:pt x="826" y="313"/>
                </a:lnTo>
                <a:lnTo>
                  <a:pt x="826" y="412"/>
                </a:lnTo>
                <a:lnTo>
                  <a:pt x="826" y="412"/>
                </a:lnTo>
                <a:lnTo>
                  <a:pt x="827" y="414"/>
                </a:lnTo>
                <a:lnTo>
                  <a:pt x="829" y="417"/>
                </a:lnTo>
                <a:lnTo>
                  <a:pt x="834" y="422"/>
                </a:lnTo>
                <a:lnTo>
                  <a:pt x="787" y="639"/>
                </a:lnTo>
                <a:lnTo>
                  <a:pt x="756" y="639"/>
                </a:lnTo>
                <a:lnTo>
                  <a:pt x="756" y="639"/>
                </a:lnTo>
                <a:lnTo>
                  <a:pt x="751" y="639"/>
                </a:lnTo>
                <a:lnTo>
                  <a:pt x="748" y="640"/>
                </a:lnTo>
                <a:lnTo>
                  <a:pt x="739" y="645"/>
                </a:lnTo>
                <a:lnTo>
                  <a:pt x="735" y="649"/>
                </a:lnTo>
                <a:lnTo>
                  <a:pt x="732" y="652"/>
                </a:lnTo>
                <a:lnTo>
                  <a:pt x="731" y="656"/>
                </a:lnTo>
                <a:lnTo>
                  <a:pt x="730" y="660"/>
                </a:lnTo>
                <a:lnTo>
                  <a:pt x="730" y="694"/>
                </a:lnTo>
                <a:lnTo>
                  <a:pt x="732" y="694"/>
                </a:lnTo>
                <a:lnTo>
                  <a:pt x="732" y="694"/>
                </a:lnTo>
                <a:lnTo>
                  <a:pt x="724" y="696"/>
                </a:lnTo>
                <a:lnTo>
                  <a:pt x="717" y="699"/>
                </a:lnTo>
                <a:lnTo>
                  <a:pt x="711" y="706"/>
                </a:lnTo>
                <a:lnTo>
                  <a:pt x="707" y="713"/>
                </a:lnTo>
                <a:lnTo>
                  <a:pt x="707" y="713"/>
                </a:lnTo>
                <a:lnTo>
                  <a:pt x="704" y="706"/>
                </a:lnTo>
                <a:lnTo>
                  <a:pt x="698" y="699"/>
                </a:lnTo>
                <a:lnTo>
                  <a:pt x="692" y="696"/>
                </a:lnTo>
                <a:lnTo>
                  <a:pt x="683" y="694"/>
                </a:lnTo>
                <a:lnTo>
                  <a:pt x="674" y="694"/>
                </a:lnTo>
                <a:lnTo>
                  <a:pt x="674" y="660"/>
                </a:lnTo>
                <a:lnTo>
                  <a:pt x="674" y="660"/>
                </a:lnTo>
                <a:lnTo>
                  <a:pt x="673" y="652"/>
                </a:lnTo>
                <a:lnTo>
                  <a:pt x="672" y="645"/>
                </a:lnTo>
                <a:lnTo>
                  <a:pt x="669" y="642"/>
                </a:lnTo>
                <a:lnTo>
                  <a:pt x="666" y="640"/>
                </a:lnTo>
                <a:lnTo>
                  <a:pt x="663" y="639"/>
                </a:lnTo>
                <a:lnTo>
                  <a:pt x="659" y="639"/>
                </a:lnTo>
                <a:lnTo>
                  <a:pt x="626" y="639"/>
                </a:lnTo>
                <a:lnTo>
                  <a:pt x="575" y="422"/>
                </a:lnTo>
                <a:lnTo>
                  <a:pt x="575" y="422"/>
                </a:lnTo>
                <a:lnTo>
                  <a:pt x="576" y="419"/>
                </a:lnTo>
                <a:lnTo>
                  <a:pt x="578" y="417"/>
                </a:lnTo>
                <a:lnTo>
                  <a:pt x="578" y="412"/>
                </a:lnTo>
                <a:lnTo>
                  <a:pt x="578" y="313"/>
                </a:lnTo>
                <a:lnTo>
                  <a:pt x="578" y="313"/>
                </a:lnTo>
                <a:lnTo>
                  <a:pt x="576" y="308"/>
                </a:lnTo>
                <a:lnTo>
                  <a:pt x="574" y="304"/>
                </a:lnTo>
                <a:lnTo>
                  <a:pt x="569" y="300"/>
                </a:lnTo>
                <a:lnTo>
                  <a:pt x="562" y="299"/>
                </a:lnTo>
                <a:lnTo>
                  <a:pt x="562" y="124"/>
                </a:lnTo>
                <a:lnTo>
                  <a:pt x="562" y="124"/>
                </a:lnTo>
                <a:lnTo>
                  <a:pt x="569" y="123"/>
                </a:lnTo>
                <a:lnTo>
                  <a:pt x="574" y="120"/>
                </a:lnTo>
                <a:lnTo>
                  <a:pt x="576" y="115"/>
                </a:lnTo>
                <a:lnTo>
                  <a:pt x="578" y="110"/>
                </a:lnTo>
                <a:lnTo>
                  <a:pt x="578" y="12"/>
                </a:lnTo>
                <a:lnTo>
                  <a:pt x="578" y="12"/>
                </a:lnTo>
                <a:lnTo>
                  <a:pt x="578" y="7"/>
                </a:lnTo>
                <a:lnTo>
                  <a:pt x="575" y="3"/>
                </a:lnTo>
                <a:lnTo>
                  <a:pt x="573" y="1"/>
                </a:lnTo>
                <a:lnTo>
                  <a:pt x="568" y="0"/>
                </a:lnTo>
                <a:lnTo>
                  <a:pt x="494" y="0"/>
                </a:lnTo>
                <a:lnTo>
                  <a:pt x="494" y="0"/>
                </a:lnTo>
                <a:lnTo>
                  <a:pt x="488" y="1"/>
                </a:lnTo>
                <a:lnTo>
                  <a:pt x="483" y="3"/>
                </a:lnTo>
                <a:lnTo>
                  <a:pt x="478" y="7"/>
                </a:lnTo>
                <a:lnTo>
                  <a:pt x="476" y="10"/>
                </a:lnTo>
                <a:lnTo>
                  <a:pt x="476" y="12"/>
                </a:lnTo>
                <a:lnTo>
                  <a:pt x="476" y="110"/>
                </a:lnTo>
                <a:lnTo>
                  <a:pt x="476" y="110"/>
                </a:lnTo>
                <a:lnTo>
                  <a:pt x="476" y="114"/>
                </a:lnTo>
                <a:lnTo>
                  <a:pt x="478" y="115"/>
                </a:lnTo>
                <a:lnTo>
                  <a:pt x="483" y="119"/>
                </a:lnTo>
                <a:lnTo>
                  <a:pt x="488" y="121"/>
                </a:lnTo>
                <a:lnTo>
                  <a:pt x="494" y="121"/>
                </a:lnTo>
                <a:lnTo>
                  <a:pt x="491" y="121"/>
                </a:lnTo>
                <a:lnTo>
                  <a:pt x="491" y="304"/>
                </a:lnTo>
                <a:lnTo>
                  <a:pt x="494" y="304"/>
                </a:lnTo>
                <a:lnTo>
                  <a:pt x="494" y="304"/>
                </a:lnTo>
                <a:lnTo>
                  <a:pt x="488" y="304"/>
                </a:lnTo>
                <a:lnTo>
                  <a:pt x="483" y="305"/>
                </a:lnTo>
                <a:lnTo>
                  <a:pt x="478" y="309"/>
                </a:lnTo>
                <a:lnTo>
                  <a:pt x="476" y="310"/>
                </a:lnTo>
                <a:lnTo>
                  <a:pt x="476" y="313"/>
                </a:lnTo>
                <a:lnTo>
                  <a:pt x="476" y="412"/>
                </a:lnTo>
                <a:lnTo>
                  <a:pt x="476" y="412"/>
                </a:lnTo>
                <a:lnTo>
                  <a:pt x="476" y="414"/>
                </a:lnTo>
                <a:lnTo>
                  <a:pt x="479" y="417"/>
                </a:lnTo>
                <a:lnTo>
                  <a:pt x="483" y="422"/>
                </a:lnTo>
                <a:lnTo>
                  <a:pt x="436" y="639"/>
                </a:lnTo>
                <a:lnTo>
                  <a:pt x="405" y="639"/>
                </a:lnTo>
                <a:lnTo>
                  <a:pt x="405" y="639"/>
                </a:lnTo>
                <a:lnTo>
                  <a:pt x="401" y="639"/>
                </a:lnTo>
                <a:lnTo>
                  <a:pt x="396" y="640"/>
                </a:lnTo>
                <a:lnTo>
                  <a:pt x="389" y="645"/>
                </a:lnTo>
                <a:lnTo>
                  <a:pt x="385" y="649"/>
                </a:lnTo>
                <a:lnTo>
                  <a:pt x="382" y="652"/>
                </a:lnTo>
                <a:lnTo>
                  <a:pt x="380" y="656"/>
                </a:lnTo>
                <a:lnTo>
                  <a:pt x="380" y="660"/>
                </a:lnTo>
                <a:lnTo>
                  <a:pt x="380" y="694"/>
                </a:lnTo>
                <a:lnTo>
                  <a:pt x="381" y="694"/>
                </a:lnTo>
                <a:lnTo>
                  <a:pt x="381" y="694"/>
                </a:lnTo>
                <a:lnTo>
                  <a:pt x="376" y="694"/>
                </a:lnTo>
                <a:lnTo>
                  <a:pt x="372" y="696"/>
                </a:lnTo>
                <a:lnTo>
                  <a:pt x="365" y="701"/>
                </a:lnTo>
                <a:lnTo>
                  <a:pt x="360" y="707"/>
                </a:lnTo>
                <a:lnTo>
                  <a:pt x="357" y="711"/>
                </a:lnTo>
                <a:lnTo>
                  <a:pt x="356" y="715"/>
                </a:lnTo>
                <a:lnTo>
                  <a:pt x="356" y="715"/>
                </a:lnTo>
                <a:lnTo>
                  <a:pt x="355" y="711"/>
                </a:lnTo>
                <a:lnTo>
                  <a:pt x="353" y="707"/>
                </a:lnTo>
                <a:lnTo>
                  <a:pt x="347" y="701"/>
                </a:lnTo>
                <a:lnTo>
                  <a:pt x="341" y="696"/>
                </a:lnTo>
                <a:lnTo>
                  <a:pt x="336" y="694"/>
                </a:lnTo>
                <a:lnTo>
                  <a:pt x="332" y="694"/>
                </a:lnTo>
                <a:lnTo>
                  <a:pt x="324" y="694"/>
                </a:lnTo>
                <a:lnTo>
                  <a:pt x="324" y="660"/>
                </a:lnTo>
                <a:lnTo>
                  <a:pt x="324" y="660"/>
                </a:lnTo>
                <a:lnTo>
                  <a:pt x="323" y="652"/>
                </a:lnTo>
                <a:lnTo>
                  <a:pt x="320" y="645"/>
                </a:lnTo>
                <a:lnTo>
                  <a:pt x="318" y="642"/>
                </a:lnTo>
                <a:lnTo>
                  <a:pt x="315" y="640"/>
                </a:lnTo>
                <a:lnTo>
                  <a:pt x="311" y="639"/>
                </a:lnTo>
                <a:lnTo>
                  <a:pt x="308" y="639"/>
                </a:lnTo>
                <a:lnTo>
                  <a:pt x="275" y="639"/>
                </a:lnTo>
                <a:lnTo>
                  <a:pt x="224" y="422"/>
                </a:lnTo>
                <a:lnTo>
                  <a:pt x="224" y="422"/>
                </a:lnTo>
                <a:lnTo>
                  <a:pt x="226" y="417"/>
                </a:lnTo>
                <a:lnTo>
                  <a:pt x="228" y="412"/>
                </a:lnTo>
                <a:lnTo>
                  <a:pt x="228" y="313"/>
                </a:lnTo>
                <a:lnTo>
                  <a:pt x="228" y="313"/>
                </a:lnTo>
                <a:lnTo>
                  <a:pt x="226" y="308"/>
                </a:lnTo>
                <a:lnTo>
                  <a:pt x="224" y="304"/>
                </a:lnTo>
                <a:lnTo>
                  <a:pt x="219" y="300"/>
                </a:lnTo>
                <a:lnTo>
                  <a:pt x="213" y="299"/>
                </a:lnTo>
                <a:lnTo>
                  <a:pt x="213" y="124"/>
                </a:lnTo>
                <a:lnTo>
                  <a:pt x="213" y="124"/>
                </a:lnTo>
                <a:lnTo>
                  <a:pt x="219" y="123"/>
                </a:lnTo>
                <a:lnTo>
                  <a:pt x="224" y="120"/>
                </a:lnTo>
                <a:lnTo>
                  <a:pt x="226" y="115"/>
                </a:lnTo>
                <a:lnTo>
                  <a:pt x="228" y="110"/>
                </a:lnTo>
                <a:lnTo>
                  <a:pt x="228" y="12"/>
                </a:lnTo>
                <a:lnTo>
                  <a:pt x="228" y="12"/>
                </a:lnTo>
                <a:lnTo>
                  <a:pt x="226" y="7"/>
                </a:lnTo>
                <a:lnTo>
                  <a:pt x="224" y="3"/>
                </a:lnTo>
                <a:lnTo>
                  <a:pt x="220" y="1"/>
                </a:lnTo>
                <a:lnTo>
                  <a:pt x="215" y="0"/>
                </a:lnTo>
                <a:lnTo>
                  <a:pt x="143" y="0"/>
                </a:lnTo>
                <a:lnTo>
                  <a:pt x="143" y="0"/>
                </a:lnTo>
                <a:lnTo>
                  <a:pt x="136" y="1"/>
                </a:lnTo>
                <a:lnTo>
                  <a:pt x="131" y="3"/>
                </a:lnTo>
                <a:lnTo>
                  <a:pt x="128" y="7"/>
                </a:lnTo>
                <a:lnTo>
                  <a:pt x="126" y="10"/>
                </a:lnTo>
                <a:lnTo>
                  <a:pt x="126" y="12"/>
                </a:lnTo>
                <a:lnTo>
                  <a:pt x="126" y="110"/>
                </a:lnTo>
                <a:lnTo>
                  <a:pt x="126" y="110"/>
                </a:lnTo>
                <a:lnTo>
                  <a:pt x="126" y="114"/>
                </a:lnTo>
                <a:lnTo>
                  <a:pt x="128" y="115"/>
                </a:lnTo>
                <a:lnTo>
                  <a:pt x="131" y="119"/>
                </a:lnTo>
                <a:lnTo>
                  <a:pt x="136" y="121"/>
                </a:lnTo>
                <a:lnTo>
                  <a:pt x="143" y="121"/>
                </a:lnTo>
                <a:lnTo>
                  <a:pt x="136" y="121"/>
                </a:lnTo>
                <a:lnTo>
                  <a:pt x="136" y="304"/>
                </a:lnTo>
                <a:lnTo>
                  <a:pt x="143" y="304"/>
                </a:lnTo>
                <a:lnTo>
                  <a:pt x="143" y="304"/>
                </a:lnTo>
                <a:lnTo>
                  <a:pt x="136" y="304"/>
                </a:lnTo>
                <a:lnTo>
                  <a:pt x="131" y="305"/>
                </a:lnTo>
                <a:lnTo>
                  <a:pt x="128" y="309"/>
                </a:lnTo>
                <a:lnTo>
                  <a:pt x="126" y="310"/>
                </a:lnTo>
                <a:lnTo>
                  <a:pt x="126" y="313"/>
                </a:lnTo>
                <a:lnTo>
                  <a:pt x="126" y="412"/>
                </a:lnTo>
                <a:lnTo>
                  <a:pt x="126" y="412"/>
                </a:lnTo>
                <a:lnTo>
                  <a:pt x="126" y="414"/>
                </a:lnTo>
                <a:lnTo>
                  <a:pt x="128" y="417"/>
                </a:lnTo>
                <a:lnTo>
                  <a:pt x="131" y="422"/>
                </a:lnTo>
                <a:lnTo>
                  <a:pt x="83" y="639"/>
                </a:lnTo>
                <a:lnTo>
                  <a:pt x="54" y="639"/>
                </a:lnTo>
                <a:lnTo>
                  <a:pt x="54" y="639"/>
                </a:lnTo>
                <a:lnTo>
                  <a:pt x="49" y="639"/>
                </a:lnTo>
                <a:lnTo>
                  <a:pt x="45" y="640"/>
                </a:lnTo>
                <a:lnTo>
                  <a:pt x="41" y="642"/>
                </a:lnTo>
                <a:lnTo>
                  <a:pt x="38" y="645"/>
                </a:lnTo>
                <a:lnTo>
                  <a:pt x="34" y="649"/>
                </a:lnTo>
                <a:lnTo>
                  <a:pt x="32" y="652"/>
                </a:lnTo>
                <a:lnTo>
                  <a:pt x="30" y="656"/>
                </a:lnTo>
                <a:lnTo>
                  <a:pt x="30" y="660"/>
                </a:lnTo>
                <a:lnTo>
                  <a:pt x="30" y="694"/>
                </a:lnTo>
                <a:lnTo>
                  <a:pt x="30" y="694"/>
                </a:lnTo>
                <a:lnTo>
                  <a:pt x="30" y="694"/>
                </a:lnTo>
                <a:lnTo>
                  <a:pt x="24" y="694"/>
                </a:lnTo>
                <a:lnTo>
                  <a:pt x="19" y="697"/>
                </a:lnTo>
                <a:lnTo>
                  <a:pt x="13" y="698"/>
                </a:lnTo>
                <a:lnTo>
                  <a:pt x="10" y="702"/>
                </a:lnTo>
                <a:lnTo>
                  <a:pt x="6" y="706"/>
                </a:lnTo>
                <a:lnTo>
                  <a:pt x="2" y="710"/>
                </a:lnTo>
                <a:lnTo>
                  <a:pt x="1" y="715"/>
                </a:lnTo>
                <a:lnTo>
                  <a:pt x="0" y="720"/>
                </a:lnTo>
                <a:lnTo>
                  <a:pt x="0" y="907"/>
                </a:lnTo>
                <a:lnTo>
                  <a:pt x="1059" y="907"/>
                </a:lnTo>
                <a:lnTo>
                  <a:pt x="1059" y="720"/>
                </a:lnTo>
                <a:close/>
                <a:moveTo>
                  <a:pt x="136" y="639"/>
                </a:moveTo>
                <a:lnTo>
                  <a:pt x="100" y="639"/>
                </a:lnTo>
                <a:lnTo>
                  <a:pt x="107" y="603"/>
                </a:lnTo>
                <a:lnTo>
                  <a:pt x="136" y="603"/>
                </a:lnTo>
                <a:lnTo>
                  <a:pt x="136" y="639"/>
                </a:lnTo>
                <a:close/>
                <a:moveTo>
                  <a:pt x="136" y="593"/>
                </a:moveTo>
                <a:lnTo>
                  <a:pt x="110" y="593"/>
                </a:lnTo>
                <a:lnTo>
                  <a:pt x="126" y="522"/>
                </a:lnTo>
                <a:lnTo>
                  <a:pt x="136" y="522"/>
                </a:lnTo>
                <a:lnTo>
                  <a:pt x="136" y="593"/>
                </a:lnTo>
                <a:close/>
                <a:moveTo>
                  <a:pt x="136" y="507"/>
                </a:moveTo>
                <a:lnTo>
                  <a:pt x="129" y="507"/>
                </a:lnTo>
                <a:lnTo>
                  <a:pt x="136" y="447"/>
                </a:lnTo>
                <a:lnTo>
                  <a:pt x="136" y="507"/>
                </a:lnTo>
                <a:close/>
                <a:moveTo>
                  <a:pt x="213" y="456"/>
                </a:moveTo>
                <a:lnTo>
                  <a:pt x="229" y="507"/>
                </a:lnTo>
                <a:lnTo>
                  <a:pt x="213" y="507"/>
                </a:lnTo>
                <a:lnTo>
                  <a:pt x="213" y="456"/>
                </a:lnTo>
                <a:close/>
                <a:moveTo>
                  <a:pt x="213" y="522"/>
                </a:moveTo>
                <a:lnTo>
                  <a:pt x="232" y="522"/>
                </a:lnTo>
                <a:lnTo>
                  <a:pt x="248" y="593"/>
                </a:lnTo>
                <a:lnTo>
                  <a:pt x="213" y="593"/>
                </a:lnTo>
                <a:lnTo>
                  <a:pt x="213" y="522"/>
                </a:lnTo>
                <a:close/>
                <a:moveTo>
                  <a:pt x="213" y="639"/>
                </a:moveTo>
                <a:lnTo>
                  <a:pt x="213" y="603"/>
                </a:lnTo>
                <a:lnTo>
                  <a:pt x="251" y="603"/>
                </a:lnTo>
                <a:lnTo>
                  <a:pt x="258" y="639"/>
                </a:lnTo>
                <a:lnTo>
                  <a:pt x="213" y="639"/>
                </a:lnTo>
                <a:close/>
                <a:moveTo>
                  <a:pt x="491" y="639"/>
                </a:moveTo>
                <a:lnTo>
                  <a:pt x="451" y="639"/>
                </a:lnTo>
                <a:lnTo>
                  <a:pt x="460" y="603"/>
                </a:lnTo>
                <a:lnTo>
                  <a:pt x="491" y="603"/>
                </a:lnTo>
                <a:lnTo>
                  <a:pt x="491" y="639"/>
                </a:lnTo>
                <a:close/>
                <a:moveTo>
                  <a:pt x="491" y="593"/>
                </a:moveTo>
                <a:lnTo>
                  <a:pt x="462" y="593"/>
                </a:lnTo>
                <a:lnTo>
                  <a:pt x="478" y="522"/>
                </a:lnTo>
                <a:lnTo>
                  <a:pt x="491" y="522"/>
                </a:lnTo>
                <a:lnTo>
                  <a:pt x="491" y="593"/>
                </a:lnTo>
                <a:close/>
                <a:moveTo>
                  <a:pt x="491" y="507"/>
                </a:moveTo>
                <a:lnTo>
                  <a:pt x="480" y="507"/>
                </a:lnTo>
                <a:lnTo>
                  <a:pt x="491" y="447"/>
                </a:lnTo>
                <a:lnTo>
                  <a:pt x="491" y="507"/>
                </a:lnTo>
                <a:close/>
                <a:moveTo>
                  <a:pt x="562" y="456"/>
                </a:moveTo>
                <a:lnTo>
                  <a:pt x="581" y="507"/>
                </a:lnTo>
                <a:lnTo>
                  <a:pt x="562" y="507"/>
                </a:lnTo>
                <a:lnTo>
                  <a:pt x="562" y="456"/>
                </a:lnTo>
                <a:close/>
                <a:moveTo>
                  <a:pt x="562" y="522"/>
                </a:moveTo>
                <a:lnTo>
                  <a:pt x="584" y="522"/>
                </a:lnTo>
                <a:lnTo>
                  <a:pt x="599" y="593"/>
                </a:lnTo>
                <a:lnTo>
                  <a:pt x="562" y="593"/>
                </a:lnTo>
                <a:lnTo>
                  <a:pt x="562" y="522"/>
                </a:lnTo>
                <a:close/>
                <a:moveTo>
                  <a:pt x="562" y="639"/>
                </a:moveTo>
                <a:lnTo>
                  <a:pt x="562" y="603"/>
                </a:lnTo>
                <a:lnTo>
                  <a:pt x="602" y="603"/>
                </a:lnTo>
                <a:lnTo>
                  <a:pt x="611" y="639"/>
                </a:lnTo>
                <a:lnTo>
                  <a:pt x="562" y="639"/>
                </a:lnTo>
                <a:close/>
                <a:moveTo>
                  <a:pt x="841" y="639"/>
                </a:moveTo>
                <a:lnTo>
                  <a:pt x="802" y="639"/>
                </a:lnTo>
                <a:lnTo>
                  <a:pt x="811" y="603"/>
                </a:lnTo>
                <a:lnTo>
                  <a:pt x="841" y="603"/>
                </a:lnTo>
                <a:lnTo>
                  <a:pt x="841" y="639"/>
                </a:lnTo>
                <a:close/>
                <a:moveTo>
                  <a:pt x="841" y="593"/>
                </a:moveTo>
                <a:lnTo>
                  <a:pt x="814" y="593"/>
                </a:lnTo>
                <a:lnTo>
                  <a:pt x="829" y="522"/>
                </a:lnTo>
                <a:lnTo>
                  <a:pt x="841" y="522"/>
                </a:lnTo>
                <a:lnTo>
                  <a:pt x="841" y="593"/>
                </a:lnTo>
                <a:close/>
                <a:moveTo>
                  <a:pt x="841" y="507"/>
                </a:moveTo>
                <a:lnTo>
                  <a:pt x="831" y="507"/>
                </a:lnTo>
                <a:lnTo>
                  <a:pt x="841" y="447"/>
                </a:lnTo>
                <a:lnTo>
                  <a:pt x="841" y="507"/>
                </a:lnTo>
                <a:close/>
                <a:moveTo>
                  <a:pt x="917" y="456"/>
                </a:moveTo>
                <a:lnTo>
                  <a:pt x="933" y="507"/>
                </a:lnTo>
                <a:lnTo>
                  <a:pt x="917" y="507"/>
                </a:lnTo>
                <a:lnTo>
                  <a:pt x="917" y="456"/>
                </a:lnTo>
                <a:close/>
                <a:moveTo>
                  <a:pt x="917" y="522"/>
                </a:moveTo>
                <a:lnTo>
                  <a:pt x="935" y="522"/>
                </a:lnTo>
                <a:lnTo>
                  <a:pt x="950" y="593"/>
                </a:lnTo>
                <a:lnTo>
                  <a:pt x="917" y="593"/>
                </a:lnTo>
                <a:lnTo>
                  <a:pt x="917" y="522"/>
                </a:lnTo>
                <a:close/>
                <a:moveTo>
                  <a:pt x="917" y="639"/>
                </a:moveTo>
                <a:lnTo>
                  <a:pt x="917" y="603"/>
                </a:lnTo>
                <a:lnTo>
                  <a:pt x="953" y="603"/>
                </a:lnTo>
                <a:lnTo>
                  <a:pt x="962" y="639"/>
                </a:lnTo>
                <a:lnTo>
                  <a:pt x="917" y="639"/>
                </a:lnTo>
                <a:close/>
                <a:moveTo>
                  <a:pt x="1059" y="947"/>
                </a:moveTo>
                <a:lnTo>
                  <a:pt x="1059" y="947"/>
                </a:lnTo>
                <a:lnTo>
                  <a:pt x="1059" y="943"/>
                </a:lnTo>
                <a:lnTo>
                  <a:pt x="1058" y="939"/>
                </a:lnTo>
                <a:lnTo>
                  <a:pt x="1054" y="933"/>
                </a:lnTo>
                <a:lnTo>
                  <a:pt x="1048" y="929"/>
                </a:lnTo>
                <a:lnTo>
                  <a:pt x="1044" y="928"/>
                </a:lnTo>
                <a:lnTo>
                  <a:pt x="1040" y="928"/>
                </a:lnTo>
                <a:lnTo>
                  <a:pt x="19" y="928"/>
                </a:lnTo>
                <a:lnTo>
                  <a:pt x="19" y="928"/>
                </a:lnTo>
                <a:lnTo>
                  <a:pt x="15" y="928"/>
                </a:lnTo>
                <a:lnTo>
                  <a:pt x="11" y="929"/>
                </a:lnTo>
                <a:lnTo>
                  <a:pt x="5" y="933"/>
                </a:lnTo>
                <a:lnTo>
                  <a:pt x="1" y="939"/>
                </a:lnTo>
                <a:lnTo>
                  <a:pt x="0" y="943"/>
                </a:lnTo>
                <a:lnTo>
                  <a:pt x="0" y="947"/>
                </a:lnTo>
                <a:lnTo>
                  <a:pt x="0" y="954"/>
                </a:lnTo>
                <a:lnTo>
                  <a:pt x="0" y="954"/>
                </a:lnTo>
                <a:lnTo>
                  <a:pt x="0" y="958"/>
                </a:lnTo>
                <a:lnTo>
                  <a:pt x="1" y="962"/>
                </a:lnTo>
                <a:lnTo>
                  <a:pt x="5" y="968"/>
                </a:lnTo>
                <a:lnTo>
                  <a:pt x="11" y="972"/>
                </a:lnTo>
                <a:lnTo>
                  <a:pt x="15" y="973"/>
                </a:lnTo>
                <a:lnTo>
                  <a:pt x="19" y="973"/>
                </a:lnTo>
                <a:lnTo>
                  <a:pt x="1040" y="973"/>
                </a:lnTo>
                <a:lnTo>
                  <a:pt x="1040" y="973"/>
                </a:lnTo>
                <a:lnTo>
                  <a:pt x="1044" y="973"/>
                </a:lnTo>
                <a:lnTo>
                  <a:pt x="1048" y="972"/>
                </a:lnTo>
                <a:lnTo>
                  <a:pt x="1054" y="968"/>
                </a:lnTo>
                <a:lnTo>
                  <a:pt x="1058" y="962"/>
                </a:lnTo>
                <a:lnTo>
                  <a:pt x="1059" y="958"/>
                </a:lnTo>
                <a:lnTo>
                  <a:pt x="1059" y="954"/>
                </a:lnTo>
                <a:lnTo>
                  <a:pt x="1059" y="947"/>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a:solidFill>
                <a:schemeClr val="bg1"/>
              </a:solidFill>
            </a:endParaRPr>
          </a:p>
        </p:txBody>
      </p:sp>
      <p:cxnSp>
        <p:nvCxnSpPr>
          <p:cNvPr id="230" name="Connector: Elbow 313">
            <a:extLst>
              <a:ext uri="{FF2B5EF4-FFF2-40B4-BE49-F238E27FC236}">
                <a16:creationId xmlns:a16="http://schemas.microsoft.com/office/drawing/2014/main" id="{1091C0C0-6C6B-F0EC-4FA8-50ED8DAEF6A8}"/>
              </a:ext>
            </a:extLst>
          </p:cNvPr>
          <p:cNvCxnSpPr>
            <a:cxnSpLocks/>
          </p:cNvCxnSpPr>
          <p:nvPr/>
        </p:nvCxnSpPr>
        <p:spPr>
          <a:xfrm flipH="1">
            <a:off x="6052256" y="2690590"/>
            <a:ext cx="1534146" cy="0"/>
          </a:xfrm>
          <a:prstGeom prst="straightConnector1">
            <a:avLst/>
          </a:prstGeom>
          <a:ln w="6350">
            <a:solidFill>
              <a:schemeClr val="accent3"/>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31" name="Rechteck 12">
            <a:extLst>
              <a:ext uri="{FF2B5EF4-FFF2-40B4-BE49-F238E27FC236}">
                <a16:creationId xmlns:a16="http://schemas.microsoft.com/office/drawing/2014/main" id="{F3564315-3C35-486C-4B36-2A8DB8B83690}"/>
              </a:ext>
            </a:extLst>
          </p:cNvPr>
          <p:cNvSpPr/>
          <p:nvPr/>
        </p:nvSpPr>
        <p:spPr>
          <a:xfrm>
            <a:off x="7586402" y="3537292"/>
            <a:ext cx="1274725" cy="1030099"/>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232" name="RBContent12">
            <a:extLst>
              <a:ext uri="{FF2B5EF4-FFF2-40B4-BE49-F238E27FC236}">
                <a16:creationId xmlns:a16="http://schemas.microsoft.com/office/drawing/2014/main" id="{1F398A76-B396-F8A9-8D20-77B4D452C788}"/>
              </a:ext>
            </a:extLst>
          </p:cNvPr>
          <p:cNvSpPr txBox="1">
            <a:spLocks/>
          </p:cNvSpPr>
          <p:nvPr/>
        </p:nvSpPr>
        <p:spPr>
          <a:xfrm>
            <a:off x="7662635" y="3758013"/>
            <a:ext cx="1188000" cy="683264"/>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900" b="1">
                <a:sym typeface="+mn-lt"/>
              </a:rPr>
              <a:t>Larkana refinery</a:t>
            </a:r>
          </a:p>
          <a:p>
            <a:pPr marL="0" lvl="1">
              <a:lnSpc>
                <a:spcPct val="90000"/>
              </a:lnSpc>
              <a:spcBef>
                <a:spcPts val="300"/>
              </a:spcBef>
              <a:buSzPct val="100000"/>
            </a:pPr>
            <a:r>
              <a:rPr lang="en-US" sz="800">
                <a:sym typeface="+mn-lt"/>
              </a:rPr>
              <a:t>Capex: USD 10 bn</a:t>
            </a:r>
          </a:p>
          <a:p>
            <a:pPr marL="0" lvl="1">
              <a:lnSpc>
                <a:spcPct val="90000"/>
              </a:lnSpc>
              <a:spcBef>
                <a:spcPts val="300"/>
              </a:spcBef>
              <a:buSzPct val="100000"/>
            </a:pPr>
            <a:r>
              <a:rPr lang="en-US" sz="800">
                <a:sym typeface="+mn-lt"/>
              </a:rPr>
              <a:t>Company: </a:t>
            </a:r>
            <a:r>
              <a:rPr lang="en-US" sz="800" err="1">
                <a:sym typeface="+mn-lt"/>
              </a:rPr>
              <a:t>OGDCL</a:t>
            </a:r>
            <a:r>
              <a:rPr lang="en-US" sz="800">
                <a:sym typeface="+mn-lt"/>
              </a:rPr>
              <a:t>, </a:t>
            </a:r>
            <a:r>
              <a:rPr lang="en-US" sz="800" err="1">
                <a:sym typeface="+mn-lt"/>
              </a:rPr>
              <a:t>PSO</a:t>
            </a:r>
            <a:r>
              <a:rPr lang="en-US" sz="800">
                <a:sym typeface="+mn-lt"/>
              </a:rPr>
              <a:t>, PPL, and </a:t>
            </a:r>
            <a:r>
              <a:rPr lang="en-US" sz="800" err="1">
                <a:sym typeface="+mn-lt"/>
              </a:rPr>
              <a:t>GHPL</a:t>
            </a:r>
            <a:endParaRPr lang="en-US" sz="800">
              <a:sym typeface="+mn-lt"/>
            </a:endParaRPr>
          </a:p>
          <a:p>
            <a:pPr marL="0" lvl="1">
              <a:lnSpc>
                <a:spcPct val="90000"/>
              </a:lnSpc>
              <a:spcBef>
                <a:spcPts val="300"/>
              </a:spcBef>
              <a:buSzPct val="100000"/>
            </a:pPr>
            <a:r>
              <a:rPr lang="en-US" sz="800">
                <a:sym typeface="+mn-lt"/>
              </a:rPr>
              <a:t>Completion: 2025</a:t>
            </a:r>
          </a:p>
        </p:txBody>
      </p:sp>
      <p:sp>
        <p:nvSpPr>
          <p:cNvPr id="233" name="Freeform 12">
            <a:extLst>
              <a:ext uri="{FF2B5EF4-FFF2-40B4-BE49-F238E27FC236}">
                <a16:creationId xmlns:a16="http://schemas.microsoft.com/office/drawing/2014/main" id="{AC15F9C8-F311-67A7-B8AD-872532FD8A47}"/>
              </a:ext>
            </a:extLst>
          </p:cNvPr>
          <p:cNvSpPr>
            <a:spLocks noChangeAspect="1" noEditPoints="1"/>
          </p:cNvSpPr>
          <p:nvPr/>
        </p:nvSpPr>
        <p:spPr bwMode="auto">
          <a:xfrm>
            <a:off x="8651138" y="3570871"/>
            <a:ext cx="171367" cy="157163"/>
          </a:xfrm>
          <a:custGeom>
            <a:avLst/>
            <a:gdLst>
              <a:gd name="T0" fmla="*/ 1048 w 1059"/>
              <a:gd name="T1" fmla="*/ 698 h 973"/>
              <a:gd name="T2" fmla="*/ 1034 w 1059"/>
              <a:gd name="T3" fmla="*/ 656 h 973"/>
              <a:gd name="T4" fmla="*/ 1010 w 1059"/>
              <a:gd name="T5" fmla="*/ 639 h 973"/>
              <a:gd name="T6" fmla="*/ 928 w 1059"/>
              <a:gd name="T7" fmla="*/ 313 h 973"/>
              <a:gd name="T8" fmla="*/ 917 w 1059"/>
              <a:gd name="T9" fmla="*/ 124 h 973"/>
              <a:gd name="T10" fmla="*/ 928 w 1059"/>
              <a:gd name="T11" fmla="*/ 7 h 973"/>
              <a:gd name="T12" fmla="*/ 833 w 1059"/>
              <a:gd name="T13" fmla="*/ 3 h 973"/>
              <a:gd name="T14" fmla="*/ 827 w 1059"/>
              <a:gd name="T15" fmla="*/ 115 h 973"/>
              <a:gd name="T16" fmla="*/ 845 w 1059"/>
              <a:gd name="T17" fmla="*/ 304 h 973"/>
              <a:gd name="T18" fmla="*/ 826 w 1059"/>
              <a:gd name="T19" fmla="*/ 412 h 973"/>
              <a:gd name="T20" fmla="*/ 751 w 1059"/>
              <a:gd name="T21" fmla="*/ 639 h 973"/>
              <a:gd name="T22" fmla="*/ 730 w 1059"/>
              <a:gd name="T23" fmla="*/ 694 h 973"/>
              <a:gd name="T24" fmla="*/ 707 w 1059"/>
              <a:gd name="T25" fmla="*/ 713 h 973"/>
              <a:gd name="T26" fmla="*/ 674 w 1059"/>
              <a:gd name="T27" fmla="*/ 660 h 973"/>
              <a:gd name="T28" fmla="*/ 626 w 1059"/>
              <a:gd name="T29" fmla="*/ 639 h 973"/>
              <a:gd name="T30" fmla="*/ 578 w 1059"/>
              <a:gd name="T31" fmla="*/ 313 h 973"/>
              <a:gd name="T32" fmla="*/ 569 w 1059"/>
              <a:gd name="T33" fmla="*/ 123 h 973"/>
              <a:gd name="T34" fmla="*/ 575 w 1059"/>
              <a:gd name="T35" fmla="*/ 3 h 973"/>
              <a:gd name="T36" fmla="*/ 478 w 1059"/>
              <a:gd name="T37" fmla="*/ 7 h 973"/>
              <a:gd name="T38" fmla="*/ 483 w 1059"/>
              <a:gd name="T39" fmla="*/ 119 h 973"/>
              <a:gd name="T40" fmla="*/ 488 w 1059"/>
              <a:gd name="T41" fmla="*/ 304 h 973"/>
              <a:gd name="T42" fmla="*/ 476 w 1059"/>
              <a:gd name="T43" fmla="*/ 414 h 973"/>
              <a:gd name="T44" fmla="*/ 396 w 1059"/>
              <a:gd name="T45" fmla="*/ 640 h 973"/>
              <a:gd name="T46" fmla="*/ 381 w 1059"/>
              <a:gd name="T47" fmla="*/ 694 h 973"/>
              <a:gd name="T48" fmla="*/ 356 w 1059"/>
              <a:gd name="T49" fmla="*/ 715 h 973"/>
              <a:gd name="T50" fmla="*/ 332 w 1059"/>
              <a:gd name="T51" fmla="*/ 694 h 973"/>
              <a:gd name="T52" fmla="*/ 315 w 1059"/>
              <a:gd name="T53" fmla="*/ 640 h 973"/>
              <a:gd name="T54" fmla="*/ 228 w 1059"/>
              <a:gd name="T55" fmla="*/ 412 h 973"/>
              <a:gd name="T56" fmla="*/ 213 w 1059"/>
              <a:gd name="T57" fmla="*/ 124 h 973"/>
              <a:gd name="T58" fmla="*/ 228 w 1059"/>
              <a:gd name="T59" fmla="*/ 12 h 973"/>
              <a:gd name="T60" fmla="*/ 136 w 1059"/>
              <a:gd name="T61" fmla="*/ 1 h 973"/>
              <a:gd name="T62" fmla="*/ 126 w 1059"/>
              <a:gd name="T63" fmla="*/ 114 h 973"/>
              <a:gd name="T64" fmla="*/ 143 w 1059"/>
              <a:gd name="T65" fmla="*/ 304 h 973"/>
              <a:gd name="T66" fmla="*/ 126 w 1059"/>
              <a:gd name="T67" fmla="*/ 412 h 973"/>
              <a:gd name="T68" fmla="*/ 54 w 1059"/>
              <a:gd name="T69" fmla="*/ 639 h 973"/>
              <a:gd name="T70" fmla="*/ 30 w 1059"/>
              <a:gd name="T71" fmla="*/ 656 h 973"/>
              <a:gd name="T72" fmla="*/ 13 w 1059"/>
              <a:gd name="T73" fmla="*/ 698 h 973"/>
              <a:gd name="T74" fmla="*/ 1059 w 1059"/>
              <a:gd name="T75" fmla="*/ 907 h 973"/>
              <a:gd name="T76" fmla="*/ 136 w 1059"/>
              <a:gd name="T77" fmla="*/ 593 h 973"/>
              <a:gd name="T78" fmla="*/ 136 w 1059"/>
              <a:gd name="T79" fmla="*/ 447 h 973"/>
              <a:gd name="T80" fmla="*/ 232 w 1059"/>
              <a:gd name="T81" fmla="*/ 522 h 973"/>
              <a:gd name="T82" fmla="*/ 258 w 1059"/>
              <a:gd name="T83" fmla="*/ 639 h 973"/>
              <a:gd name="T84" fmla="*/ 491 w 1059"/>
              <a:gd name="T85" fmla="*/ 593 h 973"/>
              <a:gd name="T86" fmla="*/ 491 w 1059"/>
              <a:gd name="T87" fmla="*/ 447 h 973"/>
              <a:gd name="T88" fmla="*/ 584 w 1059"/>
              <a:gd name="T89" fmla="*/ 522 h 973"/>
              <a:gd name="T90" fmla="*/ 611 w 1059"/>
              <a:gd name="T91" fmla="*/ 639 h 973"/>
              <a:gd name="T92" fmla="*/ 841 w 1059"/>
              <a:gd name="T93" fmla="*/ 593 h 973"/>
              <a:gd name="T94" fmla="*/ 841 w 1059"/>
              <a:gd name="T95" fmla="*/ 447 h 973"/>
              <a:gd name="T96" fmla="*/ 935 w 1059"/>
              <a:gd name="T97" fmla="*/ 522 h 973"/>
              <a:gd name="T98" fmla="*/ 962 w 1059"/>
              <a:gd name="T99" fmla="*/ 639 h 973"/>
              <a:gd name="T100" fmla="*/ 1048 w 1059"/>
              <a:gd name="T101" fmla="*/ 929 h 973"/>
              <a:gd name="T102" fmla="*/ 5 w 1059"/>
              <a:gd name="T103" fmla="*/ 933 h 973"/>
              <a:gd name="T104" fmla="*/ 1 w 1059"/>
              <a:gd name="T105" fmla="*/ 962 h 973"/>
              <a:gd name="T106" fmla="*/ 1044 w 1059"/>
              <a:gd name="T107" fmla="*/ 973 h 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9" h="973">
                <a:moveTo>
                  <a:pt x="1059" y="720"/>
                </a:moveTo>
                <a:lnTo>
                  <a:pt x="1059" y="720"/>
                </a:lnTo>
                <a:lnTo>
                  <a:pt x="1059" y="715"/>
                </a:lnTo>
                <a:lnTo>
                  <a:pt x="1057" y="710"/>
                </a:lnTo>
                <a:lnTo>
                  <a:pt x="1056" y="706"/>
                </a:lnTo>
                <a:lnTo>
                  <a:pt x="1052" y="702"/>
                </a:lnTo>
                <a:lnTo>
                  <a:pt x="1048" y="698"/>
                </a:lnTo>
                <a:lnTo>
                  <a:pt x="1044" y="697"/>
                </a:lnTo>
                <a:lnTo>
                  <a:pt x="1039" y="694"/>
                </a:lnTo>
                <a:lnTo>
                  <a:pt x="1034" y="694"/>
                </a:lnTo>
                <a:lnTo>
                  <a:pt x="1034" y="694"/>
                </a:lnTo>
                <a:lnTo>
                  <a:pt x="1034" y="660"/>
                </a:lnTo>
                <a:lnTo>
                  <a:pt x="1034" y="660"/>
                </a:lnTo>
                <a:lnTo>
                  <a:pt x="1034" y="656"/>
                </a:lnTo>
                <a:lnTo>
                  <a:pt x="1032" y="652"/>
                </a:lnTo>
                <a:lnTo>
                  <a:pt x="1029" y="649"/>
                </a:lnTo>
                <a:lnTo>
                  <a:pt x="1027" y="645"/>
                </a:lnTo>
                <a:lnTo>
                  <a:pt x="1023" y="642"/>
                </a:lnTo>
                <a:lnTo>
                  <a:pt x="1019" y="640"/>
                </a:lnTo>
                <a:lnTo>
                  <a:pt x="1015" y="639"/>
                </a:lnTo>
                <a:lnTo>
                  <a:pt x="1010" y="639"/>
                </a:lnTo>
                <a:lnTo>
                  <a:pt x="977" y="639"/>
                </a:lnTo>
                <a:lnTo>
                  <a:pt x="925" y="422"/>
                </a:lnTo>
                <a:lnTo>
                  <a:pt x="925" y="422"/>
                </a:lnTo>
                <a:lnTo>
                  <a:pt x="926" y="419"/>
                </a:lnTo>
                <a:lnTo>
                  <a:pt x="928" y="417"/>
                </a:lnTo>
                <a:lnTo>
                  <a:pt x="928" y="412"/>
                </a:lnTo>
                <a:lnTo>
                  <a:pt x="928" y="313"/>
                </a:lnTo>
                <a:lnTo>
                  <a:pt x="928" y="313"/>
                </a:lnTo>
                <a:lnTo>
                  <a:pt x="926" y="308"/>
                </a:lnTo>
                <a:lnTo>
                  <a:pt x="925" y="304"/>
                </a:lnTo>
                <a:lnTo>
                  <a:pt x="921" y="300"/>
                </a:lnTo>
                <a:lnTo>
                  <a:pt x="917" y="299"/>
                </a:lnTo>
                <a:lnTo>
                  <a:pt x="917" y="124"/>
                </a:lnTo>
                <a:lnTo>
                  <a:pt x="917" y="124"/>
                </a:lnTo>
                <a:lnTo>
                  <a:pt x="921" y="123"/>
                </a:lnTo>
                <a:lnTo>
                  <a:pt x="925" y="120"/>
                </a:lnTo>
                <a:lnTo>
                  <a:pt x="926" y="115"/>
                </a:lnTo>
                <a:lnTo>
                  <a:pt x="928" y="110"/>
                </a:lnTo>
                <a:lnTo>
                  <a:pt x="928" y="12"/>
                </a:lnTo>
                <a:lnTo>
                  <a:pt x="928" y="12"/>
                </a:lnTo>
                <a:lnTo>
                  <a:pt x="928" y="7"/>
                </a:lnTo>
                <a:lnTo>
                  <a:pt x="926" y="3"/>
                </a:lnTo>
                <a:lnTo>
                  <a:pt x="923" y="1"/>
                </a:lnTo>
                <a:lnTo>
                  <a:pt x="919" y="0"/>
                </a:lnTo>
                <a:lnTo>
                  <a:pt x="845" y="0"/>
                </a:lnTo>
                <a:lnTo>
                  <a:pt x="845" y="0"/>
                </a:lnTo>
                <a:lnTo>
                  <a:pt x="839" y="1"/>
                </a:lnTo>
                <a:lnTo>
                  <a:pt x="833" y="3"/>
                </a:lnTo>
                <a:lnTo>
                  <a:pt x="827" y="7"/>
                </a:lnTo>
                <a:lnTo>
                  <a:pt x="826" y="10"/>
                </a:lnTo>
                <a:lnTo>
                  <a:pt x="826" y="12"/>
                </a:lnTo>
                <a:lnTo>
                  <a:pt x="826" y="110"/>
                </a:lnTo>
                <a:lnTo>
                  <a:pt x="826" y="110"/>
                </a:lnTo>
                <a:lnTo>
                  <a:pt x="826" y="114"/>
                </a:lnTo>
                <a:lnTo>
                  <a:pt x="827" y="115"/>
                </a:lnTo>
                <a:lnTo>
                  <a:pt x="833" y="119"/>
                </a:lnTo>
                <a:lnTo>
                  <a:pt x="839" y="121"/>
                </a:lnTo>
                <a:lnTo>
                  <a:pt x="845" y="121"/>
                </a:lnTo>
                <a:lnTo>
                  <a:pt x="841" y="121"/>
                </a:lnTo>
                <a:lnTo>
                  <a:pt x="841" y="304"/>
                </a:lnTo>
                <a:lnTo>
                  <a:pt x="845" y="304"/>
                </a:lnTo>
                <a:lnTo>
                  <a:pt x="845" y="304"/>
                </a:lnTo>
                <a:lnTo>
                  <a:pt x="839" y="304"/>
                </a:lnTo>
                <a:lnTo>
                  <a:pt x="833" y="305"/>
                </a:lnTo>
                <a:lnTo>
                  <a:pt x="827" y="309"/>
                </a:lnTo>
                <a:lnTo>
                  <a:pt x="826" y="310"/>
                </a:lnTo>
                <a:lnTo>
                  <a:pt x="826" y="313"/>
                </a:lnTo>
                <a:lnTo>
                  <a:pt x="826" y="412"/>
                </a:lnTo>
                <a:lnTo>
                  <a:pt x="826" y="412"/>
                </a:lnTo>
                <a:lnTo>
                  <a:pt x="827" y="414"/>
                </a:lnTo>
                <a:lnTo>
                  <a:pt x="829" y="417"/>
                </a:lnTo>
                <a:lnTo>
                  <a:pt x="834" y="422"/>
                </a:lnTo>
                <a:lnTo>
                  <a:pt x="787" y="639"/>
                </a:lnTo>
                <a:lnTo>
                  <a:pt x="756" y="639"/>
                </a:lnTo>
                <a:lnTo>
                  <a:pt x="756" y="639"/>
                </a:lnTo>
                <a:lnTo>
                  <a:pt x="751" y="639"/>
                </a:lnTo>
                <a:lnTo>
                  <a:pt x="748" y="640"/>
                </a:lnTo>
                <a:lnTo>
                  <a:pt x="739" y="645"/>
                </a:lnTo>
                <a:lnTo>
                  <a:pt x="735" y="649"/>
                </a:lnTo>
                <a:lnTo>
                  <a:pt x="732" y="652"/>
                </a:lnTo>
                <a:lnTo>
                  <a:pt x="731" y="656"/>
                </a:lnTo>
                <a:lnTo>
                  <a:pt x="730" y="660"/>
                </a:lnTo>
                <a:lnTo>
                  <a:pt x="730" y="694"/>
                </a:lnTo>
                <a:lnTo>
                  <a:pt x="732" y="694"/>
                </a:lnTo>
                <a:lnTo>
                  <a:pt x="732" y="694"/>
                </a:lnTo>
                <a:lnTo>
                  <a:pt x="724" y="696"/>
                </a:lnTo>
                <a:lnTo>
                  <a:pt x="717" y="699"/>
                </a:lnTo>
                <a:lnTo>
                  <a:pt x="711" y="706"/>
                </a:lnTo>
                <a:lnTo>
                  <a:pt x="707" y="713"/>
                </a:lnTo>
                <a:lnTo>
                  <a:pt x="707" y="713"/>
                </a:lnTo>
                <a:lnTo>
                  <a:pt x="704" y="706"/>
                </a:lnTo>
                <a:lnTo>
                  <a:pt x="698" y="699"/>
                </a:lnTo>
                <a:lnTo>
                  <a:pt x="692" y="696"/>
                </a:lnTo>
                <a:lnTo>
                  <a:pt x="683" y="694"/>
                </a:lnTo>
                <a:lnTo>
                  <a:pt x="674" y="694"/>
                </a:lnTo>
                <a:lnTo>
                  <a:pt x="674" y="660"/>
                </a:lnTo>
                <a:lnTo>
                  <a:pt x="674" y="660"/>
                </a:lnTo>
                <a:lnTo>
                  <a:pt x="673" y="652"/>
                </a:lnTo>
                <a:lnTo>
                  <a:pt x="672" y="645"/>
                </a:lnTo>
                <a:lnTo>
                  <a:pt x="669" y="642"/>
                </a:lnTo>
                <a:lnTo>
                  <a:pt x="666" y="640"/>
                </a:lnTo>
                <a:lnTo>
                  <a:pt x="663" y="639"/>
                </a:lnTo>
                <a:lnTo>
                  <a:pt x="659" y="639"/>
                </a:lnTo>
                <a:lnTo>
                  <a:pt x="626" y="639"/>
                </a:lnTo>
                <a:lnTo>
                  <a:pt x="575" y="422"/>
                </a:lnTo>
                <a:lnTo>
                  <a:pt x="575" y="422"/>
                </a:lnTo>
                <a:lnTo>
                  <a:pt x="576" y="419"/>
                </a:lnTo>
                <a:lnTo>
                  <a:pt x="578" y="417"/>
                </a:lnTo>
                <a:lnTo>
                  <a:pt x="578" y="412"/>
                </a:lnTo>
                <a:lnTo>
                  <a:pt x="578" y="313"/>
                </a:lnTo>
                <a:lnTo>
                  <a:pt x="578" y="313"/>
                </a:lnTo>
                <a:lnTo>
                  <a:pt x="576" y="308"/>
                </a:lnTo>
                <a:lnTo>
                  <a:pt x="574" y="304"/>
                </a:lnTo>
                <a:lnTo>
                  <a:pt x="569" y="300"/>
                </a:lnTo>
                <a:lnTo>
                  <a:pt x="562" y="299"/>
                </a:lnTo>
                <a:lnTo>
                  <a:pt x="562" y="124"/>
                </a:lnTo>
                <a:lnTo>
                  <a:pt x="562" y="124"/>
                </a:lnTo>
                <a:lnTo>
                  <a:pt x="569" y="123"/>
                </a:lnTo>
                <a:lnTo>
                  <a:pt x="574" y="120"/>
                </a:lnTo>
                <a:lnTo>
                  <a:pt x="576" y="115"/>
                </a:lnTo>
                <a:lnTo>
                  <a:pt x="578" y="110"/>
                </a:lnTo>
                <a:lnTo>
                  <a:pt x="578" y="12"/>
                </a:lnTo>
                <a:lnTo>
                  <a:pt x="578" y="12"/>
                </a:lnTo>
                <a:lnTo>
                  <a:pt x="578" y="7"/>
                </a:lnTo>
                <a:lnTo>
                  <a:pt x="575" y="3"/>
                </a:lnTo>
                <a:lnTo>
                  <a:pt x="573" y="1"/>
                </a:lnTo>
                <a:lnTo>
                  <a:pt x="568" y="0"/>
                </a:lnTo>
                <a:lnTo>
                  <a:pt x="494" y="0"/>
                </a:lnTo>
                <a:lnTo>
                  <a:pt x="494" y="0"/>
                </a:lnTo>
                <a:lnTo>
                  <a:pt x="488" y="1"/>
                </a:lnTo>
                <a:lnTo>
                  <a:pt x="483" y="3"/>
                </a:lnTo>
                <a:lnTo>
                  <a:pt x="478" y="7"/>
                </a:lnTo>
                <a:lnTo>
                  <a:pt x="476" y="10"/>
                </a:lnTo>
                <a:lnTo>
                  <a:pt x="476" y="12"/>
                </a:lnTo>
                <a:lnTo>
                  <a:pt x="476" y="110"/>
                </a:lnTo>
                <a:lnTo>
                  <a:pt x="476" y="110"/>
                </a:lnTo>
                <a:lnTo>
                  <a:pt x="476" y="114"/>
                </a:lnTo>
                <a:lnTo>
                  <a:pt x="478" y="115"/>
                </a:lnTo>
                <a:lnTo>
                  <a:pt x="483" y="119"/>
                </a:lnTo>
                <a:lnTo>
                  <a:pt x="488" y="121"/>
                </a:lnTo>
                <a:lnTo>
                  <a:pt x="494" y="121"/>
                </a:lnTo>
                <a:lnTo>
                  <a:pt x="491" y="121"/>
                </a:lnTo>
                <a:lnTo>
                  <a:pt x="491" y="304"/>
                </a:lnTo>
                <a:lnTo>
                  <a:pt x="494" y="304"/>
                </a:lnTo>
                <a:lnTo>
                  <a:pt x="494" y="304"/>
                </a:lnTo>
                <a:lnTo>
                  <a:pt x="488" y="304"/>
                </a:lnTo>
                <a:lnTo>
                  <a:pt x="483" y="305"/>
                </a:lnTo>
                <a:lnTo>
                  <a:pt x="478" y="309"/>
                </a:lnTo>
                <a:lnTo>
                  <a:pt x="476" y="310"/>
                </a:lnTo>
                <a:lnTo>
                  <a:pt x="476" y="313"/>
                </a:lnTo>
                <a:lnTo>
                  <a:pt x="476" y="412"/>
                </a:lnTo>
                <a:lnTo>
                  <a:pt x="476" y="412"/>
                </a:lnTo>
                <a:lnTo>
                  <a:pt x="476" y="414"/>
                </a:lnTo>
                <a:lnTo>
                  <a:pt x="479" y="417"/>
                </a:lnTo>
                <a:lnTo>
                  <a:pt x="483" y="422"/>
                </a:lnTo>
                <a:lnTo>
                  <a:pt x="436" y="639"/>
                </a:lnTo>
                <a:lnTo>
                  <a:pt x="405" y="639"/>
                </a:lnTo>
                <a:lnTo>
                  <a:pt x="405" y="639"/>
                </a:lnTo>
                <a:lnTo>
                  <a:pt x="401" y="639"/>
                </a:lnTo>
                <a:lnTo>
                  <a:pt x="396" y="640"/>
                </a:lnTo>
                <a:lnTo>
                  <a:pt x="389" y="645"/>
                </a:lnTo>
                <a:lnTo>
                  <a:pt x="385" y="649"/>
                </a:lnTo>
                <a:lnTo>
                  <a:pt x="382" y="652"/>
                </a:lnTo>
                <a:lnTo>
                  <a:pt x="380" y="656"/>
                </a:lnTo>
                <a:lnTo>
                  <a:pt x="380" y="660"/>
                </a:lnTo>
                <a:lnTo>
                  <a:pt x="380" y="694"/>
                </a:lnTo>
                <a:lnTo>
                  <a:pt x="381" y="694"/>
                </a:lnTo>
                <a:lnTo>
                  <a:pt x="381" y="694"/>
                </a:lnTo>
                <a:lnTo>
                  <a:pt x="376" y="694"/>
                </a:lnTo>
                <a:lnTo>
                  <a:pt x="372" y="696"/>
                </a:lnTo>
                <a:lnTo>
                  <a:pt x="365" y="701"/>
                </a:lnTo>
                <a:lnTo>
                  <a:pt x="360" y="707"/>
                </a:lnTo>
                <a:lnTo>
                  <a:pt x="357" y="711"/>
                </a:lnTo>
                <a:lnTo>
                  <a:pt x="356" y="715"/>
                </a:lnTo>
                <a:lnTo>
                  <a:pt x="356" y="715"/>
                </a:lnTo>
                <a:lnTo>
                  <a:pt x="355" y="711"/>
                </a:lnTo>
                <a:lnTo>
                  <a:pt x="353" y="707"/>
                </a:lnTo>
                <a:lnTo>
                  <a:pt x="347" y="701"/>
                </a:lnTo>
                <a:lnTo>
                  <a:pt x="341" y="696"/>
                </a:lnTo>
                <a:lnTo>
                  <a:pt x="336" y="694"/>
                </a:lnTo>
                <a:lnTo>
                  <a:pt x="332" y="694"/>
                </a:lnTo>
                <a:lnTo>
                  <a:pt x="324" y="694"/>
                </a:lnTo>
                <a:lnTo>
                  <a:pt x="324" y="660"/>
                </a:lnTo>
                <a:lnTo>
                  <a:pt x="324" y="660"/>
                </a:lnTo>
                <a:lnTo>
                  <a:pt x="323" y="652"/>
                </a:lnTo>
                <a:lnTo>
                  <a:pt x="320" y="645"/>
                </a:lnTo>
                <a:lnTo>
                  <a:pt x="318" y="642"/>
                </a:lnTo>
                <a:lnTo>
                  <a:pt x="315" y="640"/>
                </a:lnTo>
                <a:lnTo>
                  <a:pt x="311" y="639"/>
                </a:lnTo>
                <a:lnTo>
                  <a:pt x="308" y="639"/>
                </a:lnTo>
                <a:lnTo>
                  <a:pt x="275" y="639"/>
                </a:lnTo>
                <a:lnTo>
                  <a:pt x="224" y="422"/>
                </a:lnTo>
                <a:lnTo>
                  <a:pt x="224" y="422"/>
                </a:lnTo>
                <a:lnTo>
                  <a:pt x="226" y="417"/>
                </a:lnTo>
                <a:lnTo>
                  <a:pt x="228" y="412"/>
                </a:lnTo>
                <a:lnTo>
                  <a:pt x="228" y="313"/>
                </a:lnTo>
                <a:lnTo>
                  <a:pt x="228" y="313"/>
                </a:lnTo>
                <a:lnTo>
                  <a:pt x="226" y="308"/>
                </a:lnTo>
                <a:lnTo>
                  <a:pt x="224" y="304"/>
                </a:lnTo>
                <a:lnTo>
                  <a:pt x="219" y="300"/>
                </a:lnTo>
                <a:lnTo>
                  <a:pt x="213" y="299"/>
                </a:lnTo>
                <a:lnTo>
                  <a:pt x="213" y="124"/>
                </a:lnTo>
                <a:lnTo>
                  <a:pt x="213" y="124"/>
                </a:lnTo>
                <a:lnTo>
                  <a:pt x="219" y="123"/>
                </a:lnTo>
                <a:lnTo>
                  <a:pt x="224" y="120"/>
                </a:lnTo>
                <a:lnTo>
                  <a:pt x="226" y="115"/>
                </a:lnTo>
                <a:lnTo>
                  <a:pt x="228" y="110"/>
                </a:lnTo>
                <a:lnTo>
                  <a:pt x="228" y="12"/>
                </a:lnTo>
                <a:lnTo>
                  <a:pt x="228" y="12"/>
                </a:lnTo>
                <a:lnTo>
                  <a:pt x="226" y="7"/>
                </a:lnTo>
                <a:lnTo>
                  <a:pt x="224" y="3"/>
                </a:lnTo>
                <a:lnTo>
                  <a:pt x="220" y="1"/>
                </a:lnTo>
                <a:lnTo>
                  <a:pt x="215" y="0"/>
                </a:lnTo>
                <a:lnTo>
                  <a:pt x="143" y="0"/>
                </a:lnTo>
                <a:lnTo>
                  <a:pt x="143" y="0"/>
                </a:lnTo>
                <a:lnTo>
                  <a:pt x="136" y="1"/>
                </a:lnTo>
                <a:lnTo>
                  <a:pt x="131" y="3"/>
                </a:lnTo>
                <a:lnTo>
                  <a:pt x="128" y="7"/>
                </a:lnTo>
                <a:lnTo>
                  <a:pt x="126" y="10"/>
                </a:lnTo>
                <a:lnTo>
                  <a:pt x="126" y="12"/>
                </a:lnTo>
                <a:lnTo>
                  <a:pt x="126" y="110"/>
                </a:lnTo>
                <a:lnTo>
                  <a:pt x="126" y="110"/>
                </a:lnTo>
                <a:lnTo>
                  <a:pt x="126" y="114"/>
                </a:lnTo>
                <a:lnTo>
                  <a:pt x="128" y="115"/>
                </a:lnTo>
                <a:lnTo>
                  <a:pt x="131" y="119"/>
                </a:lnTo>
                <a:lnTo>
                  <a:pt x="136" y="121"/>
                </a:lnTo>
                <a:lnTo>
                  <a:pt x="143" y="121"/>
                </a:lnTo>
                <a:lnTo>
                  <a:pt x="136" y="121"/>
                </a:lnTo>
                <a:lnTo>
                  <a:pt x="136" y="304"/>
                </a:lnTo>
                <a:lnTo>
                  <a:pt x="143" y="304"/>
                </a:lnTo>
                <a:lnTo>
                  <a:pt x="143" y="304"/>
                </a:lnTo>
                <a:lnTo>
                  <a:pt x="136" y="304"/>
                </a:lnTo>
                <a:lnTo>
                  <a:pt x="131" y="305"/>
                </a:lnTo>
                <a:lnTo>
                  <a:pt x="128" y="309"/>
                </a:lnTo>
                <a:lnTo>
                  <a:pt x="126" y="310"/>
                </a:lnTo>
                <a:lnTo>
                  <a:pt x="126" y="313"/>
                </a:lnTo>
                <a:lnTo>
                  <a:pt x="126" y="412"/>
                </a:lnTo>
                <a:lnTo>
                  <a:pt x="126" y="412"/>
                </a:lnTo>
                <a:lnTo>
                  <a:pt x="126" y="414"/>
                </a:lnTo>
                <a:lnTo>
                  <a:pt x="128" y="417"/>
                </a:lnTo>
                <a:lnTo>
                  <a:pt x="131" y="422"/>
                </a:lnTo>
                <a:lnTo>
                  <a:pt x="83" y="639"/>
                </a:lnTo>
                <a:lnTo>
                  <a:pt x="54" y="639"/>
                </a:lnTo>
                <a:lnTo>
                  <a:pt x="54" y="639"/>
                </a:lnTo>
                <a:lnTo>
                  <a:pt x="49" y="639"/>
                </a:lnTo>
                <a:lnTo>
                  <a:pt x="45" y="640"/>
                </a:lnTo>
                <a:lnTo>
                  <a:pt x="41" y="642"/>
                </a:lnTo>
                <a:lnTo>
                  <a:pt x="38" y="645"/>
                </a:lnTo>
                <a:lnTo>
                  <a:pt x="34" y="649"/>
                </a:lnTo>
                <a:lnTo>
                  <a:pt x="32" y="652"/>
                </a:lnTo>
                <a:lnTo>
                  <a:pt x="30" y="656"/>
                </a:lnTo>
                <a:lnTo>
                  <a:pt x="30" y="660"/>
                </a:lnTo>
                <a:lnTo>
                  <a:pt x="30" y="694"/>
                </a:lnTo>
                <a:lnTo>
                  <a:pt x="30" y="694"/>
                </a:lnTo>
                <a:lnTo>
                  <a:pt x="30" y="694"/>
                </a:lnTo>
                <a:lnTo>
                  <a:pt x="24" y="694"/>
                </a:lnTo>
                <a:lnTo>
                  <a:pt x="19" y="697"/>
                </a:lnTo>
                <a:lnTo>
                  <a:pt x="13" y="698"/>
                </a:lnTo>
                <a:lnTo>
                  <a:pt x="10" y="702"/>
                </a:lnTo>
                <a:lnTo>
                  <a:pt x="6" y="706"/>
                </a:lnTo>
                <a:lnTo>
                  <a:pt x="2" y="710"/>
                </a:lnTo>
                <a:lnTo>
                  <a:pt x="1" y="715"/>
                </a:lnTo>
                <a:lnTo>
                  <a:pt x="0" y="720"/>
                </a:lnTo>
                <a:lnTo>
                  <a:pt x="0" y="907"/>
                </a:lnTo>
                <a:lnTo>
                  <a:pt x="1059" y="907"/>
                </a:lnTo>
                <a:lnTo>
                  <a:pt x="1059" y="720"/>
                </a:lnTo>
                <a:close/>
                <a:moveTo>
                  <a:pt x="136" y="639"/>
                </a:moveTo>
                <a:lnTo>
                  <a:pt x="100" y="639"/>
                </a:lnTo>
                <a:lnTo>
                  <a:pt x="107" y="603"/>
                </a:lnTo>
                <a:lnTo>
                  <a:pt x="136" y="603"/>
                </a:lnTo>
                <a:lnTo>
                  <a:pt x="136" y="639"/>
                </a:lnTo>
                <a:close/>
                <a:moveTo>
                  <a:pt x="136" y="593"/>
                </a:moveTo>
                <a:lnTo>
                  <a:pt x="110" y="593"/>
                </a:lnTo>
                <a:lnTo>
                  <a:pt x="126" y="522"/>
                </a:lnTo>
                <a:lnTo>
                  <a:pt x="136" y="522"/>
                </a:lnTo>
                <a:lnTo>
                  <a:pt x="136" y="593"/>
                </a:lnTo>
                <a:close/>
                <a:moveTo>
                  <a:pt x="136" y="507"/>
                </a:moveTo>
                <a:lnTo>
                  <a:pt x="129" y="507"/>
                </a:lnTo>
                <a:lnTo>
                  <a:pt x="136" y="447"/>
                </a:lnTo>
                <a:lnTo>
                  <a:pt x="136" y="507"/>
                </a:lnTo>
                <a:close/>
                <a:moveTo>
                  <a:pt x="213" y="456"/>
                </a:moveTo>
                <a:lnTo>
                  <a:pt x="229" y="507"/>
                </a:lnTo>
                <a:lnTo>
                  <a:pt x="213" y="507"/>
                </a:lnTo>
                <a:lnTo>
                  <a:pt x="213" y="456"/>
                </a:lnTo>
                <a:close/>
                <a:moveTo>
                  <a:pt x="213" y="522"/>
                </a:moveTo>
                <a:lnTo>
                  <a:pt x="232" y="522"/>
                </a:lnTo>
                <a:lnTo>
                  <a:pt x="248" y="593"/>
                </a:lnTo>
                <a:lnTo>
                  <a:pt x="213" y="593"/>
                </a:lnTo>
                <a:lnTo>
                  <a:pt x="213" y="522"/>
                </a:lnTo>
                <a:close/>
                <a:moveTo>
                  <a:pt x="213" y="639"/>
                </a:moveTo>
                <a:lnTo>
                  <a:pt x="213" y="603"/>
                </a:lnTo>
                <a:lnTo>
                  <a:pt x="251" y="603"/>
                </a:lnTo>
                <a:lnTo>
                  <a:pt x="258" y="639"/>
                </a:lnTo>
                <a:lnTo>
                  <a:pt x="213" y="639"/>
                </a:lnTo>
                <a:close/>
                <a:moveTo>
                  <a:pt x="491" y="639"/>
                </a:moveTo>
                <a:lnTo>
                  <a:pt x="451" y="639"/>
                </a:lnTo>
                <a:lnTo>
                  <a:pt x="460" y="603"/>
                </a:lnTo>
                <a:lnTo>
                  <a:pt x="491" y="603"/>
                </a:lnTo>
                <a:lnTo>
                  <a:pt x="491" y="639"/>
                </a:lnTo>
                <a:close/>
                <a:moveTo>
                  <a:pt x="491" y="593"/>
                </a:moveTo>
                <a:lnTo>
                  <a:pt x="462" y="593"/>
                </a:lnTo>
                <a:lnTo>
                  <a:pt x="478" y="522"/>
                </a:lnTo>
                <a:lnTo>
                  <a:pt x="491" y="522"/>
                </a:lnTo>
                <a:lnTo>
                  <a:pt x="491" y="593"/>
                </a:lnTo>
                <a:close/>
                <a:moveTo>
                  <a:pt x="491" y="507"/>
                </a:moveTo>
                <a:lnTo>
                  <a:pt x="480" y="507"/>
                </a:lnTo>
                <a:lnTo>
                  <a:pt x="491" y="447"/>
                </a:lnTo>
                <a:lnTo>
                  <a:pt x="491" y="507"/>
                </a:lnTo>
                <a:close/>
                <a:moveTo>
                  <a:pt x="562" y="456"/>
                </a:moveTo>
                <a:lnTo>
                  <a:pt x="581" y="507"/>
                </a:lnTo>
                <a:lnTo>
                  <a:pt x="562" y="507"/>
                </a:lnTo>
                <a:lnTo>
                  <a:pt x="562" y="456"/>
                </a:lnTo>
                <a:close/>
                <a:moveTo>
                  <a:pt x="562" y="522"/>
                </a:moveTo>
                <a:lnTo>
                  <a:pt x="584" y="522"/>
                </a:lnTo>
                <a:lnTo>
                  <a:pt x="599" y="593"/>
                </a:lnTo>
                <a:lnTo>
                  <a:pt x="562" y="593"/>
                </a:lnTo>
                <a:lnTo>
                  <a:pt x="562" y="522"/>
                </a:lnTo>
                <a:close/>
                <a:moveTo>
                  <a:pt x="562" y="639"/>
                </a:moveTo>
                <a:lnTo>
                  <a:pt x="562" y="603"/>
                </a:lnTo>
                <a:lnTo>
                  <a:pt x="602" y="603"/>
                </a:lnTo>
                <a:lnTo>
                  <a:pt x="611" y="639"/>
                </a:lnTo>
                <a:lnTo>
                  <a:pt x="562" y="639"/>
                </a:lnTo>
                <a:close/>
                <a:moveTo>
                  <a:pt x="841" y="639"/>
                </a:moveTo>
                <a:lnTo>
                  <a:pt x="802" y="639"/>
                </a:lnTo>
                <a:lnTo>
                  <a:pt x="811" y="603"/>
                </a:lnTo>
                <a:lnTo>
                  <a:pt x="841" y="603"/>
                </a:lnTo>
                <a:lnTo>
                  <a:pt x="841" y="639"/>
                </a:lnTo>
                <a:close/>
                <a:moveTo>
                  <a:pt x="841" y="593"/>
                </a:moveTo>
                <a:lnTo>
                  <a:pt x="814" y="593"/>
                </a:lnTo>
                <a:lnTo>
                  <a:pt x="829" y="522"/>
                </a:lnTo>
                <a:lnTo>
                  <a:pt x="841" y="522"/>
                </a:lnTo>
                <a:lnTo>
                  <a:pt x="841" y="593"/>
                </a:lnTo>
                <a:close/>
                <a:moveTo>
                  <a:pt x="841" y="507"/>
                </a:moveTo>
                <a:lnTo>
                  <a:pt x="831" y="507"/>
                </a:lnTo>
                <a:lnTo>
                  <a:pt x="841" y="447"/>
                </a:lnTo>
                <a:lnTo>
                  <a:pt x="841" y="507"/>
                </a:lnTo>
                <a:close/>
                <a:moveTo>
                  <a:pt x="917" y="456"/>
                </a:moveTo>
                <a:lnTo>
                  <a:pt x="933" y="507"/>
                </a:lnTo>
                <a:lnTo>
                  <a:pt x="917" y="507"/>
                </a:lnTo>
                <a:lnTo>
                  <a:pt x="917" y="456"/>
                </a:lnTo>
                <a:close/>
                <a:moveTo>
                  <a:pt x="917" y="522"/>
                </a:moveTo>
                <a:lnTo>
                  <a:pt x="935" y="522"/>
                </a:lnTo>
                <a:lnTo>
                  <a:pt x="950" y="593"/>
                </a:lnTo>
                <a:lnTo>
                  <a:pt x="917" y="593"/>
                </a:lnTo>
                <a:lnTo>
                  <a:pt x="917" y="522"/>
                </a:lnTo>
                <a:close/>
                <a:moveTo>
                  <a:pt x="917" y="639"/>
                </a:moveTo>
                <a:lnTo>
                  <a:pt x="917" y="603"/>
                </a:lnTo>
                <a:lnTo>
                  <a:pt x="953" y="603"/>
                </a:lnTo>
                <a:lnTo>
                  <a:pt x="962" y="639"/>
                </a:lnTo>
                <a:lnTo>
                  <a:pt x="917" y="639"/>
                </a:lnTo>
                <a:close/>
                <a:moveTo>
                  <a:pt x="1059" y="947"/>
                </a:moveTo>
                <a:lnTo>
                  <a:pt x="1059" y="947"/>
                </a:lnTo>
                <a:lnTo>
                  <a:pt x="1059" y="943"/>
                </a:lnTo>
                <a:lnTo>
                  <a:pt x="1058" y="939"/>
                </a:lnTo>
                <a:lnTo>
                  <a:pt x="1054" y="933"/>
                </a:lnTo>
                <a:lnTo>
                  <a:pt x="1048" y="929"/>
                </a:lnTo>
                <a:lnTo>
                  <a:pt x="1044" y="928"/>
                </a:lnTo>
                <a:lnTo>
                  <a:pt x="1040" y="928"/>
                </a:lnTo>
                <a:lnTo>
                  <a:pt x="19" y="928"/>
                </a:lnTo>
                <a:lnTo>
                  <a:pt x="19" y="928"/>
                </a:lnTo>
                <a:lnTo>
                  <a:pt x="15" y="928"/>
                </a:lnTo>
                <a:lnTo>
                  <a:pt x="11" y="929"/>
                </a:lnTo>
                <a:lnTo>
                  <a:pt x="5" y="933"/>
                </a:lnTo>
                <a:lnTo>
                  <a:pt x="1" y="939"/>
                </a:lnTo>
                <a:lnTo>
                  <a:pt x="0" y="943"/>
                </a:lnTo>
                <a:lnTo>
                  <a:pt x="0" y="947"/>
                </a:lnTo>
                <a:lnTo>
                  <a:pt x="0" y="954"/>
                </a:lnTo>
                <a:lnTo>
                  <a:pt x="0" y="954"/>
                </a:lnTo>
                <a:lnTo>
                  <a:pt x="0" y="958"/>
                </a:lnTo>
                <a:lnTo>
                  <a:pt x="1" y="962"/>
                </a:lnTo>
                <a:lnTo>
                  <a:pt x="5" y="968"/>
                </a:lnTo>
                <a:lnTo>
                  <a:pt x="11" y="972"/>
                </a:lnTo>
                <a:lnTo>
                  <a:pt x="15" y="973"/>
                </a:lnTo>
                <a:lnTo>
                  <a:pt x="19" y="973"/>
                </a:lnTo>
                <a:lnTo>
                  <a:pt x="1040" y="973"/>
                </a:lnTo>
                <a:lnTo>
                  <a:pt x="1040" y="973"/>
                </a:lnTo>
                <a:lnTo>
                  <a:pt x="1044" y="973"/>
                </a:lnTo>
                <a:lnTo>
                  <a:pt x="1048" y="972"/>
                </a:lnTo>
                <a:lnTo>
                  <a:pt x="1054" y="968"/>
                </a:lnTo>
                <a:lnTo>
                  <a:pt x="1058" y="962"/>
                </a:lnTo>
                <a:lnTo>
                  <a:pt x="1059" y="958"/>
                </a:lnTo>
                <a:lnTo>
                  <a:pt x="1059" y="954"/>
                </a:lnTo>
                <a:lnTo>
                  <a:pt x="1059" y="947"/>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a:solidFill>
                <a:schemeClr val="bg1"/>
              </a:solidFill>
            </a:endParaRPr>
          </a:p>
        </p:txBody>
      </p:sp>
      <p:pic>
        <p:nvPicPr>
          <p:cNvPr id="234" name="Graphic 321">
            <a:extLst>
              <a:ext uri="{FF2B5EF4-FFF2-40B4-BE49-F238E27FC236}">
                <a16:creationId xmlns:a16="http://schemas.microsoft.com/office/drawing/2014/main" id="{991DB081-E18E-CE36-78AE-F57FB13F2BE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435583" y="3571101"/>
            <a:ext cx="157163" cy="157163"/>
          </a:xfrm>
          <a:prstGeom prst="rect">
            <a:avLst/>
          </a:prstGeom>
        </p:spPr>
      </p:pic>
      <p:sp>
        <p:nvSpPr>
          <p:cNvPr id="235" name="Source">
            <a:extLst>
              <a:ext uri="{FF2B5EF4-FFF2-40B4-BE49-F238E27FC236}">
                <a16:creationId xmlns:a16="http://schemas.microsoft.com/office/drawing/2014/main" id="{EE1DFEDB-4160-4C3C-566D-B6FFD2A7B10C}"/>
              </a:ext>
            </a:extLst>
          </p:cNvPr>
          <p:cNvSpPr txBox="1"/>
          <p:nvPr/>
        </p:nvSpPr>
        <p:spPr>
          <a:xfrm>
            <a:off x="7640493" y="1349300"/>
            <a:ext cx="1327286"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dirty="0">
                <a:sym typeface="+mn-lt"/>
              </a:rPr>
              <a:t>Source: Desk research, Roland Berger</a:t>
            </a:r>
          </a:p>
        </p:txBody>
      </p:sp>
      <p:cxnSp>
        <p:nvCxnSpPr>
          <p:cNvPr id="236" name="Connector: Elbow 1">
            <a:extLst>
              <a:ext uri="{FF2B5EF4-FFF2-40B4-BE49-F238E27FC236}">
                <a16:creationId xmlns:a16="http://schemas.microsoft.com/office/drawing/2014/main" id="{9E0D1401-021A-5D4B-6D68-746262029738}"/>
              </a:ext>
            </a:extLst>
          </p:cNvPr>
          <p:cNvCxnSpPr>
            <a:cxnSpLocks/>
            <a:stCxn id="216" idx="3"/>
          </p:cNvCxnSpPr>
          <p:nvPr/>
        </p:nvCxnSpPr>
        <p:spPr>
          <a:xfrm>
            <a:off x="4438229" y="1980328"/>
            <a:ext cx="108437" cy="261952"/>
          </a:xfrm>
          <a:prstGeom prst="bentConnector2">
            <a:avLst/>
          </a:prstGeom>
          <a:ln w="6350">
            <a:solidFill>
              <a:schemeClr val="accent3"/>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37" name="Rechteck 12">
            <a:extLst>
              <a:ext uri="{FF2B5EF4-FFF2-40B4-BE49-F238E27FC236}">
                <a16:creationId xmlns:a16="http://schemas.microsoft.com/office/drawing/2014/main" id="{A5ABD242-81A2-3EB2-E114-F09AFA40F00D}"/>
              </a:ext>
            </a:extLst>
          </p:cNvPr>
          <p:cNvSpPr/>
          <p:nvPr/>
        </p:nvSpPr>
        <p:spPr>
          <a:xfrm>
            <a:off x="220345" y="3647005"/>
            <a:ext cx="1257544" cy="851484"/>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900" err="1">
              <a:solidFill>
                <a:schemeClr val="tx1"/>
              </a:solidFill>
              <a:sym typeface="+mn-lt"/>
            </a:endParaRPr>
          </a:p>
        </p:txBody>
      </p:sp>
      <p:sp>
        <p:nvSpPr>
          <p:cNvPr id="238" name="RBContent12">
            <a:extLst>
              <a:ext uri="{FF2B5EF4-FFF2-40B4-BE49-F238E27FC236}">
                <a16:creationId xmlns:a16="http://schemas.microsoft.com/office/drawing/2014/main" id="{8CB73389-BF6E-51EA-97EE-4D292086215A}"/>
              </a:ext>
            </a:extLst>
          </p:cNvPr>
          <p:cNvSpPr txBox="1">
            <a:spLocks/>
          </p:cNvSpPr>
          <p:nvPr/>
        </p:nvSpPr>
        <p:spPr>
          <a:xfrm>
            <a:off x="279199" y="3867725"/>
            <a:ext cx="1188000" cy="572464"/>
          </a:xfrm>
          <a:prstGeom prst="rect">
            <a:avLst/>
          </a:prstGeom>
          <a:noFill/>
          <a:ln w="9525">
            <a:noFill/>
          </a:ln>
        </p:spPr>
        <p:txBody>
          <a:bodyPr vert="horz" wrap="square" lIns="0" tIns="0" rIns="0" bIns="0" rtlCol="0">
            <a:spAutoFit/>
          </a:bodyPr>
          <a:lstStyle/>
          <a:p>
            <a:pPr marL="0" lvl="1">
              <a:lnSpc>
                <a:spcPct val="90000"/>
              </a:lnSpc>
              <a:spcBef>
                <a:spcPts val="300"/>
              </a:spcBef>
              <a:buSzPct val="100000"/>
            </a:pPr>
            <a:r>
              <a:rPr lang="en-US" sz="900" b="1" err="1">
                <a:sym typeface="+mn-lt"/>
              </a:rPr>
              <a:t>P82</a:t>
            </a:r>
            <a:r>
              <a:rPr lang="en-US" sz="900" b="1">
                <a:sym typeface="+mn-lt"/>
              </a:rPr>
              <a:t> FPSO</a:t>
            </a:r>
          </a:p>
          <a:p>
            <a:pPr marL="0" lvl="1">
              <a:lnSpc>
                <a:spcPct val="90000"/>
              </a:lnSpc>
              <a:spcBef>
                <a:spcPts val="300"/>
              </a:spcBef>
              <a:buSzPct val="100000"/>
            </a:pPr>
            <a:r>
              <a:rPr lang="en-US" sz="800">
                <a:sym typeface="+mn-lt"/>
              </a:rPr>
              <a:t>Capex: USD 3 bn</a:t>
            </a:r>
          </a:p>
          <a:p>
            <a:pPr marL="0" lvl="1">
              <a:lnSpc>
                <a:spcPct val="90000"/>
              </a:lnSpc>
              <a:spcBef>
                <a:spcPts val="300"/>
              </a:spcBef>
              <a:buSzPct val="100000"/>
            </a:pPr>
            <a:r>
              <a:rPr lang="en-US" sz="800">
                <a:sym typeface="+mn-lt"/>
              </a:rPr>
              <a:t>Company: Petrobras</a:t>
            </a:r>
          </a:p>
          <a:p>
            <a:pPr marL="0" lvl="1">
              <a:lnSpc>
                <a:spcPct val="90000"/>
              </a:lnSpc>
              <a:spcBef>
                <a:spcPts val="300"/>
              </a:spcBef>
              <a:buSzPct val="100000"/>
            </a:pPr>
            <a:r>
              <a:rPr lang="en-US" sz="800">
                <a:sym typeface="+mn-lt"/>
              </a:rPr>
              <a:t>Completion: 2026</a:t>
            </a:r>
          </a:p>
        </p:txBody>
      </p:sp>
      <p:pic>
        <p:nvPicPr>
          <p:cNvPr id="239" name="Graphic 57">
            <a:extLst>
              <a:ext uri="{FF2B5EF4-FFF2-40B4-BE49-F238E27FC236}">
                <a16:creationId xmlns:a16="http://schemas.microsoft.com/office/drawing/2014/main" id="{D6835DDD-C36D-AE96-D64A-1CC5AD45D0C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35203" y="3679234"/>
            <a:ext cx="157163" cy="157163"/>
          </a:xfrm>
          <a:prstGeom prst="rect">
            <a:avLst/>
          </a:prstGeom>
        </p:spPr>
      </p:pic>
      <p:sp>
        <p:nvSpPr>
          <p:cNvPr id="240" name="Freeform: Shape 15">
            <a:extLst>
              <a:ext uri="{FF2B5EF4-FFF2-40B4-BE49-F238E27FC236}">
                <a16:creationId xmlns:a16="http://schemas.microsoft.com/office/drawing/2014/main" id="{35CF3F94-A14D-8F60-B271-99939A492A54}"/>
              </a:ext>
            </a:extLst>
          </p:cNvPr>
          <p:cNvSpPr>
            <a:spLocks noChangeAspect="1"/>
          </p:cNvSpPr>
          <p:nvPr/>
        </p:nvSpPr>
        <p:spPr>
          <a:xfrm flipH="1">
            <a:off x="1248188" y="3677956"/>
            <a:ext cx="183586" cy="152459"/>
          </a:xfrm>
          <a:custGeom>
            <a:avLst/>
            <a:gdLst>
              <a:gd name="connsiteX0" fmla="*/ 979265 w 3705328"/>
              <a:gd name="connsiteY0" fmla="*/ 2739609 h 3077059"/>
              <a:gd name="connsiteX1" fmla="*/ 1270399 w 3705328"/>
              <a:gd name="connsiteY1" fmla="*/ 2858709 h 3077059"/>
              <a:gd name="connsiteX2" fmla="*/ 1654165 w 3705328"/>
              <a:gd name="connsiteY2" fmla="*/ 2858709 h 3077059"/>
              <a:gd name="connsiteX3" fmla="*/ 2236431 w 3705328"/>
              <a:gd name="connsiteY3" fmla="*/ 2858709 h 3077059"/>
              <a:gd name="connsiteX4" fmla="*/ 2620197 w 3705328"/>
              <a:gd name="connsiteY4" fmla="*/ 2858709 h 3077059"/>
              <a:gd name="connsiteX5" fmla="*/ 3202463 w 3705328"/>
              <a:gd name="connsiteY5" fmla="*/ 2858709 h 3077059"/>
              <a:gd name="connsiteX6" fmla="*/ 3586229 w 3705328"/>
              <a:gd name="connsiteY6" fmla="*/ 2858709 h 3077059"/>
              <a:gd name="connsiteX7" fmla="*/ 3685479 w 3705328"/>
              <a:gd name="connsiteY7" fmla="*/ 2858709 h 3077059"/>
              <a:gd name="connsiteX8" fmla="*/ 3685479 w 3705328"/>
              <a:gd name="connsiteY8" fmla="*/ 2957959 h 3077059"/>
              <a:gd name="connsiteX9" fmla="*/ 3103213 w 3705328"/>
              <a:gd name="connsiteY9" fmla="*/ 2957959 h 3077059"/>
              <a:gd name="connsiteX10" fmla="*/ 2719447 w 3705328"/>
              <a:gd name="connsiteY10" fmla="*/ 2957959 h 3077059"/>
              <a:gd name="connsiteX11" fmla="*/ 2137181 w 3705328"/>
              <a:gd name="connsiteY11" fmla="*/ 2957959 h 3077059"/>
              <a:gd name="connsiteX12" fmla="*/ 1753415 w 3705328"/>
              <a:gd name="connsiteY12" fmla="*/ 2957959 h 3077059"/>
              <a:gd name="connsiteX13" fmla="*/ 1171149 w 3705328"/>
              <a:gd name="connsiteY13" fmla="*/ 2957959 h 3077059"/>
              <a:gd name="connsiteX14" fmla="*/ 787382 w 3705328"/>
              <a:gd name="connsiteY14" fmla="*/ 2957959 h 3077059"/>
              <a:gd name="connsiteX15" fmla="*/ 205116 w 3705328"/>
              <a:gd name="connsiteY15" fmla="*/ 2957959 h 3077059"/>
              <a:gd name="connsiteX16" fmla="*/ 205116 w 3705328"/>
              <a:gd name="connsiteY16" fmla="*/ 2858709 h 3077059"/>
              <a:gd name="connsiteX17" fmla="*/ 304366 w 3705328"/>
              <a:gd name="connsiteY17" fmla="*/ 2858709 h 3077059"/>
              <a:gd name="connsiteX18" fmla="*/ 688132 w 3705328"/>
              <a:gd name="connsiteY18" fmla="*/ 2858709 h 3077059"/>
              <a:gd name="connsiteX19" fmla="*/ 979265 w 3705328"/>
              <a:gd name="connsiteY19" fmla="*/ 2739609 h 3077059"/>
              <a:gd name="connsiteX20" fmla="*/ 979265 w 3705328"/>
              <a:gd name="connsiteY20" fmla="*/ 2382309 h 3077059"/>
              <a:gd name="connsiteX21" fmla="*/ 1270399 w 3705328"/>
              <a:gd name="connsiteY21" fmla="*/ 2501409 h 3077059"/>
              <a:gd name="connsiteX22" fmla="*/ 1654165 w 3705328"/>
              <a:gd name="connsiteY22" fmla="*/ 2501409 h 3077059"/>
              <a:gd name="connsiteX23" fmla="*/ 2236431 w 3705328"/>
              <a:gd name="connsiteY23" fmla="*/ 2501409 h 3077059"/>
              <a:gd name="connsiteX24" fmla="*/ 2428314 w 3705328"/>
              <a:gd name="connsiteY24" fmla="*/ 2580809 h 3077059"/>
              <a:gd name="connsiteX25" fmla="*/ 2620197 w 3705328"/>
              <a:gd name="connsiteY25" fmla="*/ 2501409 h 3077059"/>
              <a:gd name="connsiteX26" fmla="*/ 3202463 w 3705328"/>
              <a:gd name="connsiteY26" fmla="*/ 2501409 h 3077059"/>
              <a:gd name="connsiteX27" fmla="*/ 3586229 w 3705328"/>
              <a:gd name="connsiteY27" fmla="*/ 2501409 h 3077059"/>
              <a:gd name="connsiteX28" fmla="*/ 3685479 w 3705328"/>
              <a:gd name="connsiteY28" fmla="*/ 2501409 h 3077059"/>
              <a:gd name="connsiteX29" fmla="*/ 3685479 w 3705328"/>
              <a:gd name="connsiteY29" fmla="*/ 2600659 h 3077059"/>
              <a:gd name="connsiteX30" fmla="*/ 3103213 w 3705328"/>
              <a:gd name="connsiteY30" fmla="*/ 2600659 h 3077059"/>
              <a:gd name="connsiteX31" fmla="*/ 2719447 w 3705328"/>
              <a:gd name="connsiteY31" fmla="*/ 2600659 h 3077059"/>
              <a:gd name="connsiteX32" fmla="*/ 2428314 w 3705328"/>
              <a:gd name="connsiteY32" fmla="*/ 2719759 h 3077059"/>
              <a:gd name="connsiteX33" fmla="*/ 2137181 w 3705328"/>
              <a:gd name="connsiteY33" fmla="*/ 2600659 h 3077059"/>
              <a:gd name="connsiteX34" fmla="*/ 1753415 w 3705328"/>
              <a:gd name="connsiteY34" fmla="*/ 2600659 h 3077059"/>
              <a:gd name="connsiteX35" fmla="*/ 1171149 w 3705328"/>
              <a:gd name="connsiteY35" fmla="*/ 2600659 h 3077059"/>
              <a:gd name="connsiteX36" fmla="*/ 787382 w 3705328"/>
              <a:gd name="connsiteY36" fmla="*/ 2600659 h 3077059"/>
              <a:gd name="connsiteX37" fmla="*/ 205116 w 3705328"/>
              <a:gd name="connsiteY37" fmla="*/ 2600659 h 3077059"/>
              <a:gd name="connsiteX38" fmla="*/ 205116 w 3705328"/>
              <a:gd name="connsiteY38" fmla="*/ 2501409 h 3077059"/>
              <a:gd name="connsiteX39" fmla="*/ 304366 w 3705328"/>
              <a:gd name="connsiteY39" fmla="*/ 2501409 h 3077059"/>
              <a:gd name="connsiteX40" fmla="*/ 688132 w 3705328"/>
              <a:gd name="connsiteY40" fmla="*/ 2501409 h 3077059"/>
              <a:gd name="connsiteX41" fmla="*/ 979265 w 3705328"/>
              <a:gd name="connsiteY41" fmla="*/ 2382309 h 3077059"/>
              <a:gd name="connsiteX42" fmla="*/ 0 w 3705328"/>
              <a:gd name="connsiteY42" fmla="*/ 1508910 h 3077059"/>
              <a:gd name="connsiteX43" fmla="*/ 3619312 w 3705328"/>
              <a:gd name="connsiteY43" fmla="*/ 1508910 h 3077059"/>
              <a:gd name="connsiteX44" fmla="*/ 3427428 w 3705328"/>
              <a:gd name="connsiteY44" fmla="*/ 2435243 h 3077059"/>
              <a:gd name="connsiteX45" fmla="*/ 3295095 w 3705328"/>
              <a:gd name="connsiteY45" fmla="*/ 2402160 h 3077059"/>
              <a:gd name="connsiteX46" fmla="*/ 2520946 w 3705328"/>
              <a:gd name="connsiteY46" fmla="*/ 2402160 h 3077059"/>
              <a:gd name="connsiteX47" fmla="*/ 2428313 w 3705328"/>
              <a:gd name="connsiteY47" fmla="*/ 2441860 h 3077059"/>
              <a:gd name="connsiteX48" fmla="*/ 2335680 w 3705328"/>
              <a:gd name="connsiteY48" fmla="*/ 2402160 h 3077059"/>
              <a:gd name="connsiteX49" fmla="*/ 1561531 w 3705328"/>
              <a:gd name="connsiteY49" fmla="*/ 2402160 h 3077059"/>
              <a:gd name="connsiteX50" fmla="*/ 1369648 w 3705328"/>
              <a:gd name="connsiteY50" fmla="*/ 2402160 h 3077059"/>
              <a:gd name="connsiteX51" fmla="*/ 595499 w 3705328"/>
              <a:gd name="connsiteY51" fmla="*/ 2402160 h 3077059"/>
              <a:gd name="connsiteX52" fmla="*/ 1435815 w 3705328"/>
              <a:gd name="connsiteY52" fmla="*/ 1078828 h 3077059"/>
              <a:gd name="connsiteX53" fmla="*/ 2461398 w 3705328"/>
              <a:gd name="connsiteY53" fmla="*/ 1078828 h 3077059"/>
              <a:gd name="connsiteX54" fmla="*/ 2461398 w 3705328"/>
              <a:gd name="connsiteY54" fmla="*/ 1369962 h 3077059"/>
              <a:gd name="connsiteX55" fmla="*/ 1435815 w 3705328"/>
              <a:gd name="connsiteY55" fmla="*/ 1369962 h 3077059"/>
              <a:gd name="connsiteX56" fmla="*/ 1733564 w 3705328"/>
              <a:gd name="connsiteY56" fmla="*/ 675212 h 3077059"/>
              <a:gd name="connsiteX57" fmla="*/ 2163648 w 3705328"/>
              <a:gd name="connsiteY57" fmla="*/ 675212 h 3077059"/>
              <a:gd name="connsiteX58" fmla="*/ 2163648 w 3705328"/>
              <a:gd name="connsiteY58" fmla="*/ 939879 h 3077059"/>
              <a:gd name="connsiteX59" fmla="*/ 1733564 w 3705328"/>
              <a:gd name="connsiteY59" fmla="*/ 939879 h 3077059"/>
              <a:gd name="connsiteX60" fmla="*/ 2707040 w 3705328"/>
              <a:gd name="connsiteY60" fmla="*/ 313 h 3077059"/>
              <a:gd name="connsiteX61" fmla="*/ 2759146 w 3705328"/>
              <a:gd name="connsiteY61" fmla="*/ 13546 h 3077059"/>
              <a:gd name="connsiteX62" fmla="*/ 2778996 w 3705328"/>
              <a:gd name="connsiteY62" fmla="*/ 99562 h 3077059"/>
              <a:gd name="connsiteX63" fmla="*/ 2329063 w 3705328"/>
              <a:gd name="connsiteY63" fmla="*/ 397312 h 3077059"/>
              <a:gd name="connsiteX64" fmla="*/ 2057780 w 3705328"/>
              <a:gd name="connsiteY64" fmla="*/ 536262 h 3077059"/>
              <a:gd name="connsiteX65" fmla="*/ 1905597 w 3705328"/>
              <a:gd name="connsiteY65" fmla="*/ 536262 h 3077059"/>
              <a:gd name="connsiteX66" fmla="*/ 2302596 w 3705328"/>
              <a:gd name="connsiteY66" fmla="*/ 258362 h 3077059"/>
              <a:gd name="connsiteX67" fmla="*/ 2640046 w 3705328"/>
              <a:gd name="connsiteY67" fmla="*/ 53246 h 3077059"/>
              <a:gd name="connsiteX68" fmla="*/ 2659896 w 3705328"/>
              <a:gd name="connsiteY68" fmla="*/ 26779 h 3077059"/>
              <a:gd name="connsiteX69" fmla="*/ 2707040 w 3705328"/>
              <a:gd name="connsiteY69" fmla="*/ 313 h 307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705328" h="3077059">
                <a:moveTo>
                  <a:pt x="979265" y="2739609"/>
                </a:moveTo>
                <a:cubicBezTo>
                  <a:pt x="1085132" y="2739609"/>
                  <a:pt x="1190999" y="2779309"/>
                  <a:pt x="1270399" y="2858709"/>
                </a:cubicBezTo>
                <a:cubicBezTo>
                  <a:pt x="1369649" y="2964575"/>
                  <a:pt x="1548298" y="2964575"/>
                  <a:pt x="1654165" y="2858709"/>
                </a:cubicBezTo>
                <a:cubicBezTo>
                  <a:pt x="1812965" y="2699909"/>
                  <a:pt x="2077631" y="2699909"/>
                  <a:pt x="2236431" y="2858709"/>
                </a:cubicBezTo>
                <a:cubicBezTo>
                  <a:pt x="2335681" y="2964575"/>
                  <a:pt x="2514330" y="2964575"/>
                  <a:pt x="2620197" y="2858709"/>
                </a:cubicBezTo>
                <a:cubicBezTo>
                  <a:pt x="2778997" y="2699909"/>
                  <a:pt x="3043663" y="2699909"/>
                  <a:pt x="3202463" y="2858709"/>
                </a:cubicBezTo>
                <a:cubicBezTo>
                  <a:pt x="3301713" y="2964575"/>
                  <a:pt x="3480362" y="2964575"/>
                  <a:pt x="3586229" y="2858709"/>
                </a:cubicBezTo>
                <a:cubicBezTo>
                  <a:pt x="3612695" y="2825626"/>
                  <a:pt x="3659012" y="2825626"/>
                  <a:pt x="3685479" y="2858709"/>
                </a:cubicBezTo>
                <a:cubicBezTo>
                  <a:pt x="3711945" y="2885176"/>
                  <a:pt x="3711945" y="2931492"/>
                  <a:pt x="3685479" y="2957959"/>
                </a:cubicBezTo>
                <a:cubicBezTo>
                  <a:pt x="3520062" y="3116759"/>
                  <a:pt x="3262013" y="3116759"/>
                  <a:pt x="3103213" y="2957959"/>
                </a:cubicBezTo>
                <a:cubicBezTo>
                  <a:pt x="2997346" y="2852092"/>
                  <a:pt x="2825313" y="2852092"/>
                  <a:pt x="2719447" y="2957959"/>
                </a:cubicBezTo>
                <a:cubicBezTo>
                  <a:pt x="2554030" y="3116759"/>
                  <a:pt x="2295981" y="3116759"/>
                  <a:pt x="2137181" y="2957959"/>
                </a:cubicBezTo>
                <a:cubicBezTo>
                  <a:pt x="2031314" y="2852092"/>
                  <a:pt x="1859281" y="2852092"/>
                  <a:pt x="1753415" y="2957959"/>
                </a:cubicBezTo>
                <a:cubicBezTo>
                  <a:pt x="1587998" y="3116759"/>
                  <a:pt x="1329949" y="3116759"/>
                  <a:pt x="1171149" y="2957959"/>
                </a:cubicBezTo>
                <a:cubicBezTo>
                  <a:pt x="1065281" y="2852092"/>
                  <a:pt x="893248" y="2852092"/>
                  <a:pt x="787382" y="2957959"/>
                </a:cubicBezTo>
                <a:cubicBezTo>
                  <a:pt x="621965" y="3116759"/>
                  <a:pt x="363916" y="3116759"/>
                  <a:pt x="205116" y="2957959"/>
                </a:cubicBezTo>
                <a:cubicBezTo>
                  <a:pt x="178649" y="2931492"/>
                  <a:pt x="178649" y="2885176"/>
                  <a:pt x="205116" y="2858709"/>
                </a:cubicBezTo>
                <a:cubicBezTo>
                  <a:pt x="231583" y="2832242"/>
                  <a:pt x="277899" y="2832242"/>
                  <a:pt x="304366" y="2858709"/>
                </a:cubicBezTo>
                <a:cubicBezTo>
                  <a:pt x="403616" y="2964575"/>
                  <a:pt x="582265" y="2964575"/>
                  <a:pt x="688132" y="2858709"/>
                </a:cubicBezTo>
                <a:cubicBezTo>
                  <a:pt x="767532" y="2779309"/>
                  <a:pt x="873399" y="2739609"/>
                  <a:pt x="979265" y="2739609"/>
                </a:cubicBezTo>
                <a:close/>
                <a:moveTo>
                  <a:pt x="979265" y="2382309"/>
                </a:moveTo>
                <a:cubicBezTo>
                  <a:pt x="1085132" y="2382309"/>
                  <a:pt x="1190999" y="2422009"/>
                  <a:pt x="1270399" y="2501409"/>
                </a:cubicBezTo>
                <a:cubicBezTo>
                  <a:pt x="1369649" y="2607275"/>
                  <a:pt x="1548298" y="2607275"/>
                  <a:pt x="1654165" y="2501409"/>
                </a:cubicBezTo>
                <a:cubicBezTo>
                  <a:pt x="1812965" y="2342609"/>
                  <a:pt x="2077631" y="2342609"/>
                  <a:pt x="2236431" y="2501409"/>
                </a:cubicBezTo>
                <a:cubicBezTo>
                  <a:pt x="2289364" y="2554342"/>
                  <a:pt x="2355530" y="2580809"/>
                  <a:pt x="2428314" y="2580809"/>
                </a:cubicBezTo>
                <a:cubicBezTo>
                  <a:pt x="2501097" y="2580809"/>
                  <a:pt x="2567264" y="2554342"/>
                  <a:pt x="2620197" y="2501409"/>
                </a:cubicBezTo>
                <a:cubicBezTo>
                  <a:pt x="2778997" y="2342609"/>
                  <a:pt x="3043663" y="2342609"/>
                  <a:pt x="3202463" y="2501409"/>
                </a:cubicBezTo>
                <a:cubicBezTo>
                  <a:pt x="3308329" y="2600659"/>
                  <a:pt x="3486979" y="2600659"/>
                  <a:pt x="3586229" y="2501409"/>
                </a:cubicBezTo>
                <a:cubicBezTo>
                  <a:pt x="3612695" y="2474942"/>
                  <a:pt x="3659012" y="2474942"/>
                  <a:pt x="3685479" y="2501409"/>
                </a:cubicBezTo>
                <a:cubicBezTo>
                  <a:pt x="3711945" y="2527875"/>
                  <a:pt x="3711945" y="2574192"/>
                  <a:pt x="3685479" y="2600659"/>
                </a:cubicBezTo>
                <a:cubicBezTo>
                  <a:pt x="3526679" y="2759458"/>
                  <a:pt x="3262013" y="2759458"/>
                  <a:pt x="3103213" y="2600659"/>
                </a:cubicBezTo>
                <a:cubicBezTo>
                  <a:pt x="2997346" y="2494792"/>
                  <a:pt x="2825313" y="2494792"/>
                  <a:pt x="2719447" y="2600659"/>
                </a:cubicBezTo>
                <a:cubicBezTo>
                  <a:pt x="2640047" y="2680058"/>
                  <a:pt x="2540797" y="2719759"/>
                  <a:pt x="2428314" y="2719759"/>
                </a:cubicBezTo>
                <a:cubicBezTo>
                  <a:pt x="2315831" y="2719759"/>
                  <a:pt x="2216581" y="2680058"/>
                  <a:pt x="2137181" y="2600659"/>
                </a:cubicBezTo>
                <a:cubicBezTo>
                  <a:pt x="2031314" y="2494792"/>
                  <a:pt x="1859281" y="2494792"/>
                  <a:pt x="1753415" y="2600659"/>
                </a:cubicBezTo>
                <a:cubicBezTo>
                  <a:pt x="1594615" y="2759458"/>
                  <a:pt x="1329949" y="2759458"/>
                  <a:pt x="1171149" y="2600659"/>
                </a:cubicBezTo>
                <a:cubicBezTo>
                  <a:pt x="1065281" y="2494792"/>
                  <a:pt x="893248" y="2494792"/>
                  <a:pt x="787382" y="2600659"/>
                </a:cubicBezTo>
                <a:cubicBezTo>
                  <a:pt x="628582" y="2759458"/>
                  <a:pt x="363916" y="2759458"/>
                  <a:pt x="205116" y="2600659"/>
                </a:cubicBezTo>
                <a:cubicBezTo>
                  <a:pt x="178649" y="2574192"/>
                  <a:pt x="178649" y="2527875"/>
                  <a:pt x="205116" y="2501409"/>
                </a:cubicBezTo>
                <a:cubicBezTo>
                  <a:pt x="231583" y="2474942"/>
                  <a:pt x="277899" y="2474942"/>
                  <a:pt x="304366" y="2501409"/>
                </a:cubicBezTo>
                <a:cubicBezTo>
                  <a:pt x="410232" y="2607275"/>
                  <a:pt x="582265" y="2607275"/>
                  <a:pt x="688132" y="2501409"/>
                </a:cubicBezTo>
                <a:cubicBezTo>
                  <a:pt x="767532" y="2422009"/>
                  <a:pt x="873399" y="2382309"/>
                  <a:pt x="979265" y="2382309"/>
                </a:cubicBezTo>
                <a:close/>
                <a:moveTo>
                  <a:pt x="0" y="1508910"/>
                </a:moveTo>
                <a:lnTo>
                  <a:pt x="3619312" y="1508910"/>
                </a:lnTo>
                <a:lnTo>
                  <a:pt x="3427428" y="2435243"/>
                </a:lnTo>
                <a:cubicBezTo>
                  <a:pt x="3374495" y="2448476"/>
                  <a:pt x="3328179" y="2435243"/>
                  <a:pt x="3295095" y="2402160"/>
                </a:cubicBezTo>
                <a:cubicBezTo>
                  <a:pt x="3083362" y="2190427"/>
                  <a:pt x="2732679" y="2190427"/>
                  <a:pt x="2520946" y="2402160"/>
                </a:cubicBezTo>
                <a:cubicBezTo>
                  <a:pt x="2501096" y="2428626"/>
                  <a:pt x="2461397" y="2441860"/>
                  <a:pt x="2428313" y="2441860"/>
                </a:cubicBezTo>
                <a:cubicBezTo>
                  <a:pt x="2395230" y="2441860"/>
                  <a:pt x="2362147" y="2428626"/>
                  <a:pt x="2335680" y="2402160"/>
                </a:cubicBezTo>
                <a:cubicBezTo>
                  <a:pt x="2123947" y="2190427"/>
                  <a:pt x="1773264" y="2190427"/>
                  <a:pt x="1561531" y="2402160"/>
                </a:cubicBezTo>
                <a:cubicBezTo>
                  <a:pt x="1508598" y="2448476"/>
                  <a:pt x="1415965" y="2448476"/>
                  <a:pt x="1369648" y="2402160"/>
                </a:cubicBezTo>
                <a:cubicBezTo>
                  <a:pt x="1157915" y="2190427"/>
                  <a:pt x="807232" y="2190427"/>
                  <a:pt x="595499" y="2402160"/>
                </a:cubicBezTo>
                <a:close/>
                <a:moveTo>
                  <a:pt x="1435815" y="1078828"/>
                </a:moveTo>
                <a:lnTo>
                  <a:pt x="2461398" y="1078828"/>
                </a:lnTo>
                <a:lnTo>
                  <a:pt x="2461398" y="1369962"/>
                </a:lnTo>
                <a:lnTo>
                  <a:pt x="1435815" y="1369962"/>
                </a:lnTo>
                <a:close/>
                <a:moveTo>
                  <a:pt x="1733564" y="675212"/>
                </a:moveTo>
                <a:lnTo>
                  <a:pt x="2163648" y="675212"/>
                </a:lnTo>
                <a:lnTo>
                  <a:pt x="2163648" y="939879"/>
                </a:lnTo>
                <a:lnTo>
                  <a:pt x="1733564" y="939879"/>
                </a:lnTo>
                <a:close/>
                <a:moveTo>
                  <a:pt x="2707040" y="313"/>
                </a:moveTo>
                <a:cubicBezTo>
                  <a:pt x="2724409" y="-1342"/>
                  <a:pt x="2742605" y="3621"/>
                  <a:pt x="2759146" y="13546"/>
                </a:cubicBezTo>
                <a:cubicBezTo>
                  <a:pt x="2785612" y="33396"/>
                  <a:pt x="2792229" y="73096"/>
                  <a:pt x="2778996" y="99562"/>
                </a:cubicBezTo>
                <a:cubicBezTo>
                  <a:pt x="2712829" y="264979"/>
                  <a:pt x="2567263" y="364229"/>
                  <a:pt x="2329063" y="397312"/>
                </a:cubicBezTo>
                <a:cubicBezTo>
                  <a:pt x="2176880" y="417162"/>
                  <a:pt x="2104097" y="476712"/>
                  <a:pt x="2057780" y="536262"/>
                </a:cubicBezTo>
                <a:lnTo>
                  <a:pt x="1905597" y="536262"/>
                </a:lnTo>
                <a:cubicBezTo>
                  <a:pt x="1951914" y="417162"/>
                  <a:pt x="2064397" y="291445"/>
                  <a:pt x="2302596" y="258362"/>
                </a:cubicBezTo>
                <a:cubicBezTo>
                  <a:pt x="2487863" y="231895"/>
                  <a:pt x="2600346" y="165729"/>
                  <a:pt x="2640046" y="53246"/>
                </a:cubicBezTo>
                <a:cubicBezTo>
                  <a:pt x="2646663" y="46629"/>
                  <a:pt x="2646663" y="33396"/>
                  <a:pt x="2659896" y="26779"/>
                </a:cubicBezTo>
                <a:cubicBezTo>
                  <a:pt x="2673129" y="10237"/>
                  <a:pt x="2689671" y="1967"/>
                  <a:pt x="2707040" y="313"/>
                </a:cubicBezTo>
                <a:close/>
              </a:path>
            </a:pathLst>
          </a:custGeom>
          <a:solidFill>
            <a:schemeClr val="accent6"/>
          </a:solidFill>
          <a:ln w="0">
            <a:noFill/>
            <a:prstDash val="solid"/>
            <a:round/>
            <a:headEnd/>
            <a:tailEnd/>
          </a:ln>
        </p:spPr>
        <p:txBody>
          <a:bodyPr rtlCol="0" anchor="ctr"/>
          <a:lstStyle>
            <a:defPPr>
              <a:defRPr lang="de-DE"/>
            </a:defPPr>
            <a:lvl1pPr algn="l" rtl="0" fontAlgn="base">
              <a:spcBef>
                <a:spcPct val="0"/>
              </a:spcBef>
              <a:spcAft>
                <a:spcPct val="0"/>
              </a:spcAft>
              <a:defRPr sz="1299" b="1" kern="1200">
                <a:solidFill>
                  <a:schemeClr val="tx1"/>
                </a:solidFill>
                <a:latin typeface="Arial Narrow" charset="0"/>
                <a:ea typeface="+mn-ea"/>
                <a:cs typeface="+mn-cs"/>
              </a:defRPr>
            </a:lvl1pPr>
            <a:lvl2pPr marL="457166" algn="l" rtl="0" fontAlgn="base">
              <a:spcBef>
                <a:spcPct val="0"/>
              </a:spcBef>
              <a:spcAft>
                <a:spcPct val="0"/>
              </a:spcAft>
              <a:defRPr sz="1299" b="1" kern="1200">
                <a:solidFill>
                  <a:schemeClr val="tx1"/>
                </a:solidFill>
                <a:latin typeface="Arial Narrow" charset="0"/>
                <a:ea typeface="+mn-ea"/>
                <a:cs typeface="+mn-cs"/>
              </a:defRPr>
            </a:lvl2pPr>
            <a:lvl3pPr marL="914331" algn="l" rtl="0" fontAlgn="base">
              <a:spcBef>
                <a:spcPct val="0"/>
              </a:spcBef>
              <a:spcAft>
                <a:spcPct val="0"/>
              </a:spcAft>
              <a:defRPr sz="1299" b="1" kern="1200">
                <a:solidFill>
                  <a:schemeClr val="tx1"/>
                </a:solidFill>
                <a:latin typeface="Arial Narrow" charset="0"/>
                <a:ea typeface="+mn-ea"/>
                <a:cs typeface="+mn-cs"/>
              </a:defRPr>
            </a:lvl3pPr>
            <a:lvl4pPr marL="1371497" algn="l" rtl="0" fontAlgn="base">
              <a:spcBef>
                <a:spcPct val="0"/>
              </a:spcBef>
              <a:spcAft>
                <a:spcPct val="0"/>
              </a:spcAft>
              <a:defRPr sz="1299" b="1" kern="1200">
                <a:solidFill>
                  <a:schemeClr val="tx1"/>
                </a:solidFill>
                <a:latin typeface="Arial Narrow" charset="0"/>
                <a:ea typeface="+mn-ea"/>
                <a:cs typeface="+mn-cs"/>
              </a:defRPr>
            </a:lvl4pPr>
            <a:lvl5pPr marL="1828663" algn="l" rtl="0" fontAlgn="base">
              <a:spcBef>
                <a:spcPct val="0"/>
              </a:spcBef>
              <a:spcAft>
                <a:spcPct val="0"/>
              </a:spcAft>
              <a:defRPr sz="1299" b="1" kern="1200">
                <a:solidFill>
                  <a:schemeClr val="tx1"/>
                </a:solidFill>
                <a:latin typeface="Arial Narrow" charset="0"/>
                <a:ea typeface="+mn-ea"/>
                <a:cs typeface="+mn-cs"/>
              </a:defRPr>
            </a:lvl5pPr>
            <a:lvl6pPr marL="2285828" algn="l" defTabSz="914331" rtl="0" eaLnBrk="1" latinLnBrk="0" hangingPunct="1">
              <a:defRPr sz="1299" b="1" kern="1200">
                <a:solidFill>
                  <a:schemeClr val="tx1"/>
                </a:solidFill>
                <a:latin typeface="Arial Narrow" charset="0"/>
                <a:ea typeface="+mn-ea"/>
                <a:cs typeface="+mn-cs"/>
              </a:defRPr>
            </a:lvl6pPr>
            <a:lvl7pPr marL="2742994" algn="l" defTabSz="914331" rtl="0" eaLnBrk="1" latinLnBrk="0" hangingPunct="1">
              <a:defRPr sz="1299" b="1" kern="1200">
                <a:solidFill>
                  <a:schemeClr val="tx1"/>
                </a:solidFill>
                <a:latin typeface="Arial Narrow" charset="0"/>
                <a:ea typeface="+mn-ea"/>
                <a:cs typeface="+mn-cs"/>
              </a:defRPr>
            </a:lvl7pPr>
            <a:lvl8pPr marL="3200159" algn="l" defTabSz="914331" rtl="0" eaLnBrk="1" latinLnBrk="0" hangingPunct="1">
              <a:defRPr sz="1299" b="1" kern="1200">
                <a:solidFill>
                  <a:schemeClr val="tx1"/>
                </a:solidFill>
                <a:latin typeface="Arial Narrow" charset="0"/>
                <a:ea typeface="+mn-ea"/>
                <a:cs typeface="+mn-cs"/>
              </a:defRPr>
            </a:lvl8pPr>
            <a:lvl9pPr marL="3657325" algn="l" defTabSz="914331" rtl="0" eaLnBrk="1" latinLnBrk="0" hangingPunct="1">
              <a:defRPr sz="1299" b="1" kern="1200">
                <a:solidFill>
                  <a:schemeClr val="tx1"/>
                </a:solidFill>
                <a:latin typeface="Arial Narrow" charset="0"/>
                <a:ea typeface="+mn-ea"/>
                <a:cs typeface="+mn-cs"/>
              </a:defRPr>
            </a:lvl9pPr>
          </a:lstStyle>
          <a:p>
            <a:endParaRPr lang="en-US">
              <a:latin typeface="+mn-lt"/>
            </a:endParaRPr>
          </a:p>
        </p:txBody>
      </p:sp>
      <p:grpSp>
        <p:nvGrpSpPr>
          <p:cNvPr id="241" name="Group 30">
            <a:extLst>
              <a:ext uri="{FF2B5EF4-FFF2-40B4-BE49-F238E27FC236}">
                <a16:creationId xmlns:a16="http://schemas.microsoft.com/office/drawing/2014/main" id="{51060187-2AA4-987F-101C-0B801909327B}"/>
              </a:ext>
            </a:extLst>
          </p:cNvPr>
          <p:cNvGrpSpPr/>
          <p:nvPr/>
        </p:nvGrpSpPr>
        <p:grpSpPr>
          <a:xfrm>
            <a:off x="5172938" y="1258694"/>
            <a:ext cx="551504" cy="184716"/>
            <a:chOff x="307415" y="4274479"/>
            <a:chExt cx="551504" cy="184716"/>
          </a:xfrm>
        </p:grpSpPr>
        <p:sp>
          <p:nvSpPr>
            <p:cNvPr id="242" name="Freeform: Shape 218">
              <a:extLst>
                <a:ext uri="{FF2B5EF4-FFF2-40B4-BE49-F238E27FC236}">
                  <a16:creationId xmlns:a16="http://schemas.microsoft.com/office/drawing/2014/main" id="{0F38D7DB-012A-EE32-7EBE-124A73ADB868}"/>
                </a:ext>
              </a:extLst>
            </p:cNvPr>
            <p:cNvSpPr>
              <a:spLocks noChangeAspect="1"/>
            </p:cNvSpPr>
            <p:nvPr/>
          </p:nvSpPr>
          <p:spPr>
            <a:xfrm>
              <a:off x="307415" y="4274479"/>
              <a:ext cx="120148" cy="184716"/>
            </a:xfrm>
            <a:custGeom>
              <a:avLst/>
              <a:gdLst>
                <a:gd name="connsiteX0" fmla="*/ 1149709 w 2394395"/>
                <a:gd name="connsiteY0" fmla="*/ 2844075 h 3681157"/>
                <a:gd name="connsiteX1" fmla="*/ 1239895 w 2394395"/>
                <a:gd name="connsiteY1" fmla="*/ 2844075 h 3681157"/>
                <a:gd name="connsiteX2" fmla="*/ 1239895 w 2394395"/>
                <a:gd name="connsiteY2" fmla="*/ 3339576 h 3681157"/>
                <a:gd name="connsiteX3" fmla="*/ 1249267 w 2394395"/>
                <a:gd name="connsiteY3" fmla="*/ 3366861 h 3681157"/>
                <a:gd name="connsiteX4" fmla="*/ 1257182 w 2394395"/>
                <a:gd name="connsiteY4" fmla="*/ 3394146 h 3681157"/>
                <a:gd name="connsiteX5" fmla="*/ 1274469 w 2394395"/>
                <a:gd name="connsiteY5" fmla="*/ 3411850 h 3681157"/>
                <a:gd name="connsiteX6" fmla="*/ 1291965 w 2394395"/>
                <a:gd name="connsiteY6" fmla="*/ 3429345 h 3681157"/>
                <a:gd name="connsiteX7" fmla="*/ 1320291 w 2394395"/>
                <a:gd name="connsiteY7" fmla="*/ 3439134 h 3681157"/>
                <a:gd name="connsiteX8" fmla="*/ 1381943 w 2394395"/>
                <a:gd name="connsiteY8" fmla="*/ 3447049 h 3681157"/>
                <a:gd name="connsiteX9" fmla="*/ 1909935 w 2394395"/>
                <a:gd name="connsiteY9" fmla="*/ 3447049 h 3681157"/>
                <a:gd name="connsiteX10" fmla="*/ 1909935 w 2394395"/>
                <a:gd name="connsiteY10" fmla="*/ 3538484 h 3681157"/>
                <a:gd name="connsiteX11" fmla="*/ 1337788 w 2394395"/>
                <a:gd name="connsiteY11" fmla="*/ 3538484 h 3681157"/>
                <a:gd name="connsiteX12" fmla="*/ 1284050 w 2394395"/>
                <a:gd name="connsiteY12" fmla="*/ 3528903 h 3681157"/>
                <a:gd name="connsiteX13" fmla="*/ 1249267 w 2394395"/>
                <a:gd name="connsiteY13" fmla="*/ 3503285 h 3681157"/>
                <a:gd name="connsiteX14" fmla="*/ 1213026 w 2394395"/>
                <a:gd name="connsiteY14" fmla="*/ 3476000 h 3681157"/>
                <a:gd name="connsiteX15" fmla="*/ 1187616 w 2394395"/>
                <a:gd name="connsiteY15" fmla="*/ 3447049 h 3681157"/>
                <a:gd name="connsiteX16" fmla="*/ 1168663 w 2394395"/>
                <a:gd name="connsiteY16" fmla="*/ 3402269 h 3681157"/>
                <a:gd name="connsiteX17" fmla="*/ 1149709 w 2394395"/>
                <a:gd name="connsiteY17" fmla="*/ 3358946 h 3681157"/>
                <a:gd name="connsiteX18" fmla="*/ 1241354 w 2394395"/>
                <a:gd name="connsiteY18" fmla="*/ 2302961 h 3681157"/>
                <a:gd name="connsiteX19" fmla="*/ 1241354 w 2394395"/>
                <a:gd name="connsiteY19" fmla="*/ 2601844 h 3681157"/>
                <a:gd name="connsiteX20" fmla="*/ 1523991 w 2394395"/>
                <a:gd name="connsiteY20" fmla="*/ 2601844 h 3681157"/>
                <a:gd name="connsiteX21" fmla="*/ 1151377 w 2394395"/>
                <a:gd name="connsiteY21" fmla="*/ 2302961 h 3681157"/>
                <a:gd name="connsiteX22" fmla="*/ 868739 w 2394395"/>
                <a:gd name="connsiteY22" fmla="*/ 2601844 h 3681157"/>
                <a:gd name="connsiteX23" fmla="*/ 1151377 w 2394395"/>
                <a:gd name="connsiteY23" fmla="*/ 2601844 h 3681157"/>
                <a:gd name="connsiteX24" fmla="*/ 1197198 w 2394395"/>
                <a:gd name="connsiteY24" fmla="*/ 2111759 h 3681157"/>
                <a:gd name="connsiteX25" fmla="*/ 1757890 w 2394395"/>
                <a:gd name="connsiteY25" fmla="*/ 2701402 h 3681157"/>
                <a:gd name="connsiteX26" fmla="*/ 636714 w 2394395"/>
                <a:gd name="connsiteY26" fmla="*/ 2701402 h 3681157"/>
                <a:gd name="connsiteX27" fmla="*/ 1572937 w 2394395"/>
                <a:gd name="connsiteY27" fmla="*/ 1851408 h 3681157"/>
                <a:gd name="connsiteX28" fmla="*/ 1421517 w 2394395"/>
                <a:gd name="connsiteY28" fmla="*/ 2009703 h 3681157"/>
                <a:gd name="connsiteX29" fmla="*/ 1609386 w 2394395"/>
                <a:gd name="connsiteY29" fmla="*/ 2204237 h 3681157"/>
                <a:gd name="connsiteX30" fmla="*/ 811880 w 2394395"/>
                <a:gd name="connsiteY30" fmla="*/ 1851200 h 3681157"/>
                <a:gd name="connsiteX31" fmla="*/ 780429 w 2394395"/>
                <a:gd name="connsiteY31" fmla="*/ 2207153 h 3681157"/>
                <a:gd name="connsiteX32" fmla="*/ 964966 w 2394395"/>
                <a:gd name="connsiteY32" fmla="*/ 2010953 h 3681157"/>
                <a:gd name="connsiteX33" fmla="*/ 1650417 w 2394395"/>
                <a:gd name="connsiteY33" fmla="*/ 1626673 h 3681157"/>
                <a:gd name="connsiteX34" fmla="*/ 1738729 w 2394395"/>
                <a:gd name="connsiteY34" fmla="*/ 2482708 h 3681157"/>
                <a:gd name="connsiteX35" fmla="*/ 1282801 w 2394395"/>
                <a:gd name="connsiteY35" fmla="*/ 2009494 h 3681157"/>
                <a:gd name="connsiteX36" fmla="*/ 736064 w 2394395"/>
                <a:gd name="connsiteY36" fmla="*/ 1626465 h 3681157"/>
                <a:gd name="connsiteX37" fmla="*/ 1102223 w 2394395"/>
                <a:gd name="connsiteY37" fmla="*/ 2009286 h 3681157"/>
                <a:gd name="connsiteX38" fmla="*/ 655668 w 2394395"/>
                <a:gd name="connsiteY38" fmla="*/ 2482501 h 3681157"/>
                <a:gd name="connsiteX39" fmla="*/ 1241354 w 2394395"/>
                <a:gd name="connsiteY39" fmla="*/ 1182410 h 3681157"/>
                <a:gd name="connsiteX40" fmla="*/ 1241354 w 2394395"/>
                <a:gd name="connsiteY40" fmla="*/ 1726858 h 3681157"/>
                <a:gd name="connsiteX41" fmla="*/ 1496915 w 2394395"/>
                <a:gd name="connsiteY41" fmla="*/ 1454634 h 3681157"/>
                <a:gd name="connsiteX42" fmla="*/ 1151585 w 2394395"/>
                <a:gd name="connsiteY42" fmla="*/ 1180744 h 3681157"/>
                <a:gd name="connsiteX43" fmla="*/ 889567 w 2394395"/>
                <a:gd name="connsiteY43" fmla="*/ 1454634 h 3681157"/>
                <a:gd name="connsiteX44" fmla="*/ 1151377 w 2394395"/>
                <a:gd name="connsiteY44" fmla="*/ 1729982 h 3681157"/>
                <a:gd name="connsiteX45" fmla="*/ 1151585 w 2394395"/>
                <a:gd name="connsiteY45" fmla="*/ 1729982 h 3681157"/>
                <a:gd name="connsiteX46" fmla="*/ 1197199 w 2394395"/>
                <a:gd name="connsiteY46" fmla="*/ 989334 h 3681157"/>
                <a:gd name="connsiteX47" fmla="*/ 1634380 w 2394395"/>
                <a:gd name="connsiteY47" fmla="*/ 1454634 h 3681157"/>
                <a:gd name="connsiteX48" fmla="*/ 1197199 w 2394395"/>
                <a:gd name="connsiteY48" fmla="*/ 1921600 h 3681157"/>
                <a:gd name="connsiteX49" fmla="*/ 750644 w 2394395"/>
                <a:gd name="connsiteY49" fmla="*/ 1454634 h 3681157"/>
                <a:gd name="connsiteX50" fmla="*/ 1473586 w 2394395"/>
                <a:gd name="connsiteY50" fmla="*/ 844372 h 3681157"/>
                <a:gd name="connsiteX51" fmla="*/ 1421516 w 2394395"/>
                <a:gd name="connsiteY51" fmla="*/ 896650 h 3681157"/>
                <a:gd name="connsiteX52" fmla="*/ 1486083 w 2394395"/>
                <a:gd name="connsiteY52" fmla="*/ 963092 h 3681157"/>
                <a:gd name="connsiteX53" fmla="*/ 916227 w 2394395"/>
                <a:gd name="connsiteY53" fmla="*/ 844371 h 3681157"/>
                <a:gd name="connsiteX54" fmla="*/ 905188 w 2394395"/>
                <a:gd name="connsiteY54" fmla="*/ 963091 h 3681157"/>
                <a:gd name="connsiteX55" fmla="*/ 966631 w 2394395"/>
                <a:gd name="connsiteY55" fmla="*/ 896650 h 3681157"/>
                <a:gd name="connsiteX56" fmla="*/ 1552108 w 2394395"/>
                <a:gd name="connsiteY56" fmla="*/ 618386 h 3681157"/>
                <a:gd name="connsiteX57" fmla="*/ 1615217 w 2394395"/>
                <a:gd name="connsiteY57" fmla="*/ 1246146 h 3681157"/>
                <a:gd name="connsiteX58" fmla="*/ 1282801 w 2394395"/>
                <a:gd name="connsiteY58" fmla="*/ 896650 h 3681157"/>
                <a:gd name="connsiteX59" fmla="*/ 840621 w 2394395"/>
                <a:gd name="connsiteY59" fmla="*/ 618177 h 3681157"/>
                <a:gd name="connsiteX60" fmla="*/ 1102221 w 2394395"/>
                <a:gd name="connsiteY60" fmla="*/ 896441 h 3681157"/>
                <a:gd name="connsiteX61" fmla="*/ 779178 w 2394395"/>
                <a:gd name="connsiteY61" fmla="*/ 1245937 h 3681157"/>
                <a:gd name="connsiteX62" fmla="*/ 1242187 w 2394395"/>
                <a:gd name="connsiteY62" fmla="*/ 535907 h 3681157"/>
                <a:gd name="connsiteX63" fmla="*/ 1242187 w 2394395"/>
                <a:gd name="connsiteY63" fmla="*/ 600891 h 3681157"/>
                <a:gd name="connsiteX64" fmla="*/ 1305296 w 2394395"/>
                <a:gd name="connsiteY64" fmla="*/ 535907 h 3681157"/>
                <a:gd name="connsiteX65" fmla="*/ 1085768 w 2394395"/>
                <a:gd name="connsiteY65" fmla="*/ 535907 h 3681157"/>
                <a:gd name="connsiteX66" fmla="*/ 1152209 w 2394395"/>
                <a:gd name="connsiteY66" fmla="*/ 604015 h 3681157"/>
                <a:gd name="connsiteX67" fmla="*/ 1152209 w 2394395"/>
                <a:gd name="connsiteY67" fmla="*/ 535907 h 3681157"/>
                <a:gd name="connsiteX68" fmla="*/ 845620 w 2394395"/>
                <a:gd name="connsiteY68" fmla="*/ 437598 h 3681157"/>
                <a:gd name="connsiteX69" fmla="*/ 1539195 w 2394395"/>
                <a:gd name="connsiteY69" fmla="*/ 437598 h 3681157"/>
                <a:gd name="connsiteX70" fmla="*/ 1198031 w 2394395"/>
                <a:gd name="connsiteY70" fmla="*/ 789594 h 3681157"/>
                <a:gd name="connsiteX71" fmla="*/ 740855 w 2394395"/>
                <a:gd name="connsiteY71" fmla="*/ 358451 h 3681157"/>
                <a:gd name="connsiteX72" fmla="*/ 747103 w 2394395"/>
                <a:gd name="connsiteY72" fmla="*/ 363242 h 3681157"/>
                <a:gd name="connsiteX73" fmla="*/ 753351 w 2394395"/>
                <a:gd name="connsiteY73" fmla="*/ 369490 h 3681157"/>
                <a:gd name="connsiteX74" fmla="*/ 766056 w 2394395"/>
                <a:gd name="connsiteY74" fmla="*/ 388444 h 3681157"/>
                <a:gd name="connsiteX75" fmla="*/ 773971 w 2394395"/>
                <a:gd name="connsiteY75" fmla="*/ 407397 h 3681157"/>
                <a:gd name="connsiteX76" fmla="*/ 778762 w 2394395"/>
                <a:gd name="connsiteY76" fmla="*/ 428017 h 3681157"/>
                <a:gd name="connsiteX77" fmla="*/ 778762 w 2394395"/>
                <a:gd name="connsiteY77" fmla="*/ 448637 h 3681157"/>
                <a:gd name="connsiteX78" fmla="*/ 501123 w 2394395"/>
                <a:gd name="connsiteY78" fmla="*/ 2721399 h 3681157"/>
                <a:gd name="connsiteX79" fmla="*/ 496333 w 2394395"/>
                <a:gd name="connsiteY79" fmla="*/ 2746809 h 3681157"/>
                <a:gd name="connsiteX80" fmla="*/ 483628 w 2394395"/>
                <a:gd name="connsiteY80" fmla="*/ 2767428 h 3681157"/>
                <a:gd name="connsiteX81" fmla="*/ 467798 w 2394395"/>
                <a:gd name="connsiteY81" fmla="*/ 2786382 h 3681157"/>
                <a:gd name="connsiteX82" fmla="*/ 448845 w 2394395"/>
                <a:gd name="connsiteY82" fmla="*/ 2799087 h 3681157"/>
                <a:gd name="connsiteX83" fmla="*/ 426767 w 2394395"/>
                <a:gd name="connsiteY83" fmla="*/ 2808668 h 3681157"/>
                <a:gd name="connsiteX84" fmla="*/ 401565 w 2394395"/>
                <a:gd name="connsiteY84" fmla="*/ 2810334 h 3681157"/>
                <a:gd name="connsiteX85" fmla="*/ 234108 w 2394395"/>
                <a:gd name="connsiteY85" fmla="*/ 2810334 h 3681157"/>
                <a:gd name="connsiteX86" fmla="*/ 234108 w 2394395"/>
                <a:gd name="connsiteY86" fmla="*/ 2926139 h 3681157"/>
                <a:gd name="connsiteX87" fmla="*/ 232441 w 2394395"/>
                <a:gd name="connsiteY87" fmla="*/ 2948425 h 3681157"/>
                <a:gd name="connsiteX88" fmla="*/ 224527 w 2394395"/>
                <a:gd name="connsiteY88" fmla="*/ 2970711 h 3681157"/>
                <a:gd name="connsiteX89" fmla="*/ 211822 w 2394395"/>
                <a:gd name="connsiteY89" fmla="*/ 2988206 h 3681157"/>
                <a:gd name="connsiteX90" fmla="*/ 195992 w 2394395"/>
                <a:gd name="connsiteY90" fmla="*/ 3004035 h 3681157"/>
                <a:gd name="connsiteX91" fmla="*/ 177039 w 2394395"/>
                <a:gd name="connsiteY91" fmla="*/ 3016741 h 3681157"/>
                <a:gd name="connsiteX92" fmla="*/ 156419 w 2394395"/>
                <a:gd name="connsiteY92" fmla="*/ 3024655 h 3681157"/>
                <a:gd name="connsiteX93" fmla="*/ 134341 w 2394395"/>
                <a:gd name="connsiteY93" fmla="*/ 3026322 h 3681157"/>
                <a:gd name="connsiteX94" fmla="*/ 99558 w 2394395"/>
                <a:gd name="connsiteY94" fmla="*/ 3026322 h 3681157"/>
                <a:gd name="connsiteX95" fmla="*/ 99558 w 2394395"/>
                <a:gd name="connsiteY95" fmla="*/ 3581182 h 3681157"/>
                <a:gd name="connsiteX96" fmla="*/ 2295045 w 2394395"/>
                <a:gd name="connsiteY96" fmla="*/ 3581182 h 3681157"/>
                <a:gd name="connsiteX97" fmla="*/ 2295253 w 2394395"/>
                <a:gd name="connsiteY97" fmla="*/ 3581182 h 3681157"/>
                <a:gd name="connsiteX98" fmla="*/ 2295253 w 2394395"/>
                <a:gd name="connsiteY98" fmla="*/ 3026946 h 3681157"/>
                <a:gd name="connsiteX99" fmla="*/ 2252556 w 2394395"/>
                <a:gd name="connsiteY99" fmla="*/ 3026946 h 3681157"/>
                <a:gd name="connsiteX100" fmla="*/ 2228812 w 2394395"/>
                <a:gd name="connsiteY100" fmla="*/ 3025280 h 3681157"/>
                <a:gd name="connsiteX101" fmla="*/ 2208192 w 2394395"/>
                <a:gd name="connsiteY101" fmla="*/ 3017365 h 3681157"/>
                <a:gd name="connsiteX102" fmla="*/ 2189239 w 2394395"/>
                <a:gd name="connsiteY102" fmla="*/ 3004660 h 3681157"/>
                <a:gd name="connsiteX103" fmla="*/ 2173409 w 2394395"/>
                <a:gd name="connsiteY103" fmla="*/ 2988831 h 3681157"/>
                <a:gd name="connsiteX104" fmla="*/ 2160704 w 2394395"/>
                <a:gd name="connsiteY104" fmla="*/ 2971336 h 3681157"/>
                <a:gd name="connsiteX105" fmla="*/ 2154456 w 2394395"/>
                <a:gd name="connsiteY105" fmla="*/ 2949049 h 3681157"/>
                <a:gd name="connsiteX106" fmla="*/ 2151332 w 2394395"/>
                <a:gd name="connsiteY106" fmla="*/ 2926763 h 3681157"/>
                <a:gd name="connsiteX107" fmla="*/ 2151332 w 2394395"/>
                <a:gd name="connsiteY107" fmla="*/ 2810959 h 3681157"/>
                <a:gd name="connsiteX108" fmla="*/ 1993455 w 2394395"/>
                <a:gd name="connsiteY108" fmla="*/ 2810959 h 3681157"/>
                <a:gd name="connsiteX109" fmla="*/ 1968253 w 2394395"/>
                <a:gd name="connsiteY109" fmla="*/ 2809293 h 3681157"/>
                <a:gd name="connsiteX110" fmla="*/ 1946175 w 2394395"/>
                <a:gd name="connsiteY110" fmla="*/ 2799712 h 3681157"/>
                <a:gd name="connsiteX111" fmla="*/ 1925555 w 2394395"/>
                <a:gd name="connsiteY111" fmla="*/ 2787007 h 3681157"/>
                <a:gd name="connsiteX112" fmla="*/ 1909726 w 2394395"/>
                <a:gd name="connsiteY112" fmla="*/ 2768053 h 3681157"/>
                <a:gd name="connsiteX113" fmla="*/ 1898687 w 2394395"/>
                <a:gd name="connsiteY113" fmla="*/ 2747434 h 3681157"/>
                <a:gd name="connsiteX114" fmla="*/ 1893896 w 2394395"/>
                <a:gd name="connsiteY114" fmla="*/ 2722023 h 3681157"/>
                <a:gd name="connsiteX115" fmla="*/ 1615842 w 2394395"/>
                <a:gd name="connsiteY115" fmla="*/ 448637 h 3681157"/>
                <a:gd name="connsiteX116" fmla="*/ 1615842 w 2394395"/>
                <a:gd name="connsiteY116" fmla="*/ 428017 h 3681157"/>
                <a:gd name="connsiteX117" fmla="*/ 1620632 w 2394395"/>
                <a:gd name="connsiteY117" fmla="*/ 407397 h 3681157"/>
                <a:gd name="connsiteX118" fmla="*/ 1628547 w 2394395"/>
                <a:gd name="connsiteY118" fmla="*/ 388444 h 3681157"/>
                <a:gd name="connsiteX119" fmla="*/ 1641252 w 2394395"/>
                <a:gd name="connsiteY119" fmla="*/ 369490 h 3681157"/>
                <a:gd name="connsiteX120" fmla="*/ 1647500 w 2394395"/>
                <a:gd name="connsiteY120" fmla="*/ 363242 h 3681157"/>
                <a:gd name="connsiteX121" fmla="*/ 1653749 w 2394395"/>
                <a:gd name="connsiteY121" fmla="*/ 358451 h 3681157"/>
                <a:gd name="connsiteX122" fmla="*/ 615886 w 2394395"/>
                <a:gd name="connsiteY122" fmla="*/ 256810 h 3681157"/>
                <a:gd name="connsiteX123" fmla="*/ 1768928 w 2394395"/>
                <a:gd name="connsiteY123" fmla="*/ 256810 h 3681157"/>
                <a:gd name="connsiteX124" fmla="*/ 1768928 w 2394395"/>
                <a:gd name="connsiteY124" fmla="*/ 437598 h 3681157"/>
                <a:gd name="connsiteX125" fmla="*/ 1715192 w 2394395"/>
                <a:gd name="connsiteY125" fmla="*/ 437598 h 3681157"/>
                <a:gd name="connsiteX126" fmla="*/ 1993246 w 2394395"/>
                <a:gd name="connsiteY126" fmla="*/ 2710984 h 3681157"/>
                <a:gd name="connsiteX127" fmla="*/ 2252348 w 2394395"/>
                <a:gd name="connsiteY127" fmla="*/ 2710984 h 3681157"/>
                <a:gd name="connsiteX128" fmla="*/ 2252348 w 2394395"/>
                <a:gd name="connsiteY128" fmla="*/ 2926555 h 3681157"/>
                <a:gd name="connsiteX129" fmla="*/ 2394395 w 2394395"/>
                <a:gd name="connsiteY129" fmla="*/ 2926555 h 3681157"/>
                <a:gd name="connsiteX130" fmla="*/ 2394395 w 2394395"/>
                <a:gd name="connsiteY130" fmla="*/ 3681157 h 3681157"/>
                <a:gd name="connsiteX131" fmla="*/ 0 w 2394395"/>
                <a:gd name="connsiteY131" fmla="*/ 3681157 h 3681157"/>
                <a:gd name="connsiteX132" fmla="*/ 0 w 2394395"/>
                <a:gd name="connsiteY132" fmla="*/ 2926555 h 3681157"/>
                <a:gd name="connsiteX133" fmla="*/ 134341 w 2394395"/>
                <a:gd name="connsiteY133" fmla="*/ 2926555 h 3681157"/>
                <a:gd name="connsiteX134" fmla="*/ 134341 w 2394395"/>
                <a:gd name="connsiteY134" fmla="*/ 2710984 h 3681157"/>
                <a:gd name="connsiteX135" fmla="*/ 401149 w 2394395"/>
                <a:gd name="connsiteY135" fmla="*/ 2710984 h 3681157"/>
                <a:gd name="connsiteX136" fmla="*/ 678995 w 2394395"/>
                <a:gd name="connsiteY136" fmla="*/ 437598 h 3681157"/>
                <a:gd name="connsiteX137" fmla="*/ 615886 w 2394395"/>
                <a:gd name="connsiteY137" fmla="*/ 437598 h 3681157"/>
                <a:gd name="connsiteX138" fmla="*/ 912269 w 2394395"/>
                <a:gd name="connsiteY138" fmla="*/ 0 h 3681157"/>
                <a:gd name="connsiteX139" fmla="*/ 1472962 w 2394395"/>
                <a:gd name="connsiteY139" fmla="*/ 0 h 3681157"/>
                <a:gd name="connsiteX140" fmla="*/ 1472962 w 2394395"/>
                <a:gd name="connsiteY140" fmla="*/ 209323 h 3681157"/>
                <a:gd name="connsiteX141" fmla="*/ 912269 w 2394395"/>
                <a:gd name="connsiteY141" fmla="*/ 209323 h 368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2394395" h="3681157">
                  <a:moveTo>
                    <a:pt x="1149709" y="2844075"/>
                  </a:moveTo>
                  <a:lnTo>
                    <a:pt x="1239895" y="2844075"/>
                  </a:lnTo>
                  <a:lnTo>
                    <a:pt x="1239895" y="3339576"/>
                  </a:lnTo>
                  <a:lnTo>
                    <a:pt x="1249267" y="3366861"/>
                  </a:lnTo>
                  <a:lnTo>
                    <a:pt x="1257182" y="3394146"/>
                  </a:lnTo>
                  <a:lnTo>
                    <a:pt x="1274469" y="3411850"/>
                  </a:lnTo>
                  <a:lnTo>
                    <a:pt x="1291965" y="3429345"/>
                  </a:lnTo>
                  <a:lnTo>
                    <a:pt x="1320291" y="3439134"/>
                  </a:lnTo>
                  <a:lnTo>
                    <a:pt x="1381943" y="3447049"/>
                  </a:lnTo>
                  <a:lnTo>
                    <a:pt x="1909935" y="3447049"/>
                  </a:lnTo>
                  <a:lnTo>
                    <a:pt x="1909935" y="3538484"/>
                  </a:lnTo>
                  <a:lnTo>
                    <a:pt x="1337788" y="3538484"/>
                  </a:lnTo>
                  <a:lnTo>
                    <a:pt x="1284050" y="3528903"/>
                  </a:lnTo>
                  <a:lnTo>
                    <a:pt x="1249267" y="3503285"/>
                  </a:lnTo>
                  <a:lnTo>
                    <a:pt x="1213026" y="3476000"/>
                  </a:lnTo>
                  <a:lnTo>
                    <a:pt x="1187616" y="3447049"/>
                  </a:lnTo>
                  <a:lnTo>
                    <a:pt x="1168663" y="3402269"/>
                  </a:lnTo>
                  <a:lnTo>
                    <a:pt x="1149709" y="3358946"/>
                  </a:lnTo>
                  <a:close/>
                  <a:moveTo>
                    <a:pt x="1241354" y="2302961"/>
                  </a:moveTo>
                  <a:lnTo>
                    <a:pt x="1241354" y="2601844"/>
                  </a:lnTo>
                  <a:lnTo>
                    <a:pt x="1523991" y="2601844"/>
                  </a:lnTo>
                  <a:close/>
                  <a:moveTo>
                    <a:pt x="1151377" y="2302961"/>
                  </a:moveTo>
                  <a:lnTo>
                    <a:pt x="868739" y="2601844"/>
                  </a:lnTo>
                  <a:lnTo>
                    <a:pt x="1151377" y="2601844"/>
                  </a:lnTo>
                  <a:close/>
                  <a:moveTo>
                    <a:pt x="1197198" y="2111759"/>
                  </a:moveTo>
                  <a:lnTo>
                    <a:pt x="1757890" y="2701402"/>
                  </a:lnTo>
                  <a:lnTo>
                    <a:pt x="636714" y="2701402"/>
                  </a:lnTo>
                  <a:close/>
                  <a:moveTo>
                    <a:pt x="1572937" y="1851408"/>
                  </a:moveTo>
                  <a:lnTo>
                    <a:pt x="1421517" y="2009703"/>
                  </a:lnTo>
                  <a:lnTo>
                    <a:pt x="1609386" y="2204237"/>
                  </a:lnTo>
                  <a:close/>
                  <a:moveTo>
                    <a:pt x="811880" y="1851200"/>
                  </a:moveTo>
                  <a:lnTo>
                    <a:pt x="780429" y="2207153"/>
                  </a:lnTo>
                  <a:lnTo>
                    <a:pt x="964966" y="2010953"/>
                  </a:lnTo>
                  <a:close/>
                  <a:moveTo>
                    <a:pt x="1650417" y="1626673"/>
                  </a:moveTo>
                  <a:lnTo>
                    <a:pt x="1738729" y="2482708"/>
                  </a:lnTo>
                  <a:lnTo>
                    <a:pt x="1282801" y="2009494"/>
                  </a:lnTo>
                  <a:close/>
                  <a:moveTo>
                    <a:pt x="736064" y="1626465"/>
                  </a:moveTo>
                  <a:lnTo>
                    <a:pt x="1102223" y="2009286"/>
                  </a:lnTo>
                  <a:lnTo>
                    <a:pt x="655668" y="2482501"/>
                  </a:lnTo>
                  <a:close/>
                  <a:moveTo>
                    <a:pt x="1241354" y="1182410"/>
                  </a:moveTo>
                  <a:lnTo>
                    <a:pt x="1241354" y="1726858"/>
                  </a:lnTo>
                  <a:lnTo>
                    <a:pt x="1496915" y="1454634"/>
                  </a:lnTo>
                  <a:close/>
                  <a:moveTo>
                    <a:pt x="1151585" y="1180744"/>
                  </a:moveTo>
                  <a:lnTo>
                    <a:pt x="889567" y="1454634"/>
                  </a:lnTo>
                  <a:lnTo>
                    <a:pt x="1151377" y="1729982"/>
                  </a:lnTo>
                  <a:lnTo>
                    <a:pt x="1151585" y="1729982"/>
                  </a:lnTo>
                  <a:close/>
                  <a:moveTo>
                    <a:pt x="1197199" y="989334"/>
                  </a:moveTo>
                  <a:lnTo>
                    <a:pt x="1634380" y="1454634"/>
                  </a:lnTo>
                  <a:lnTo>
                    <a:pt x="1197199" y="1921600"/>
                  </a:lnTo>
                  <a:lnTo>
                    <a:pt x="750644" y="1454634"/>
                  </a:lnTo>
                  <a:close/>
                  <a:moveTo>
                    <a:pt x="1473586" y="844372"/>
                  </a:moveTo>
                  <a:lnTo>
                    <a:pt x="1421516" y="896650"/>
                  </a:lnTo>
                  <a:lnTo>
                    <a:pt x="1486083" y="963092"/>
                  </a:lnTo>
                  <a:close/>
                  <a:moveTo>
                    <a:pt x="916227" y="844371"/>
                  </a:moveTo>
                  <a:lnTo>
                    <a:pt x="905188" y="963091"/>
                  </a:lnTo>
                  <a:lnTo>
                    <a:pt x="966631" y="896650"/>
                  </a:lnTo>
                  <a:close/>
                  <a:moveTo>
                    <a:pt x="1552108" y="618386"/>
                  </a:moveTo>
                  <a:lnTo>
                    <a:pt x="1615217" y="1246146"/>
                  </a:lnTo>
                  <a:lnTo>
                    <a:pt x="1282801" y="896650"/>
                  </a:lnTo>
                  <a:close/>
                  <a:moveTo>
                    <a:pt x="840621" y="618177"/>
                  </a:moveTo>
                  <a:lnTo>
                    <a:pt x="1102221" y="896441"/>
                  </a:lnTo>
                  <a:lnTo>
                    <a:pt x="779178" y="1245937"/>
                  </a:lnTo>
                  <a:close/>
                  <a:moveTo>
                    <a:pt x="1242187" y="535907"/>
                  </a:moveTo>
                  <a:lnTo>
                    <a:pt x="1242187" y="600891"/>
                  </a:lnTo>
                  <a:lnTo>
                    <a:pt x="1305296" y="535907"/>
                  </a:lnTo>
                  <a:close/>
                  <a:moveTo>
                    <a:pt x="1085768" y="535907"/>
                  </a:moveTo>
                  <a:lnTo>
                    <a:pt x="1152209" y="604015"/>
                  </a:lnTo>
                  <a:lnTo>
                    <a:pt x="1152209" y="535907"/>
                  </a:lnTo>
                  <a:close/>
                  <a:moveTo>
                    <a:pt x="845620" y="437598"/>
                  </a:moveTo>
                  <a:lnTo>
                    <a:pt x="1539195" y="437598"/>
                  </a:lnTo>
                  <a:lnTo>
                    <a:pt x="1198031" y="789594"/>
                  </a:lnTo>
                  <a:close/>
                  <a:moveTo>
                    <a:pt x="740855" y="358451"/>
                  </a:moveTo>
                  <a:lnTo>
                    <a:pt x="747103" y="363242"/>
                  </a:lnTo>
                  <a:lnTo>
                    <a:pt x="753351" y="369490"/>
                  </a:lnTo>
                  <a:lnTo>
                    <a:pt x="766056" y="388444"/>
                  </a:lnTo>
                  <a:lnTo>
                    <a:pt x="773971" y="407397"/>
                  </a:lnTo>
                  <a:lnTo>
                    <a:pt x="778762" y="428017"/>
                  </a:lnTo>
                  <a:lnTo>
                    <a:pt x="778762" y="448637"/>
                  </a:lnTo>
                  <a:lnTo>
                    <a:pt x="501123" y="2721399"/>
                  </a:lnTo>
                  <a:lnTo>
                    <a:pt x="496333" y="2746809"/>
                  </a:lnTo>
                  <a:lnTo>
                    <a:pt x="483628" y="2767428"/>
                  </a:lnTo>
                  <a:lnTo>
                    <a:pt x="467798" y="2786382"/>
                  </a:lnTo>
                  <a:lnTo>
                    <a:pt x="448845" y="2799087"/>
                  </a:lnTo>
                  <a:lnTo>
                    <a:pt x="426767" y="2808668"/>
                  </a:lnTo>
                  <a:lnTo>
                    <a:pt x="401565" y="2810334"/>
                  </a:lnTo>
                  <a:lnTo>
                    <a:pt x="234108" y="2810334"/>
                  </a:lnTo>
                  <a:lnTo>
                    <a:pt x="234108" y="2926139"/>
                  </a:lnTo>
                  <a:lnTo>
                    <a:pt x="232441" y="2948425"/>
                  </a:lnTo>
                  <a:lnTo>
                    <a:pt x="224527" y="2970711"/>
                  </a:lnTo>
                  <a:lnTo>
                    <a:pt x="211822" y="2988206"/>
                  </a:lnTo>
                  <a:lnTo>
                    <a:pt x="195992" y="3004035"/>
                  </a:lnTo>
                  <a:lnTo>
                    <a:pt x="177039" y="3016741"/>
                  </a:lnTo>
                  <a:lnTo>
                    <a:pt x="156419" y="3024655"/>
                  </a:lnTo>
                  <a:lnTo>
                    <a:pt x="134341" y="3026322"/>
                  </a:lnTo>
                  <a:lnTo>
                    <a:pt x="99558" y="3026322"/>
                  </a:lnTo>
                  <a:lnTo>
                    <a:pt x="99558" y="3581182"/>
                  </a:lnTo>
                  <a:lnTo>
                    <a:pt x="2295045" y="3581182"/>
                  </a:lnTo>
                  <a:lnTo>
                    <a:pt x="2295253" y="3581182"/>
                  </a:lnTo>
                  <a:lnTo>
                    <a:pt x="2295253" y="3026946"/>
                  </a:lnTo>
                  <a:lnTo>
                    <a:pt x="2252556" y="3026946"/>
                  </a:lnTo>
                  <a:lnTo>
                    <a:pt x="2228812" y="3025280"/>
                  </a:lnTo>
                  <a:lnTo>
                    <a:pt x="2208192" y="3017365"/>
                  </a:lnTo>
                  <a:lnTo>
                    <a:pt x="2189239" y="3004660"/>
                  </a:lnTo>
                  <a:lnTo>
                    <a:pt x="2173409" y="2988831"/>
                  </a:lnTo>
                  <a:lnTo>
                    <a:pt x="2160704" y="2971336"/>
                  </a:lnTo>
                  <a:lnTo>
                    <a:pt x="2154456" y="2949049"/>
                  </a:lnTo>
                  <a:lnTo>
                    <a:pt x="2151332" y="2926763"/>
                  </a:lnTo>
                  <a:lnTo>
                    <a:pt x="2151332" y="2810959"/>
                  </a:lnTo>
                  <a:lnTo>
                    <a:pt x="1993455" y="2810959"/>
                  </a:lnTo>
                  <a:lnTo>
                    <a:pt x="1968253" y="2809293"/>
                  </a:lnTo>
                  <a:lnTo>
                    <a:pt x="1946175" y="2799712"/>
                  </a:lnTo>
                  <a:lnTo>
                    <a:pt x="1925555" y="2787007"/>
                  </a:lnTo>
                  <a:lnTo>
                    <a:pt x="1909726" y="2768053"/>
                  </a:lnTo>
                  <a:lnTo>
                    <a:pt x="1898687" y="2747434"/>
                  </a:lnTo>
                  <a:lnTo>
                    <a:pt x="1893896" y="2722023"/>
                  </a:lnTo>
                  <a:lnTo>
                    <a:pt x="1615842" y="448637"/>
                  </a:lnTo>
                  <a:lnTo>
                    <a:pt x="1615842" y="428017"/>
                  </a:lnTo>
                  <a:lnTo>
                    <a:pt x="1620632" y="407397"/>
                  </a:lnTo>
                  <a:lnTo>
                    <a:pt x="1628547" y="388444"/>
                  </a:lnTo>
                  <a:lnTo>
                    <a:pt x="1641252" y="369490"/>
                  </a:lnTo>
                  <a:lnTo>
                    <a:pt x="1647500" y="363242"/>
                  </a:lnTo>
                  <a:lnTo>
                    <a:pt x="1653749" y="358451"/>
                  </a:lnTo>
                  <a:close/>
                  <a:moveTo>
                    <a:pt x="615886" y="256810"/>
                  </a:moveTo>
                  <a:lnTo>
                    <a:pt x="1768928" y="256810"/>
                  </a:lnTo>
                  <a:lnTo>
                    <a:pt x="1768928" y="437598"/>
                  </a:lnTo>
                  <a:lnTo>
                    <a:pt x="1715192" y="437598"/>
                  </a:lnTo>
                  <a:lnTo>
                    <a:pt x="1993246" y="2710984"/>
                  </a:lnTo>
                  <a:lnTo>
                    <a:pt x="2252348" y="2710984"/>
                  </a:lnTo>
                  <a:lnTo>
                    <a:pt x="2252348" y="2926555"/>
                  </a:lnTo>
                  <a:lnTo>
                    <a:pt x="2394395" y="2926555"/>
                  </a:lnTo>
                  <a:lnTo>
                    <a:pt x="2394395" y="3681157"/>
                  </a:lnTo>
                  <a:lnTo>
                    <a:pt x="0" y="3681157"/>
                  </a:lnTo>
                  <a:lnTo>
                    <a:pt x="0" y="2926555"/>
                  </a:lnTo>
                  <a:lnTo>
                    <a:pt x="134341" y="2926555"/>
                  </a:lnTo>
                  <a:lnTo>
                    <a:pt x="134341" y="2710984"/>
                  </a:lnTo>
                  <a:lnTo>
                    <a:pt x="401149" y="2710984"/>
                  </a:lnTo>
                  <a:lnTo>
                    <a:pt x="678995" y="437598"/>
                  </a:lnTo>
                  <a:lnTo>
                    <a:pt x="615886" y="437598"/>
                  </a:lnTo>
                  <a:close/>
                  <a:moveTo>
                    <a:pt x="912269" y="0"/>
                  </a:moveTo>
                  <a:lnTo>
                    <a:pt x="1472962" y="0"/>
                  </a:lnTo>
                  <a:lnTo>
                    <a:pt x="1472962" y="209323"/>
                  </a:lnTo>
                  <a:lnTo>
                    <a:pt x="912269" y="209323"/>
                  </a:lnTo>
                  <a:close/>
                </a:path>
              </a:pathLst>
            </a:custGeom>
            <a:solidFill>
              <a:schemeClr val="accent6"/>
            </a:solidFill>
            <a:ln w="0">
              <a:noFill/>
              <a:prstDash val="solid"/>
              <a:round/>
              <a:headEnd/>
              <a:tailEnd/>
            </a:ln>
          </p:spPr>
          <p:txBody>
            <a:bodyPr rtlCol="0" anchor="ctr"/>
            <a:lstStyle/>
            <a:p>
              <a:endParaRPr lang="en-US" sz="800"/>
            </a:p>
          </p:txBody>
        </p:sp>
        <p:sp>
          <p:nvSpPr>
            <p:cNvPr id="243" name="LegendText">
              <a:extLst>
                <a:ext uri="{FF2B5EF4-FFF2-40B4-BE49-F238E27FC236}">
                  <a16:creationId xmlns:a16="http://schemas.microsoft.com/office/drawing/2014/main" id="{3BCFD006-BA2D-59B4-1A1B-A25810FCEF03}"/>
                </a:ext>
              </a:extLst>
            </p:cNvPr>
            <p:cNvSpPr txBox="1">
              <a:spLocks/>
            </p:cNvSpPr>
            <p:nvPr/>
          </p:nvSpPr>
          <p:spPr>
            <a:xfrm>
              <a:off x="469389" y="4320696"/>
              <a:ext cx="389530" cy="107722"/>
            </a:xfrm>
            <a:prstGeom prst="rect">
              <a:avLst/>
            </a:prstGeom>
            <a:noFill/>
            <a:ln w="9525">
              <a:noFill/>
            </a:ln>
          </p:spPr>
          <p:txBody>
            <a:bodyPr vert="horz" wrap="none" lIns="0" tIns="0" rIns="0" bIns="0" rtlCol="0" anchor="t" anchorCtr="0">
              <a:spAutoFit/>
            </a:bodyPr>
            <a:lstStyle>
              <a:defPPr>
                <a:defRPr lang="en-EN"/>
              </a:defPPr>
              <a:lvl1pPr marL="0" marR="0" lvl="0" indent="0" defTabSz="914400" eaLnBrk="1" fontAlgn="auto" latinLnBrk="0" hangingPunct="1">
                <a:lnSpc>
                  <a:spcPct val="100000"/>
                </a:lnSpc>
                <a:spcBef>
                  <a:spcPts val="0"/>
                </a:spcBef>
                <a:spcAft>
                  <a:spcPts val="0"/>
                </a:spcAft>
                <a:buClr>
                  <a:srgbClr val="000000"/>
                </a:buClr>
                <a:buSzPct val="100000"/>
                <a:buFontTx/>
                <a:buNone/>
                <a:tabLst/>
                <a:defRPr kumimoji="0" sz="1000" b="0" i="0" u="none" strike="noStrike" kern="0" cap="none" spc="0" normalizeH="0" baseline="0">
                  <a:ln>
                    <a:noFill/>
                  </a:ln>
                  <a:effectLst/>
                  <a:uLnTx/>
                  <a:uFillTx/>
                  <a:latin typeface="+mn-lt"/>
                </a:defRPr>
              </a:lvl1pPr>
            </a:lstStyle>
            <a:p>
              <a:r>
                <a:rPr lang="en-US" sz="700">
                  <a:sym typeface="+mn-lt"/>
                </a:rPr>
                <a:t>Upstream</a:t>
              </a:r>
            </a:p>
          </p:txBody>
        </p:sp>
      </p:grpSp>
      <p:grpSp>
        <p:nvGrpSpPr>
          <p:cNvPr id="244" name="Group 32">
            <a:extLst>
              <a:ext uri="{FF2B5EF4-FFF2-40B4-BE49-F238E27FC236}">
                <a16:creationId xmlns:a16="http://schemas.microsoft.com/office/drawing/2014/main" id="{5A4EC597-A5C8-90CC-B5E5-2647907A9361}"/>
              </a:ext>
            </a:extLst>
          </p:cNvPr>
          <p:cNvGrpSpPr/>
          <p:nvPr/>
        </p:nvGrpSpPr>
        <p:grpSpPr>
          <a:xfrm>
            <a:off x="6451212" y="1263137"/>
            <a:ext cx="399535" cy="175830"/>
            <a:chOff x="1547170" y="4273201"/>
            <a:chExt cx="399535" cy="175830"/>
          </a:xfrm>
        </p:grpSpPr>
        <p:sp>
          <p:nvSpPr>
            <p:cNvPr id="245" name="Freeform: Shape 216">
              <a:extLst>
                <a:ext uri="{FF2B5EF4-FFF2-40B4-BE49-F238E27FC236}">
                  <a16:creationId xmlns:a16="http://schemas.microsoft.com/office/drawing/2014/main" id="{BF6E3119-0131-66D7-0DD8-77404EB55B2C}"/>
                </a:ext>
              </a:extLst>
            </p:cNvPr>
            <p:cNvSpPr>
              <a:spLocks noChangeAspect="1"/>
            </p:cNvSpPr>
            <p:nvPr/>
          </p:nvSpPr>
          <p:spPr>
            <a:xfrm>
              <a:off x="1547170" y="4273201"/>
              <a:ext cx="175779" cy="175830"/>
            </a:xfrm>
            <a:custGeom>
              <a:avLst/>
              <a:gdLst>
                <a:gd name="connsiteX0" fmla="*/ 842193 w 3648846"/>
                <a:gd name="connsiteY0" fmla="*/ 3403529 h 3649899"/>
                <a:gd name="connsiteX1" fmla="*/ 1069999 w 3648846"/>
                <a:gd name="connsiteY1" fmla="*/ 3480948 h 3649899"/>
                <a:gd name="connsiteX2" fmla="*/ 1401003 w 3648846"/>
                <a:gd name="connsiteY2" fmla="*/ 3480948 h 3649899"/>
                <a:gd name="connsiteX3" fmla="*/ 1856103 w 3648846"/>
                <a:gd name="connsiteY3" fmla="*/ 3480948 h 3649899"/>
                <a:gd name="connsiteX4" fmla="*/ 2187106 w 3648846"/>
                <a:gd name="connsiteY4" fmla="*/ 3480948 h 3649899"/>
                <a:gd name="connsiteX5" fmla="*/ 2642207 w 3648846"/>
                <a:gd name="connsiteY5" fmla="*/ 3480948 h 3649899"/>
                <a:gd name="connsiteX6" fmla="*/ 2973153 w 3648846"/>
                <a:gd name="connsiteY6" fmla="*/ 3480948 h 3649899"/>
                <a:gd name="connsiteX7" fmla="*/ 3428196 w 3648846"/>
                <a:gd name="connsiteY7" fmla="*/ 3480948 h 3649899"/>
                <a:gd name="connsiteX8" fmla="*/ 3593527 w 3648846"/>
                <a:gd name="connsiteY8" fmla="*/ 3538092 h 3649899"/>
                <a:gd name="connsiteX9" fmla="*/ 3648789 w 3648846"/>
                <a:gd name="connsiteY9" fmla="*/ 3593355 h 3649899"/>
                <a:gd name="connsiteX10" fmla="*/ 3593527 w 3648846"/>
                <a:gd name="connsiteY10" fmla="*/ 3648731 h 3649899"/>
                <a:gd name="connsiteX11" fmla="*/ 3366091 w 3648846"/>
                <a:gd name="connsiteY11" fmla="*/ 3572481 h 3649899"/>
                <a:gd name="connsiteX12" fmla="*/ 3035259 w 3648846"/>
                <a:gd name="connsiteY12" fmla="*/ 3572481 h 3649899"/>
                <a:gd name="connsiteX13" fmla="*/ 2580158 w 3648846"/>
                <a:gd name="connsiteY13" fmla="*/ 3572481 h 3649899"/>
                <a:gd name="connsiteX14" fmla="*/ 2249212 w 3648846"/>
                <a:gd name="connsiteY14" fmla="*/ 3572481 h 3649899"/>
                <a:gd name="connsiteX15" fmla="*/ 1793998 w 3648846"/>
                <a:gd name="connsiteY15" fmla="*/ 3572481 h 3649899"/>
                <a:gd name="connsiteX16" fmla="*/ 1463052 w 3648846"/>
                <a:gd name="connsiteY16" fmla="*/ 3572481 h 3649899"/>
                <a:gd name="connsiteX17" fmla="*/ 1007893 w 3648846"/>
                <a:gd name="connsiteY17" fmla="*/ 3572481 h 3649899"/>
                <a:gd name="connsiteX18" fmla="*/ 676548 w 3648846"/>
                <a:gd name="connsiteY18" fmla="*/ 3572481 h 3649899"/>
                <a:gd name="connsiteX19" fmla="*/ 220991 w 3648846"/>
                <a:gd name="connsiteY19" fmla="*/ 3572481 h 3649899"/>
                <a:gd name="connsiteX20" fmla="*/ 55262 w 3648846"/>
                <a:gd name="connsiteY20" fmla="*/ 3515280 h 3649899"/>
                <a:gd name="connsiteX21" fmla="*/ 0 w 3648846"/>
                <a:gd name="connsiteY21" fmla="*/ 3460018 h 3649899"/>
                <a:gd name="connsiteX22" fmla="*/ 55262 w 3648846"/>
                <a:gd name="connsiteY22" fmla="*/ 3404755 h 3649899"/>
                <a:gd name="connsiteX23" fmla="*/ 283040 w 3648846"/>
                <a:gd name="connsiteY23" fmla="*/ 3480948 h 3649899"/>
                <a:gd name="connsiteX24" fmla="*/ 614556 w 3648846"/>
                <a:gd name="connsiteY24" fmla="*/ 3480948 h 3649899"/>
                <a:gd name="connsiteX25" fmla="*/ 842193 w 3648846"/>
                <a:gd name="connsiteY25" fmla="*/ 3403529 h 3649899"/>
                <a:gd name="connsiteX26" fmla="*/ 842214 w 3648846"/>
                <a:gd name="connsiteY26" fmla="*/ 3074466 h 3649899"/>
                <a:gd name="connsiteX27" fmla="*/ 1069999 w 3648846"/>
                <a:gd name="connsiteY27" fmla="*/ 3151885 h 3649899"/>
                <a:gd name="connsiteX28" fmla="*/ 1401003 w 3648846"/>
                <a:gd name="connsiteY28" fmla="*/ 3151885 h 3649899"/>
                <a:gd name="connsiteX29" fmla="*/ 1856103 w 3648846"/>
                <a:gd name="connsiteY29" fmla="*/ 3151885 h 3649899"/>
                <a:gd name="connsiteX30" fmla="*/ 2187106 w 3648846"/>
                <a:gd name="connsiteY30" fmla="*/ 3151885 h 3649899"/>
                <a:gd name="connsiteX31" fmla="*/ 2642207 w 3648846"/>
                <a:gd name="connsiteY31" fmla="*/ 3151885 h 3649899"/>
                <a:gd name="connsiteX32" fmla="*/ 2973153 w 3648846"/>
                <a:gd name="connsiteY32" fmla="*/ 3151885 h 3649899"/>
                <a:gd name="connsiteX33" fmla="*/ 3428196 w 3648846"/>
                <a:gd name="connsiteY33" fmla="*/ 3151885 h 3649899"/>
                <a:gd name="connsiteX34" fmla="*/ 3593584 w 3648846"/>
                <a:gd name="connsiteY34" fmla="*/ 3209029 h 3649899"/>
                <a:gd name="connsiteX35" fmla="*/ 3648846 w 3648846"/>
                <a:gd name="connsiteY35" fmla="*/ 3264291 h 3649899"/>
                <a:gd name="connsiteX36" fmla="*/ 3593527 w 3648846"/>
                <a:gd name="connsiteY36" fmla="*/ 3319554 h 3649899"/>
                <a:gd name="connsiteX37" fmla="*/ 3366091 w 3648846"/>
                <a:gd name="connsiteY37" fmla="*/ 3243361 h 3649899"/>
                <a:gd name="connsiteX38" fmla="*/ 3035259 w 3648846"/>
                <a:gd name="connsiteY38" fmla="*/ 3243361 h 3649899"/>
                <a:gd name="connsiteX39" fmla="*/ 2580158 w 3648846"/>
                <a:gd name="connsiteY39" fmla="*/ 3243361 h 3649899"/>
                <a:gd name="connsiteX40" fmla="*/ 2249212 w 3648846"/>
                <a:gd name="connsiteY40" fmla="*/ 3243361 h 3649899"/>
                <a:gd name="connsiteX41" fmla="*/ 1793998 w 3648846"/>
                <a:gd name="connsiteY41" fmla="*/ 3243361 h 3649899"/>
                <a:gd name="connsiteX42" fmla="*/ 1463052 w 3648846"/>
                <a:gd name="connsiteY42" fmla="*/ 3243361 h 3649899"/>
                <a:gd name="connsiteX43" fmla="*/ 1007893 w 3648846"/>
                <a:gd name="connsiteY43" fmla="*/ 3243361 h 3649899"/>
                <a:gd name="connsiteX44" fmla="*/ 676548 w 3648846"/>
                <a:gd name="connsiteY44" fmla="*/ 3243361 h 3649899"/>
                <a:gd name="connsiteX45" fmla="*/ 220991 w 3648846"/>
                <a:gd name="connsiteY45" fmla="*/ 3243361 h 3649899"/>
                <a:gd name="connsiteX46" fmla="*/ 55262 w 3648846"/>
                <a:gd name="connsiteY46" fmla="*/ 3186217 h 3649899"/>
                <a:gd name="connsiteX47" fmla="*/ 0 w 3648846"/>
                <a:gd name="connsiteY47" fmla="*/ 3130955 h 3649899"/>
                <a:gd name="connsiteX48" fmla="*/ 55262 w 3648846"/>
                <a:gd name="connsiteY48" fmla="*/ 3075692 h 3649899"/>
                <a:gd name="connsiteX49" fmla="*/ 283040 w 3648846"/>
                <a:gd name="connsiteY49" fmla="*/ 3151885 h 3649899"/>
                <a:gd name="connsiteX50" fmla="*/ 614556 w 3648846"/>
                <a:gd name="connsiteY50" fmla="*/ 3151885 h 3649899"/>
                <a:gd name="connsiteX51" fmla="*/ 842214 w 3648846"/>
                <a:gd name="connsiteY51" fmla="*/ 3074466 h 3649899"/>
                <a:gd name="connsiteX52" fmla="*/ 842193 w 3648846"/>
                <a:gd name="connsiteY52" fmla="*/ 2745231 h 3649899"/>
                <a:gd name="connsiteX53" fmla="*/ 1069999 w 3648846"/>
                <a:gd name="connsiteY53" fmla="*/ 2822650 h 3649899"/>
                <a:gd name="connsiteX54" fmla="*/ 1401003 w 3648846"/>
                <a:gd name="connsiteY54" fmla="*/ 2822650 h 3649899"/>
                <a:gd name="connsiteX55" fmla="*/ 1856103 w 3648846"/>
                <a:gd name="connsiteY55" fmla="*/ 2822650 h 3649899"/>
                <a:gd name="connsiteX56" fmla="*/ 2187106 w 3648846"/>
                <a:gd name="connsiteY56" fmla="*/ 2822650 h 3649899"/>
                <a:gd name="connsiteX57" fmla="*/ 2642207 w 3648846"/>
                <a:gd name="connsiteY57" fmla="*/ 2822650 h 3649899"/>
                <a:gd name="connsiteX58" fmla="*/ 2973153 w 3648846"/>
                <a:gd name="connsiteY58" fmla="*/ 2822650 h 3649899"/>
                <a:gd name="connsiteX59" fmla="*/ 3428196 w 3648846"/>
                <a:gd name="connsiteY59" fmla="*/ 2822650 h 3649899"/>
                <a:gd name="connsiteX60" fmla="*/ 3593527 w 3648846"/>
                <a:gd name="connsiteY60" fmla="*/ 2879794 h 3649899"/>
                <a:gd name="connsiteX61" fmla="*/ 3648789 w 3648846"/>
                <a:gd name="connsiteY61" fmla="*/ 2935056 h 3649899"/>
                <a:gd name="connsiteX62" fmla="*/ 3593527 w 3648846"/>
                <a:gd name="connsiteY62" fmla="*/ 2990433 h 3649899"/>
                <a:gd name="connsiteX63" fmla="*/ 3366091 w 3648846"/>
                <a:gd name="connsiteY63" fmla="*/ 2914183 h 3649899"/>
                <a:gd name="connsiteX64" fmla="*/ 3035259 w 3648846"/>
                <a:gd name="connsiteY64" fmla="*/ 2914183 h 3649899"/>
                <a:gd name="connsiteX65" fmla="*/ 2580158 w 3648846"/>
                <a:gd name="connsiteY65" fmla="*/ 2914183 h 3649899"/>
                <a:gd name="connsiteX66" fmla="*/ 2249212 w 3648846"/>
                <a:gd name="connsiteY66" fmla="*/ 2914183 h 3649899"/>
                <a:gd name="connsiteX67" fmla="*/ 1793998 w 3648846"/>
                <a:gd name="connsiteY67" fmla="*/ 2914183 h 3649899"/>
                <a:gd name="connsiteX68" fmla="*/ 1463052 w 3648846"/>
                <a:gd name="connsiteY68" fmla="*/ 2914183 h 3649899"/>
                <a:gd name="connsiteX69" fmla="*/ 1007893 w 3648846"/>
                <a:gd name="connsiteY69" fmla="*/ 2914183 h 3649899"/>
                <a:gd name="connsiteX70" fmla="*/ 676548 w 3648846"/>
                <a:gd name="connsiteY70" fmla="*/ 2914183 h 3649899"/>
                <a:gd name="connsiteX71" fmla="*/ 220991 w 3648846"/>
                <a:gd name="connsiteY71" fmla="*/ 2914183 h 3649899"/>
                <a:gd name="connsiteX72" fmla="*/ 55262 w 3648846"/>
                <a:gd name="connsiteY72" fmla="*/ 2856982 h 3649899"/>
                <a:gd name="connsiteX73" fmla="*/ 0 w 3648846"/>
                <a:gd name="connsiteY73" fmla="*/ 2801720 h 3649899"/>
                <a:gd name="connsiteX74" fmla="*/ 55262 w 3648846"/>
                <a:gd name="connsiteY74" fmla="*/ 2746457 h 3649899"/>
                <a:gd name="connsiteX75" fmla="*/ 283040 w 3648846"/>
                <a:gd name="connsiteY75" fmla="*/ 2822650 h 3649899"/>
                <a:gd name="connsiteX76" fmla="*/ 614556 w 3648846"/>
                <a:gd name="connsiteY76" fmla="*/ 2822650 h 3649899"/>
                <a:gd name="connsiteX77" fmla="*/ 842193 w 3648846"/>
                <a:gd name="connsiteY77" fmla="*/ 2745231 h 3649899"/>
                <a:gd name="connsiteX78" fmla="*/ 1884447 w 3648846"/>
                <a:gd name="connsiteY78" fmla="*/ 1301941 h 3649899"/>
                <a:gd name="connsiteX79" fmla="*/ 3110652 w 3648846"/>
                <a:gd name="connsiteY79" fmla="*/ 1983109 h 3649899"/>
                <a:gd name="connsiteX80" fmla="*/ 2805483 w 3648846"/>
                <a:gd name="connsiteY80" fmla="*/ 2769270 h 3649899"/>
                <a:gd name="connsiteX81" fmla="*/ 2704312 w 3648846"/>
                <a:gd name="connsiteY81" fmla="*/ 2731117 h 3649899"/>
                <a:gd name="connsiteX82" fmla="*/ 2124943 w 3648846"/>
                <a:gd name="connsiteY82" fmla="*/ 2731117 h 3649899"/>
                <a:gd name="connsiteX83" fmla="*/ 2021547 w 3648846"/>
                <a:gd name="connsiteY83" fmla="*/ 2769270 h 3649899"/>
                <a:gd name="connsiteX84" fmla="*/ 1918151 w 3648846"/>
                <a:gd name="connsiteY84" fmla="*/ 2731117 h 3649899"/>
                <a:gd name="connsiteX85" fmla="*/ 1881139 w 3648846"/>
                <a:gd name="connsiteY85" fmla="*/ 2706765 h 3649899"/>
                <a:gd name="connsiteX86" fmla="*/ 1884447 w 3648846"/>
                <a:gd name="connsiteY86" fmla="*/ 1301941 h 3649899"/>
                <a:gd name="connsiteX87" fmla="*/ 1768276 w 3648846"/>
                <a:gd name="connsiteY87" fmla="*/ 1298690 h 3649899"/>
                <a:gd name="connsiteX88" fmla="*/ 1769416 w 3648846"/>
                <a:gd name="connsiteY88" fmla="*/ 2655381 h 3649899"/>
                <a:gd name="connsiteX89" fmla="*/ 1338725 w 3648846"/>
                <a:gd name="connsiteY89" fmla="*/ 2731117 h 3649899"/>
                <a:gd name="connsiteX90" fmla="*/ 1235329 w 3648846"/>
                <a:gd name="connsiteY90" fmla="*/ 2769270 h 3649899"/>
                <a:gd name="connsiteX91" fmla="*/ 1131933 w 3648846"/>
                <a:gd name="connsiteY91" fmla="*/ 2731117 h 3649899"/>
                <a:gd name="connsiteX92" fmla="*/ 842220 w 3648846"/>
                <a:gd name="connsiteY92" fmla="*/ 2636047 h 3649899"/>
                <a:gd name="connsiteX93" fmla="*/ 791920 w 3648846"/>
                <a:gd name="connsiteY93" fmla="*/ 2638272 h 3649899"/>
                <a:gd name="connsiteX94" fmla="*/ 534315 w 3648846"/>
                <a:gd name="connsiteY94" fmla="*/ 1974270 h 3649899"/>
                <a:gd name="connsiteX95" fmla="*/ 1886442 w 3648846"/>
                <a:gd name="connsiteY95" fmla="*/ 794715 h 3649899"/>
                <a:gd name="connsiteX96" fmla="*/ 3233893 w 3648846"/>
                <a:gd name="connsiteY96" fmla="*/ 1533598 h 3649899"/>
                <a:gd name="connsiteX97" fmla="*/ 3258759 w 3648846"/>
                <a:gd name="connsiteY97" fmla="*/ 1602148 h 3649899"/>
                <a:gd name="connsiteX98" fmla="*/ 3151257 w 3648846"/>
                <a:gd name="connsiteY98" fmla="*/ 1879087 h 3649899"/>
                <a:gd name="connsiteX99" fmla="*/ 1885074 w 3648846"/>
                <a:gd name="connsiteY99" fmla="*/ 1175506 h 3649899"/>
                <a:gd name="connsiteX100" fmla="*/ 1775918 w 3648846"/>
                <a:gd name="connsiteY100" fmla="*/ 787586 h 3649899"/>
                <a:gd name="connsiteX101" fmla="*/ 1775861 w 3648846"/>
                <a:gd name="connsiteY101" fmla="*/ 798307 h 3649899"/>
                <a:gd name="connsiteX102" fmla="*/ 1768561 w 3648846"/>
                <a:gd name="connsiteY102" fmla="*/ 1172483 h 3649899"/>
                <a:gd name="connsiteX103" fmla="*/ 493937 w 3648846"/>
                <a:gd name="connsiteY103" fmla="*/ 1870076 h 3649899"/>
                <a:gd name="connsiteX104" fmla="*/ 390028 w 3648846"/>
                <a:gd name="connsiteY104" fmla="*/ 1602148 h 3649899"/>
                <a:gd name="connsiteX105" fmla="*/ 414893 w 3648846"/>
                <a:gd name="connsiteY105" fmla="*/ 1533598 h 3649899"/>
                <a:gd name="connsiteX106" fmla="*/ 1501262 w 3648846"/>
                <a:gd name="connsiteY106" fmla="*/ 0 h 3649899"/>
                <a:gd name="connsiteX107" fmla="*/ 2147014 w 3648846"/>
                <a:gd name="connsiteY107" fmla="*/ 0 h 3649899"/>
                <a:gd name="connsiteX108" fmla="*/ 2202276 w 3648846"/>
                <a:gd name="connsiteY108" fmla="*/ 55262 h 3649899"/>
                <a:gd name="connsiteX109" fmla="*/ 2202276 w 3648846"/>
                <a:gd name="connsiteY109" fmla="*/ 430121 h 3649899"/>
                <a:gd name="connsiteX110" fmla="*/ 2777254 w 3648846"/>
                <a:gd name="connsiteY110" fmla="*/ 430121 h 3649899"/>
                <a:gd name="connsiteX111" fmla="*/ 2832516 w 3648846"/>
                <a:gd name="connsiteY111" fmla="*/ 485383 h 3649899"/>
                <a:gd name="connsiteX112" fmla="*/ 2832516 w 3648846"/>
                <a:gd name="connsiteY112" fmla="*/ 1187481 h 3649899"/>
                <a:gd name="connsiteX113" fmla="*/ 1903723 w 3648846"/>
                <a:gd name="connsiteY113" fmla="*/ 678316 h 3649899"/>
                <a:gd name="connsiteX114" fmla="*/ 1824109 w 3648846"/>
                <a:gd name="connsiteY114" fmla="*/ 657842 h 3649899"/>
                <a:gd name="connsiteX115" fmla="*/ 1742271 w 3648846"/>
                <a:gd name="connsiteY115" fmla="*/ 679400 h 3649899"/>
                <a:gd name="connsiteX116" fmla="*/ 1727329 w 3648846"/>
                <a:gd name="connsiteY116" fmla="*/ 687156 h 3649899"/>
                <a:gd name="connsiteX117" fmla="*/ 1725675 w 3648846"/>
                <a:gd name="connsiteY117" fmla="*/ 688810 h 3649899"/>
                <a:gd name="connsiteX118" fmla="*/ 816215 w 3648846"/>
                <a:gd name="connsiteY118" fmla="*/ 1187481 h 3649899"/>
                <a:gd name="connsiteX119" fmla="*/ 816215 w 3648846"/>
                <a:gd name="connsiteY119" fmla="*/ 485383 h 3649899"/>
                <a:gd name="connsiteX120" fmla="*/ 871477 w 3648846"/>
                <a:gd name="connsiteY120" fmla="*/ 430121 h 3649899"/>
                <a:gd name="connsiteX121" fmla="*/ 1445885 w 3648846"/>
                <a:gd name="connsiteY121" fmla="*/ 430121 h 3649899"/>
                <a:gd name="connsiteX122" fmla="*/ 1445885 w 3648846"/>
                <a:gd name="connsiteY122" fmla="*/ 55262 h 3649899"/>
                <a:gd name="connsiteX123" fmla="*/ 1501262 w 3648846"/>
                <a:gd name="connsiteY123" fmla="*/ 0 h 36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3648846" h="3649899">
                  <a:moveTo>
                    <a:pt x="842193" y="3403529"/>
                  </a:moveTo>
                  <a:cubicBezTo>
                    <a:pt x="918000" y="3403500"/>
                    <a:pt x="993836" y="3429278"/>
                    <a:pt x="1069999" y="3480948"/>
                  </a:cubicBezTo>
                  <a:cubicBezTo>
                    <a:pt x="1184574" y="3558680"/>
                    <a:pt x="1286258" y="3558851"/>
                    <a:pt x="1401003" y="3480948"/>
                  </a:cubicBezTo>
                  <a:cubicBezTo>
                    <a:pt x="1551163" y="3378920"/>
                    <a:pt x="1702293" y="3376582"/>
                    <a:pt x="1856103" y="3480948"/>
                  </a:cubicBezTo>
                  <a:cubicBezTo>
                    <a:pt x="1970677" y="3558737"/>
                    <a:pt x="2072419" y="3558794"/>
                    <a:pt x="2187106" y="3480948"/>
                  </a:cubicBezTo>
                  <a:cubicBezTo>
                    <a:pt x="2336639" y="3379433"/>
                    <a:pt x="2487883" y="3376126"/>
                    <a:pt x="2642207" y="3480948"/>
                  </a:cubicBezTo>
                  <a:cubicBezTo>
                    <a:pt x="2756780" y="3558737"/>
                    <a:pt x="2858408" y="3558794"/>
                    <a:pt x="2973153" y="3480948"/>
                  </a:cubicBezTo>
                  <a:cubicBezTo>
                    <a:pt x="3122686" y="3379433"/>
                    <a:pt x="3273873" y="3376126"/>
                    <a:pt x="3428196" y="3480948"/>
                  </a:cubicBezTo>
                  <a:cubicBezTo>
                    <a:pt x="3475189" y="3512885"/>
                    <a:pt x="3512316" y="3538092"/>
                    <a:pt x="3593527" y="3538092"/>
                  </a:cubicBezTo>
                  <a:cubicBezTo>
                    <a:pt x="3624038" y="3538092"/>
                    <a:pt x="3648789" y="3562843"/>
                    <a:pt x="3648789" y="3593355"/>
                  </a:cubicBezTo>
                  <a:cubicBezTo>
                    <a:pt x="3648789" y="3623866"/>
                    <a:pt x="3624095" y="3648731"/>
                    <a:pt x="3593527" y="3648731"/>
                  </a:cubicBezTo>
                  <a:cubicBezTo>
                    <a:pt x="3478326" y="3648731"/>
                    <a:pt x="3418672" y="3608239"/>
                    <a:pt x="3366091" y="3572481"/>
                  </a:cubicBezTo>
                  <a:cubicBezTo>
                    <a:pt x="3251574" y="3494692"/>
                    <a:pt x="3149946" y="3494635"/>
                    <a:pt x="3035259" y="3572481"/>
                  </a:cubicBezTo>
                  <a:cubicBezTo>
                    <a:pt x="2885726" y="3673995"/>
                    <a:pt x="2734482" y="3677303"/>
                    <a:pt x="2580158" y="3572481"/>
                  </a:cubicBezTo>
                  <a:cubicBezTo>
                    <a:pt x="2465528" y="3494692"/>
                    <a:pt x="2363957" y="3494635"/>
                    <a:pt x="2249212" y="3572481"/>
                  </a:cubicBezTo>
                  <a:cubicBezTo>
                    <a:pt x="2099337" y="3674223"/>
                    <a:pt x="1948150" y="3677075"/>
                    <a:pt x="1793998" y="3572481"/>
                  </a:cubicBezTo>
                  <a:cubicBezTo>
                    <a:pt x="1679424" y="3494749"/>
                    <a:pt x="1577739" y="3494578"/>
                    <a:pt x="1463052" y="3572481"/>
                  </a:cubicBezTo>
                  <a:cubicBezTo>
                    <a:pt x="1312606" y="3674679"/>
                    <a:pt x="1161419" y="3676676"/>
                    <a:pt x="1007893" y="3572481"/>
                  </a:cubicBezTo>
                  <a:cubicBezTo>
                    <a:pt x="893149" y="3494635"/>
                    <a:pt x="791464" y="3494635"/>
                    <a:pt x="676548" y="3572481"/>
                  </a:cubicBezTo>
                  <a:cubicBezTo>
                    <a:pt x="524335" y="3675649"/>
                    <a:pt x="373376" y="3675763"/>
                    <a:pt x="220991" y="3572481"/>
                  </a:cubicBezTo>
                  <a:cubicBezTo>
                    <a:pt x="173884" y="3540545"/>
                    <a:pt x="136644" y="3515280"/>
                    <a:pt x="55262" y="3515280"/>
                  </a:cubicBezTo>
                  <a:cubicBezTo>
                    <a:pt x="24751" y="3515280"/>
                    <a:pt x="0" y="3490529"/>
                    <a:pt x="0" y="3460018"/>
                  </a:cubicBezTo>
                  <a:cubicBezTo>
                    <a:pt x="0" y="3429506"/>
                    <a:pt x="24751" y="3404755"/>
                    <a:pt x="55262" y="3404755"/>
                  </a:cubicBezTo>
                  <a:cubicBezTo>
                    <a:pt x="170634" y="3404755"/>
                    <a:pt x="230344" y="3445247"/>
                    <a:pt x="283040" y="3480948"/>
                  </a:cubicBezTo>
                  <a:cubicBezTo>
                    <a:pt x="397956" y="3558794"/>
                    <a:pt x="499641" y="3558794"/>
                    <a:pt x="614556" y="3480948"/>
                  </a:cubicBezTo>
                  <a:cubicBezTo>
                    <a:pt x="690606" y="3429393"/>
                    <a:pt x="766385" y="3403558"/>
                    <a:pt x="842193" y="3403529"/>
                  </a:cubicBezTo>
                  <a:close/>
                  <a:moveTo>
                    <a:pt x="842214" y="3074466"/>
                  </a:moveTo>
                  <a:cubicBezTo>
                    <a:pt x="918000" y="3074452"/>
                    <a:pt x="993807" y="3100244"/>
                    <a:pt x="1069999" y="3151885"/>
                  </a:cubicBezTo>
                  <a:cubicBezTo>
                    <a:pt x="1184574" y="3229617"/>
                    <a:pt x="1286258" y="3229731"/>
                    <a:pt x="1401003" y="3151885"/>
                  </a:cubicBezTo>
                  <a:cubicBezTo>
                    <a:pt x="1550536" y="3050313"/>
                    <a:pt x="1701666" y="3047120"/>
                    <a:pt x="1856103" y="3151885"/>
                  </a:cubicBezTo>
                  <a:cubicBezTo>
                    <a:pt x="1970677" y="3229674"/>
                    <a:pt x="2072419" y="3229731"/>
                    <a:pt x="2187106" y="3151885"/>
                  </a:cubicBezTo>
                  <a:cubicBezTo>
                    <a:pt x="2339149" y="3048717"/>
                    <a:pt x="2489994" y="3048603"/>
                    <a:pt x="2642207" y="3151885"/>
                  </a:cubicBezTo>
                  <a:cubicBezTo>
                    <a:pt x="2756780" y="3229674"/>
                    <a:pt x="2858408" y="3229731"/>
                    <a:pt x="2973153" y="3151885"/>
                  </a:cubicBezTo>
                  <a:cubicBezTo>
                    <a:pt x="3125081" y="3048774"/>
                    <a:pt x="3276040" y="3048546"/>
                    <a:pt x="3428196" y="3151885"/>
                  </a:cubicBezTo>
                  <a:cubicBezTo>
                    <a:pt x="3475246" y="3183765"/>
                    <a:pt x="3512373" y="3209029"/>
                    <a:pt x="3593584" y="3209029"/>
                  </a:cubicBezTo>
                  <a:cubicBezTo>
                    <a:pt x="3624095" y="3209029"/>
                    <a:pt x="3648846" y="3233780"/>
                    <a:pt x="3648846" y="3264291"/>
                  </a:cubicBezTo>
                  <a:cubicBezTo>
                    <a:pt x="3648846" y="3294802"/>
                    <a:pt x="3624095" y="3319554"/>
                    <a:pt x="3593527" y="3319554"/>
                  </a:cubicBezTo>
                  <a:cubicBezTo>
                    <a:pt x="3478326" y="3319554"/>
                    <a:pt x="3418672" y="3279062"/>
                    <a:pt x="3366091" y="3243361"/>
                  </a:cubicBezTo>
                  <a:cubicBezTo>
                    <a:pt x="3251574" y="3165572"/>
                    <a:pt x="3149946" y="3165515"/>
                    <a:pt x="3035259" y="3243361"/>
                  </a:cubicBezTo>
                  <a:cubicBezTo>
                    <a:pt x="2883216" y="3346529"/>
                    <a:pt x="2732372" y="3346643"/>
                    <a:pt x="2580158" y="3243361"/>
                  </a:cubicBezTo>
                  <a:cubicBezTo>
                    <a:pt x="2465528" y="3165572"/>
                    <a:pt x="2363957" y="3165515"/>
                    <a:pt x="2249212" y="3243361"/>
                  </a:cubicBezTo>
                  <a:cubicBezTo>
                    <a:pt x="2097170" y="3346529"/>
                    <a:pt x="1946325" y="3346643"/>
                    <a:pt x="1793998" y="3243361"/>
                  </a:cubicBezTo>
                  <a:cubicBezTo>
                    <a:pt x="1679424" y="3165629"/>
                    <a:pt x="1577739" y="3165458"/>
                    <a:pt x="1463052" y="3243361"/>
                  </a:cubicBezTo>
                  <a:cubicBezTo>
                    <a:pt x="1313120" y="3345103"/>
                    <a:pt x="1162104" y="3347898"/>
                    <a:pt x="1007893" y="3243361"/>
                  </a:cubicBezTo>
                  <a:cubicBezTo>
                    <a:pt x="893320" y="3165572"/>
                    <a:pt x="791407" y="3165515"/>
                    <a:pt x="676548" y="3243361"/>
                  </a:cubicBezTo>
                  <a:cubicBezTo>
                    <a:pt x="524335" y="3346529"/>
                    <a:pt x="373376" y="3346643"/>
                    <a:pt x="220991" y="3243361"/>
                  </a:cubicBezTo>
                  <a:cubicBezTo>
                    <a:pt x="173884" y="3211425"/>
                    <a:pt x="136644" y="3186217"/>
                    <a:pt x="55262" y="3186217"/>
                  </a:cubicBezTo>
                  <a:cubicBezTo>
                    <a:pt x="24751" y="3186217"/>
                    <a:pt x="0" y="3161466"/>
                    <a:pt x="0" y="3130955"/>
                  </a:cubicBezTo>
                  <a:cubicBezTo>
                    <a:pt x="0" y="3100443"/>
                    <a:pt x="24751" y="3075692"/>
                    <a:pt x="55262" y="3075692"/>
                  </a:cubicBezTo>
                  <a:cubicBezTo>
                    <a:pt x="170634" y="3075692"/>
                    <a:pt x="230344" y="3116184"/>
                    <a:pt x="283040" y="3151885"/>
                  </a:cubicBezTo>
                  <a:cubicBezTo>
                    <a:pt x="397785" y="3229674"/>
                    <a:pt x="499698" y="3229731"/>
                    <a:pt x="614556" y="3151885"/>
                  </a:cubicBezTo>
                  <a:cubicBezTo>
                    <a:pt x="690663" y="3100301"/>
                    <a:pt x="766428" y="3074481"/>
                    <a:pt x="842214" y="3074466"/>
                  </a:cubicBezTo>
                  <a:close/>
                  <a:moveTo>
                    <a:pt x="842193" y="2745231"/>
                  </a:moveTo>
                  <a:cubicBezTo>
                    <a:pt x="918000" y="2745202"/>
                    <a:pt x="993836" y="2770980"/>
                    <a:pt x="1069999" y="2822650"/>
                  </a:cubicBezTo>
                  <a:cubicBezTo>
                    <a:pt x="1184574" y="2900382"/>
                    <a:pt x="1286258" y="2900553"/>
                    <a:pt x="1401003" y="2822650"/>
                  </a:cubicBezTo>
                  <a:cubicBezTo>
                    <a:pt x="1551163" y="2720622"/>
                    <a:pt x="1702293" y="2718284"/>
                    <a:pt x="1856103" y="2822650"/>
                  </a:cubicBezTo>
                  <a:cubicBezTo>
                    <a:pt x="1970677" y="2900439"/>
                    <a:pt x="2072419" y="2900496"/>
                    <a:pt x="2187106" y="2822650"/>
                  </a:cubicBezTo>
                  <a:cubicBezTo>
                    <a:pt x="2336639" y="2721135"/>
                    <a:pt x="2487883" y="2717828"/>
                    <a:pt x="2642207" y="2822650"/>
                  </a:cubicBezTo>
                  <a:cubicBezTo>
                    <a:pt x="2756780" y="2900439"/>
                    <a:pt x="2858408" y="2900496"/>
                    <a:pt x="2973153" y="2822650"/>
                  </a:cubicBezTo>
                  <a:cubicBezTo>
                    <a:pt x="3122686" y="2721135"/>
                    <a:pt x="3273873" y="2717828"/>
                    <a:pt x="3428196" y="2822650"/>
                  </a:cubicBezTo>
                  <a:cubicBezTo>
                    <a:pt x="3475189" y="2854587"/>
                    <a:pt x="3512316" y="2879794"/>
                    <a:pt x="3593527" y="2879794"/>
                  </a:cubicBezTo>
                  <a:cubicBezTo>
                    <a:pt x="3624038" y="2879794"/>
                    <a:pt x="3648789" y="2904545"/>
                    <a:pt x="3648789" y="2935056"/>
                  </a:cubicBezTo>
                  <a:cubicBezTo>
                    <a:pt x="3648846" y="2965682"/>
                    <a:pt x="3624095" y="2990433"/>
                    <a:pt x="3593527" y="2990433"/>
                  </a:cubicBezTo>
                  <a:cubicBezTo>
                    <a:pt x="3478326" y="2990433"/>
                    <a:pt x="3418672" y="2949941"/>
                    <a:pt x="3366091" y="2914183"/>
                  </a:cubicBezTo>
                  <a:cubicBezTo>
                    <a:pt x="3251574" y="2836394"/>
                    <a:pt x="3149946" y="2836337"/>
                    <a:pt x="3035259" y="2914183"/>
                  </a:cubicBezTo>
                  <a:cubicBezTo>
                    <a:pt x="2885726" y="3015697"/>
                    <a:pt x="2734482" y="3019005"/>
                    <a:pt x="2580158" y="2914183"/>
                  </a:cubicBezTo>
                  <a:cubicBezTo>
                    <a:pt x="2465528" y="2836394"/>
                    <a:pt x="2363957" y="2836337"/>
                    <a:pt x="2249212" y="2914183"/>
                  </a:cubicBezTo>
                  <a:cubicBezTo>
                    <a:pt x="2099337" y="3015925"/>
                    <a:pt x="1948150" y="3018777"/>
                    <a:pt x="1793998" y="2914183"/>
                  </a:cubicBezTo>
                  <a:cubicBezTo>
                    <a:pt x="1679424" y="2836451"/>
                    <a:pt x="1577739" y="2836280"/>
                    <a:pt x="1463052" y="2914183"/>
                  </a:cubicBezTo>
                  <a:cubicBezTo>
                    <a:pt x="1312606" y="3016381"/>
                    <a:pt x="1161419" y="3018377"/>
                    <a:pt x="1007893" y="2914183"/>
                  </a:cubicBezTo>
                  <a:cubicBezTo>
                    <a:pt x="893149" y="2836337"/>
                    <a:pt x="791464" y="2836337"/>
                    <a:pt x="676548" y="2914183"/>
                  </a:cubicBezTo>
                  <a:cubicBezTo>
                    <a:pt x="524335" y="3017351"/>
                    <a:pt x="373376" y="3017465"/>
                    <a:pt x="220991" y="2914183"/>
                  </a:cubicBezTo>
                  <a:cubicBezTo>
                    <a:pt x="173884" y="2882247"/>
                    <a:pt x="136644" y="2856982"/>
                    <a:pt x="55262" y="2856982"/>
                  </a:cubicBezTo>
                  <a:cubicBezTo>
                    <a:pt x="24751" y="2856982"/>
                    <a:pt x="0" y="2832231"/>
                    <a:pt x="0" y="2801720"/>
                  </a:cubicBezTo>
                  <a:cubicBezTo>
                    <a:pt x="0" y="2771208"/>
                    <a:pt x="24751" y="2746457"/>
                    <a:pt x="55262" y="2746457"/>
                  </a:cubicBezTo>
                  <a:cubicBezTo>
                    <a:pt x="170634" y="2746457"/>
                    <a:pt x="230344" y="2786949"/>
                    <a:pt x="283040" y="2822650"/>
                  </a:cubicBezTo>
                  <a:cubicBezTo>
                    <a:pt x="397956" y="2900496"/>
                    <a:pt x="499641" y="2900496"/>
                    <a:pt x="614556" y="2822650"/>
                  </a:cubicBezTo>
                  <a:cubicBezTo>
                    <a:pt x="690606" y="2771094"/>
                    <a:pt x="766385" y="2745260"/>
                    <a:pt x="842193" y="2745231"/>
                  </a:cubicBezTo>
                  <a:close/>
                  <a:moveTo>
                    <a:pt x="1884447" y="1301941"/>
                  </a:moveTo>
                  <a:lnTo>
                    <a:pt x="3110652" y="1983109"/>
                  </a:lnTo>
                  <a:lnTo>
                    <a:pt x="2805483" y="2769270"/>
                  </a:lnTo>
                  <a:cubicBezTo>
                    <a:pt x="2759574" y="2768700"/>
                    <a:pt x="2745773" y="2759290"/>
                    <a:pt x="2704312" y="2731117"/>
                  </a:cubicBezTo>
                  <a:cubicBezTo>
                    <a:pt x="2516169" y="2602742"/>
                    <a:pt x="2313256" y="2602628"/>
                    <a:pt x="2124943" y="2731117"/>
                  </a:cubicBezTo>
                  <a:cubicBezTo>
                    <a:pt x="2082911" y="2759860"/>
                    <a:pt x="2069110" y="2769270"/>
                    <a:pt x="2021547" y="2769270"/>
                  </a:cubicBezTo>
                  <a:cubicBezTo>
                    <a:pt x="1974554" y="2769270"/>
                    <a:pt x="1960182" y="2759860"/>
                    <a:pt x="1918151" y="2731117"/>
                  </a:cubicBezTo>
                  <a:cubicBezTo>
                    <a:pt x="1906517" y="2723361"/>
                    <a:pt x="1894370" y="2715091"/>
                    <a:pt x="1881139" y="2706765"/>
                  </a:cubicBezTo>
                  <a:cubicBezTo>
                    <a:pt x="1878401" y="2508300"/>
                    <a:pt x="1869505" y="2110800"/>
                    <a:pt x="1884447" y="1301941"/>
                  </a:cubicBezTo>
                  <a:close/>
                  <a:moveTo>
                    <a:pt x="1768276" y="1298690"/>
                  </a:moveTo>
                  <a:cubicBezTo>
                    <a:pt x="1782134" y="2053884"/>
                    <a:pt x="1774378" y="2446365"/>
                    <a:pt x="1769416" y="2655381"/>
                  </a:cubicBezTo>
                  <a:cubicBezTo>
                    <a:pt x="1639102" y="2616828"/>
                    <a:pt x="1488885" y="2628690"/>
                    <a:pt x="1338725" y="2731117"/>
                  </a:cubicBezTo>
                  <a:cubicBezTo>
                    <a:pt x="1296693" y="2759860"/>
                    <a:pt x="1282892" y="2769270"/>
                    <a:pt x="1235329" y="2769270"/>
                  </a:cubicBezTo>
                  <a:cubicBezTo>
                    <a:pt x="1188336" y="2769270"/>
                    <a:pt x="1173965" y="2759860"/>
                    <a:pt x="1131933" y="2731117"/>
                  </a:cubicBezTo>
                  <a:cubicBezTo>
                    <a:pt x="1072793" y="2690739"/>
                    <a:pt x="991525" y="2636047"/>
                    <a:pt x="842220" y="2636047"/>
                  </a:cubicBezTo>
                  <a:cubicBezTo>
                    <a:pt x="824541" y="2636047"/>
                    <a:pt x="807945" y="2636618"/>
                    <a:pt x="791920" y="2638272"/>
                  </a:cubicBezTo>
                  <a:lnTo>
                    <a:pt x="534315" y="1974270"/>
                  </a:lnTo>
                  <a:close/>
                  <a:moveTo>
                    <a:pt x="1886442" y="794715"/>
                  </a:moveTo>
                  <a:lnTo>
                    <a:pt x="3233893" y="1533598"/>
                  </a:lnTo>
                  <a:cubicBezTo>
                    <a:pt x="3258188" y="1546886"/>
                    <a:pt x="3268682" y="1576142"/>
                    <a:pt x="3258759" y="1602148"/>
                  </a:cubicBezTo>
                  <a:lnTo>
                    <a:pt x="3151257" y="1879087"/>
                  </a:lnTo>
                  <a:lnTo>
                    <a:pt x="1885074" y="1175506"/>
                  </a:lnTo>
                  <a:close/>
                  <a:moveTo>
                    <a:pt x="1775918" y="787586"/>
                  </a:moveTo>
                  <a:lnTo>
                    <a:pt x="1775861" y="798307"/>
                  </a:lnTo>
                  <a:cubicBezTo>
                    <a:pt x="1762116" y="823629"/>
                    <a:pt x="1771584" y="807660"/>
                    <a:pt x="1768561" y="1172483"/>
                  </a:cubicBezTo>
                  <a:lnTo>
                    <a:pt x="493937" y="1870076"/>
                  </a:lnTo>
                  <a:lnTo>
                    <a:pt x="390028" y="1602148"/>
                  </a:lnTo>
                  <a:cubicBezTo>
                    <a:pt x="380048" y="1576142"/>
                    <a:pt x="390542" y="1546886"/>
                    <a:pt x="414893" y="1533598"/>
                  </a:cubicBezTo>
                  <a:close/>
                  <a:moveTo>
                    <a:pt x="1501262" y="0"/>
                  </a:moveTo>
                  <a:lnTo>
                    <a:pt x="2147014" y="0"/>
                  </a:lnTo>
                  <a:cubicBezTo>
                    <a:pt x="2177411" y="0"/>
                    <a:pt x="2202276" y="24865"/>
                    <a:pt x="2202276" y="55262"/>
                  </a:cubicBezTo>
                  <a:lnTo>
                    <a:pt x="2202276" y="430121"/>
                  </a:lnTo>
                  <a:lnTo>
                    <a:pt x="2777254" y="430121"/>
                  </a:lnTo>
                  <a:cubicBezTo>
                    <a:pt x="2807651" y="430121"/>
                    <a:pt x="2832516" y="454986"/>
                    <a:pt x="2832516" y="485383"/>
                  </a:cubicBezTo>
                  <a:lnTo>
                    <a:pt x="2832516" y="1187481"/>
                  </a:lnTo>
                  <a:lnTo>
                    <a:pt x="1903723" y="678316"/>
                  </a:lnTo>
                  <a:cubicBezTo>
                    <a:pt x="1879372" y="665028"/>
                    <a:pt x="1852282" y="657842"/>
                    <a:pt x="1824109" y="657842"/>
                  </a:cubicBezTo>
                  <a:cubicBezTo>
                    <a:pt x="1795366" y="657842"/>
                    <a:pt x="1767193" y="665028"/>
                    <a:pt x="1742271" y="679400"/>
                  </a:cubicBezTo>
                  <a:lnTo>
                    <a:pt x="1727329" y="687156"/>
                  </a:lnTo>
                  <a:lnTo>
                    <a:pt x="1725675" y="688810"/>
                  </a:lnTo>
                  <a:lnTo>
                    <a:pt x="816215" y="1187481"/>
                  </a:lnTo>
                  <a:lnTo>
                    <a:pt x="816215" y="485383"/>
                  </a:lnTo>
                  <a:cubicBezTo>
                    <a:pt x="816215" y="454986"/>
                    <a:pt x="841080" y="430121"/>
                    <a:pt x="871477" y="430121"/>
                  </a:cubicBezTo>
                  <a:lnTo>
                    <a:pt x="1445885" y="430121"/>
                  </a:lnTo>
                  <a:lnTo>
                    <a:pt x="1445885" y="55262"/>
                  </a:lnTo>
                  <a:cubicBezTo>
                    <a:pt x="1445999" y="24865"/>
                    <a:pt x="1470865" y="0"/>
                    <a:pt x="1501262" y="0"/>
                  </a:cubicBezTo>
                  <a:close/>
                </a:path>
              </a:pathLst>
            </a:custGeom>
            <a:solidFill>
              <a:schemeClr val="accent6"/>
            </a:solidFill>
            <a:ln w="0">
              <a:noFill/>
              <a:prstDash val="solid"/>
              <a:round/>
              <a:headEnd/>
              <a:tailEnd/>
            </a:ln>
          </p:spPr>
          <p:txBody>
            <a:bodyPr rtlCol="0" anchor="ctr"/>
            <a:lstStyle/>
            <a:p>
              <a:endParaRPr lang="en-US" sz="800"/>
            </a:p>
          </p:txBody>
        </p:sp>
        <p:sp>
          <p:nvSpPr>
            <p:cNvPr id="246" name="LegendText">
              <a:extLst>
                <a:ext uri="{FF2B5EF4-FFF2-40B4-BE49-F238E27FC236}">
                  <a16:creationId xmlns:a16="http://schemas.microsoft.com/office/drawing/2014/main" id="{69A5AB98-BC83-E945-C8D9-2F971ABCC5AB}"/>
                </a:ext>
              </a:extLst>
            </p:cNvPr>
            <p:cNvSpPr txBox="1">
              <a:spLocks/>
            </p:cNvSpPr>
            <p:nvPr/>
          </p:nvSpPr>
          <p:spPr>
            <a:xfrm>
              <a:off x="1762359" y="4323348"/>
              <a:ext cx="184346" cy="107722"/>
            </a:xfrm>
            <a:prstGeom prst="rect">
              <a:avLst/>
            </a:prstGeom>
            <a:noFill/>
            <a:ln w="9525">
              <a:noFill/>
            </a:ln>
          </p:spPr>
          <p:txBody>
            <a:bodyPr vert="horz" wrap="none" lIns="0" tIns="0" rIns="0" bIns="0" rtlCol="0" anchor="t" anchorCtr="0">
              <a:spAutoFit/>
            </a:bodyPr>
            <a:lstStyle>
              <a:defPPr>
                <a:defRPr lang="en-EN"/>
              </a:defPPr>
              <a:lvl1pPr marL="0" marR="0" lvl="0" indent="0" defTabSz="914400" eaLnBrk="1" fontAlgn="auto" latinLnBrk="0" hangingPunct="1">
                <a:lnSpc>
                  <a:spcPct val="100000"/>
                </a:lnSpc>
                <a:spcBef>
                  <a:spcPts val="0"/>
                </a:spcBef>
                <a:spcAft>
                  <a:spcPts val="0"/>
                </a:spcAft>
                <a:buClr>
                  <a:srgbClr val="000000"/>
                </a:buClr>
                <a:buSzPct val="100000"/>
                <a:buFontTx/>
                <a:buNone/>
                <a:tabLst/>
                <a:defRPr kumimoji="0" sz="1000" b="0" i="0" u="none" strike="noStrike" kern="0" cap="none" spc="0" normalizeH="0" baseline="0">
                  <a:ln>
                    <a:noFill/>
                  </a:ln>
                  <a:effectLst/>
                  <a:uLnTx/>
                  <a:uFillTx/>
                  <a:latin typeface="+mn-lt"/>
                </a:defRPr>
              </a:lvl1pPr>
            </a:lstStyle>
            <a:p>
              <a:r>
                <a:rPr lang="en-US" sz="700">
                  <a:sym typeface="+mn-lt"/>
                </a:rPr>
                <a:t>LNG</a:t>
              </a:r>
            </a:p>
          </p:txBody>
        </p:sp>
      </p:grpSp>
      <p:grpSp>
        <p:nvGrpSpPr>
          <p:cNvPr id="247" name="Group 33">
            <a:extLst>
              <a:ext uri="{FF2B5EF4-FFF2-40B4-BE49-F238E27FC236}">
                <a16:creationId xmlns:a16="http://schemas.microsoft.com/office/drawing/2014/main" id="{97285EEC-CEE4-1D62-B2F0-5A9E1DA0F6D2}"/>
              </a:ext>
            </a:extLst>
          </p:cNvPr>
          <p:cNvGrpSpPr/>
          <p:nvPr/>
        </p:nvGrpSpPr>
        <p:grpSpPr>
          <a:xfrm>
            <a:off x="6953760" y="1262082"/>
            <a:ext cx="571169" cy="177940"/>
            <a:chOff x="2015739" y="4285120"/>
            <a:chExt cx="571169" cy="177940"/>
          </a:xfrm>
        </p:grpSpPr>
        <p:sp>
          <p:nvSpPr>
            <p:cNvPr id="248" name="Freeform 12">
              <a:extLst>
                <a:ext uri="{FF2B5EF4-FFF2-40B4-BE49-F238E27FC236}">
                  <a16:creationId xmlns:a16="http://schemas.microsoft.com/office/drawing/2014/main" id="{8B4A6593-BA98-DEF1-D733-C4D1D2A573CA}"/>
                </a:ext>
              </a:extLst>
            </p:cNvPr>
            <p:cNvSpPr>
              <a:spLocks noChangeAspect="1" noEditPoints="1"/>
            </p:cNvSpPr>
            <p:nvPr/>
          </p:nvSpPr>
          <p:spPr bwMode="auto">
            <a:xfrm>
              <a:off x="2015739" y="4285120"/>
              <a:ext cx="194021" cy="177940"/>
            </a:xfrm>
            <a:custGeom>
              <a:avLst/>
              <a:gdLst>
                <a:gd name="T0" fmla="*/ 1048 w 1059"/>
                <a:gd name="T1" fmla="*/ 698 h 973"/>
                <a:gd name="T2" fmla="*/ 1034 w 1059"/>
                <a:gd name="T3" fmla="*/ 656 h 973"/>
                <a:gd name="T4" fmla="*/ 1010 w 1059"/>
                <a:gd name="T5" fmla="*/ 639 h 973"/>
                <a:gd name="T6" fmla="*/ 928 w 1059"/>
                <a:gd name="T7" fmla="*/ 313 h 973"/>
                <a:gd name="T8" fmla="*/ 917 w 1059"/>
                <a:gd name="T9" fmla="*/ 124 h 973"/>
                <a:gd name="T10" fmla="*/ 928 w 1059"/>
                <a:gd name="T11" fmla="*/ 7 h 973"/>
                <a:gd name="T12" fmla="*/ 833 w 1059"/>
                <a:gd name="T13" fmla="*/ 3 h 973"/>
                <a:gd name="T14" fmla="*/ 827 w 1059"/>
                <a:gd name="T15" fmla="*/ 115 h 973"/>
                <a:gd name="T16" fmla="*/ 845 w 1059"/>
                <a:gd name="T17" fmla="*/ 304 h 973"/>
                <a:gd name="T18" fmla="*/ 826 w 1059"/>
                <a:gd name="T19" fmla="*/ 412 h 973"/>
                <a:gd name="T20" fmla="*/ 751 w 1059"/>
                <a:gd name="T21" fmla="*/ 639 h 973"/>
                <a:gd name="T22" fmla="*/ 730 w 1059"/>
                <a:gd name="T23" fmla="*/ 694 h 973"/>
                <a:gd name="T24" fmla="*/ 707 w 1059"/>
                <a:gd name="T25" fmla="*/ 713 h 973"/>
                <a:gd name="T26" fmla="*/ 674 w 1059"/>
                <a:gd name="T27" fmla="*/ 660 h 973"/>
                <a:gd name="T28" fmla="*/ 626 w 1059"/>
                <a:gd name="T29" fmla="*/ 639 h 973"/>
                <a:gd name="T30" fmla="*/ 578 w 1059"/>
                <a:gd name="T31" fmla="*/ 313 h 973"/>
                <a:gd name="T32" fmla="*/ 569 w 1059"/>
                <a:gd name="T33" fmla="*/ 123 h 973"/>
                <a:gd name="T34" fmla="*/ 575 w 1059"/>
                <a:gd name="T35" fmla="*/ 3 h 973"/>
                <a:gd name="T36" fmla="*/ 478 w 1059"/>
                <a:gd name="T37" fmla="*/ 7 h 973"/>
                <a:gd name="T38" fmla="*/ 483 w 1059"/>
                <a:gd name="T39" fmla="*/ 119 h 973"/>
                <a:gd name="T40" fmla="*/ 488 w 1059"/>
                <a:gd name="T41" fmla="*/ 304 h 973"/>
                <a:gd name="T42" fmla="*/ 476 w 1059"/>
                <a:gd name="T43" fmla="*/ 414 h 973"/>
                <a:gd name="T44" fmla="*/ 396 w 1059"/>
                <a:gd name="T45" fmla="*/ 640 h 973"/>
                <a:gd name="T46" fmla="*/ 381 w 1059"/>
                <a:gd name="T47" fmla="*/ 694 h 973"/>
                <a:gd name="T48" fmla="*/ 356 w 1059"/>
                <a:gd name="T49" fmla="*/ 715 h 973"/>
                <a:gd name="T50" fmla="*/ 332 w 1059"/>
                <a:gd name="T51" fmla="*/ 694 h 973"/>
                <a:gd name="T52" fmla="*/ 315 w 1059"/>
                <a:gd name="T53" fmla="*/ 640 h 973"/>
                <a:gd name="T54" fmla="*/ 228 w 1059"/>
                <a:gd name="T55" fmla="*/ 412 h 973"/>
                <a:gd name="T56" fmla="*/ 213 w 1059"/>
                <a:gd name="T57" fmla="*/ 124 h 973"/>
                <a:gd name="T58" fmla="*/ 228 w 1059"/>
                <a:gd name="T59" fmla="*/ 12 h 973"/>
                <a:gd name="T60" fmla="*/ 136 w 1059"/>
                <a:gd name="T61" fmla="*/ 1 h 973"/>
                <a:gd name="T62" fmla="*/ 126 w 1059"/>
                <a:gd name="T63" fmla="*/ 114 h 973"/>
                <a:gd name="T64" fmla="*/ 143 w 1059"/>
                <a:gd name="T65" fmla="*/ 304 h 973"/>
                <a:gd name="T66" fmla="*/ 126 w 1059"/>
                <a:gd name="T67" fmla="*/ 412 h 973"/>
                <a:gd name="T68" fmla="*/ 54 w 1059"/>
                <a:gd name="T69" fmla="*/ 639 h 973"/>
                <a:gd name="T70" fmla="*/ 30 w 1059"/>
                <a:gd name="T71" fmla="*/ 656 h 973"/>
                <a:gd name="T72" fmla="*/ 13 w 1059"/>
                <a:gd name="T73" fmla="*/ 698 h 973"/>
                <a:gd name="T74" fmla="*/ 1059 w 1059"/>
                <a:gd name="T75" fmla="*/ 907 h 973"/>
                <a:gd name="T76" fmla="*/ 136 w 1059"/>
                <a:gd name="T77" fmla="*/ 593 h 973"/>
                <a:gd name="T78" fmla="*/ 136 w 1059"/>
                <a:gd name="T79" fmla="*/ 447 h 973"/>
                <a:gd name="T80" fmla="*/ 232 w 1059"/>
                <a:gd name="T81" fmla="*/ 522 h 973"/>
                <a:gd name="T82" fmla="*/ 258 w 1059"/>
                <a:gd name="T83" fmla="*/ 639 h 973"/>
                <a:gd name="T84" fmla="*/ 491 w 1059"/>
                <a:gd name="T85" fmla="*/ 593 h 973"/>
                <a:gd name="T86" fmla="*/ 491 w 1059"/>
                <a:gd name="T87" fmla="*/ 447 h 973"/>
                <a:gd name="T88" fmla="*/ 584 w 1059"/>
                <a:gd name="T89" fmla="*/ 522 h 973"/>
                <a:gd name="T90" fmla="*/ 611 w 1059"/>
                <a:gd name="T91" fmla="*/ 639 h 973"/>
                <a:gd name="T92" fmla="*/ 841 w 1059"/>
                <a:gd name="T93" fmla="*/ 593 h 973"/>
                <a:gd name="T94" fmla="*/ 841 w 1059"/>
                <a:gd name="T95" fmla="*/ 447 h 973"/>
                <a:gd name="T96" fmla="*/ 935 w 1059"/>
                <a:gd name="T97" fmla="*/ 522 h 973"/>
                <a:gd name="T98" fmla="*/ 962 w 1059"/>
                <a:gd name="T99" fmla="*/ 639 h 973"/>
                <a:gd name="T100" fmla="*/ 1048 w 1059"/>
                <a:gd name="T101" fmla="*/ 929 h 973"/>
                <a:gd name="T102" fmla="*/ 5 w 1059"/>
                <a:gd name="T103" fmla="*/ 933 h 973"/>
                <a:gd name="T104" fmla="*/ 1 w 1059"/>
                <a:gd name="T105" fmla="*/ 962 h 973"/>
                <a:gd name="T106" fmla="*/ 1044 w 1059"/>
                <a:gd name="T107" fmla="*/ 973 h 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9" h="973">
                  <a:moveTo>
                    <a:pt x="1059" y="720"/>
                  </a:moveTo>
                  <a:lnTo>
                    <a:pt x="1059" y="720"/>
                  </a:lnTo>
                  <a:lnTo>
                    <a:pt x="1059" y="715"/>
                  </a:lnTo>
                  <a:lnTo>
                    <a:pt x="1057" y="710"/>
                  </a:lnTo>
                  <a:lnTo>
                    <a:pt x="1056" y="706"/>
                  </a:lnTo>
                  <a:lnTo>
                    <a:pt x="1052" y="702"/>
                  </a:lnTo>
                  <a:lnTo>
                    <a:pt x="1048" y="698"/>
                  </a:lnTo>
                  <a:lnTo>
                    <a:pt x="1044" y="697"/>
                  </a:lnTo>
                  <a:lnTo>
                    <a:pt x="1039" y="694"/>
                  </a:lnTo>
                  <a:lnTo>
                    <a:pt x="1034" y="694"/>
                  </a:lnTo>
                  <a:lnTo>
                    <a:pt x="1034" y="694"/>
                  </a:lnTo>
                  <a:lnTo>
                    <a:pt x="1034" y="660"/>
                  </a:lnTo>
                  <a:lnTo>
                    <a:pt x="1034" y="660"/>
                  </a:lnTo>
                  <a:lnTo>
                    <a:pt x="1034" y="656"/>
                  </a:lnTo>
                  <a:lnTo>
                    <a:pt x="1032" y="652"/>
                  </a:lnTo>
                  <a:lnTo>
                    <a:pt x="1029" y="649"/>
                  </a:lnTo>
                  <a:lnTo>
                    <a:pt x="1027" y="645"/>
                  </a:lnTo>
                  <a:lnTo>
                    <a:pt x="1023" y="642"/>
                  </a:lnTo>
                  <a:lnTo>
                    <a:pt x="1019" y="640"/>
                  </a:lnTo>
                  <a:lnTo>
                    <a:pt x="1015" y="639"/>
                  </a:lnTo>
                  <a:lnTo>
                    <a:pt x="1010" y="639"/>
                  </a:lnTo>
                  <a:lnTo>
                    <a:pt x="977" y="639"/>
                  </a:lnTo>
                  <a:lnTo>
                    <a:pt x="925" y="422"/>
                  </a:lnTo>
                  <a:lnTo>
                    <a:pt x="925" y="422"/>
                  </a:lnTo>
                  <a:lnTo>
                    <a:pt x="926" y="419"/>
                  </a:lnTo>
                  <a:lnTo>
                    <a:pt x="928" y="417"/>
                  </a:lnTo>
                  <a:lnTo>
                    <a:pt x="928" y="412"/>
                  </a:lnTo>
                  <a:lnTo>
                    <a:pt x="928" y="313"/>
                  </a:lnTo>
                  <a:lnTo>
                    <a:pt x="928" y="313"/>
                  </a:lnTo>
                  <a:lnTo>
                    <a:pt x="926" y="308"/>
                  </a:lnTo>
                  <a:lnTo>
                    <a:pt x="925" y="304"/>
                  </a:lnTo>
                  <a:lnTo>
                    <a:pt x="921" y="300"/>
                  </a:lnTo>
                  <a:lnTo>
                    <a:pt x="917" y="299"/>
                  </a:lnTo>
                  <a:lnTo>
                    <a:pt x="917" y="124"/>
                  </a:lnTo>
                  <a:lnTo>
                    <a:pt x="917" y="124"/>
                  </a:lnTo>
                  <a:lnTo>
                    <a:pt x="921" y="123"/>
                  </a:lnTo>
                  <a:lnTo>
                    <a:pt x="925" y="120"/>
                  </a:lnTo>
                  <a:lnTo>
                    <a:pt x="926" y="115"/>
                  </a:lnTo>
                  <a:lnTo>
                    <a:pt x="928" y="110"/>
                  </a:lnTo>
                  <a:lnTo>
                    <a:pt x="928" y="12"/>
                  </a:lnTo>
                  <a:lnTo>
                    <a:pt x="928" y="12"/>
                  </a:lnTo>
                  <a:lnTo>
                    <a:pt x="928" y="7"/>
                  </a:lnTo>
                  <a:lnTo>
                    <a:pt x="926" y="3"/>
                  </a:lnTo>
                  <a:lnTo>
                    <a:pt x="923" y="1"/>
                  </a:lnTo>
                  <a:lnTo>
                    <a:pt x="919" y="0"/>
                  </a:lnTo>
                  <a:lnTo>
                    <a:pt x="845" y="0"/>
                  </a:lnTo>
                  <a:lnTo>
                    <a:pt x="845" y="0"/>
                  </a:lnTo>
                  <a:lnTo>
                    <a:pt x="839" y="1"/>
                  </a:lnTo>
                  <a:lnTo>
                    <a:pt x="833" y="3"/>
                  </a:lnTo>
                  <a:lnTo>
                    <a:pt x="827" y="7"/>
                  </a:lnTo>
                  <a:lnTo>
                    <a:pt x="826" y="10"/>
                  </a:lnTo>
                  <a:lnTo>
                    <a:pt x="826" y="12"/>
                  </a:lnTo>
                  <a:lnTo>
                    <a:pt x="826" y="110"/>
                  </a:lnTo>
                  <a:lnTo>
                    <a:pt x="826" y="110"/>
                  </a:lnTo>
                  <a:lnTo>
                    <a:pt x="826" y="114"/>
                  </a:lnTo>
                  <a:lnTo>
                    <a:pt x="827" y="115"/>
                  </a:lnTo>
                  <a:lnTo>
                    <a:pt x="833" y="119"/>
                  </a:lnTo>
                  <a:lnTo>
                    <a:pt x="839" y="121"/>
                  </a:lnTo>
                  <a:lnTo>
                    <a:pt x="845" y="121"/>
                  </a:lnTo>
                  <a:lnTo>
                    <a:pt x="841" y="121"/>
                  </a:lnTo>
                  <a:lnTo>
                    <a:pt x="841" y="304"/>
                  </a:lnTo>
                  <a:lnTo>
                    <a:pt x="845" y="304"/>
                  </a:lnTo>
                  <a:lnTo>
                    <a:pt x="845" y="304"/>
                  </a:lnTo>
                  <a:lnTo>
                    <a:pt x="839" y="304"/>
                  </a:lnTo>
                  <a:lnTo>
                    <a:pt x="833" y="305"/>
                  </a:lnTo>
                  <a:lnTo>
                    <a:pt x="827" y="309"/>
                  </a:lnTo>
                  <a:lnTo>
                    <a:pt x="826" y="310"/>
                  </a:lnTo>
                  <a:lnTo>
                    <a:pt x="826" y="313"/>
                  </a:lnTo>
                  <a:lnTo>
                    <a:pt x="826" y="412"/>
                  </a:lnTo>
                  <a:lnTo>
                    <a:pt x="826" y="412"/>
                  </a:lnTo>
                  <a:lnTo>
                    <a:pt x="827" y="414"/>
                  </a:lnTo>
                  <a:lnTo>
                    <a:pt x="829" y="417"/>
                  </a:lnTo>
                  <a:lnTo>
                    <a:pt x="834" y="422"/>
                  </a:lnTo>
                  <a:lnTo>
                    <a:pt x="787" y="639"/>
                  </a:lnTo>
                  <a:lnTo>
                    <a:pt x="756" y="639"/>
                  </a:lnTo>
                  <a:lnTo>
                    <a:pt x="756" y="639"/>
                  </a:lnTo>
                  <a:lnTo>
                    <a:pt x="751" y="639"/>
                  </a:lnTo>
                  <a:lnTo>
                    <a:pt x="748" y="640"/>
                  </a:lnTo>
                  <a:lnTo>
                    <a:pt x="739" y="645"/>
                  </a:lnTo>
                  <a:lnTo>
                    <a:pt x="735" y="649"/>
                  </a:lnTo>
                  <a:lnTo>
                    <a:pt x="732" y="652"/>
                  </a:lnTo>
                  <a:lnTo>
                    <a:pt x="731" y="656"/>
                  </a:lnTo>
                  <a:lnTo>
                    <a:pt x="730" y="660"/>
                  </a:lnTo>
                  <a:lnTo>
                    <a:pt x="730" y="694"/>
                  </a:lnTo>
                  <a:lnTo>
                    <a:pt x="732" y="694"/>
                  </a:lnTo>
                  <a:lnTo>
                    <a:pt x="732" y="694"/>
                  </a:lnTo>
                  <a:lnTo>
                    <a:pt x="724" y="696"/>
                  </a:lnTo>
                  <a:lnTo>
                    <a:pt x="717" y="699"/>
                  </a:lnTo>
                  <a:lnTo>
                    <a:pt x="711" y="706"/>
                  </a:lnTo>
                  <a:lnTo>
                    <a:pt x="707" y="713"/>
                  </a:lnTo>
                  <a:lnTo>
                    <a:pt x="707" y="713"/>
                  </a:lnTo>
                  <a:lnTo>
                    <a:pt x="704" y="706"/>
                  </a:lnTo>
                  <a:lnTo>
                    <a:pt x="698" y="699"/>
                  </a:lnTo>
                  <a:lnTo>
                    <a:pt x="692" y="696"/>
                  </a:lnTo>
                  <a:lnTo>
                    <a:pt x="683" y="694"/>
                  </a:lnTo>
                  <a:lnTo>
                    <a:pt x="674" y="694"/>
                  </a:lnTo>
                  <a:lnTo>
                    <a:pt x="674" y="660"/>
                  </a:lnTo>
                  <a:lnTo>
                    <a:pt x="674" y="660"/>
                  </a:lnTo>
                  <a:lnTo>
                    <a:pt x="673" y="652"/>
                  </a:lnTo>
                  <a:lnTo>
                    <a:pt x="672" y="645"/>
                  </a:lnTo>
                  <a:lnTo>
                    <a:pt x="669" y="642"/>
                  </a:lnTo>
                  <a:lnTo>
                    <a:pt x="666" y="640"/>
                  </a:lnTo>
                  <a:lnTo>
                    <a:pt x="663" y="639"/>
                  </a:lnTo>
                  <a:lnTo>
                    <a:pt x="659" y="639"/>
                  </a:lnTo>
                  <a:lnTo>
                    <a:pt x="626" y="639"/>
                  </a:lnTo>
                  <a:lnTo>
                    <a:pt x="575" y="422"/>
                  </a:lnTo>
                  <a:lnTo>
                    <a:pt x="575" y="422"/>
                  </a:lnTo>
                  <a:lnTo>
                    <a:pt x="576" y="419"/>
                  </a:lnTo>
                  <a:lnTo>
                    <a:pt x="578" y="417"/>
                  </a:lnTo>
                  <a:lnTo>
                    <a:pt x="578" y="412"/>
                  </a:lnTo>
                  <a:lnTo>
                    <a:pt x="578" y="313"/>
                  </a:lnTo>
                  <a:lnTo>
                    <a:pt x="578" y="313"/>
                  </a:lnTo>
                  <a:lnTo>
                    <a:pt x="576" y="308"/>
                  </a:lnTo>
                  <a:lnTo>
                    <a:pt x="574" y="304"/>
                  </a:lnTo>
                  <a:lnTo>
                    <a:pt x="569" y="300"/>
                  </a:lnTo>
                  <a:lnTo>
                    <a:pt x="562" y="299"/>
                  </a:lnTo>
                  <a:lnTo>
                    <a:pt x="562" y="124"/>
                  </a:lnTo>
                  <a:lnTo>
                    <a:pt x="562" y="124"/>
                  </a:lnTo>
                  <a:lnTo>
                    <a:pt x="569" y="123"/>
                  </a:lnTo>
                  <a:lnTo>
                    <a:pt x="574" y="120"/>
                  </a:lnTo>
                  <a:lnTo>
                    <a:pt x="576" y="115"/>
                  </a:lnTo>
                  <a:lnTo>
                    <a:pt x="578" y="110"/>
                  </a:lnTo>
                  <a:lnTo>
                    <a:pt x="578" y="12"/>
                  </a:lnTo>
                  <a:lnTo>
                    <a:pt x="578" y="12"/>
                  </a:lnTo>
                  <a:lnTo>
                    <a:pt x="578" y="7"/>
                  </a:lnTo>
                  <a:lnTo>
                    <a:pt x="575" y="3"/>
                  </a:lnTo>
                  <a:lnTo>
                    <a:pt x="573" y="1"/>
                  </a:lnTo>
                  <a:lnTo>
                    <a:pt x="568" y="0"/>
                  </a:lnTo>
                  <a:lnTo>
                    <a:pt x="494" y="0"/>
                  </a:lnTo>
                  <a:lnTo>
                    <a:pt x="494" y="0"/>
                  </a:lnTo>
                  <a:lnTo>
                    <a:pt x="488" y="1"/>
                  </a:lnTo>
                  <a:lnTo>
                    <a:pt x="483" y="3"/>
                  </a:lnTo>
                  <a:lnTo>
                    <a:pt x="478" y="7"/>
                  </a:lnTo>
                  <a:lnTo>
                    <a:pt x="476" y="10"/>
                  </a:lnTo>
                  <a:lnTo>
                    <a:pt x="476" y="12"/>
                  </a:lnTo>
                  <a:lnTo>
                    <a:pt x="476" y="110"/>
                  </a:lnTo>
                  <a:lnTo>
                    <a:pt x="476" y="110"/>
                  </a:lnTo>
                  <a:lnTo>
                    <a:pt x="476" y="114"/>
                  </a:lnTo>
                  <a:lnTo>
                    <a:pt x="478" y="115"/>
                  </a:lnTo>
                  <a:lnTo>
                    <a:pt x="483" y="119"/>
                  </a:lnTo>
                  <a:lnTo>
                    <a:pt x="488" y="121"/>
                  </a:lnTo>
                  <a:lnTo>
                    <a:pt x="494" y="121"/>
                  </a:lnTo>
                  <a:lnTo>
                    <a:pt x="491" y="121"/>
                  </a:lnTo>
                  <a:lnTo>
                    <a:pt x="491" y="304"/>
                  </a:lnTo>
                  <a:lnTo>
                    <a:pt x="494" y="304"/>
                  </a:lnTo>
                  <a:lnTo>
                    <a:pt x="494" y="304"/>
                  </a:lnTo>
                  <a:lnTo>
                    <a:pt x="488" y="304"/>
                  </a:lnTo>
                  <a:lnTo>
                    <a:pt x="483" y="305"/>
                  </a:lnTo>
                  <a:lnTo>
                    <a:pt x="478" y="309"/>
                  </a:lnTo>
                  <a:lnTo>
                    <a:pt x="476" y="310"/>
                  </a:lnTo>
                  <a:lnTo>
                    <a:pt x="476" y="313"/>
                  </a:lnTo>
                  <a:lnTo>
                    <a:pt x="476" y="412"/>
                  </a:lnTo>
                  <a:lnTo>
                    <a:pt x="476" y="412"/>
                  </a:lnTo>
                  <a:lnTo>
                    <a:pt x="476" y="414"/>
                  </a:lnTo>
                  <a:lnTo>
                    <a:pt x="479" y="417"/>
                  </a:lnTo>
                  <a:lnTo>
                    <a:pt x="483" y="422"/>
                  </a:lnTo>
                  <a:lnTo>
                    <a:pt x="436" y="639"/>
                  </a:lnTo>
                  <a:lnTo>
                    <a:pt x="405" y="639"/>
                  </a:lnTo>
                  <a:lnTo>
                    <a:pt x="405" y="639"/>
                  </a:lnTo>
                  <a:lnTo>
                    <a:pt x="401" y="639"/>
                  </a:lnTo>
                  <a:lnTo>
                    <a:pt x="396" y="640"/>
                  </a:lnTo>
                  <a:lnTo>
                    <a:pt x="389" y="645"/>
                  </a:lnTo>
                  <a:lnTo>
                    <a:pt x="385" y="649"/>
                  </a:lnTo>
                  <a:lnTo>
                    <a:pt x="382" y="652"/>
                  </a:lnTo>
                  <a:lnTo>
                    <a:pt x="380" y="656"/>
                  </a:lnTo>
                  <a:lnTo>
                    <a:pt x="380" y="660"/>
                  </a:lnTo>
                  <a:lnTo>
                    <a:pt x="380" y="694"/>
                  </a:lnTo>
                  <a:lnTo>
                    <a:pt x="381" y="694"/>
                  </a:lnTo>
                  <a:lnTo>
                    <a:pt x="381" y="694"/>
                  </a:lnTo>
                  <a:lnTo>
                    <a:pt x="376" y="694"/>
                  </a:lnTo>
                  <a:lnTo>
                    <a:pt x="372" y="696"/>
                  </a:lnTo>
                  <a:lnTo>
                    <a:pt x="365" y="701"/>
                  </a:lnTo>
                  <a:lnTo>
                    <a:pt x="360" y="707"/>
                  </a:lnTo>
                  <a:lnTo>
                    <a:pt x="357" y="711"/>
                  </a:lnTo>
                  <a:lnTo>
                    <a:pt x="356" y="715"/>
                  </a:lnTo>
                  <a:lnTo>
                    <a:pt x="356" y="715"/>
                  </a:lnTo>
                  <a:lnTo>
                    <a:pt x="355" y="711"/>
                  </a:lnTo>
                  <a:lnTo>
                    <a:pt x="353" y="707"/>
                  </a:lnTo>
                  <a:lnTo>
                    <a:pt x="347" y="701"/>
                  </a:lnTo>
                  <a:lnTo>
                    <a:pt x="341" y="696"/>
                  </a:lnTo>
                  <a:lnTo>
                    <a:pt x="336" y="694"/>
                  </a:lnTo>
                  <a:lnTo>
                    <a:pt x="332" y="694"/>
                  </a:lnTo>
                  <a:lnTo>
                    <a:pt x="324" y="694"/>
                  </a:lnTo>
                  <a:lnTo>
                    <a:pt x="324" y="660"/>
                  </a:lnTo>
                  <a:lnTo>
                    <a:pt x="324" y="660"/>
                  </a:lnTo>
                  <a:lnTo>
                    <a:pt x="323" y="652"/>
                  </a:lnTo>
                  <a:lnTo>
                    <a:pt x="320" y="645"/>
                  </a:lnTo>
                  <a:lnTo>
                    <a:pt x="318" y="642"/>
                  </a:lnTo>
                  <a:lnTo>
                    <a:pt x="315" y="640"/>
                  </a:lnTo>
                  <a:lnTo>
                    <a:pt x="311" y="639"/>
                  </a:lnTo>
                  <a:lnTo>
                    <a:pt x="308" y="639"/>
                  </a:lnTo>
                  <a:lnTo>
                    <a:pt x="275" y="639"/>
                  </a:lnTo>
                  <a:lnTo>
                    <a:pt x="224" y="422"/>
                  </a:lnTo>
                  <a:lnTo>
                    <a:pt x="224" y="422"/>
                  </a:lnTo>
                  <a:lnTo>
                    <a:pt x="226" y="417"/>
                  </a:lnTo>
                  <a:lnTo>
                    <a:pt x="228" y="412"/>
                  </a:lnTo>
                  <a:lnTo>
                    <a:pt x="228" y="313"/>
                  </a:lnTo>
                  <a:lnTo>
                    <a:pt x="228" y="313"/>
                  </a:lnTo>
                  <a:lnTo>
                    <a:pt x="226" y="308"/>
                  </a:lnTo>
                  <a:lnTo>
                    <a:pt x="224" y="304"/>
                  </a:lnTo>
                  <a:lnTo>
                    <a:pt x="219" y="300"/>
                  </a:lnTo>
                  <a:lnTo>
                    <a:pt x="213" y="299"/>
                  </a:lnTo>
                  <a:lnTo>
                    <a:pt x="213" y="124"/>
                  </a:lnTo>
                  <a:lnTo>
                    <a:pt x="213" y="124"/>
                  </a:lnTo>
                  <a:lnTo>
                    <a:pt x="219" y="123"/>
                  </a:lnTo>
                  <a:lnTo>
                    <a:pt x="224" y="120"/>
                  </a:lnTo>
                  <a:lnTo>
                    <a:pt x="226" y="115"/>
                  </a:lnTo>
                  <a:lnTo>
                    <a:pt x="228" y="110"/>
                  </a:lnTo>
                  <a:lnTo>
                    <a:pt x="228" y="12"/>
                  </a:lnTo>
                  <a:lnTo>
                    <a:pt x="228" y="12"/>
                  </a:lnTo>
                  <a:lnTo>
                    <a:pt x="226" y="7"/>
                  </a:lnTo>
                  <a:lnTo>
                    <a:pt x="224" y="3"/>
                  </a:lnTo>
                  <a:lnTo>
                    <a:pt x="220" y="1"/>
                  </a:lnTo>
                  <a:lnTo>
                    <a:pt x="215" y="0"/>
                  </a:lnTo>
                  <a:lnTo>
                    <a:pt x="143" y="0"/>
                  </a:lnTo>
                  <a:lnTo>
                    <a:pt x="143" y="0"/>
                  </a:lnTo>
                  <a:lnTo>
                    <a:pt x="136" y="1"/>
                  </a:lnTo>
                  <a:lnTo>
                    <a:pt x="131" y="3"/>
                  </a:lnTo>
                  <a:lnTo>
                    <a:pt x="128" y="7"/>
                  </a:lnTo>
                  <a:lnTo>
                    <a:pt x="126" y="10"/>
                  </a:lnTo>
                  <a:lnTo>
                    <a:pt x="126" y="12"/>
                  </a:lnTo>
                  <a:lnTo>
                    <a:pt x="126" y="110"/>
                  </a:lnTo>
                  <a:lnTo>
                    <a:pt x="126" y="110"/>
                  </a:lnTo>
                  <a:lnTo>
                    <a:pt x="126" y="114"/>
                  </a:lnTo>
                  <a:lnTo>
                    <a:pt x="128" y="115"/>
                  </a:lnTo>
                  <a:lnTo>
                    <a:pt x="131" y="119"/>
                  </a:lnTo>
                  <a:lnTo>
                    <a:pt x="136" y="121"/>
                  </a:lnTo>
                  <a:lnTo>
                    <a:pt x="143" y="121"/>
                  </a:lnTo>
                  <a:lnTo>
                    <a:pt x="136" y="121"/>
                  </a:lnTo>
                  <a:lnTo>
                    <a:pt x="136" y="304"/>
                  </a:lnTo>
                  <a:lnTo>
                    <a:pt x="143" y="304"/>
                  </a:lnTo>
                  <a:lnTo>
                    <a:pt x="143" y="304"/>
                  </a:lnTo>
                  <a:lnTo>
                    <a:pt x="136" y="304"/>
                  </a:lnTo>
                  <a:lnTo>
                    <a:pt x="131" y="305"/>
                  </a:lnTo>
                  <a:lnTo>
                    <a:pt x="128" y="309"/>
                  </a:lnTo>
                  <a:lnTo>
                    <a:pt x="126" y="310"/>
                  </a:lnTo>
                  <a:lnTo>
                    <a:pt x="126" y="313"/>
                  </a:lnTo>
                  <a:lnTo>
                    <a:pt x="126" y="412"/>
                  </a:lnTo>
                  <a:lnTo>
                    <a:pt x="126" y="412"/>
                  </a:lnTo>
                  <a:lnTo>
                    <a:pt x="126" y="414"/>
                  </a:lnTo>
                  <a:lnTo>
                    <a:pt x="128" y="417"/>
                  </a:lnTo>
                  <a:lnTo>
                    <a:pt x="131" y="422"/>
                  </a:lnTo>
                  <a:lnTo>
                    <a:pt x="83" y="639"/>
                  </a:lnTo>
                  <a:lnTo>
                    <a:pt x="54" y="639"/>
                  </a:lnTo>
                  <a:lnTo>
                    <a:pt x="54" y="639"/>
                  </a:lnTo>
                  <a:lnTo>
                    <a:pt x="49" y="639"/>
                  </a:lnTo>
                  <a:lnTo>
                    <a:pt x="45" y="640"/>
                  </a:lnTo>
                  <a:lnTo>
                    <a:pt x="41" y="642"/>
                  </a:lnTo>
                  <a:lnTo>
                    <a:pt x="38" y="645"/>
                  </a:lnTo>
                  <a:lnTo>
                    <a:pt x="34" y="649"/>
                  </a:lnTo>
                  <a:lnTo>
                    <a:pt x="32" y="652"/>
                  </a:lnTo>
                  <a:lnTo>
                    <a:pt x="30" y="656"/>
                  </a:lnTo>
                  <a:lnTo>
                    <a:pt x="30" y="660"/>
                  </a:lnTo>
                  <a:lnTo>
                    <a:pt x="30" y="694"/>
                  </a:lnTo>
                  <a:lnTo>
                    <a:pt x="30" y="694"/>
                  </a:lnTo>
                  <a:lnTo>
                    <a:pt x="30" y="694"/>
                  </a:lnTo>
                  <a:lnTo>
                    <a:pt x="24" y="694"/>
                  </a:lnTo>
                  <a:lnTo>
                    <a:pt x="19" y="697"/>
                  </a:lnTo>
                  <a:lnTo>
                    <a:pt x="13" y="698"/>
                  </a:lnTo>
                  <a:lnTo>
                    <a:pt x="10" y="702"/>
                  </a:lnTo>
                  <a:lnTo>
                    <a:pt x="6" y="706"/>
                  </a:lnTo>
                  <a:lnTo>
                    <a:pt x="2" y="710"/>
                  </a:lnTo>
                  <a:lnTo>
                    <a:pt x="1" y="715"/>
                  </a:lnTo>
                  <a:lnTo>
                    <a:pt x="0" y="720"/>
                  </a:lnTo>
                  <a:lnTo>
                    <a:pt x="0" y="907"/>
                  </a:lnTo>
                  <a:lnTo>
                    <a:pt x="1059" y="907"/>
                  </a:lnTo>
                  <a:lnTo>
                    <a:pt x="1059" y="720"/>
                  </a:lnTo>
                  <a:close/>
                  <a:moveTo>
                    <a:pt x="136" y="639"/>
                  </a:moveTo>
                  <a:lnTo>
                    <a:pt x="100" y="639"/>
                  </a:lnTo>
                  <a:lnTo>
                    <a:pt x="107" y="603"/>
                  </a:lnTo>
                  <a:lnTo>
                    <a:pt x="136" y="603"/>
                  </a:lnTo>
                  <a:lnTo>
                    <a:pt x="136" y="639"/>
                  </a:lnTo>
                  <a:close/>
                  <a:moveTo>
                    <a:pt x="136" y="593"/>
                  </a:moveTo>
                  <a:lnTo>
                    <a:pt x="110" y="593"/>
                  </a:lnTo>
                  <a:lnTo>
                    <a:pt x="126" y="522"/>
                  </a:lnTo>
                  <a:lnTo>
                    <a:pt x="136" y="522"/>
                  </a:lnTo>
                  <a:lnTo>
                    <a:pt x="136" y="593"/>
                  </a:lnTo>
                  <a:close/>
                  <a:moveTo>
                    <a:pt x="136" y="507"/>
                  </a:moveTo>
                  <a:lnTo>
                    <a:pt x="129" y="507"/>
                  </a:lnTo>
                  <a:lnTo>
                    <a:pt x="136" y="447"/>
                  </a:lnTo>
                  <a:lnTo>
                    <a:pt x="136" y="507"/>
                  </a:lnTo>
                  <a:close/>
                  <a:moveTo>
                    <a:pt x="213" y="456"/>
                  </a:moveTo>
                  <a:lnTo>
                    <a:pt x="229" y="507"/>
                  </a:lnTo>
                  <a:lnTo>
                    <a:pt x="213" y="507"/>
                  </a:lnTo>
                  <a:lnTo>
                    <a:pt x="213" y="456"/>
                  </a:lnTo>
                  <a:close/>
                  <a:moveTo>
                    <a:pt x="213" y="522"/>
                  </a:moveTo>
                  <a:lnTo>
                    <a:pt x="232" y="522"/>
                  </a:lnTo>
                  <a:lnTo>
                    <a:pt x="248" y="593"/>
                  </a:lnTo>
                  <a:lnTo>
                    <a:pt x="213" y="593"/>
                  </a:lnTo>
                  <a:lnTo>
                    <a:pt x="213" y="522"/>
                  </a:lnTo>
                  <a:close/>
                  <a:moveTo>
                    <a:pt x="213" y="639"/>
                  </a:moveTo>
                  <a:lnTo>
                    <a:pt x="213" y="603"/>
                  </a:lnTo>
                  <a:lnTo>
                    <a:pt x="251" y="603"/>
                  </a:lnTo>
                  <a:lnTo>
                    <a:pt x="258" y="639"/>
                  </a:lnTo>
                  <a:lnTo>
                    <a:pt x="213" y="639"/>
                  </a:lnTo>
                  <a:close/>
                  <a:moveTo>
                    <a:pt x="491" y="639"/>
                  </a:moveTo>
                  <a:lnTo>
                    <a:pt x="451" y="639"/>
                  </a:lnTo>
                  <a:lnTo>
                    <a:pt x="460" y="603"/>
                  </a:lnTo>
                  <a:lnTo>
                    <a:pt x="491" y="603"/>
                  </a:lnTo>
                  <a:lnTo>
                    <a:pt x="491" y="639"/>
                  </a:lnTo>
                  <a:close/>
                  <a:moveTo>
                    <a:pt x="491" y="593"/>
                  </a:moveTo>
                  <a:lnTo>
                    <a:pt x="462" y="593"/>
                  </a:lnTo>
                  <a:lnTo>
                    <a:pt x="478" y="522"/>
                  </a:lnTo>
                  <a:lnTo>
                    <a:pt x="491" y="522"/>
                  </a:lnTo>
                  <a:lnTo>
                    <a:pt x="491" y="593"/>
                  </a:lnTo>
                  <a:close/>
                  <a:moveTo>
                    <a:pt x="491" y="507"/>
                  </a:moveTo>
                  <a:lnTo>
                    <a:pt x="480" y="507"/>
                  </a:lnTo>
                  <a:lnTo>
                    <a:pt x="491" y="447"/>
                  </a:lnTo>
                  <a:lnTo>
                    <a:pt x="491" y="507"/>
                  </a:lnTo>
                  <a:close/>
                  <a:moveTo>
                    <a:pt x="562" y="456"/>
                  </a:moveTo>
                  <a:lnTo>
                    <a:pt x="581" y="507"/>
                  </a:lnTo>
                  <a:lnTo>
                    <a:pt x="562" y="507"/>
                  </a:lnTo>
                  <a:lnTo>
                    <a:pt x="562" y="456"/>
                  </a:lnTo>
                  <a:close/>
                  <a:moveTo>
                    <a:pt x="562" y="522"/>
                  </a:moveTo>
                  <a:lnTo>
                    <a:pt x="584" y="522"/>
                  </a:lnTo>
                  <a:lnTo>
                    <a:pt x="599" y="593"/>
                  </a:lnTo>
                  <a:lnTo>
                    <a:pt x="562" y="593"/>
                  </a:lnTo>
                  <a:lnTo>
                    <a:pt x="562" y="522"/>
                  </a:lnTo>
                  <a:close/>
                  <a:moveTo>
                    <a:pt x="562" y="639"/>
                  </a:moveTo>
                  <a:lnTo>
                    <a:pt x="562" y="603"/>
                  </a:lnTo>
                  <a:lnTo>
                    <a:pt x="602" y="603"/>
                  </a:lnTo>
                  <a:lnTo>
                    <a:pt x="611" y="639"/>
                  </a:lnTo>
                  <a:lnTo>
                    <a:pt x="562" y="639"/>
                  </a:lnTo>
                  <a:close/>
                  <a:moveTo>
                    <a:pt x="841" y="639"/>
                  </a:moveTo>
                  <a:lnTo>
                    <a:pt x="802" y="639"/>
                  </a:lnTo>
                  <a:lnTo>
                    <a:pt x="811" y="603"/>
                  </a:lnTo>
                  <a:lnTo>
                    <a:pt x="841" y="603"/>
                  </a:lnTo>
                  <a:lnTo>
                    <a:pt x="841" y="639"/>
                  </a:lnTo>
                  <a:close/>
                  <a:moveTo>
                    <a:pt x="841" y="593"/>
                  </a:moveTo>
                  <a:lnTo>
                    <a:pt x="814" y="593"/>
                  </a:lnTo>
                  <a:lnTo>
                    <a:pt x="829" y="522"/>
                  </a:lnTo>
                  <a:lnTo>
                    <a:pt x="841" y="522"/>
                  </a:lnTo>
                  <a:lnTo>
                    <a:pt x="841" y="593"/>
                  </a:lnTo>
                  <a:close/>
                  <a:moveTo>
                    <a:pt x="841" y="507"/>
                  </a:moveTo>
                  <a:lnTo>
                    <a:pt x="831" y="507"/>
                  </a:lnTo>
                  <a:lnTo>
                    <a:pt x="841" y="447"/>
                  </a:lnTo>
                  <a:lnTo>
                    <a:pt x="841" y="507"/>
                  </a:lnTo>
                  <a:close/>
                  <a:moveTo>
                    <a:pt x="917" y="456"/>
                  </a:moveTo>
                  <a:lnTo>
                    <a:pt x="933" y="507"/>
                  </a:lnTo>
                  <a:lnTo>
                    <a:pt x="917" y="507"/>
                  </a:lnTo>
                  <a:lnTo>
                    <a:pt x="917" y="456"/>
                  </a:lnTo>
                  <a:close/>
                  <a:moveTo>
                    <a:pt x="917" y="522"/>
                  </a:moveTo>
                  <a:lnTo>
                    <a:pt x="935" y="522"/>
                  </a:lnTo>
                  <a:lnTo>
                    <a:pt x="950" y="593"/>
                  </a:lnTo>
                  <a:lnTo>
                    <a:pt x="917" y="593"/>
                  </a:lnTo>
                  <a:lnTo>
                    <a:pt x="917" y="522"/>
                  </a:lnTo>
                  <a:close/>
                  <a:moveTo>
                    <a:pt x="917" y="639"/>
                  </a:moveTo>
                  <a:lnTo>
                    <a:pt x="917" y="603"/>
                  </a:lnTo>
                  <a:lnTo>
                    <a:pt x="953" y="603"/>
                  </a:lnTo>
                  <a:lnTo>
                    <a:pt x="962" y="639"/>
                  </a:lnTo>
                  <a:lnTo>
                    <a:pt x="917" y="639"/>
                  </a:lnTo>
                  <a:close/>
                  <a:moveTo>
                    <a:pt x="1059" y="947"/>
                  </a:moveTo>
                  <a:lnTo>
                    <a:pt x="1059" y="947"/>
                  </a:lnTo>
                  <a:lnTo>
                    <a:pt x="1059" y="943"/>
                  </a:lnTo>
                  <a:lnTo>
                    <a:pt x="1058" y="939"/>
                  </a:lnTo>
                  <a:lnTo>
                    <a:pt x="1054" y="933"/>
                  </a:lnTo>
                  <a:lnTo>
                    <a:pt x="1048" y="929"/>
                  </a:lnTo>
                  <a:lnTo>
                    <a:pt x="1044" y="928"/>
                  </a:lnTo>
                  <a:lnTo>
                    <a:pt x="1040" y="928"/>
                  </a:lnTo>
                  <a:lnTo>
                    <a:pt x="19" y="928"/>
                  </a:lnTo>
                  <a:lnTo>
                    <a:pt x="19" y="928"/>
                  </a:lnTo>
                  <a:lnTo>
                    <a:pt x="15" y="928"/>
                  </a:lnTo>
                  <a:lnTo>
                    <a:pt x="11" y="929"/>
                  </a:lnTo>
                  <a:lnTo>
                    <a:pt x="5" y="933"/>
                  </a:lnTo>
                  <a:lnTo>
                    <a:pt x="1" y="939"/>
                  </a:lnTo>
                  <a:lnTo>
                    <a:pt x="0" y="943"/>
                  </a:lnTo>
                  <a:lnTo>
                    <a:pt x="0" y="947"/>
                  </a:lnTo>
                  <a:lnTo>
                    <a:pt x="0" y="954"/>
                  </a:lnTo>
                  <a:lnTo>
                    <a:pt x="0" y="954"/>
                  </a:lnTo>
                  <a:lnTo>
                    <a:pt x="0" y="958"/>
                  </a:lnTo>
                  <a:lnTo>
                    <a:pt x="1" y="962"/>
                  </a:lnTo>
                  <a:lnTo>
                    <a:pt x="5" y="968"/>
                  </a:lnTo>
                  <a:lnTo>
                    <a:pt x="11" y="972"/>
                  </a:lnTo>
                  <a:lnTo>
                    <a:pt x="15" y="973"/>
                  </a:lnTo>
                  <a:lnTo>
                    <a:pt x="19" y="973"/>
                  </a:lnTo>
                  <a:lnTo>
                    <a:pt x="1040" y="973"/>
                  </a:lnTo>
                  <a:lnTo>
                    <a:pt x="1040" y="973"/>
                  </a:lnTo>
                  <a:lnTo>
                    <a:pt x="1044" y="973"/>
                  </a:lnTo>
                  <a:lnTo>
                    <a:pt x="1048" y="972"/>
                  </a:lnTo>
                  <a:lnTo>
                    <a:pt x="1054" y="968"/>
                  </a:lnTo>
                  <a:lnTo>
                    <a:pt x="1058" y="962"/>
                  </a:lnTo>
                  <a:lnTo>
                    <a:pt x="1059" y="958"/>
                  </a:lnTo>
                  <a:lnTo>
                    <a:pt x="1059" y="954"/>
                  </a:lnTo>
                  <a:lnTo>
                    <a:pt x="1059" y="947"/>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800">
                <a:solidFill>
                  <a:schemeClr val="bg1"/>
                </a:solidFill>
              </a:endParaRPr>
            </a:p>
          </p:txBody>
        </p:sp>
        <p:sp>
          <p:nvSpPr>
            <p:cNvPr id="249" name="LegendText">
              <a:extLst>
                <a:ext uri="{FF2B5EF4-FFF2-40B4-BE49-F238E27FC236}">
                  <a16:creationId xmlns:a16="http://schemas.microsoft.com/office/drawing/2014/main" id="{C55A7FCA-BA13-F0DB-703E-7B97A8492E8E}"/>
                </a:ext>
              </a:extLst>
            </p:cNvPr>
            <p:cNvSpPr txBox="1">
              <a:spLocks/>
            </p:cNvSpPr>
            <p:nvPr/>
          </p:nvSpPr>
          <p:spPr>
            <a:xfrm>
              <a:off x="2259895" y="4335267"/>
              <a:ext cx="327013" cy="107722"/>
            </a:xfrm>
            <a:prstGeom prst="rect">
              <a:avLst/>
            </a:prstGeom>
            <a:noFill/>
            <a:ln w="9525">
              <a:noFill/>
            </a:ln>
          </p:spPr>
          <p:txBody>
            <a:bodyPr vert="horz" wrap="none" lIns="0" tIns="0" rIns="0" bIns="0" rtlCol="0" anchor="t" anchorCtr="0">
              <a:spAutoFit/>
            </a:bodyPr>
            <a:lstStyle>
              <a:defPPr>
                <a:defRPr lang="en-EN"/>
              </a:defPPr>
              <a:lvl1pPr marL="0" marR="0" lvl="0" indent="0" defTabSz="914400" eaLnBrk="1" fontAlgn="auto" latinLnBrk="0" hangingPunct="1">
                <a:lnSpc>
                  <a:spcPct val="100000"/>
                </a:lnSpc>
                <a:spcBef>
                  <a:spcPts val="0"/>
                </a:spcBef>
                <a:spcAft>
                  <a:spcPts val="0"/>
                </a:spcAft>
                <a:buClr>
                  <a:srgbClr val="000000"/>
                </a:buClr>
                <a:buSzPct val="100000"/>
                <a:buFontTx/>
                <a:buNone/>
                <a:tabLst/>
                <a:defRPr kumimoji="0" sz="1000" b="0" i="0" u="none" strike="noStrike" kern="0" cap="none" spc="0" normalizeH="0" baseline="0">
                  <a:ln>
                    <a:noFill/>
                  </a:ln>
                  <a:effectLst/>
                  <a:uLnTx/>
                  <a:uFillTx/>
                  <a:latin typeface="+mn-lt"/>
                </a:defRPr>
              </a:lvl1pPr>
            </a:lstStyle>
            <a:p>
              <a:r>
                <a:rPr lang="en-US" sz="700">
                  <a:sym typeface="+mn-lt"/>
                </a:rPr>
                <a:t>Refining</a:t>
              </a:r>
            </a:p>
          </p:txBody>
        </p:sp>
      </p:grpSp>
      <p:grpSp>
        <p:nvGrpSpPr>
          <p:cNvPr id="250" name="Group 31">
            <a:extLst>
              <a:ext uri="{FF2B5EF4-FFF2-40B4-BE49-F238E27FC236}">
                <a16:creationId xmlns:a16="http://schemas.microsoft.com/office/drawing/2014/main" id="{1F2E9FD4-0C39-2186-79FB-38D64C6ED776}"/>
              </a:ext>
            </a:extLst>
          </p:cNvPr>
          <p:cNvGrpSpPr/>
          <p:nvPr/>
        </p:nvGrpSpPr>
        <p:grpSpPr>
          <a:xfrm>
            <a:off x="5856310" y="1267032"/>
            <a:ext cx="482269" cy="162464"/>
            <a:chOff x="981987" y="4277590"/>
            <a:chExt cx="482269" cy="162464"/>
          </a:xfrm>
        </p:grpSpPr>
        <p:sp>
          <p:nvSpPr>
            <p:cNvPr id="251" name="Freeform: Shape 13">
              <a:extLst>
                <a:ext uri="{FF2B5EF4-FFF2-40B4-BE49-F238E27FC236}">
                  <a16:creationId xmlns:a16="http://schemas.microsoft.com/office/drawing/2014/main" id="{C7E616CA-D73A-C558-FBD8-B8AB016737CF}"/>
                </a:ext>
              </a:extLst>
            </p:cNvPr>
            <p:cNvSpPr>
              <a:spLocks noChangeAspect="1"/>
            </p:cNvSpPr>
            <p:nvPr/>
          </p:nvSpPr>
          <p:spPr>
            <a:xfrm flipH="1">
              <a:off x="981987" y="4277590"/>
              <a:ext cx="195635" cy="162464"/>
            </a:xfrm>
            <a:custGeom>
              <a:avLst/>
              <a:gdLst>
                <a:gd name="connsiteX0" fmla="*/ 979265 w 3705328"/>
                <a:gd name="connsiteY0" fmla="*/ 2739609 h 3077059"/>
                <a:gd name="connsiteX1" fmla="*/ 1270399 w 3705328"/>
                <a:gd name="connsiteY1" fmla="*/ 2858709 h 3077059"/>
                <a:gd name="connsiteX2" fmla="*/ 1654165 w 3705328"/>
                <a:gd name="connsiteY2" fmla="*/ 2858709 h 3077059"/>
                <a:gd name="connsiteX3" fmla="*/ 2236431 w 3705328"/>
                <a:gd name="connsiteY3" fmla="*/ 2858709 h 3077059"/>
                <a:gd name="connsiteX4" fmla="*/ 2620197 w 3705328"/>
                <a:gd name="connsiteY4" fmla="*/ 2858709 h 3077059"/>
                <a:gd name="connsiteX5" fmla="*/ 3202463 w 3705328"/>
                <a:gd name="connsiteY5" fmla="*/ 2858709 h 3077059"/>
                <a:gd name="connsiteX6" fmla="*/ 3586229 w 3705328"/>
                <a:gd name="connsiteY6" fmla="*/ 2858709 h 3077059"/>
                <a:gd name="connsiteX7" fmla="*/ 3685479 w 3705328"/>
                <a:gd name="connsiteY7" fmla="*/ 2858709 h 3077059"/>
                <a:gd name="connsiteX8" fmla="*/ 3685479 w 3705328"/>
                <a:gd name="connsiteY8" fmla="*/ 2957959 h 3077059"/>
                <a:gd name="connsiteX9" fmla="*/ 3103213 w 3705328"/>
                <a:gd name="connsiteY9" fmla="*/ 2957959 h 3077059"/>
                <a:gd name="connsiteX10" fmla="*/ 2719447 w 3705328"/>
                <a:gd name="connsiteY10" fmla="*/ 2957959 h 3077059"/>
                <a:gd name="connsiteX11" fmla="*/ 2137181 w 3705328"/>
                <a:gd name="connsiteY11" fmla="*/ 2957959 h 3077059"/>
                <a:gd name="connsiteX12" fmla="*/ 1753415 w 3705328"/>
                <a:gd name="connsiteY12" fmla="*/ 2957959 h 3077059"/>
                <a:gd name="connsiteX13" fmla="*/ 1171149 w 3705328"/>
                <a:gd name="connsiteY13" fmla="*/ 2957959 h 3077059"/>
                <a:gd name="connsiteX14" fmla="*/ 787382 w 3705328"/>
                <a:gd name="connsiteY14" fmla="*/ 2957959 h 3077059"/>
                <a:gd name="connsiteX15" fmla="*/ 205116 w 3705328"/>
                <a:gd name="connsiteY15" fmla="*/ 2957959 h 3077059"/>
                <a:gd name="connsiteX16" fmla="*/ 205116 w 3705328"/>
                <a:gd name="connsiteY16" fmla="*/ 2858709 h 3077059"/>
                <a:gd name="connsiteX17" fmla="*/ 304366 w 3705328"/>
                <a:gd name="connsiteY17" fmla="*/ 2858709 h 3077059"/>
                <a:gd name="connsiteX18" fmla="*/ 688132 w 3705328"/>
                <a:gd name="connsiteY18" fmla="*/ 2858709 h 3077059"/>
                <a:gd name="connsiteX19" fmla="*/ 979265 w 3705328"/>
                <a:gd name="connsiteY19" fmla="*/ 2739609 h 3077059"/>
                <a:gd name="connsiteX20" fmla="*/ 979265 w 3705328"/>
                <a:gd name="connsiteY20" fmla="*/ 2382309 h 3077059"/>
                <a:gd name="connsiteX21" fmla="*/ 1270399 w 3705328"/>
                <a:gd name="connsiteY21" fmla="*/ 2501409 h 3077059"/>
                <a:gd name="connsiteX22" fmla="*/ 1654165 w 3705328"/>
                <a:gd name="connsiteY22" fmla="*/ 2501409 h 3077059"/>
                <a:gd name="connsiteX23" fmla="*/ 2236431 w 3705328"/>
                <a:gd name="connsiteY23" fmla="*/ 2501409 h 3077059"/>
                <a:gd name="connsiteX24" fmla="*/ 2428314 w 3705328"/>
                <a:gd name="connsiteY24" fmla="*/ 2580809 h 3077059"/>
                <a:gd name="connsiteX25" fmla="*/ 2620197 w 3705328"/>
                <a:gd name="connsiteY25" fmla="*/ 2501409 h 3077059"/>
                <a:gd name="connsiteX26" fmla="*/ 3202463 w 3705328"/>
                <a:gd name="connsiteY26" fmla="*/ 2501409 h 3077059"/>
                <a:gd name="connsiteX27" fmla="*/ 3586229 w 3705328"/>
                <a:gd name="connsiteY27" fmla="*/ 2501409 h 3077059"/>
                <a:gd name="connsiteX28" fmla="*/ 3685479 w 3705328"/>
                <a:gd name="connsiteY28" fmla="*/ 2501409 h 3077059"/>
                <a:gd name="connsiteX29" fmla="*/ 3685479 w 3705328"/>
                <a:gd name="connsiteY29" fmla="*/ 2600659 h 3077059"/>
                <a:gd name="connsiteX30" fmla="*/ 3103213 w 3705328"/>
                <a:gd name="connsiteY30" fmla="*/ 2600659 h 3077059"/>
                <a:gd name="connsiteX31" fmla="*/ 2719447 w 3705328"/>
                <a:gd name="connsiteY31" fmla="*/ 2600659 h 3077059"/>
                <a:gd name="connsiteX32" fmla="*/ 2428314 w 3705328"/>
                <a:gd name="connsiteY32" fmla="*/ 2719759 h 3077059"/>
                <a:gd name="connsiteX33" fmla="*/ 2137181 w 3705328"/>
                <a:gd name="connsiteY33" fmla="*/ 2600659 h 3077059"/>
                <a:gd name="connsiteX34" fmla="*/ 1753415 w 3705328"/>
                <a:gd name="connsiteY34" fmla="*/ 2600659 h 3077059"/>
                <a:gd name="connsiteX35" fmla="*/ 1171149 w 3705328"/>
                <a:gd name="connsiteY35" fmla="*/ 2600659 h 3077059"/>
                <a:gd name="connsiteX36" fmla="*/ 787382 w 3705328"/>
                <a:gd name="connsiteY36" fmla="*/ 2600659 h 3077059"/>
                <a:gd name="connsiteX37" fmla="*/ 205116 w 3705328"/>
                <a:gd name="connsiteY37" fmla="*/ 2600659 h 3077059"/>
                <a:gd name="connsiteX38" fmla="*/ 205116 w 3705328"/>
                <a:gd name="connsiteY38" fmla="*/ 2501409 h 3077059"/>
                <a:gd name="connsiteX39" fmla="*/ 304366 w 3705328"/>
                <a:gd name="connsiteY39" fmla="*/ 2501409 h 3077059"/>
                <a:gd name="connsiteX40" fmla="*/ 688132 w 3705328"/>
                <a:gd name="connsiteY40" fmla="*/ 2501409 h 3077059"/>
                <a:gd name="connsiteX41" fmla="*/ 979265 w 3705328"/>
                <a:gd name="connsiteY41" fmla="*/ 2382309 h 3077059"/>
                <a:gd name="connsiteX42" fmla="*/ 0 w 3705328"/>
                <a:gd name="connsiteY42" fmla="*/ 1508910 h 3077059"/>
                <a:gd name="connsiteX43" fmla="*/ 3619312 w 3705328"/>
                <a:gd name="connsiteY43" fmla="*/ 1508910 h 3077059"/>
                <a:gd name="connsiteX44" fmla="*/ 3427428 w 3705328"/>
                <a:gd name="connsiteY44" fmla="*/ 2435243 h 3077059"/>
                <a:gd name="connsiteX45" fmla="*/ 3295095 w 3705328"/>
                <a:gd name="connsiteY45" fmla="*/ 2402160 h 3077059"/>
                <a:gd name="connsiteX46" fmla="*/ 2520946 w 3705328"/>
                <a:gd name="connsiteY46" fmla="*/ 2402160 h 3077059"/>
                <a:gd name="connsiteX47" fmla="*/ 2428313 w 3705328"/>
                <a:gd name="connsiteY47" fmla="*/ 2441860 h 3077059"/>
                <a:gd name="connsiteX48" fmla="*/ 2335680 w 3705328"/>
                <a:gd name="connsiteY48" fmla="*/ 2402160 h 3077059"/>
                <a:gd name="connsiteX49" fmla="*/ 1561531 w 3705328"/>
                <a:gd name="connsiteY49" fmla="*/ 2402160 h 3077059"/>
                <a:gd name="connsiteX50" fmla="*/ 1369648 w 3705328"/>
                <a:gd name="connsiteY50" fmla="*/ 2402160 h 3077059"/>
                <a:gd name="connsiteX51" fmla="*/ 595499 w 3705328"/>
                <a:gd name="connsiteY51" fmla="*/ 2402160 h 3077059"/>
                <a:gd name="connsiteX52" fmla="*/ 1435815 w 3705328"/>
                <a:gd name="connsiteY52" fmla="*/ 1078828 h 3077059"/>
                <a:gd name="connsiteX53" fmla="*/ 2461398 w 3705328"/>
                <a:gd name="connsiteY53" fmla="*/ 1078828 h 3077059"/>
                <a:gd name="connsiteX54" fmla="*/ 2461398 w 3705328"/>
                <a:gd name="connsiteY54" fmla="*/ 1369962 h 3077059"/>
                <a:gd name="connsiteX55" fmla="*/ 1435815 w 3705328"/>
                <a:gd name="connsiteY55" fmla="*/ 1369962 h 3077059"/>
                <a:gd name="connsiteX56" fmla="*/ 1733564 w 3705328"/>
                <a:gd name="connsiteY56" fmla="*/ 675212 h 3077059"/>
                <a:gd name="connsiteX57" fmla="*/ 2163648 w 3705328"/>
                <a:gd name="connsiteY57" fmla="*/ 675212 h 3077059"/>
                <a:gd name="connsiteX58" fmla="*/ 2163648 w 3705328"/>
                <a:gd name="connsiteY58" fmla="*/ 939879 h 3077059"/>
                <a:gd name="connsiteX59" fmla="*/ 1733564 w 3705328"/>
                <a:gd name="connsiteY59" fmla="*/ 939879 h 3077059"/>
                <a:gd name="connsiteX60" fmla="*/ 2707040 w 3705328"/>
                <a:gd name="connsiteY60" fmla="*/ 313 h 3077059"/>
                <a:gd name="connsiteX61" fmla="*/ 2759146 w 3705328"/>
                <a:gd name="connsiteY61" fmla="*/ 13546 h 3077059"/>
                <a:gd name="connsiteX62" fmla="*/ 2778996 w 3705328"/>
                <a:gd name="connsiteY62" fmla="*/ 99562 h 3077059"/>
                <a:gd name="connsiteX63" fmla="*/ 2329063 w 3705328"/>
                <a:gd name="connsiteY63" fmla="*/ 397312 h 3077059"/>
                <a:gd name="connsiteX64" fmla="*/ 2057780 w 3705328"/>
                <a:gd name="connsiteY64" fmla="*/ 536262 h 3077059"/>
                <a:gd name="connsiteX65" fmla="*/ 1905597 w 3705328"/>
                <a:gd name="connsiteY65" fmla="*/ 536262 h 3077059"/>
                <a:gd name="connsiteX66" fmla="*/ 2302596 w 3705328"/>
                <a:gd name="connsiteY66" fmla="*/ 258362 h 3077059"/>
                <a:gd name="connsiteX67" fmla="*/ 2640046 w 3705328"/>
                <a:gd name="connsiteY67" fmla="*/ 53246 h 3077059"/>
                <a:gd name="connsiteX68" fmla="*/ 2659896 w 3705328"/>
                <a:gd name="connsiteY68" fmla="*/ 26779 h 3077059"/>
                <a:gd name="connsiteX69" fmla="*/ 2707040 w 3705328"/>
                <a:gd name="connsiteY69" fmla="*/ 313 h 307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705328" h="3077059">
                  <a:moveTo>
                    <a:pt x="979265" y="2739609"/>
                  </a:moveTo>
                  <a:cubicBezTo>
                    <a:pt x="1085132" y="2739609"/>
                    <a:pt x="1190999" y="2779309"/>
                    <a:pt x="1270399" y="2858709"/>
                  </a:cubicBezTo>
                  <a:cubicBezTo>
                    <a:pt x="1369649" y="2964575"/>
                    <a:pt x="1548298" y="2964575"/>
                    <a:pt x="1654165" y="2858709"/>
                  </a:cubicBezTo>
                  <a:cubicBezTo>
                    <a:pt x="1812965" y="2699909"/>
                    <a:pt x="2077631" y="2699909"/>
                    <a:pt x="2236431" y="2858709"/>
                  </a:cubicBezTo>
                  <a:cubicBezTo>
                    <a:pt x="2335681" y="2964575"/>
                    <a:pt x="2514330" y="2964575"/>
                    <a:pt x="2620197" y="2858709"/>
                  </a:cubicBezTo>
                  <a:cubicBezTo>
                    <a:pt x="2778997" y="2699909"/>
                    <a:pt x="3043663" y="2699909"/>
                    <a:pt x="3202463" y="2858709"/>
                  </a:cubicBezTo>
                  <a:cubicBezTo>
                    <a:pt x="3301713" y="2964575"/>
                    <a:pt x="3480362" y="2964575"/>
                    <a:pt x="3586229" y="2858709"/>
                  </a:cubicBezTo>
                  <a:cubicBezTo>
                    <a:pt x="3612695" y="2825626"/>
                    <a:pt x="3659012" y="2825626"/>
                    <a:pt x="3685479" y="2858709"/>
                  </a:cubicBezTo>
                  <a:cubicBezTo>
                    <a:pt x="3711945" y="2885176"/>
                    <a:pt x="3711945" y="2931492"/>
                    <a:pt x="3685479" y="2957959"/>
                  </a:cubicBezTo>
                  <a:cubicBezTo>
                    <a:pt x="3520062" y="3116759"/>
                    <a:pt x="3262013" y="3116759"/>
                    <a:pt x="3103213" y="2957959"/>
                  </a:cubicBezTo>
                  <a:cubicBezTo>
                    <a:pt x="2997346" y="2852092"/>
                    <a:pt x="2825313" y="2852092"/>
                    <a:pt x="2719447" y="2957959"/>
                  </a:cubicBezTo>
                  <a:cubicBezTo>
                    <a:pt x="2554030" y="3116759"/>
                    <a:pt x="2295981" y="3116759"/>
                    <a:pt x="2137181" y="2957959"/>
                  </a:cubicBezTo>
                  <a:cubicBezTo>
                    <a:pt x="2031314" y="2852092"/>
                    <a:pt x="1859281" y="2852092"/>
                    <a:pt x="1753415" y="2957959"/>
                  </a:cubicBezTo>
                  <a:cubicBezTo>
                    <a:pt x="1587998" y="3116759"/>
                    <a:pt x="1329949" y="3116759"/>
                    <a:pt x="1171149" y="2957959"/>
                  </a:cubicBezTo>
                  <a:cubicBezTo>
                    <a:pt x="1065281" y="2852092"/>
                    <a:pt x="893248" y="2852092"/>
                    <a:pt x="787382" y="2957959"/>
                  </a:cubicBezTo>
                  <a:cubicBezTo>
                    <a:pt x="621965" y="3116759"/>
                    <a:pt x="363916" y="3116759"/>
                    <a:pt x="205116" y="2957959"/>
                  </a:cubicBezTo>
                  <a:cubicBezTo>
                    <a:pt x="178649" y="2931492"/>
                    <a:pt x="178649" y="2885176"/>
                    <a:pt x="205116" y="2858709"/>
                  </a:cubicBezTo>
                  <a:cubicBezTo>
                    <a:pt x="231583" y="2832242"/>
                    <a:pt x="277899" y="2832242"/>
                    <a:pt x="304366" y="2858709"/>
                  </a:cubicBezTo>
                  <a:cubicBezTo>
                    <a:pt x="403616" y="2964575"/>
                    <a:pt x="582265" y="2964575"/>
                    <a:pt x="688132" y="2858709"/>
                  </a:cubicBezTo>
                  <a:cubicBezTo>
                    <a:pt x="767532" y="2779309"/>
                    <a:pt x="873399" y="2739609"/>
                    <a:pt x="979265" y="2739609"/>
                  </a:cubicBezTo>
                  <a:close/>
                  <a:moveTo>
                    <a:pt x="979265" y="2382309"/>
                  </a:moveTo>
                  <a:cubicBezTo>
                    <a:pt x="1085132" y="2382309"/>
                    <a:pt x="1190999" y="2422009"/>
                    <a:pt x="1270399" y="2501409"/>
                  </a:cubicBezTo>
                  <a:cubicBezTo>
                    <a:pt x="1369649" y="2607275"/>
                    <a:pt x="1548298" y="2607275"/>
                    <a:pt x="1654165" y="2501409"/>
                  </a:cubicBezTo>
                  <a:cubicBezTo>
                    <a:pt x="1812965" y="2342609"/>
                    <a:pt x="2077631" y="2342609"/>
                    <a:pt x="2236431" y="2501409"/>
                  </a:cubicBezTo>
                  <a:cubicBezTo>
                    <a:pt x="2289364" y="2554342"/>
                    <a:pt x="2355530" y="2580809"/>
                    <a:pt x="2428314" y="2580809"/>
                  </a:cubicBezTo>
                  <a:cubicBezTo>
                    <a:pt x="2501097" y="2580809"/>
                    <a:pt x="2567264" y="2554342"/>
                    <a:pt x="2620197" y="2501409"/>
                  </a:cubicBezTo>
                  <a:cubicBezTo>
                    <a:pt x="2778997" y="2342609"/>
                    <a:pt x="3043663" y="2342609"/>
                    <a:pt x="3202463" y="2501409"/>
                  </a:cubicBezTo>
                  <a:cubicBezTo>
                    <a:pt x="3308329" y="2600659"/>
                    <a:pt x="3486979" y="2600659"/>
                    <a:pt x="3586229" y="2501409"/>
                  </a:cubicBezTo>
                  <a:cubicBezTo>
                    <a:pt x="3612695" y="2474942"/>
                    <a:pt x="3659012" y="2474942"/>
                    <a:pt x="3685479" y="2501409"/>
                  </a:cubicBezTo>
                  <a:cubicBezTo>
                    <a:pt x="3711945" y="2527875"/>
                    <a:pt x="3711945" y="2574192"/>
                    <a:pt x="3685479" y="2600659"/>
                  </a:cubicBezTo>
                  <a:cubicBezTo>
                    <a:pt x="3526679" y="2759458"/>
                    <a:pt x="3262013" y="2759458"/>
                    <a:pt x="3103213" y="2600659"/>
                  </a:cubicBezTo>
                  <a:cubicBezTo>
                    <a:pt x="2997346" y="2494792"/>
                    <a:pt x="2825313" y="2494792"/>
                    <a:pt x="2719447" y="2600659"/>
                  </a:cubicBezTo>
                  <a:cubicBezTo>
                    <a:pt x="2640047" y="2680058"/>
                    <a:pt x="2540797" y="2719759"/>
                    <a:pt x="2428314" y="2719759"/>
                  </a:cubicBezTo>
                  <a:cubicBezTo>
                    <a:pt x="2315831" y="2719759"/>
                    <a:pt x="2216581" y="2680058"/>
                    <a:pt x="2137181" y="2600659"/>
                  </a:cubicBezTo>
                  <a:cubicBezTo>
                    <a:pt x="2031314" y="2494792"/>
                    <a:pt x="1859281" y="2494792"/>
                    <a:pt x="1753415" y="2600659"/>
                  </a:cubicBezTo>
                  <a:cubicBezTo>
                    <a:pt x="1594615" y="2759458"/>
                    <a:pt x="1329949" y="2759458"/>
                    <a:pt x="1171149" y="2600659"/>
                  </a:cubicBezTo>
                  <a:cubicBezTo>
                    <a:pt x="1065281" y="2494792"/>
                    <a:pt x="893248" y="2494792"/>
                    <a:pt x="787382" y="2600659"/>
                  </a:cubicBezTo>
                  <a:cubicBezTo>
                    <a:pt x="628582" y="2759458"/>
                    <a:pt x="363916" y="2759458"/>
                    <a:pt x="205116" y="2600659"/>
                  </a:cubicBezTo>
                  <a:cubicBezTo>
                    <a:pt x="178649" y="2574192"/>
                    <a:pt x="178649" y="2527875"/>
                    <a:pt x="205116" y="2501409"/>
                  </a:cubicBezTo>
                  <a:cubicBezTo>
                    <a:pt x="231583" y="2474942"/>
                    <a:pt x="277899" y="2474942"/>
                    <a:pt x="304366" y="2501409"/>
                  </a:cubicBezTo>
                  <a:cubicBezTo>
                    <a:pt x="410232" y="2607275"/>
                    <a:pt x="582265" y="2607275"/>
                    <a:pt x="688132" y="2501409"/>
                  </a:cubicBezTo>
                  <a:cubicBezTo>
                    <a:pt x="767532" y="2422009"/>
                    <a:pt x="873399" y="2382309"/>
                    <a:pt x="979265" y="2382309"/>
                  </a:cubicBezTo>
                  <a:close/>
                  <a:moveTo>
                    <a:pt x="0" y="1508910"/>
                  </a:moveTo>
                  <a:lnTo>
                    <a:pt x="3619312" y="1508910"/>
                  </a:lnTo>
                  <a:lnTo>
                    <a:pt x="3427428" y="2435243"/>
                  </a:lnTo>
                  <a:cubicBezTo>
                    <a:pt x="3374495" y="2448476"/>
                    <a:pt x="3328179" y="2435243"/>
                    <a:pt x="3295095" y="2402160"/>
                  </a:cubicBezTo>
                  <a:cubicBezTo>
                    <a:pt x="3083362" y="2190427"/>
                    <a:pt x="2732679" y="2190427"/>
                    <a:pt x="2520946" y="2402160"/>
                  </a:cubicBezTo>
                  <a:cubicBezTo>
                    <a:pt x="2501096" y="2428626"/>
                    <a:pt x="2461397" y="2441860"/>
                    <a:pt x="2428313" y="2441860"/>
                  </a:cubicBezTo>
                  <a:cubicBezTo>
                    <a:pt x="2395230" y="2441860"/>
                    <a:pt x="2362147" y="2428626"/>
                    <a:pt x="2335680" y="2402160"/>
                  </a:cubicBezTo>
                  <a:cubicBezTo>
                    <a:pt x="2123947" y="2190427"/>
                    <a:pt x="1773264" y="2190427"/>
                    <a:pt x="1561531" y="2402160"/>
                  </a:cubicBezTo>
                  <a:cubicBezTo>
                    <a:pt x="1508598" y="2448476"/>
                    <a:pt x="1415965" y="2448476"/>
                    <a:pt x="1369648" y="2402160"/>
                  </a:cubicBezTo>
                  <a:cubicBezTo>
                    <a:pt x="1157915" y="2190427"/>
                    <a:pt x="807232" y="2190427"/>
                    <a:pt x="595499" y="2402160"/>
                  </a:cubicBezTo>
                  <a:close/>
                  <a:moveTo>
                    <a:pt x="1435815" y="1078828"/>
                  </a:moveTo>
                  <a:lnTo>
                    <a:pt x="2461398" y="1078828"/>
                  </a:lnTo>
                  <a:lnTo>
                    <a:pt x="2461398" y="1369962"/>
                  </a:lnTo>
                  <a:lnTo>
                    <a:pt x="1435815" y="1369962"/>
                  </a:lnTo>
                  <a:close/>
                  <a:moveTo>
                    <a:pt x="1733564" y="675212"/>
                  </a:moveTo>
                  <a:lnTo>
                    <a:pt x="2163648" y="675212"/>
                  </a:lnTo>
                  <a:lnTo>
                    <a:pt x="2163648" y="939879"/>
                  </a:lnTo>
                  <a:lnTo>
                    <a:pt x="1733564" y="939879"/>
                  </a:lnTo>
                  <a:close/>
                  <a:moveTo>
                    <a:pt x="2707040" y="313"/>
                  </a:moveTo>
                  <a:cubicBezTo>
                    <a:pt x="2724409" y="-1342"/>
                    <a:pt x="2742605" y="3621"/>
                    <a:pt x="2759146" y="13546"/>
                  </a:cubicBezTo>
                  <a:cubicBezTo>
                    <a:pt x="2785612" y="33396"/>
                    <a:pt x="2792229" y="73096"/>
                    <a:pt x="2778996" y="99562"/>
                  </a:cubicBezTo>
                  <a:cubicBezTo>
                    <a:pt x="2712829" y="264979"/>
                    <a:pt x="2567263" y="364229"/>
                    <a:pt x="2329063" y="397312"/>
                  </a:cubicBezTo>
                  <a:cubicBezTo>
                    <a:pt x="2176880" y="417162"/>
                    <a:pt x="2104097" y="476712"/>
                    <a:pt x="2057780" y="536262"/>
                  </a:cubicBezTo>
                  <a:lnTo>
                    <a:pt x="1905597" y="536262"/>
                  </a:lnTo>
                  <a:cubicBezTo>
                    <a:pt x="1951914" y="417162"/>
                    <a:pt x="2064397" y="291445"/>
                    <a:pt x="2302596" y="258362"/>
                  </a:cubicBezTo>
                  <a:cubicBezTo>
                    <a:pt x="2487863" y="231895"/>
                    <a:pt x="2600346" y="165729"/>
                    <a:pt x="2640046" y="53246"/>
                  </a:cubicBezTo>
                  <a:cubicBezTo>
                    <a:pt x="2646663" y="46629"/>
                    <a:pt x="2646663" y="33396"/>
                    <a:pt x="2659896" y="26779"/>
                  </a:cubicBezTo>
                  <a:cubicBezTo>
                    <a:pt x="2673129" y="10237"/>
                    <a:pt x="2689671" y="1967"/>
                    <a:pt x="2707040" y="313"/>
                  </a:cubicBezTo>
                  <a:close/>
                </a:path>
              </a:pathLst>
            </a:custGeom>
            <a:solidFill>
              <a:schemeClr val="accent6"/>
            </a:solidFill>
            <a:ln w="0">
              <a:noFill/>
              <a:prstDash val="solid"/>
              <a:round/>
              <a:headEnd/>
              <a:tailEnd/>
            </a:ln>
          </p:spPr>
          <p:txBody>
            <a:bodyPr rtlCol="0" anchor="ctr"/>
            <a:lstStyle>
              <a:defPPr>
                <a:defRPr lang="de-DE"/>
              </a:defPPr>
              <a:lvl1pPr algn="l" rtl="0" fontAlgn="base">
                <a:spcBef>
                  <a:spcPct val="0"/>
                </a:spcBef>
                <a:spcAft>
                  <a:spcPct val="0"/>
                </a:spcAft>
                <a:defRPr sz="1299" b="1" kern="1200">
                  <a:solidFill>
                    <a:schemeClr val="tx1"/>
                  </a:solidFill>
                  <a:latin typeface="Arial Narrow" charset="0"/>
                  <a:ea typeface="+mn-ea"/>
                  <a:cs typeface="+mn-cs"/>
                </a:defRPr>
              </a:lvl1pPr>
              <a:lvl2pPr marL="457166" algn="l" rtl="0" fontAlgn="base">
                <a:spcBef>
                  <a:spcPct val="0"/>
                </a:spcBef>
                <a:spcAft>
                  <a:spcPct val="0"/>
                </a:spcAft>
                <a:defRPr sz="1299" b="1" kern="1200">
                  <a:solidFill>
                    <a:schemeClr val="tx1"/>
                  </a:solidFill>
                  <a:latin typeface="Arial Narrow" charset="0"/>
                  <a:ea typeface="+mn-ea"/>
                  <a:cs typeface="+mn-cs"/>
                </a:defRPr>
              </a:lvl2pPr>
              <a:lvl3pPr marL="914331" algn="l" rtl="0" fontAlgn="base">
                <a:spcBef>
                  <a:spcPct val="0"/>
                </a:spcBef>
                <a:spcAft>
                  <a:spcPct val="0"/>
                </a:spcAft>
                <a:defRPr sz="1299" b="1" kern="1200">
                  <a:solidFill>
                    <a:schemeClr val="tx1"/>
                  </a:solidFill>
                  <a:latin typeface="Arial Narrow" charset="0"/>
                  <a:ea typeface="+mn-ea"/>
                  <a:cs typeface="+mn-cs"/>
                </a:defRPr>
              </a:lvl3pPr>
              <a:lvl4pPr marL="1371497" algn="l" rtl="0" fontAlgn="base">
                <a:spcBef>
                  <a:spcPct val="0"/>
                </a:spcBef>
                <a:spcAft>
                  <a:spcPct val="0"/>
                </a:spcAft>
                <a:defRPr sz="1299" b="1" kern="1200">
                  <a:solidFill>
                    <a:schemeClr val="tx1"/>
                  </a:solidFill>
                  <a:latin typeface="Arial Narrow" charset="0"/>
                  <a:ea typeface="+mn-ea"/>
                  <a:cs typeface="+mn-cs"/>
                </a:defRPr>
              </a:lvl4pPr>
              <a:lvl5pPr marL="1828663" algn="l" rtl="0" fontAlgn="base">
                <a:spcBef>
                  <a:spcPct val="0"/>
                </a:spcBef>
                <a:spcAft>
                  <a:spcPct val="0"/>
                </a:spcAft>
                <a:defRPr sz="1299" b="1" kern="1200">
                  <a:solidFill>
                    <a:schemeClr val="tx1"/>
                  </a:solidFill>
                  <a:latin typeface="Arial Narrow" charset="0"/>
                  <a:ea typeface="+mn-ea"/>
                  <a:cs typeface="+mn-cs"/>
                </a:defRPr>
              </a:lvl5pPr>
              <a:lvl6pPr marL="2285828" algn="l" defTabSz="914331" rtl="0" eaLnBrk="1" latinLnBrk="0" hangingPunct="1">
                <a:defRPr sz="1299" b="1" kern="1200">
                  <a:solidFill>
                    <a:schemeClr val="tx1"/>
                  </a:solidFill>
                  <a:latin typeface="Arial Narrow" charset="0"/>
                  <a:ea typeface="+mn-ea"/>
                  <a:cs typeface="+mn-cs"/>
                </a:defRPr>
              </a:lvl6pPr>
              <a:lvl7pPr marL="2742994" algn="l" defTabSz="914331" rtl="0" eaLnBrk="1" latinLnBrk="0" hangingPunct="1">
                <a:defRPr sz="1299" b="1" kern="1200">
                  <a:solidFill>
                    <a:schemeClr val="tx1"/>
                  </a:solidFill>
                  <a:latin typeface="Arial Narrow" charset="0"/>
                  <a:ea typeface="+mn-ea"/>
                  <a:cs typeface="+mn-cs"/>
                </a:defRPr>
              </a:lvl7pPr>
              <a:lvl8pPr marL="3200159" algn="l" defTabSz="914331" rtl="0" eaLnBrk="1" latinLnBrk="0" hangingPunct="1">
                <a:defRPr sz="1299" b="1" kern="1200">
                  <a:solidFill>
                    <a:schemeClr val="tx1"/>
                  </a:solidFill>
                  <a:latin typeface="Arial Narrow" charset="0"/>
                  <a:ea typeface="+mn-ea"/>
                  <a:cs typeface="+mn-cs"/>
                </a:defRPr>
              </a:lvl8pPr>
              <a:lvl9pPr marL="3657325" algn="l" defTabSz="914331" rtl="0" eaLnBrk="1" latinLnBrk="0" hangingPunct="1">
                <a:defRPr sz="1299" b="1" kern="1200">
                  <a:solidFill>
                    <a:schemeClr val="tx1"/>
                  </a:solidFill>
                  <a:latin typeface="Arial Narrow" charset="0"/>
                  <a:ea typeface="+mn-ea"/>
                  <a:cs typeface="+mn-cs"/>
                </a:defRPr>
              </a:lvl9pPr>
            </a:lstStyle>
            <a:p>
              <a:endParaRPr lang="en-US" sz="800">
                <a:latin typeface="+mn-lt"/>
              </a:endParaRPr>
            </a:p>
          </p:txBody>
        </p:sp>
        <p:sp>
          <p:nvSpPr>
            <p:cNvPr id="252" name="LegendText">
              <a:extLst>
                <a:ext uri="{FF2B5EF4-FFF2-40B4-BE49-F238E27FC236}">
                  <a16:creationId xmlns:a16="http://schemas.microsoft.com/office/drawing/2014/main" id="{C6C9EB8B-B7B4-FA85-1252-C059395613FB}"/>
                </a:ext>
              </a:extLst>
            </p:cNvPr>
            <p:cNvSpPr txBox="1">
              <a:spLocks/>
            </p:cNvSpPr>
            <p:nvPr/>
          </p:nvSpPr>
          <p:spPr>
            <a:xfrm>
              <a:off x="1220600" y="4322520"/>
              <a:ext cx="243656" cy="107722"/>
            </a:xfrm>
            <a:prstGeom prst="rect">
              <a:avLst/>
            </a:prstGeom>
            <a:noFill/>
            <a:ln w="9525">
              <a:noFill/>
            </a:ln>
          </p:spPr>
          <p:txBody>
            <a:bodyPr vert="horz" wrap="none" lIns="0" tIns="0" rIns="0" bIns="0" rtlCol="0" anchor="t" anchorCtr="0">
              <a:spAutoFit/>
            </a:bodyPr>
            <a:lstStyle>
              <a:defPPr>
                <a:defRPr lang="en-EN"/>
              </a:defPPr>
              <a:lvl1pPr marL="0" marR="0" lvl="0" indent="0" defTabSz="914400" eaLnBrk="1" fontAlgn="auto" latinLnBrk="0" hangingPunct="1">
                <a:lnSpc>
                  <a:spcPct val="100000"/>
                </a:lnSpc>
                <a:spcBef>
                  <a:spcPts val="0"/>
                </a:spcBef>
                <a:spcAft>
                  <a:spcPts val="0"/>
                </a:spcAft>
                <a:buClr>
                  <a:srgbClr val="000000"/>
                </a:buClr>
                <a:buSzPct val="100000"/>
                <a:buFontTx/>
                <a:buNone/>
                <a:tabLst/>
                <a:defRPr kumimoji="0" sz="1000" b="0" i="0" u="none" strike="noStrike" kern="0" cap="none" spc="0" normalizeH="0" baseline="0">
                  <a:ln>
                    <a:noFill/>
                  </a:ln>
                  <a:effectLst/>
                  <a:uLnTx/>
                  <a:uFillTx/>
                  <a:latin typeface="+mn-lt"/>
                </a:defRPr>
              </a:lvl1pPr>
            </a:lstStyle>
            <a:p>
              <a:r>
                <a:rPr lang="en-US" sz="700">
                  <a:sym typeface="+mn-lt"/>
                </a:rPr>
                <a:t>FPSO</a:t>
              </a:r>
            </a:p>
          </p:txBody>
        </p:sp>
      </p:grpSp>
      <p:cxnSp>
        <p:nvCxnSpPr>
          <p:cNvPr id="253" name="Connector: Elbow 19">
            <a:extLst>
              <a:ext uri="{FF2B5EF4-FFF2-40B4-BE49-F238E27FC236}">
                <a16:creationId xmlns:a16="http://schemas.microsoft.com/office/drawing/2014/main" id="{9FFDE6B2-3F18-422D-A997-53A7A1A1DD54}"/>
              </a:ext>
            </a:extLst>
          </p:cNvPr>
          <p:cNvCxnSpPr>
            <a:cxnSpLocks/>
            <a:endCxn id="237" idx="3"/>
          </p:cNvCxnSpPr>
          <p:nvPr/>
        </p:nvCxnSpPr>
        <p:spPr>
          <a:xfrm rot="10800000" flipV="1">
            <a:off x="1477890" y="3315911"/>
            <a:ext cx="2000755" cy="756836"/>
          </a:xfrm>
          <a:prstGeom prst="bentConnector3">
            <a:avLst>
              <a:gd name="adj1" fmla="val 50000"/>
            </a:avLst>
          </a:prstGeom>
          <a:ln w="6350">
            <a:solidFill>
              <a:schemeClr val="accent3"/>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254" name="Titel 4">
            <a:extLst>
              <a:ext uri="{FF2B5EF4-FFF2-40B4-BE49-F238E27FC236}">
                <a16:creationId xmlns:a16="http://schemas.microsoft.com/office/drawing/2014/main" id="{FF39A7FB-29CA-6DEA-131F-C83B5934E4C6}"/>
              </a:ext>
            </a:extLst>
          </p:cNvPr>
          <p:cNvSpPr txBox="1">
            <a:spLocks/>
          </p:cNvSpPr>
          <p:nvPr/>
        </p:nvSpPr>
        <p:spPr>
          <a:xfrm>
            <a:off x="201063" y="816706"/>
            <a:ext cx="8660063" cy="576000"/>
          </a:xfrm>
          <a:prstGeom prst="rect">
            <a:avLst/>
          </a:prstGeom>
        </p:spPr>
        <p:txBody>
          <a:bodyPr vert="horz"/>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r>
              <a:rPr lang="en-US" sz="1600" dirty="0">
                <a:sym typeface="+mn-lt"/>
              </a:rPr>
              <a:t>The geographical reach of relevant projects is also extending, requiring manufacturers to localize offices and workshops</a:t>
            </a:r>
            <a:endParaRPr lang="en-US" sz="1600" dirty="0"/>
          </a:p>
        </p:txBody>
      </p:sp>
      <p:grpSp>
        <p:nvGrpSpPr>
          <p:cNvPr id="255" name="Gruppieren 8">
            <a:extLst>
              <a:ext uri="{FF2B5EF4-FFF2-40B4-BE49-F238E27FC236}">
                <a16:creationId xmlns:a16="http://schemas.microsoft.com/office/drawing/2014/main" id="{C9FFDA45-ED28-4050-55ED-A3C344FD6D79}"/>
              </a:ext>
            </a:extLst>
          </p:cNvPr>
          <p:cNvGrpSpPr/>
          <p:nvPr/>
        </p:nvGrpSpPr>
        <p:grpSpPr>
          <a:xfrm>
            <a:off x="250825" y="13448"/>
            <a:ext cx="2601506" cy="216000"/>
            <a:chOff x="250825" y="959449"/>
            <a:chExt cx="2601506" cy="216000"/>
          </a:xfrm>
        </p:grpSpPr>
        <p:sp>
          <p:nvSpPr>
            <p:cNvPr id="256" name="RbNavigator">
              <a:extLst>
                <a:ext uri="{FF2B5EF4-FFF2-40B4-BE49-F238E27FC236}">
                  <a16:creationId xmlns:a16="http://schemas.microsoft.com/office/drawing/2014/main" id="{EAF7D43B-8BA5-C0D7-C222-FF796C9299D0}"/>
                </a:ext>
              </a:extLst>
            </p:cNvPr>
            <p:cNvSpPr txBox="1">
              <a:spLocks/>
            </p:cNvSpPr>
            <p:nvPr/>
          </p:nvSpPr>
          <p:spPr>
            <a:xfrm>
              <a:off x="250825" y="959449"/>
              <a:ext cx="216000" cy="216000"/>
            </a:xfrm>
            <a:prstGeom prst="ellipse">
              <a:avLst/>
            </a:prstGeom>
            <a:solidFill>
              <a:schemeClr val="tx1"/>
            </a:solidFill>
            <a:ln w="6350">
              <a:noFill/>
            </a:ln>
          </p:spPr>
          <p:txBody>
            <a:bodyPr vert="horz" wrap="none" lIns="0" tIns="0" rIns="0" bIns="0" rtlCol="0" anchor="ctr">
              <a:noAutofit/>
            </a:bodyPr>
            <a:lstStyle>
              <a:defPPr>
                <a:defRPr lang="en-EN"/>
              </a:defPPr>
              <a:lvl1pPr algn="ctr">
                <a:lnSpc>
                  <a:spcPct val="100000"/>
                </a:lnSpc>
                <a:spcBef>
                  <a:spcPts val="0"/>
                </a:spcBef>
                <a:spcAft>
                  <a:spcPts val="0"/>
                </a:spcAft>
                <a:buClr>
                  <a:srgbClr val="000000"/>
                </a:buClr>
                <a:buSzPct val="100000"/>
                <a:defRPr kumimoji="1" sz="900">
                  <a:solidFill>
                    <a:schemeClr val="bg1"/>
                  </a:solidFill>
                  <a:latin typeface="+mn-lt"/>
                </a:defRPr>
              </a:lvl1pPr>
            </a:lstStyle>
            <a:p>
              <a:r>
                <a:rPr lang="en-US" sz="900">
                  <a:latin typeface="+mn-lt"/>
                  <a:ea typeface="+mn-ea"/>
                  <a:cs typeface="+mn-cs"/>
                  <a:sym typeface="+mn-lt"/>
                </a:rPr>
                <a:t>2</a:t>
              </a:r>
            </a:p>
          </p:txBody>
        </p:sp>
        <p:sp>
          <p:nvSpPr>
            <p:cNvPr id="257" name="RbSticker">
              <a:extLst>
                <a:ext uri="{FF2B5EF4-FFF2-40B4-BE49-F238E27FC236}">
                  <a16:creationId xmlns:a16="http://schemas.microsoft.com/office/drawing/2014/main" id="{8EEBBCD0-BB8A-CFFC-7DA7-07738D355475}"/>
                </a:ext>
              </a:extLst>
            </p:cNvPr>
            <p:cNvSpPr txBox="1">
              <a:spLocks/>
            </p:cNvSpPr>
            <p:nvPr/>
          </p:nvSpPr>
          <p:spPr>
            <a:xfrm>
              <a:off x="548331" y="998200"/>
              <a:ext cx="2304000" cy="13849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defPPr>
                <a:defRPr lang="en-EN"/>
              </a:defPPr>
              <a:lvl1pPr>
                <a:lnSpc>
                  <a:spcPct val="100000"/>
                </a:lnSpc>
                <a:spcBef>
                  <a:spcPts val="0"/>
                </a:spcBef>
                <a:spcAft>
                  <a:spcPts val="0"/>
                </a:spcAft>
                <a:buClr>
                  <a:srgbClr val="000000"/>
                </a:buClr>
                <a:buSzPct val="100000"/>
                <a:defRPr sz="900">
                  <a:latin typeface="+mn-lt"/>
                </a:defRPr>
              </a:lvl1pPr>
            </a:lstStyle>
            <a:p>
              <a:r>
                <a:rPr lang="en-US" sz="900" b="1"/>
                <a:t>Global localization </a:t>
              </a:r>
              <a:r>
                <a:rPr lang="en-US" sz="900"/>
                <a:t>(offices and workshops)</a:t>
              </a:r>
            </a:p>
          </p:txBody>
        </p:sp>
      </p:grpSp>
      <p:sp>
        <p:nvSpPr>
          <p:cNvPr id="258" name="TextBox 2">
            <a:extLst>
              <a:ext uri="{FF2B5EF4-FFF2-40B4-BE49-F238E27FC236}">
                <a16:creationId xmlns:a16="http://schemas.microsoft.com/office/drawing/2014/main" id="{9AC308D0-ECA5-0E7A-8834-B6746CBFCD6B}"/>
              </a:ext>
            </a:extLst>
          </p:cNvPr>
          <p:cNvSpPr txBox="1"/>
          <p:nvPr/>
        </p:nvSpPr>
        <p:spPr>
          <a:xfrm>
            <a:off x="137795" y="1257419"/>
            <a:ext cx="7579731" cy="276999"/>
          </a:xfrm>
          <a:prstGeom prst="rect">
            <a:avLst/>
          </a:prstGeom>
          <a:noFill/>
        </p:spPr>
        <p:txBody>
          <a:bodyPr wrap="square">
            <a:spAutoFit/>
          </a:bodyPr>
          <a:lstStyle/>
          <a:p>
            <a:r>
              <a:rPr lang="en-US" sz="1200" dirty="0">
                <a:solidFill>
                  <a:schemeClr val="tx2"/>
                </a:solidFill>
                <a:latin typeface="+mj-lt"/>
                <a:cs typeface="+mj-cs"/>
                <a:sym typeface="+mn-lt"/>
              </a:rPr>
              <a:t>Major ongoing Oil &amp; Gas projects worldwide </a:t>
            </a:r>
            <a:endParaRPr lang="en-GB" sz="1200" dirty="0">
              <a:solidFill>
                <a:schemeClr val="tx2"/>
              </a:solidFill>
            </a:endParaRPr>
          </a:p>
        </p:txBody>
      </p:sp>
    </p:spTree>
    <p:extLst>
      <p:ext uri="{BB962C8B-B14F-4D97-AF65-F5344CB8AC3E}">
        <p14:creationId xmlns:p14="http://schemas.microsoft.com/office/powerpoint/2010/main" val="25680163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urce">
            <a:extLst>
              <a:ext uri="{FF2B5EF4-FFF2-40B4-BE49-F238E27FC236}">
                <a16:creationId xmlns:a16="http://schemas.microsoft.com/office/drawing/2014/main" id="{DB8140CD-B412-9E1C-3478-60EBC59EC652}"/>
              </a:ext>
            </a:extLst>
          </p:cNvPr>
          <p:cNvSpPr txBox="1"/>
          <p:nvPr/>
        </p:nvSpPr>
        <p:spPr>
          <a:xfrm>
            <a:off x="4251812" y="4470167"/>
            <a:ext cx="2341988"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a:sym typeface="+mn-lt"/>
              </a:rPr>
              <a:t>Source: Market interviews, Capital IQ, Orbis, Roland Berger analysis</a:t>
            </a:r>
          </a:p>
        </p:txBody>
      </p:sp>
      <p:sp>
        <p:nvSpPr>
          <p:cNvPr id="3" name="TextBox 170">
            <a:extLst>
              <a:ext uri="{FF2B5EF4-FFF2-40B4-BE49-F238E27FC236}">
                <a16:creationId xmlns:a16="http://schemas.microsoft.com/office/drawing/2014/main" id="{A98E43FE-6646-C468-774F-AA544013EB81}"/>
              </a:ext>
            </a:extLst>
          </p:cNvPr>
          <p:cNvSpPr txBox="1">
            <a:spLocks/>
          </p:cNvSpPr>
          <p:nvPr/>
        </p:nvSpPr>
        <p:spPr>
          <a:xfrm flipH="1">
            <a:off x="257897" y="1627387"/>
            <a:ext cx="900000" cy="526298"/>
          </a:xfrm>
          <a:prstGeom prst="rect">
            <a:avLst/>
          </a:prstGeom>
          <a:noFill/>
          <a:ln w="9525">
            <a:noFill/>
          </a:ln>
          <a:effectLst/>
        </p:spPr>
        <p:txBody>
          <a:bodyPr vert="horz" wrap="square" lIns="72000" tIns="0" rIns="0" bIns="0" rtlCol="0">
            <a:spAutoFit/>
          </a:bodyPr>
          <a:lstStyle/>
          <a:p>
            <a:pPr>
              <a:lnSpc>
                <a:spcPct val="90000"/>
              </a:lnSpc>
              <a:buSzPct val="100000"/>
              <a:buFont typeface=""/>
            </a:pPr>
            <a:r>
              <a:rPr lang="en-US" sz="1000" b="1">
                <a:solidFill>
                  <a:schemeClr val="accent6"/>
                </a:solidFill>
              </a:rPr>
              <a:t>End-market focus</a:t>
            </a:r>
          </a:p>
          <a:p>
            <a:pPr>
              <a:lnSpc>
                <a:spcPct val="90000"/>
              </a:lnSpc>
              <a:buSzPct val="100000"/>
            </a:pPr>
            <a:r>
              <a:rPr lang="en-US" sz="900">
                <a:solidFill>
                  <a:schemeClr val="accent6"/>
                </a:solidFill>
              </a:rPr>
              <a:t>[</a:t>
            </a:r>
            <a:r>
              <a:rPr lang="en-US" sz="900"/>
              <a:t>Average gross margin, %]</a:t>
            </a:r>
          </a:p>
        </p:txBody>
      </p:sp>
      <p:grpSp>
        <p:nvGrpSpPr>
          <p:cNvPr id="4" name="Gruppieren 110">
            <a:extLst>
              <a:ext uri="{FF2B5EF4-FFF2-40B4-BE49-F238E27FC236}">
                <a16:creationId xmlns:a16="http://schemas.microsoft.com/office/drawing/2014/main" id="{A5BF5A99-D1AF-6226-902E-1EABB55EA46F}"/>
              </a:ext>
            </a:extLst>
          </p:cNvPr>
          <p:cNvGrpSpPr/>
          <p:nvPr/>
        </p:nvGrpSpPr>
        <p:grpSpPr>
          <a:xfrm>
            <a:off x="342141" y="2868277"/>
            <a:ext cx="823641" cy="107722"/>
            <a:chOff x="259825" y="2334554"/>
            <a:chExt cx="823641" cy="107722"/>
          </a:xfrm>
        </p:grpSpPr>
        <p:grpSp>
          <p:nvGrpSpPr>
            <p:cNvPr id="5" name="Group 178">
              <a:extLst>
                <a:ext uri="{FF2B5EF4-FFF2-40B4-BE49-F238E27FC236}">
                  <a16:creationId xmlns:a16="http://schemas.microsoft.com/office/drawing/2014/main" id="{55371E8B-8C32-95E6-9AB1-07ED5C85C9AA}"/>
                </a:ext>
              </a:extLst>
            </p:cNvPr>
            <p:cNvGrpSpPr>
              <a:grpSpLocks/>
            </p:cNvGrpSpPr>
            <p:nvPr/>
          </p:nvGrpSpPr>
          <p:grpSpPr>
            <a:xfrm>
              <a:off x="259825" y="2341392"/>
              <a:ext cx="90001" cy="94047"/>
              <a:chOff x="1400728" y="2733302"/>
              <a:chExt cx="214778" cy="379888"/>
            </a:xfrm>
            <a:effectLst/>
          </p:grpSpPr>
          <p:cxnSp>
            <p:nvCxnSpPr>
              <p:cNvPr id="7" name="Straight Connector 180">
                <a:extLst>
                  <a:ext uri="{FF2B5EF4-FFF2-40B4-BE49-F238E27FC236}">
                    <a16:creationId xmlns:a16="http://schemas.microsoft.com/office/drawing/2014/main" id="{B7EDEC3F-FA80-1426-2924-76C4440D7791}"/>
                  </a:ext>
                </a:extLst>
              </p:cNvPr>
              <p:cNvCxnSpPr>
                <a:cxnSpLocks/>
              </p:cNvCxnSpPr>
              <p:nvPr/>
            </p:nvCxnSpPr>
            <p:spPr>
              <a:xfrm>
                <a:off x="1508116" y="2733302"/>
                <a:ext cx="0" cy="360095"/>
              </a:xfrm>
              <a:prstGeom prst="line">
                <a:avLst/>
              </a:prstGeom>
              <a:ln w="12700"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8" name="Straight Connector 181">
                <a:extLst>
                  <a:ext uri="{FF2B5EF4-FFF2-40B4-BE49-F238E27FC236}">
                    <a16:creationId xmlns:a16="http://schemas.microsoft.com/office/drawing/2014/main" id="{4383ECAE-377E-A7F0-DCD1-2436135647FB}"/>
                  </a:ext>
                </a:extLst>
              </p:cNvPr>
              <p:cNvCxnSpPr/>
              <p:nvPr/>
            </p:nvCxnSpPr>
            <p:spPr>
              <a:xfrm rot="5400000">
                <a:off x="1508118" y="2625914"/>
                <a:ext cx="0" cy="214776"/>
              </a:xfrm>
              <a:prstGeom prst="line">
                <a:avLst/>
              </a:prstGeom>
              <a:ln w="12700"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9" name="Straight Connector 182">
                <a:extLst>
                  <a:ext uri="{FF2B5EF4-FFF2-40B4-BE49-F238E27FC236}">
                    <a16:creationId xmlns:a16="http://schemas.microsoft.com/office/drawing/2014/main" id="{876CDB1D-5BD7-F0D4-70F0-3B11E48B398A}"/>
                  </a:ext>
                </a:extLst>
              </p:cNvPr>
              <p:cNvCxnSpPr>
                <a:cxnSpLocks/>
              </p:cNvCxnSpPr>
              <p:nvPr/>
            </p:nvCxnSpPr>
            <p:spPr>
              <a:xfrm rot="5400000">
                <a:off x="1508116" y="3005802"/>
                <a:ext cx="0" cy="214776"/>
              </a:xfrm>
              <a:prstGeom prst="line">
                <a:avLst/>
              </a:prstGeom>
              <a:ln w="12700"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grpSp>
        <p:sp>
          <p:nvSpPr>
            <p:cNvPr id="6" name="LegendText">
              <a:extLst>
                <a:ext uri="{FF2B5EF4-FFF2-40B4-BE49-F238E27FC236}">
                  <a16:creationId xmlns:a16="http://schemas.microsoft.com/office/drawing/2014/main" id="{4D61A490-45E6-5EA7-7235-C31BF4B24989}"/>
                </a:ext>
              </a:extLst>
            </p:cNvPr>
            <p:cNvSpPr txBox="1">
              <a:spLocks/>
            </p:cNvSpPr>
            <p:nvPr/>
          </p:nvSpPr>
          <p:spPr>
            <a:xfrm>
              <a:off x="395777" y="2334554"/>
              <a:ext cx="687689" cy="107722"/>
            </a:xfrm>
            <a:prstGeom prst="rect">
              <a:avLst/>
            </a:prstGeom>
            <a:noFill/>
            <a:ln w="9525">
              <a:noFill/>
            </a:ln>
          </p:spPr>
          <p:txBody>
            <a:bodyPr vert="horz" wrap="none" lIns="0" tIns="0" rIns="0" bIns="0" rtlCol="0" anchor="t" anchorCtr="0">
              <a:spAutoFit/>
            </a:bodyPr>
            <a:lstStyle>
              <a:defPPr>
                <a:defRPr lang="en-EN"/>
              </a:defPPr>
              <a:lvl1pPr marL="0" marR="0" lvl="0" indent="0" defTabSz="914400" eaLnBrk="1" fontAlgn="auto" latinLnBrk="0" hangingPunct="1">
                <a:lnSpc>
                  <a:spcPct val="100000"/>
                </a:lnSpc>
                <a:spcBef>
                  <a:spcPts val="0"/>
                </a:spcBef>
                <a:spcAft>
                  <a:spcPts val="0"/>
                </a:spcAft>
                <a:buClr>
                  <a:srgbClr val="000000"/>
                </a:buClr>
                <a:buSzPct val="100000"/>
                <a:buFontTx/>
                <a:buNone/>
                <a:tabLst/>
                <a:defRPr kumimoji="0" sz="1000" b="0" i="0" u="none" strike="noStrike" kern="0" cap="none" spc="0" normalizeH="0" baseline="0">
                  <a:ln>
                    <a:noFill/>
                  </a:ln>
                  <a:effectLst/>
                  <a:uLnTx/>
                  <a:uFillTx/>
                  <a:latin typeface="+mn-lt"/>
                </a:defRPr>
              </a:lvl1pPr>
            </a:lstStyle>
            <a:p>
              <a:r>
                <a:rPr lang="en-US" sz="700">
                  <a:sym typeface="+mn-lt"/>
                </a:rPr>
                <a:t>Marginality range</a:t>
              </a:r>
            </a:p>
          </p:txBody>
        </p:sp>
      </p:grpSp>
      <p:grpSp>
        <p:nvGrpSpPr>
          <p:cNvPr id="10" name="Gruppieren 111">
            <a:extLst>
              <a:ext uri="{FF2B5EF4-FFF2-40B4-BE49-F238E27FC236}">
                <a16:creationId xmlns:a16="http://schemas.microsoft.com/office/drawing/2014/main" id="{FAE5DA86-FC63-BB80-573D-1C5A53E74F4C}"/>
              </a:ext>
            </a:extLst>
          </p:cNvPr>
          <p:cNvGrpSpPr/>
          <p:nvPr/>
        </p:nvGrpSpPr>
        <p:grpSpPr>
          <a:xfrm>
            <a:off x="333141" y="3031204"/>
            <a:ext cx="778139" cy="107722"/>
            <a:chOff x="250825" y="2545568"/>
            <a:chExt cx="778139" cy="107722"/>
          </a:xfrm>
        </p:grpSpPr>
        <p:sp>
          <p:nvSpPr>
            <p:cNvPr id="11" name="Rectangle 183">
              <a:extLst>
                <a:ext uri="{FF2B5EF4-FFF2-40B4-BE49-F238E27FC236}">
                  <a16:creationId xmlns:a16="http://schemas.microsoft.com/office/drawing/2014/main" id="{1E640CCF-05C4-1EDE-E59C-E8D87F2C1340}"/>
                </a:ext>
              </a:extLst>
            </p:cNvPr>
            <p:cNvSpPr>
              <a:spLocks/>
            </p:cNvSpPr>
            <p:nvPr/>
          </p:nvSpPr>
          <p:spPr>
            <a:xfrm>
              <a:off x="250825" y="2546559"/>
              <a:ext cx="108000" cy="105740"/>
            </a:xfrm>
            <a:prstGeom prst="rect">
              <a:avLst/>
            </a:prstGeom>
            <a:solidFill>
              <a:schemeClr val="accent6"/>
            </a:solidFill>
            <a:ln w="22225" cmpd="sng">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effectLst/>
              </a:endParaRPr>
            </a:p>
          </p:txBody>
        </p:sp>
        <p:sp>
          <p:nvSpPr>
            <p:cNvPr id="12" name="LegendText">
              <a:extLst>
                <a:ext uri="{FF2B5EF4-FFF2-40B4-BE49-F238E27FC236}">
                  <a16:creationId xmlns:a16="http://schemas.microsoft.com/office/drawing/2014/main" id="{D06638E8-3811-CE91-68C8-322557125551}"/>
                </a:ext>
              </a:extLst>
            </p:cNvPr>
            <p:cNvSpPr txBox="1">
              <a:spLocks/>
            </p:cNvSpPr>
            <p:nvPr/>
          </p:nvSpPr>
          <p:spPr>
            <a:xfrm>
              <a:off x="395777" y="2545568"/>
              <a:ext cx="633187" cy="107722"/>
            </a:xfrm>
            <a:prstGeom prst="rect">
              <a:avLst/>
            </a:prstGeom>
            <a:noFill/>
            <a:ln w="9525">
              <a:noFill/>
            </a:ln>
          </p:spPr>
          <p:txBody>
            <a:bodyPr vert="horz" wrap="none" lIns="0" tIns="0" rIns="0" bIns="0" rtlCol="0" anchor="t" anchorCtr="0">
              <a:spAutoFit/>
            </a:bodyPr>
            <a:lstStyle>
              <a:defPPr>
                <a:defRPr lang="en-EN"/>
              </a:defPPr>
              <a:lvl1pPr marL="0" marR="0" lvl="0" indent="0" defTabSz="914400" eaLnBrk="1" fontAlgn="auto" latinLnBrk="0" hangingPunct="1">
                <a:lnSpc>
                  <a:spcPct val="100000"/>
                </a:lnSpc>
                <a:spcBef>
                  <a:spcPts val="0"/>
                </a:spcBef>
                <a:spcAft>
                  <a:spcPts val="0"/>
                </a:spcAft>
                <a:buClr>
                  <a:srgbClr val="000000"/>
                </a:buClr>
                <a:buSzPct val="100000"/>
                <a:buFontTx/>
                <a:buNone/>
                <a:tabLst/>
                <a:defRPr kumimoji="0" sz="1000" b="0" i="0" u="none" strike="noStrike" kern="0" cap="none" spc="0" normalizeH="0" baseline="0">
                  <a:ln>
                    <a:noFill/>
                  </a:ln>
                  <a:effectLst/>
                  <a:uLnTx/>
                  <a:uFillTx/>
                  <a:latin typeface="+mn-lt"/>
                </a:defRPr>
              </a:lvl1pPr>
            </a:lstStyle>
            <a:p>
              <a:r>
                <a:rPr lang="en-US" sz="700">
                  <a:sym typeface="+mn-lt"/>
                </a:rPr>
                <a:t>Average margin</a:t>
              </a:r>
            </a:p>
          </p:txBody>
        </p:sp>
      </p:grpSp>
      <p:grpSp>
        <p:nvGrpSpPr>
          <p:cNvPr id="13" name="Gruppieren 94">
            <a:extLst>
              <a:ext uri="{FF2B5EF4-FFF2-40B4-BE49-F238E27FC236}">
                <a16:creationId xmlns:a16="http://schemas.microsoft.com/office/drawing/2014/main" id="{4D0D3FA4-A360-3B46-D9EA-E75F78E0D874}"/>
              </a:ext>
            </a:extLst>
          </p:cNvPr>
          <p:cNvGrpSpPr/>
          <p:nvPr/>
        </p:nvGrpSpPr>
        <p:grpSpPr>
          <a:xfrm>
            <a:off x="257900" y="3318697"/>
            <a:ext cx="6358800" cy="311606"/>
            <a:chOff x="257900" y="2813264"/>
            <a:chExt cx="6358800" cy="311606"/>
          </a:xfrm>
        </p:grpSpPr>
        <p:sp>
          <p:nvSpPr>
            <p:cNvPr id="14" name="Title33">
              <a:extLst>
                <a:ext uri="{FF2B5EF4-FFF2-40B4-BE49-F238E27FC236}">
                  <a16:creationId xmlns:a16="http://schemas.microsoft.com/office/drawing/2014/main" id="{B1742DD6-7721-E0E9-69AE-FF1F215C922B}"/>
                </a:ext>
              </a:extLst>
            </p:cNvPr>
            <p:cNvSpPr txBox="1">
              <a:spLocks/>
            </p:cNvSpPr>
            <p:nvPr/>
          </p:nvSpPr>
          <p:spPr>
            <a:xfrm>
              <a:off x="257900" y="2813264"/>
              <a:ext cx="6358800" cy="311606"/>
            </a:xfrm>
            <a:prstGeom prst="rect">
              <a:avLst/>
            </a:prstGeom>
            <a:solidFill>
              <a:schemeClr val="bg2"/>
            </a:solidFill>
            <a:ln w="9525">
              <a:noFill/>
            </a:ln>
            <a:effectLst/>
          </p:spPr>
          <p:txBody>
            <a:bodyPr vert="horz" wrap="square" lIns="72000" tIns="72000" rIns="0" bIns="72000" rtlCol="0" anchor="ctr" anchorCtr="0">
              <a:spAutoFit/>
            </a:bodyPr>
            <a:lstStyle>
              <a:defPPr>
                <a:defRPr lang="en-US"/>
              </a:defPPr>
              <a:lvl1pPr>
                <a:lnSpc>
                  <a:spcPct val="90000"/>
                </a:lnSpc>
                <a:spcBef>
                  <a:spcPts val="300"/>
                </a:spcBef>
                <a:buSzPct val="100000"/>
                <a:buFont typeface=""/>
                <a:defRPr sz="1400" b="1">
                  <a:solidFill>
                    <a:schemeClr val="accent6"/>
                  </a:solidFill>
                </a:defRPr>
              </a:lvl1pPr>
            </a:lstStyle>
            <a:p>
              <a:r>
                <a:rPr lang="en-US" sz="1200">
                  <a:sym typeface="+mn-lt"/>
                </a:rPr>
                <a:t>Specialization</a:t>
              </a:r>
              <a:r>
                <a:rPr lang="en-US" sz="1200" baseline="30000">
                  <a:sym typeface="+mn-lt"/>
                </a:rPr>
                <a:t>1)</a:t>
              </a:r>
            </a:p>
          </p:txBody>
        </p:sp>
        <p:sp>
          <p:nvSpPr>
            <p:cNvPr id="15" name="TextBox 150">
              <a:extLst>
                <a:ext uri="{FF2B5EF4-FFF2-40B4-BE49-F238E27FC236}">
                  <a16:creationId xmlns:a16="http://schemas.microsoft.com/office/drawing/2014/main" id="{B1C29186-E0E6-5F77-A1AB-BBB200A8E661}"/>
                </a:ext>
              </a:extLst>
            </p:cNvPr>
            <p:cNvSpPr txBox="1">
              <a:spLocks/>
            </p:cNvSpPr>
            <p:nvPr/>
          </p:nvSpPr>
          <p:spPr>
            <a:xfrm>
              <a:off x="2836866" y="2885968"/>
              <a:ext cx="587148" cy="166199"/>
            </a:xfrm>
            <a:prstGeom prst="rect">
              <a:avLst/>
            </a:prstGeom>
            <a:noFill/>
            <a:ln w="9525">
              <a:noFill/>
            </a:ln>
            <a:effectLst/>
          </p:spPr>
          <p:txBody>
            <a:bodyPr vert="horz" wrap="square" lIns="0" tIns="0" rIns="0" bIns="0" rtlCol="0" anchor="ctr" anchorCtr="0">
              <a:noAutofit/>
            </a:bodyPr>
            <a:lstStyle/>
            <a:p>
              <a:pPr algn="ctr">
                <a:lnSpc>
                  <a:spcPct val="90000"/>
                </a:lnSpc>
                <a:spcBef>
                  <a:spcPts val="400"/>
                </a:spcBef>
                <a:buClr>
                  <a:srgbClr val="000000"/>
                </a:buClr>
                <a:buSzTx/>
              </a:pPr>
              <a:r>
                <a:rPr lang="en-US" sz="1200" b="0" noProof="0">
                  <a:effectLst/>
                </a:rPr>
                <a:t>Offshore</a:t>
              </a:r>
            </a:p>
          </p:txBody>
        </p:sp>
        <p:sp>
          <p:nvSpPr>
            <p:cNvPr id="16" name="TextBox 107">
              <a:extLst>
                <a:ext uri="{FF2B5EF4-FFF2-40B4-BE49-F238E27FC236}">
                  <a16:creationId xmlns:a16="http://schemas.microsoft.com/office/drawing/2014/main" id="{4821241D-F604-8592-D5D8-889A89ABCBAD}"/>
                </a:ext>
              </a:extLst>
            </p:cNvPr>
            <p:cNvSpPr txBox="1">
              <a:spLocks/>
            </p:cNvSpPr>
            <p:nvPr/>
          </p:nvSpPr>
          <p:spPr>
            <a:xfrm>
              <a:off x="4824002" y="2885968"/>
              <a:ext cx="587148" cy="166199"/>
            </a:xfrm>
            <a:prstGeom prst="rect">
              <a:avLst/>
            </a:prstGeom>
            <a:noFill/>
            <a:ln w="9525">
              <a:noFill/>
            </a:ln>
            <a:effectLst/>
          </p:spPr>
          <p:txBody>
            <a:bodyPr vert="horz" wrap="square" lIns="0" tIns="0" rIns="0" bIns="0" rtlCol="0" anchor="ctr" anchorCtr="0">
              <a:noAutofit/>
            </a:bodyPr>
            <a:lstStyle/>
            <a:p>
              <a:pPr algn="ctr">
                <a:lnSpc>
                  <a:spcPct val="90000"/>
                </a:lnSpc>
                <a:spcBef>
                  <a:spcPts val="400"/>
                </a:spcBef>
                <a:buClr>
                  <a:srgbClr val="000000"/>
                </a:buClr>
                <a:buSzTx/>
              </a:pPr>
              <a:r>
                <a:rPr lang="en-US" sz="1200" b="0" noProof="0">
                  <a:effectLst/>
                </a:rPr>
                <a:t>Refining</a:t>
              </a:r>
            </a:p>
          </p:txBody>
        </p:sp>
        <p:sp>
          <p:nvSpPr>
            <p:cNvPr id="17" name="TextBox 95">
              <a:extLst>
                <a:ext uri="{FF2B5EF4-FFF2-40B4-BE49-F238E27FC236}">
                  <a16:creationId xmlns:a16="http://schemas.microsoft.com/office/drawing/2014/main" id="{820171F2-C6EA-F873-ECF4-ABDBE3DCB48F}"/>
                </a:ext>
              </a:extLst>
            </p:cNvPr>
            <p:cNvSpPr txBox="1">
              <a:spLocks/>
            </p:cNvSpPr>
            <p:nvPr/>
          </p:nvSpPr>
          <p:spPr>
            <a:xfrm>
              <a:off x="1843298" y="2885968"/>
              <a:ext cx="587148" cy="166199"/>
            </a:xfrm>
            <a:prstGeom prst="rect">
              <a:avLst/>
            </a:prstGeom>
            <a:noFill/>
            <a:ln w="9525">
              <a:noFill/>
            </a:ln>
            <a:effectLst/>
          </p:spPr>
          <p:txBody>
            <a:bodyPr vert="horz" wrap="square" lIns="0" tIns="0" rIns="0" bIns="0" rtlCol="0" anchor="ctr" anchorCtr="0">
              <a:noAutofit/>
            </a:bodyPr>
            <a:lstStyle/>
            <a:p>
              <a:pPr algn="ctr">
                <a:lnSpc>
                  <a:spcPct val="90000"/>
                </a:lnSpc>
                <a:spcBef>
                  <a:spcPts val="400"/>
                </a:spcBef>
                <a:buClr>
                  <a:srgbClr val="000000"/>
                </a:buClr>
                <a:buSzTx/>
              </a:pPr>
              <a:r>
                <a:rPr lang="en-US" sz="1200" b="0" noProof="0">
                  <a:effectLst/>
                </a:rPr>
                <a:t>Onshore</a:t>
              </a:r>
            </a:p>
          </p:txBody>
        </p:sp>
        <p:sp>
          <p:nvSpPr>
            <p:cNvPr id="18" name="TextBox 144">
              <a:extLst>
                <a:ext uri="{FF2B5EF4-FFF2-40B4-BE49-F238E27FC236}">
                  <a16:creationId xmlns:a16="http://schemas.microsoft.com/office/drawing/2014/main" id="{611B6F1E-A507-9B82-8F0D-1E004E4A873E}"/>
                </a:ext>
              </a:extLst>
            </p:cNvPr>
            <p:cNvSpPr txBox="1">
              <a:spLocks/>
            </p:cNvSpPr>
            <p:nvPr/>
          </p:nvSpPr>
          <p:spPr>
            <a:xfrm>
              <a:off x="3830434" y="2885968"/>
              <a:ext cx="587148" cy="166199"/>
            </a:xfrm>
            <a:prstGeom prst="rect">
              <a:avLst/>
            </a:prstGeom>
            <a:noFill/>
            <a:ln w="9525">
              <a:noFill/>
            </a:ln>
            <a:effectLst/>
          </p:spPr>
          <p:txBody>
            <a:bodyPr vert="horz" wrap="square" lIns="0" tIns="0" rIns="0" bIns="0" rtlCol="0" anchor="ctr" anchorCtr="0">
              <a:noAutofit/>
            </a:bodyPr>
            <a:lstStyle/>
            <a:p>
              <a:pPr algn="ctr">
                <a:lnSpc>
                  <a:spcPct val="90000"/>
                </a:lnSpc>
                <a:spcBef>
                  <a:spcPts val="400"/>
                </a:spcBef>
                <a:buClr>
                  <a:srgbClr val="000000"/>
                </a:buClr>
                <a:buSzTx/>
              </a:pPr>
              <a:r>
                <a:rPr lang="en-US" sz="1200" b="0" noProof="0">
                  <a:effectLst/>
                </a:rPr>
                <a:t>FPSO</a:t>
              </a:r>
            </a:p>
          </p:txBody>
        </p:sp>
        <p:sp>
          <p:nvSpPr>
            <p:cNvPr id="19" name="TextBox 156">
              <a:extLst>
                <a:ext uri="{FF2B5EF4-FFF2-40B4-BE49-F238E27FC236}">
                  <a16:creationId xmlns:a16="http://schemas.microsoft.com/office/drawing/2014/main" id="{720BEA5D-4B01-6756-A933-41E90F53A5DD}"/>
                </a:ext>
              </a:extLst>
            </p:cNvPr>
            <p:cNvSpPr txBox="1">
              <a:spLocks/>
            </p:cNvSpPr>
            <p:nvPr/>
          </p:nvSpPr>
          <p:spPr>
            <a:xfrm>
              <a:off x="5817571" y="2885968"/>
              <a:ext cx="587148" cy="166199"/>
            </a:xfrm>
            <a:prstGeom prst="rect">
              <a:avLst/>
            </a:prstGeom>
            <a:noFill/>
            <a:ln w="9525">
              <a:noFill/>
            </a:ln>
            <a:effectLst/>
          </p:spPr>
          <p:txBody>
            <a:bodyPr vert="horz" wrap="square" lIns="0" tIns="0" rIns="0" bIns="0" rtlCol="0" anchor="ctr" anchorCtr="0">
              <a:noAutofit/>
            </a:bodyPr>
            <a:lstStyle/>
            <a:p>
              <a:pPr algn="ctr">
                <a:lnSpc>
                  <a:spcPct val="90000"/>
                </a:lnSpc>
                <a:spcBef>
                  <a:spcPts val="400"/>
                </a:spcBef>
                <a:buClr>
                  <a:srgbClr val="000000"/>
                </a:buClr>
                <a:buSzTx/>
              </a:pPr>
              <a:r>
                <a:rPr lang="en-US" sz="1200" b="0" noProof="0">
                  <a:effectLst/>
                </a:rPr>
                <a:t>Nuclear</a:t>
              </a:r>
            </a:p>
          </p:txBody>
        </p:sp>
      </p:grpSp>
      <p:grpSp>
        <p:nvGrpSpPr>
          <p:cNvPr id="20" name="Gruppieren 108">
            <a:extLst>
              <a:ext uri="{FF2B5EF4-FFF2-40B4-BE49-F238E27FC236}">
                <a16:creationId xmlns:a16="http://schemas.microsoft.com/office/drawing/2014/main" id="{379C9601-CC8B-6229-C608-7B8B1AB2CF60}"/>
              </a:ext>
            </a:extLst>
          </p:cNvPr>
          <p:cNvGrpSpPr/>
          <p:nvPr/>
        </p:nvGrpSpPr>
        <p:grpSpPr>
          <a:xfrm>
            <a:off x="1321115" y="1628333"/>
            <a:ext cx="5295585" cy="1595924"/>
            <a:chOff x="1321115" y="1173228"/>
            <a:chExt cx="5295585" cy="1595924"/>
          </a:xfrm>
        </p:grpSpPr>
        <p:cxnSp>
          <p:nvCxnSpPr>
            <p:cNvPr id="21" name="Straight Connector 45">
              <a:extLst>
                <a:ext uri="{FF2B5EF4-FFF2-40B4-BE49-F238E27FC236}">
                  <a16:creationId xmlns:a16="http://schemas.microsoft.com/office/drawing/2014/main" id="{E4D60649-6109-98BF-4097-242FEA6825C6}"/>
                </a:ext>
              </a:extLst>
            </p:cNvPr>
            <p:cNvCxnSpPr>
              <a:cxnSpLocks/>
            </p:cNvCxnSpPr>
            <p:nvPr/>
          </p:nvCxnSpPr>
          <p:spPr>
            <a:xfrm>
              <a:off x="1655555" y="1230059"/>
              <a:ext cx="0" cy="1474069"/>
            </a:xfrm>
            <a:prstGeom prst="line">
              <a:avLst/>
            </a:prstGeom>
            <a:ln w="9525">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22" name="Straight Connector 46">
              <a:extLst>
                <a:ext uri="{FF2B5EF4-FFF2-40B4-BE49-F238E27FC236}">
                  <a16:creationId xmlns:a16="http://schemas.microsoft.com/office/drawing/2014/main" id="{059D865A-336F-C525-0E97-79BE11CDF748}"/>
                </a:ext>
              </a:extLst>
            </p:cNvPr>
            <p:cNvCxnSpPr>
              <a:cxnSpLocks/>
            </p:cNvCxnSpPr>
            <p:nvPr/>
          </p:nvCxnSpPr>
          <p:spPr>
            <a:xfrm>
              <a:off x="1655555" y="2707683"/>
              <a:ext cx="4961145" cy="0"/>
            </a:xfrm>
            <a:prstGeom prst="line">
              <a:avLst/>
            </a:prstGeom>
            <a:ln w="9525">
              <a:solidFill>
                <a:schemeClr val="tx2"/>
              </a:solidFill>
            </a:ln>
            <a:effectLst/>
          </p:spPr>
          <p:style>
            <a:lnRef idx="1">
              <a:schemeClr val="accent1"/>
            </a:lnRef>
            <a:fillRef idx="0">
              <a:schemeClr val="accent1"/>
            </a:fillRef>
            <a:effectRef idx="0">
              <a:schemeClr val="accent1"/>
            </a:effectRef>
            <a:fontRef idx="minor">
              <a:schemeClr val="tx1"/>
            </a:fontRef>
          </p:style>
        </p:cxnSp>
        <p:grpSp>
          <p:nvGrpSpPr>
            <p:cNvPr id="23" name="Group 1">
              <a:extLst>
                <a:ext uri="{FF2B5EF4-FFF2-40B4-BE49-F238E27FC236}">
                  <a16:creationId xmlns:a16="http://schemas.microsoft.com/office/drawing/2014/main" id="{BF0A27B0-0C39-B7A6-C168-FAF70D86DB93}"/>
                </a:ext>
              </a:extLst>
            </p:cNvPr>
            <p:cNvGrpSpPr/>
            <p:nvPr/>
          </p:nvGrpSpPr>
          <p:grpSpPr>
            <a:xfrm>
              <a:off x="1755239" y="1236409"/>
              <a:ext cx="4856133" cy="1103455"/>
              <a:chOff x="1011770" y="2145320"/>
              <a:chExt cx="168956" cy="1208424"/>
            </a:xfrm>
          </p:grpSpPr>
          <p:cxnSp>
            <p:nvCxnSpPr>
              <p:cNvPr id="61" name="Straight Connector 3">
                <a:extLst>
                  <a:ext uri="{FF2B5EF4-FFF2-40B4-BE49-F238E27FC236}">
                    <a16:creationId xmlns:a16="http://schemas.microsoft.com/office/drawing/2014/main" id="{DB1613C1-C7D1-EF07-8BFB-19DE207C8CC8}"/>
                  </a:ext>
                </a:extLst>
              </p:cNvPr>
              <p:cNvCxnSpPr/>
              <p:nvPr/>
            </p:nvCxnSpPr>
            <p:spPr>
              <a:xfrm>
                <a:off x="1011770" y="3353744"/>
                <a:ext cx="168956" cy="0"/>
              </a:xfrm>
              <a:prstGeom prst="line">
                <a:avLst/>
              </a:prstGeom>
              <a:ln w="6350" cmpd="sng">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cxnSp>
            <p:nvCxnSpPr>
              <p:cNvPr id="62" name="Straight Connector 5">
                <a:extLst>
                  <a:ext uri="{FF2B5EF4-FFF2-40B4-BE49-F238E27FC236}">
                    <a16:creationId xmlns:a16="http://schemas.microsoft.com/office/drawing/2014/main" id="{947F7D88-59E4-36C1-1E1F-2327D16F87CC}"/>
                  </a:ext>
                </a:extLst>
              </p:cNvPr>
              <p:cNvCxnSpPr/>
              <p:nvPr/>
            </p:nvCxnSpPr>
            <p:spPr>
              <a:xfrm>
                <a:off x="1011770" y="2950936"/>
                <a:ext cx="168956" cy="0"/>
              </a:xfrm>
              <a:prstGeom prst="line">
                <a:avLst/>
              </a:prstGeom>
              <a:ln w="6350" cmpd="sng">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cxnSp>
            <p:nvCxnSpPr>
              <p:cNvPr id="63" name="Straight Connector 6">
                <a:extLst>
                  <a:ext uri="{FF2B5EF4-FFF2-40B4-BE49-F238E27FC236}">
                    <a16:creationId xmlns:a16="http://schemas.microsoft.com/office/drawing/2014/main" id="{314FB0C1-E6A7-1DA4-437E-D66A51C60A56}"/>
                  </a:ext>
                </a:extLst>
              </p:cNvPr>
              <p:cNvCxnSpPr/>
              <p:nvPr/>
            </p:nvCxnSpPr>
            <p:spPr>
              <a:xfrm>
                <a:off x="1011770" y="2548128"/>
                <a:ext cx="168956" cy="0"/>
              </a:xfrm>
              <a:prstGeom prst="line">
                <a:avLst/>
              </a:prstGeom>
              <a:ln w="6350" cmpd="sng">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cxnSp>
            <p:nvCxnSpPr>
              <p:cNvPr id="64" name="Straight Connector 7">
                <a:extLst>
                  <a:ext uri="{FF2B5EF4-FFF2-40B4-BE49-F238E27FC236}">
                    <a16:creationId xmlns:a16="http://schemas.microsoft.com/office/drawing/2014/main" id="{07A10B4B-1799-B788-6DD2-731FC8226001}"/>
                  </a:ext>
                </a:extLst>
              </p:cNvPr>
              <p:cNvCxnSpPr/>
              <p:nvPr/>
            </p:nvCxnSpPr>
            <p:spPr>
              <a:xfrm>
                <a:off x="1011770" y="2145320"/>
                <a:ext cx="168956" cy="0"/>
              </a:xfrm>
              <a:prstGeom prst="line">
                <a:avLst/>
              </a:prstGeom>
              <a:ln w="6350" cmpd="sng">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grpSp>
        <p:grpSp>
          <p:nvGrpSpPr>
            <p:cNvPr id="24" name="Group 174">
              <a:extLst>
                <a:ext uri="{FF2B5EF4-FFF2-40B4-BE49-F238E27FC236}">
                  <a16:creationId xmlns:a16="http://schemas.microsoft.com/office/drawing/2014/main" id="{DA502512-C050-0435-BE06-71F88462F313}"/>
                </a:ext>
              </a:extLst>
            </p:cNvPr>
            <p:cNvGrpSpPr/>
            <p:nvPr/>
          </p:nvGrpSpPr>
          <p:grpSpPr>
            <a:xfrm>
              <a:off x="1584103" y="1236409"/>
              <a:ext cx="72000" cy="1471274"/>
              <a:chOff x="1011770" y="2145320"/>
              <a:chExt cx="168956" cy="1611232"/>
            </a:xfrm>
          </p:grpSpPr>
          <p:cxnSp>
            <p:nvCxnSpPr>
              <p:cNvPr id="56" name="Straight Connector 51">
                <a:extLst>
                  <a:ext uri="{FF2B5EF4-FFF2-40B4-BE49-F238E27FC236}">
                    <a16:creationId xmlns:a16="http://schemas.microsoft.com/office/drawing/2014/main" id="{B3ABDB32-4662-DAAD-8B3A-DA9035E97F82}"/>
                  </a:ext>
                </a:extLst>
              </p:cNvPr>
              <p:cNvCxnSpPr/>
              <p:nvPr/>
            </p:nvCxnSpPr>
            <p:spPr>
              <a:xfrm>
                <a:off x="1011770" y="3756552"/>
                <a:ext cx="168956" cy="0"/>
              </a:xfrm>
              <a:prstGeom prst="line">
                <a:avLst/>
              </a:prstGeom>
              <a:ln w="9525">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57" name="Straight Connector 52">
                <a:extLst>
                  <a:ext uri="{FF2B5EF4-FFF2-40B4-BE49-F238E27FC236}">
                    <a16:creationId xmlns:a16="http://schemas.microsoft.com/office/drawing/2014/main" id="{D2B8D790-0EE8-AF62-2C75-D6E5A007F446}"/>
                  </a:ext>
                </a:extLst>
              </p:cNvPr>
              <p:cNvCxnSpPr/>
              <p:nvPr/>
            </p:nvCxnSpPr>
            <p:spPr>
              <a:xfrm>
                <a:off x="1011770" y="3353744"/>
                <a:ext cx="168956" cy="0"/>
              </a:xfrm>
              <a:prstGeom prst="line">
                <a:avLst/>
              </a:prstGeom>
              <a:ln w="9525">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58" name="Straight Connector 53">
                <a:extLst>
                  <a:ext uri="{FF2B5EF4-FFF2-40B4-BE49-F238E27FC236}">
                    <a16:creationId xmlns:a16="http://schemas.microsoft.com/office/drawing/2014/main" id="{F35E15C0-6FE7-0E9F-0986-48D7DB1FE1EB}"/>
                  </a:ext>
                </a:extLst>
              </p:cNvPr>
              <p:cNvCxnSpPr/>
              <p:nvPr/>
            </p:nvCxnSpPr>
            <p:spPr>
              <a:xfrm>
                <a:off x="1011770" y="2950936"/>
                <a:ext cx="168956" cy="0"/>
              </a:xfrm>
              <a:prstGeom prst="line">
                <a:avLst/>
              </a:prstGeom>
              <a:ln w="9525">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59" name="Straight Connector 54">
                <a:extLst>
                  <a:ext uri="{FF2B5EF4-FFF2-40B4-BE49-F238E27FC236}">
                    <a16:creationId xmlns:a16="http://schemas.microsoft.com/office/drawing/2014/main" id="{A5D312E1-245E-93AD-2BF2-8AA6D2DF30E0}"/>
                  </a:ext>
                </a:extLst>
              </p:cNvPr>
              <p:cNvCxnSpPr/>
              <p:nvPr/>
            </p:nvCxnSpPr>
            <p:spPr>
              <a:xfrm>
                <a:off x="1011770" y="2548128"/>
                <a:ext cx="168956" cy="0"/>
              </a:xfrm>
              <a:prstGeom prst="line">
                <a:avLst/>
              </a:prstGeom>
              <a:ln w="9525">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60" name="Straight Connector 55">
                <a:extLst>
                  <a:ext uri="{FF2B5EF4-FFF2-40B4-BE49-F238E27FC236}">
                    <a16:creationId xmlns:a16="http://schemas.microsoft.com/office/drawing/2014/main" id="{63540EAF-70ED-B31E-753C-D1F587BBC101}"/>
                  </a:ext>
                </a:extLst>
              </p:cNvPr>
              <p:cNvCxnSpPr/>
              <p:nvPr/>
            </p:nvCxnSpPr>
            <p:spPr>
              <a:xfrm>
                <a:off x="1011770" y="2145320"/>
                <a:ext cx="168956" cy="0"/>
              </a:xfrm>
              <a:prstGeom prst="line">
                <a:avLst/>
              </a:prstGeom>
              <a:ln w="9525">
                <a:solidFill>
                  <a:schemeClr val="tx2"/>
                </a:solidFill>
              </a:ln>
              <a:effectLst/>
            </p:spPr>
            <p:style>
              <a:lnRef idx="1">
                <a:schemeClr val="accent1"/>
              </a:lnRef>
              <a:fillRef idx="0">
                <a:schemeClr val="accent1"/>
              </a:fillRef>
              <a:effectRef idx="0">
                <a:schemeClr val="accent1"/>
              </a:effectRef>
              <a:fontRef idx="minor">
                <a:schemeClr val="tx1"/>
              </a:fontRef>
            </p:style>
          </p:cxnSp>
        </p:grpSp>
        <p:sp>
          <p:nvSpPr>
            <p:cNvPr id="25" name="TextBox 96">
              <a:extLst>
                <a:ext uri="{FF2B5EF4-FFF2-40B4-BE49-F238E27FC236}">
                  <a16:creationId xmlns:a16="http://schemas.microsoft.com/office/drawing/2014/main" id="{03398B60-F100-4E5D-12A7-DE68F7D8E2BB}"/>
                </a:ext>
              </a:extLst>
            </p:cNvPr>
            <p:cNvSpPr txBox="1"/>
            <p:nvPr/>
          </p:nvSpPr>
          <p:spPr>
            <a:xfrm>
              <a:off x="1321115" y="2644502"/>
              <a:ext cx="230832" cy="124650"/>
            </a:xfrm>
            <a:prstGeom prst="rect">
              <a:avLst/>
            </a:prstGeom>
            <a:noFill/>
            <a:ln w="9525">
              <a:noFill/>
            </a:ln>
            <a:effectLst/>
          </p:spPr>
          <p:txBody>
            <a:bodyPr vert="horz" wrap="none" lIns="0" tIns="0" rIns="0" bIns="0" rtlCol="0">
              <a:spAutoFit/>
            </a:bodyPr>
            <a:lstStyle/>
            <a:p>
              <a:pPr algn="ctr">
                <a:lnSpc>
                  <a:spcPct val="90000"/>
                </a:lnSpc>
                <a:spcBef>
                  <a:spcPts val="400"/>
                </a:spcBef>
                <a:buClr>
                  <a:srgbClr val="000000"/>
                </a:buClr>
                <a:buSzTx/>
              </a:pPr>
              <a:r>
                <a:rPr lang="en-US" sz="900" b="0" noProof="0">
                  <a:effectLst/>
                </a:rPr>
                <a:t>10%</a:t>
              </a:r>
            </a:p>
          </p:txBody>
        </p:sp>
        <p:sp>
          <p:nvSpPr>
            <p:cNvPr id="26" name="TextBox 97">
              <a:extLst>
                <a:ext uri="{FF2B5EF4-FFF2-40B4-BE49-F238E27FC236}">
                  <a16:creationId xmlns:a16="http://schemas.microsoft.com/office/drawing/2014/main" id="{543367E8-F3D6-02A0-1B9B-C0F5F58F79AC}"/>
                </a:ext>
              </a:extLst>
            </p:cNvPr>
            <p:cNvSpPr txBox="1"/>
            <p:nvPr/>
          </p:nvSpPr>
          <p:spPr>
            <a:xfrm>
              <a:off x="1322764" y="2275094"/>
              <a:ext cx="230832" cy="124650"/>
            </a:xfrm>
            <a:prstGeom prst="rect">
              <a:avLst/>
            </a:prstGeom>
            <a:noFill/>
            <a:ln w="9525">
              <a:noFill/>
            </a:ln>
            <a:effectLst/>
          </p:spPr>
          <p:txBody>
            <a:bodyPr vert="horz" wrap="none" lIns="0" tIns="0" rIns="0" bIns="0" rtlCol="0">
              <a:spAutoFit/>
            </a:bodyPr>
            <a:lstStyle/>
            <a:p>
              <a:pPr algn="ctr">
                <a:lnSpc>
                  <a:spcPct val="90000"/>
                </a:lnSpc>
                <a:spcBef>
                  <a:spcPts val="400"/>
                </a:spcBef>
                <a:buClr>
                  <a:srgbClr val="000000"/>
                </a:buClr>
                <a:buSzTx/>
              </a:pPr>
              <a:r>
                <a:rPr lang="en-US" sz="900"/>
                <a:t>2</a:t>
              </a:r>
              <a:r>
                <a:rPr lang="en-US" sz="900" b="0" noProof="0">
                  <a:effectLst/>
                </a:rPr>
                <a:t>0%</a:t>
              </a:r>
            </a:p>
          </p:txBody>
        </p:sp>
        <p:sp>
          <p:nvSpPr>
            <p:cNvPr id="27" name="TextBox 98">
              <a:extLst>
                <a:ext uri="{FF2B5EF4-FFF2-40B4-BE49-F238E27FC236}">
                  <a16:creationId xmlns:a16="http://schemas.microsoft.com/office/drawing/2014/main" id="{2681EB16-1133-0BEC-4735-1E33916AEF66}"/>
                </a:ext>
              </a:extLst>
            </p:cNvPr>
            <p:cNvSpPr txBox="1"/>
            <p:nvPr/>
          </p:nvSpPr>
          <p:spPr>
            <a:xfrm>
              <a:off x="1321115" y="1908864"/>
              <a:ext cx="230832" cy="124650"/>
            </a:xfrm>
            <a:prstGeom prst="rect">
              <a:avLst/>
            </a:prstGeom>
            <a:noFill/>
            <a:ln w="9525">
              <a:noFill/>
            </a:ln>
            <a:effectLst/>
          </p:spPr>
          <p:txBody>
            <a:bodyPr vert="horz" wrap="none" lIns="0" tIns="0" rIns="0" bIns="0" rtlCol="0">
              <a:spAutoFit/>
            </a:bodyPr>
            <a:lstStyle/>
            <a:p>
              <a:pPr algn="ctr">
                <a:lnSpc>
                  <a:spcPct val="90000"/>
                </a:lnSpc>
                <a:spcBef>
                  <a:spcPts val="400"/>
                </a:spcBef>
                <a:buClr>
                  <a:srgbClr val="000000"/>
                </a:buClr>
                <a:buSzTx/>
              </a:pPr>
              <a:r>
                <a:rPr lang="en-US" sz="900"/>
                <a:t>3</a:t>
              </a:r>
              <a:r>
                <a:rPr lang="en-US" sz="900" b="0" noProof="0">
                  <a:effectLst/>
                </a:rPr>
                <a:t>0%</a:t>
              </a:r>
            </a:p>
          </p:txBody>
        </p:sp>
        <p:sp>
          <p:nvSpPr>
            <p:cNvPr id="28" name="TextBox 99">
              <a:extLst>
                <a:ext uri="{FF2B5EF4-FFF2-40B4-BE49-F238E27FC236}">
                  <a16:creationId xmlns:a16="http://schemas.microsoft.com/office/drawing/2014/main" id="{8B654408-108E-7D7F-3E6B-A08B3436FCF4}"/>
                </a:ext>
              </a:extLst>
            </p:cNvPr>
            <p:cNvSpPr txBox="1"/>
            <p:nvPr/>
          </p:nvSpPr>
          <p:spPr>
            <a:xfrm>
              <a:off x="1321115" y="1550500"/>
              <a:ext cx="230832" cy="124650"/>
            </a:xfrm>
            <a:prstGeom prst="rect">
              <a:avLst/>
            </a:prstGeom>
            <a:noFill/>
            <a:ln w="9525">
              <a:noFill/>
            </a:ln>
            <a:effectLst/>
          </p:spPr>
          <p:txBody>
            <a:bodyPr vert="horz" wrap="none" lIns="0" tIns="0" rIns="0" bIns="0" rtlCol="0">
              <a:spAutoFit/>
            </a:bodyPr>
            <a:lstStyle/>
            <a:p>
              <a:pPr algn="ctr">
                <a:lnSpc>
                  <a:spcPct val="90000"/>
                </a:lnSpc>
                <a:spcBef>
                  <a:spcPts val="400"/>
                </a:spcBef>
                <a:buClr>
                  <a:srgbClr val="000000"/>
                </a:buClr>
                <a:buSzTx/>
              </a:pPr>
              <a:r>
                <a:rPr lang="en-US" sz="900"/>
                <a:t>4</a:t>
              </a:r>
              <a:r>
                <a:rPr lang="en-US" sz="900" b="0" noProof="0">
                  <a:effectLst/>
                </a:rPr>
                <a:t>0%</a:t>
              </a:r>
            </a:p>
          </p:txBody>
        </p:sp>
        <p:sp>
          <p:nvSpPr>
            <p:cNvPr id="29" name="TextBox 100">
              <a:extLst>
                <a:ext uri="{FF2B5EF4-FFF2-40B4-BE49-F238E27FC236}">
                  <a16:creationId xmlns:a16="http://schemas.microsoft.com/office/drawing/2014/main" id="{569F30C7-00C0-5FAC-6677-2079E4D34272}"/>
                </a:ext>
              </a:extLst>
            </p:cNvPr>
            <p:cNvSpPr txBox="1"/>
            <p:nvPr/>
          </p:nvSpPr>
          <p:spPr>
            <a:xfrm>
              <a:off x="1321115" y="1173228"/>
              <a:ext cx="230832" cy="124650"/>
            </a:xfrm>
            <a:prstGeom prst="rect">
              <a:avLst/>
            </a:prstGeom>
            <a:noFill/>
            <a:ln w="9525">
              <a:noFill/>
            </a:ln>
            <a:effectLst/>
          </p:spPr>
          <p:txBody>
            <a:bodyPr vert="horz" wrap="none" lIns="0" tIns="0" rIns="0" bIns="0" rtlCol="0">
              <a:spAutoFit/>
            </a:bodyPr>
            <a:lstStyle/>
            <a:p>
              <a:pPr algn="ctr">
                <a:lnSpc>
                  <a:spcPct val="90000"/>
                </a:lnSpc>
                <a:spcBef>
                  <a:spcPts val="400"/>
                </a:spcBef>
                <a:buClr>
                  <a:srgbClr val="000000"/>
                </a:buClr>
                <a:buSzTx/>
              </a:pPr>
              <a:r>
                <a:rPr lang="en-US" sz="900"/>
                <a:t>5</a:t>
              </a:r>
              <a:r>
                <a:rPr lang="en-US" sz="900" b="0" noProof="0">
                  <a:effectLst/>
                </a:rPr>
                <a:t>0%</a:t>
              </a:r>
            </a:p>
          </p:txBody>
        </p:sp>
        <p:grpSp>
          <p:nvGrpSpPr>
            <p:cNvPr id="30" name="Gruppieren 93">
              <a:extLst>
                <a:ext uri="{FF2B5EF4-FFF2-40B4-BE49-F238E27FC236}">
                  <a16:creationId xmlns:a16="http://schemas.microsoft.com/office/drawing/2014/main" id="{6E9C2804-4F75-B2D3-73D8-7ADF297F4C07}"/>
                </a:ext>
              </a:extLst>
            </p:cNvPr>
            <p:cNvGrpSpPr/>
            <p:nvPr/>
          </p:nvGrpSpPr>
          <p:grpSpPr>
            <a:xfrm>
              <a:off x="2028872" y="1236409"/>
              <a:ext cx="4190273" cy="1332801"/>
              <a:chOff x="2028872" y="1236409"/>
              <a:chExt cx="4190273" cy="1332801"/>
            </a:xfrm>
          </p:grpSpPr>
          <p:grpSp>
            <p:nvGrpSpPr>
              <p:cNvPr id="31" name="Gruppieren 70">
                <a:extLst>
                  <a:ext uri="{FF2B5EF4-FFF2-40B4-BE49-F238E27FC236}">
                    <a16:creationId xmlns:a16="http://schemas.microsoft.com/office/drawing/2014/main" id="{3FBE9B43-0C14-6BCF-948A-72A659C31A9F}"/>
                  </a:ext>
                </a:extLst>
              </p:cNvPr>
              <p:cNvGrpSpPr/>
              <p:nvPr/>
            </p:nvGrpSpPr>
            <p:grpSpPr>
              <a:xfrm>
                <a:off x="3022440" y="1603513"/>
                <a:ext cx="216000" cy="398478"/>
                <a:chOff x="3082975" y="1603513"/>
                <a:chExt cx="216000" cy="398478"/>
              </a:xfrm>
            </p:grpSpPr>
            <p:cxnSp>
              <p:nvCxnSpPr>
                <p:cNvPr id="52" name="Straight Connector 146">
                  <a:extLst>
                    <a:ext uri="{FF2B5EF4-FFF2-40B4-BE49-F238E27FC236}">
                      <a16:creationId xmlns:a16="http://schemas.microsoft.com/office/drawing/2014/main" id="{1C843788-3629-775E-D36D-A7BCBE9E3B61}"/>
                    </a:ext>
                  </a:extLst>
                </p:cNvPr>
                <p:cNvCxnSpPr>
                  <a:cxnSpLocks/>
                </p:cNvCxnSpPr>
                <p:nvPr/>
              </p:nvCxnSpPr>
              <p:spPr>
                <a:xfrm>
                  <a:off x="3190975" y="1603513"/>
                  <a:ext cx="0" cy="398478"/>
                </a:xfrm>
                <a:prstGeom prst="line">
                  <a:avLst/>
                </a:prstGeom>
                <a:ln w="15875"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53" name="Straight Connector 147">
                  <a:extLst>
                    <a:ext uri="{FF2B5EF4-FFF2-40B4-BE49-F238E27FC236}">
                      <a16:creationId xmlns:a16="http://schemas.microsoft.com/office/drawing/2014/main" id="{1D0BBF14-B5AB-6621-6B8C-4E0858F14D4D}"/>
                    </a:ext>
                  </a:extLst>
                </p:cNvPr>
                <p:cNvCxnSpPr>
                  <a:cxnSpLocks/>
                </p:cNvCxnSpPr>
                <p:nvPr/>
              </p:nvCxnSpPr>
              <p:spPr>
                <a:xfrm rot="5400000">
                  <a:off x="3190975" y="1503483"/>
                  <a:ext cx="0" cy="200060"/>
                </a:xfrm>
                <a:prstGeom prst="line">
                  <a:avLst/>
                </a:prstGeom>
                <a:ln w="15875"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54" name="Straight Connector 148">
                  <a:extLst>
                    <a:ext uri="{FF2B5EF4-FFF2-40B4-BE49-F238E27FC236}">
                      <a16:creationId xmlns:a16="http://schemas.microsoft.com/office/drawing/2014/main" id="{DE291602-3DE9-0C10-F098-F5EFBBDCA9EF}"/>
                    </a:ext>
                  </a:extLst>
                </p:cNvPr>
                <p:cNvCxnSpPr>
                  <a:cxnSpLocks/>
                </p:cNvCxnSpPr>
                <p:nvPr/>
              </p:nvCxnSpPr>
              <p:spPr>
                <a:xfrm rot="5400000">
                  <a:off x="3190975" y="1901961"/>
                  <a:ext cx="0" cy="200060"/>
                </a:xfrm>
                <a:prstGeom prst="line">
                  <a:avLst/>
                </a:prstGeom>
                <a:ln w="15875"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55" name="Rectangle 149">
                  <a:extLst>
                    <a:ext uri="{FF2B5EF4-FFF2-40B4-BE49-F238E27FC236}">
                      <a16:creationId xmlns:a16="http://schemas.microsoft.com/office/drawing/2014/main" id="{49CFA9CF-4F8B-4229-0F67-7C9190E7D4EE}"/>
                    </a:ext>
                  </a:extLst>
                </p:cNvPr>
                <p:cNvSpPr/>
                <p:nvPr/>
              </p:nvSpPr>
              <p:spPr>
                <a:xfrm>
                  <a:off x="3082975" y="1746239"/>
                  <a:ext cx="216000" cy="143686"/>
                </a:xfrm>
                <a:prstGeom prst="rect">
                  <a:avLst/>
                </a:prstGeom>
                <a:solidFill>
                  <a:schemeClr val="accent6"/>
                </a:solidFill>
                <a:ln w="12700" cap="rnd"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ctr">
                    <a:lnSpc>
                      <a:spcPct val="90000"/>
                    </a:lnSpc>
                    <a:spcBef>
                      <a:spcPts val="400"/>
                    </a:spcBef>
                  </a:pPr>
                  <a:endParaRPr lang="en-US" sz="1500" b="0">
                    <a:effectLst/>
                  </a:endParaRPr>
                </a:p>
              </p:txBody>
            </p:sp>
          </p:grpSp>
          <p:grpSp>
            <p:nvGrpSpPr>
              <p:cNvPr id="32" name="Gruppieren 72">
                <a:extLst>
                  <a:ext uri="{FF2B5EF4-FFF2-40B4-BE49-F238E27FC236}">
                    <a16:creationId xmlns:a16="http://schemas.microsoft.com/office/drawing/2014/main" id="{A2F39C19-6A5A-DA53-6A3E-5378F8CEB693}"/>
                  </a:ext>
                </a:extLst>
              </p:cNvPr>
              <p:cNvGrpSpPr/>
              <p:nvPr/>
            </p:nvGrpSpPr>
            <p:grpSpPr>
              <a:xfrm>
                <a:off x="5009576" y="1972047"/>
                <a:ext cx="216000" cy="367815"/>
                <a:chOff x="5227109" y="1972047"/>
                <a:chExt cx="216000" cy="367815"/>
              </a:xfrm>
            </p:grpSpPr>
            <p:cxnSp>
              <p:nvCxnSpPr>
                <p:cNvPr id="48" name="Straight Connector 103">
                  <a:extLst>
                    <a:ext uri="{FF2B5EF4-FFF2-40B4-BE49-F238E27FC236}">
                      <a16:creationId xmlns:a16="http://schemas.microsoft.com/office/drawing/2014/main" id="{5631E384-7A68-F10A-0799-080B395C5C65}"/>
                    </a:ext>
                  </a:extLst>
                </p:cNvPr>
                <p:cNvCxnSpPr>
                  <a:cxnSpLocks/>
                </p:cNvCxnSpPr>
                <p:nvPr/>
              </p:nvCxnSpPr>
              <p:spPr>
                <a:xfrm>
                  <a:off x="5335109" y="1972047"/>
                  <a:ext cx="0" cy="367815"/>
                </a:xfrm>
                <a:prstGeom prst="line">
                  <a:avLst/>
                </a:prstGeom>
                <a:ln w="15875"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49" name="Straight Connector 104">
                  <a:extLst>
                    <a:ext uri="{FF2B5EF4-FFF2-40B4-BE49-F238E27FC236}">
                      <a16:creationId xmlns:a16="http://schemas.microsoft.com/office/drawing/2014/main" id="{10B34536-106C-05BC-CDAB-0F53243AA1A2}"/>
                    </a:ext>
                  </a:extLst>
                </p:cNvPr>
                <p:cNvCxnSpPr>
                  <a:cxnSpLocks/>
                </p:cNvCxnSpPr>
                <p:nvPr/>
              </p:nvCxnSpPr>
              <p:spPr>
                <a:xfrm rot="5400000">
                  <a:off x="5335109" y="1872017"/>
                  <a:ext cx="0" cy="200060"/>
                </a:xfrm>
                <a:prstGeom prst="line">
                  <a:avLst/>
                </a:prstGeom>
                <a:ln w="15875"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50" name="Straight Connector 105">
                  <a:extLst>
                    <a:ext uri="{FF2B5EF4-FFF2-40B4-BE49-F238E27FC236}">
                      <a16:creationId xmlns:a16="http://schemas.microsoft.com/office/drawing/2014/main" id="{051459F7-72AF-9ABE-8155-8924F10D9A63}"/>
                    </a:ext>
                  </a:extLst>
                </p:cNvPr>
                <p:cNvCxnSpPr>
                  <a:cxnSpLocks/>
                </p:cNvCxnSpPr>
                <p:nvPr/>
              </p:nvCxnSpPr>
              <p:spPr>
                <a:xfrm rot="5400000">
                  <a:off x="5335109" y="2239832"/>
                  <a:ext cx="0" cy="200060"/>
                </a:xfrm>
                <a:prstGeom prst="line">
                  <a:avLst/>
                </a:prstGeom>
                <a:ln w="15875"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51" name="Rectangle 106">
                  <a:extLst>
                    <a:ext uri="{FF2B5EF4-FFF2-40B4-BE49-F238E27FC236}">
                      <a16:creationId xmlns:a16="http://schemas.microsoft.com/office/drawing/2014/main" id="{AE1F2243-BE04-DBD6-57B1-95B683610855}"/>
                    </a:ext>
                  </a:extLst>
                </p:cNvPr>
                <p:cNvSpPr>
                  <a:spLocks/>
                </p:cNvSpPr>
                <p:nvPr/>
              </p:nvSpPr>
              <p:spPr>
                <a:xfrm>
                  <a:off x="5227109" y="2098899"/>
                  <a:ext cx="216000" cy="143686"/>
                </a:xfrm>
                <a:prstGeom prst="rect">
                  <a:avLst/>
                </a:prstGeom>
                <a:solidFill>
                  <a:schemeClr val="accent6"/>
                </a:solidFill>
                <a:ln w="12700" cap="rnd"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ctr">
                    <a:lnSpc>
                      <a:spcPct val="90000"/>
                    </a:lnSpc>
                    <a:spcBef>
                      <a:spcPts val="400"/>
                    </a:spcBef>
                  </a:pPr>
                  <a:endParaRPr lang="en-US" sz="1500" b="0">
                    <a:effectLst/>
                  </a:endParaRPr>
                </a:p>
              </p:txBody>
            </p:sp>
          </p:grpSp>
          <p:grpSp>
            <p:nvGrpSpPr>
              <p:cNvPr id="33" name="Gruppieren 69">
                <a:extLst>
                  <a:ext uri="{FF2B5EF4-FFF2-40B4-BE49-F238E27FC236}">
                    <a16:creationId xmlns:a16="http://schemas.microsoft.com/office/drawing/2014/main" id="{8EF32900-EAB0-22DB-E566-2132CA3A38E1}"/>
                  </a:ext>
                </a:extLst>
              </p:cNvPr>
              <p:cNvGrpSpPr/>
              <p:nvPr/>
            </p:nvGrpSpPr>
            <p:grpSpPr>
              <a:xfrm>
                <a:off x="2028872" y="2170732"/>
                <a:ext cx="216000" cy="398478"/>
                <a:chOff x="2014829" y="2170732"/>
                <a:chExt cx="216000" cy="398478"/>
              </a:xfrm>
            </p:grpSpPr>
            <p:cxnSp>
              <p:nvCxnSpPr>
                <p:cNvPr id="44" name="Straight Connector 66">
                  <a:extLst>
                    <a:ext uri="{FF2B5EF4-FFF2-40B4-BE49-F238E27FC236}">
                      <a16:creationId xmlns:a16="http://schemas.microsoft.com/office/drawing/2014/main" id="{2D7C48CA-EBFC-561A-D27B-FE7BA16E42FB}"/>
                    </a:ext>
                  </a:extLst>
                </p:cNvPr>
                <p:cNvCxnSpPr>
                  <a:cxnSpLocks/>
                </p:cNvCxnSpPr>
                <p:nvPr/>
              </p:nvCxnSpPr>
              <p:spPr>
                <a:xfrm>
                  <a:off x="2122829" y="2170732"/>
                  <a:ext cx="0" cy="398478"/>
                </a:xfrm>
                <a:prstGeom prst="line">
                  <a:avLst/>
                </a:prstGeom>
                <a:ln w="15875"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45" name="Straight Connector 67">
                  <a:extLst>
                    <a:ext uri="{FF2B5EF4-FFF2-40B4-BE49-F238E27FC236}">
                      <a16:creationId xmlns:a16="http://schemas.microsoft.com/office/drawing/2014/main" id="{04B43B61-BC34-83AC-4B35-070923438993}"/>
                    </a:ext>
                  </a:extLst>
                </p:cNvPr>
                <p:cNvCxnSpPr>
                  <a:cxnSpLocks/>
                </p:cNvCxnSpPr>
                <p:nvPr/>
              </p:nvCxnSpPr>
              <p:spPr>
                <a:xfrm rot="5400000">
                  <a:off x="2122829" y="2070702"/>
                  <a:ext cx="0" cy="200060"/>
                </a:xfrm>
                <a:prstGeom prst="line">
                  <a:avLst/>
                </a:prstGeom>
                <a:ln w="15875"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68">
                  <a:extLst>
                    <a:ext uri="{FF2B5EF4-FFF2-40B4-BE49-F238E27FC236}">
                      <a16:creationId xmlns:a16="http://schemas.microsoft.com/office/drawing/2014/main" id="{281EAB79-365B-E96A-33D3-976008F605BA}"/>
                    </a:ext>
                  </a:extLst>
                </p:cNvPr>
                <p:cNvCxnSpPr>
                  <a:cxnSpLocks/>
                </p:cNvCxnSpPr>
                <p:nvPr/>
              </p:nvCxnSpPr>
              <p:spPr>
                <a:xfrm rot="5400000">
                  <a:off x="2122829" y="2469180"/>
                  <a:ext cx="0" cy="200060"/>
                </a:xfrm>
                <a:prstGeom prst="line">
                  <a:avLst/>
                </a:prstGeom>
                <a:ln w="15875"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47" name="Rectangle 84">
                  <a:extLst>
                    <a:ext uri="{FF2B5EF4-FFF2-40B4-BE49-F238E27FC236}">
                      <a16:creationId xmlns:a16="http://schemas.microsoft.com/office/drawing/2014/main" id="{26BE8897-FC97-E962-A6AE-B5DA6E7EABF2}"/>
                    </a:ext>
                  </a:extLst>
                </p:cNvPr>
                <p:cNvSpPr/>
                <p:nvPr/>
              </p:nvSpPr>
              <p:spPr>
                <a:xfrm>
                  <a:off x="2014829" y="2280260"/>
                  <a:ext cx="216000" cy="143687"/>
                </a:xfrm>
                <a:prstGeom prst="rect">
                  <a:avLst/>
                </a:prstGeom>
                <a:solidFill>
                  <a:schemeClr val="accent6"/>
                </a:solidFill>
                <a:ln w="12700" cap="rnd"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ctr">
                    <a:lnSpc>
                      <a:spcPct val="90000"/>
                    </a:lnSpc>
                    <a:spcBef>
                      <a:spcPts val="400"/>
                    </a:spcBef>
                  </a:pPr>
                  <a:endParaRPr lang="en-US" sz="1500" b="0">
                    <a:effectLst/>
                  </a:endParaRPr>
                </a:p>
              </p:txBody>
            </p:sp>
          </p:grpSp>
          <p:grpSp>
            <p:nvGrpSpPr>
              <p:cNvPr id="34" name="Gruppieren 71">
                <a:extLst>
                  <a:ext uri="{FF2B5EF4-FFF2-40B4-BE49-F238E27FC236}">
                    <a16:creationId xmlns:a16="http://schemas.microsoft.com/office/drawing/2014/main" id="{DA13F1F8-0688-CB24-9AFD-8D277436765D}"/>
                  </a:ext>
                </a:extLst>
              </p:cNvPr>
              <p:cNvGrpSpPr/>
              <p:nvPr/>
            </p:nvGrpSpPr>
            <p:grpSpPr>
              <a:xfrm>
                <a:off x="4016008" y="1972045"/>
                <a:ext cx="216000" cy="205810"/>
                <a:chOff x="4154815" y="1972045"/>
                <a:chExt cx="216000" cy="205810"/>
              </a:xfrm>
            </p:grpSpPr>
            <p:cxnSp>
              <p:nvCxnSpPr>
                <p:cNvPr id="40" name="Straight Connector 140">
                  <a:extLst>
                    <a:ext uri="{FF2B5EF4-FFF2-40B4-BE49-F238E27FC236}">
                      <a16:creationId xmlns:a16="http://schemas.microsoft.com/office/drawing/2014/main" id="{90FD7C3F-BCD6-5821-004C-DEA785A9DD87}"/>
                    </a:ext>
                  </a:extLst>
                </p:cNvPr>
                <p:cNvCxnSpPr>
                  <a:cxnSpLocks/>
                </p:cNvCxnSpPr>
                <p:nvPr/>
              </p:nvCxnSpPr>
              <p:spPr>
                <a:xfrm>
                  <a:off x="4262815" y="1972045"/>
                  <a:ext cx="0" cy="205810"/>
                </a:xfrm>
                <a:prstGeom prst="line">
                  <a:avLst/>
                </a:prstGeom>
                <a:ln w="15875"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41" name="Straight Connector 141">
                  <a:extLst>
                    <a:ext uri="{FF2B5EF4-FFF2-40B4-BE49-F238E27FC236}">
                      <a16:creationId xmlns:a16="http://schemas.microsoft.com/office/drawing/2014/main" id="{4D6BD356-B2EC-1FD5-1A36-B3A09E4AD914}"/>
                    </a:ext>
                  </a:extLst>
                </p:cNvPr>
                <p:cNvCxnSpPr>
                  <a:cxnSpLocks/>
                </p:cNvCxnSpPr>
                <p:nvPr/>
              </p:nvCxnSpPr>
              <p:spPr>
                <a:xfrm rot="5400000">
                  <a:off x="4262815" y="1872015"/>
                  <a:ext cx="0" cy="200060"/>
                </a:xfrm>
                <a:prstGeom prst="line">
                  <a:avLst/>
                </a:prstGeom>
                <a:ln w="15875"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42" name="Straight Connector 142">
                  <a:extLst>
                    <a:ext uri="{FF2B5EF4-FFF2-40B4-BE49-F238E27FC236}">
                      <a16:creationId xmlns:a16="http://schemas.microsoft.com/office/drawing/2014/main" id="{D6724D96-2952-FCF6-4D73-47169E25E514}"/>
                    </a:ext>
                  </a:extLst>
                </p:cNvPr>
                <p:cNvCxnSpPr>
                  <a:cxnSpLocks/>
                </p:cNvCxnSpPr>
                <p:nvPr/>
              </p:nvCxnSpPr>
              <p:spPr>
                <a:xfrm rot="5400000">
                  <a:off x="4262815" y="2077825"/>
                  <a:ext cx="0" cy="200060"/>
                </a:xfrm>
                <a:prstGeom prst="line">
                  <a:avLst/>
                </a:prstGeom>
                <a:ln w="15875"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43" name="Rectangle 143">
                  <a:extLst>
                    <a:ext uri="{FF2B5EF4-FFF2-40B4-BE49-F238E27FC236}">
                      <a16:creationId xmlns:a16="http://schemas.microsoft.com/office/drawing/2014/main" id="{2C16E8A0-AB9E-5CC4-EC2E-224FDA043C78}"/>
                    </a:ext>
                  </a:extLst>
                </p:cNvPr>
                <p:cNvSpPr>
                  <a:spLocks/>
                </p:cNvSpPr>
                <p:nvPr/>
              </p:nvSpPr>
              <p:spPr>
                <a:xfrm>
                  <a:off x="4154815" y="2010024"/>
                  <a:ext cx="216000" cy="144640"/>
                </a:xfrm>
                <a:prstGeom prst="rect">
                  <a:avLst/>
                </a:prstGeom>
                <a:solidFill>
                  <a:schemeClr val="accent6"/>
                </a:solidFill>
                <a:ln w="12700" cap="rnd"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ctr">
                    <a:lnSpc>
                      <a:spcPct val="90000"/>
                    </a:lnSpc>
                    <a:spcBef>
                      <a:spcPts val="400"/>
                    </a:spcBef>
                  </a:pPr>
                  <a:endParaRPr lang="en-US" sz="1500" b="0">
                    <a:effectLst/>
                  </a:endParaRPr>
                </a:p>
              </p:txBody>
            </p:sp>
          </p:grpSp>
          <p:grpSp>
            <p:nvGrpSpPr>
              <p:cNvPr id="35" name="Gruppieren 74">
                <a:extLst>
                  <a:ext uri="{FF2B5EF4-FFF2-40B4-BE49-F238E27FC236}">
                    <a16:creationId xmlns:a16="http://schemas.microsoft.com/office/drawing/2014/main" id="{1CF5385E-A733-92BC-5A49-E9996F6C52B1}"/>
                  </a:ext>
                </a:extLst>
              </p:cNvPr>
              <p:cNvGrpSpPr/>
              <p:nvPr/>
            </p:nvGrpSpPr>
            <p:grpSpPr>
              <a:xfrm>
                <a:off x="6003145" y="1236409"/>
                <a:ext cx="216000" cy="919853"/>
                <a:chOff x="6299816" y="1236409"/>
                <a:chExt cx="216000" cy="919853"/>
              </a:xfrm>
            </p:grpSpPr>
            <p:cxnSp>
              <p:nvCxnSpPr>
                <p:cNvPr id="36" name="Straight Connector 152">
                  <a:extLst>
                    <a:ext uri="{FF2B5EF4-FFF2-40B4-BE49-F238E27FC236}">
                      <a16:creationId xmlns:a16="http://schemas.microsoft.com/office/drawing/2014/main" id="{2EAF4B23-0568-BE4B-9902-8DFC7DBF0008}"/>
                    </a:ext>
                  </a:extLst>
                </p:cNvPr>
                <p:cNvCxnSpPr>
                  <a:cxnSpLocks/>
                </p:cNvCxnSpPr>
                <p:nvPr/>
              </p:nvCxnSpPr>
              <p:spPr>
                <a:xfrm>
                  <a:off x="6407816" y="1236409"/>
                  <a:ext cx="0" cy="919853"/>
                </a:xfrm>
                <a:prstGeom prst="line">
                  <a:avLst/>
                </a:prstGeom>
                <a:ln w="15875"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37" name="Straight Connector 153">
                  <a:extLst>
                    <a:ext uri="{FF2B5EF4-FFF2-40B4-BE49-F238E27FC236}">
                      <a16:creationId xmlns:a16="http://schemas.microsoft.com/office/drawing/2014/main" id="{3AAAB203-660A-8282-E436-0CD4C8697FD4}"/>
                    </a:ext>
                  </a:extLst>
                </p:cNvPr>
                <p:cNvCxnSpPr>
                  <a:cxnSpLocks/>
                </p:cNvCxnSpPr>
                <p:nvPr/>
              </p:nvCxnSpPr>
              <p:spPr>
                <a:xfrm rot="5400000">
                  <a:off x="6407816" y="1136379"/>
                  <a:ext cx="0" cy="200060"/>
                </a:xfrm>
                <a:prstGeom prst="line">
                  <a:avLst/>
                </a:prstGeom>
                <a:ln w="15875"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38" name="Straight Connector 154">
                  <a:extLst>
                    <a:ext uri="{FF2B5EF4-FFF2-40B4-BE49-F238E27FC236}">
                      <a16:creationId xmlns:a16="http://schemas.microsoft.com/office/drawing/2014/main" id="{5328AD1A-0F07-55D0-79B9-7F252C2793E3}"/>
                    </a:ext>
                  </a:extLst>
                </p:cNvPr>
                <p:cNvCxnSpPr>
                  <a:cxnSpLocks/>
                </p:cNvCxnSpPr>
                <p:nvPr/>
              </p:nvCxnSpPr>
              <p:spPr>
                <a:xfrm rot="5400000">
                  <a:off x="6407816" y="2056232"/>
                  <a:ext cx="0" cy="200060"/>
                </a:xfrm>
                <a:prstGeom prst="line">
                  <a:avLst/>
                </a:prstGeom>
                <a:ln w="15875" cap="rnd" cmpd="sng">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39" name="Rectangle 155">
                  <a:extLst>
                    <a:ext uri="{FF2B5EF4-FFF2-40B4-BE49-F238E27FC236}">
                      <a16:creationId xmlns:a16="http://schemas.microsoft.com/office/drawing/2014/main" id="{516DDCBC-6941-4D33-99F0-552DF918C1D0}"/>
                    </a:ext>
                  </a:extLst>
                </p:cNvPr>
                <p:cNvSpPr/>
                <p:nvPr/>
              </p:nvSpPr>
              <p:spPr>
                <a:xfrm>
                  <a:off x="6299816" y="1649592"/>
                  <a:ext cx="216000" cy="143686"/>
                </a:xfrm>
                <a:prstGeom prst="rect">
                  <a:avLst/>
                </a:prstGeom>
                <a:solidFill>
                  <a:schemeClr val="accent6"/>
                </a:solidFill>
                <a:ln w="12700" cap="rnd"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ctr">
                    <a:lnSpc>
                      <a:spcPct val="90000"/>
                    </a:lnSpc>
                    <a:spcBef>
                      <a:spcPts val="400"/>
                    </a:spcBef>
                  </a:pPr>
                  <a:endParaRPr lang="en-US" sz="1500" b="0">
                    <a:effectLst/>
                  </a:endParaRPr>
                </a:p>
              </p:txBody>
            </p:sp>
          </p:grpSp>
        </p:grpSp>
      </p:grpSp>
      <p:sp>
        <p:nvSpPr>
          <p:cNvPr id="65" name="Titel 19">
            <a:extLst>
              <a:ext uri="{FF2B5EF4-FFF2-40B4-BE49-F238E27FC236}">
                <a16:creationId xmlns:a16="http://schemas.microsoft.com/office/drawing/2014/main" id="{21AEF41C-39E8-D9FE-BA32-6AE213A50F09}"/>
              </a:ext>
            </a:extLst>
          </p:cNvPr>
          <p:cNvSpPr txBox="1">
            <a:spLocks/>
          </p:cNvSpPr>
          <p:nvPr/>
        </p:nvSpPr>
        <p:spPr>
          <a:xfrm>
            <a:off x="262555" y="809192"/>
            <a:ext cx="6595445" cy="576000"/>
          </a:xfrm>
          <a:prstGeom prst="rect">
            <a:avLst/>
          </a:prstGeom>
        </p:spPr>
        <p:txBody>
          <a:bodyPr vert="horz"/>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r>
              <a:rPr lang="en-US" sz="1800" dirty="0">
                <a:sym typeface="+mn-lt"/>
              </a:rPr>
              <a:t>Specialization is a key lever to sustain revenue growth and profitability levels</a:t>
            </a:r>
            <a:endParaRPr lang="en-US" sz="1800" dirty="0">
              <a:solidFill>
                <a:srgbClr val="FF0000"/>
              </a:solidFill>
            </a:endParaRPr>
          </a:p>
        </p:txBody>
      </p:sp>
      <p:pic>
        <p:nvPicPr>
          <p:cNvPr id="66" name="Picture Placeholder 43" descr="A close-up of a machine&#10;&#10;Description automatically generated">
            <a:extLst>
              <a:ext uri="{FF2B5EF4-FFF2-40B4-BE49-F238E27FC236}">
                <a16:creationId xmlns:a16="http://schemas.microsoft.com/office/drawing/2014/main" id="{E5D8FE88-7AFB-3E12-212D-466C54F5AB5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9394" t="11111" r="9394" b="9413"/>
          <a:stretch/>
        </p:blipFill>
        <p:spPr>
          <a:xfrm>
            <a:off x="6953250" y="571500"/>
            <a:ext cx="2190750" cy="4087813"/>
          </a:xfrm>
          <a:prstGeom prst="rect">
            <a:avLst/>
          </a:prstGeom>
          <a:solidFill>
            <a:schemeClr val="bg2"/>
          </a:solidFill>
        </p:spPr>
      </p:pic>
      <p:grpSp>
        <p:nvGrpSpPr>
          <p:cNvPr id="68" name="Gruppieren 30">
            <a:extLst>
              <a:ext uri="{FF2B5EF4-FFF2-40B4-BE49-F238E27FC236}">
                <a16:creationId xmlns:a16="http://schemas.microsoft.com/office/drawing/2014/main" id="{37B85C51-C387-1CC0-3322-8AC4A440D8A1}"/>
              </a:ext>
            </a:extLst>
          </p:cNvPr>
          <p:cNvGrpSpPr/>
          <p:nvPr/>
        </p:nvGrpSpPr>
        <p:grpSpPr>
          <a:xfrm>
            <a:off x="250825" y="13448"/>
            <a:ext cx="2601506" cy="216000"/>
            <a:chOff x="250825" y="959449"/>
            <a:chExt cx="2601506" cy="216000"/>
          </a:xfrm>
        </p:grpSpPr>
        <p:sp>
          <p:nvSpPr>
            <p:cNvPr id="69" name="RbNavigator">
              <a:extLst>
                <a:ext uri="{FF2B5EF4-FFF2-40B4-BE49-F238E27FC236}">
                  <a16:creationId xmlns:a16="http://schemas.microsoft.com/office/drawing/2014/main" id="{FC43880C-F522-2E6B-E8FB-2E0A235E3829}"/>
                </a:ext>
              </a:extLst>
            </p:cNvPr>
            <p:cNvSpPr txBox="1">
              <a:spLocks/>
            </p:cNvSpPr>
            <p:nvPr/>
          </p:nvSpPr>
          <p:spPr>
            <a:xfrm>
              <a:off x="250825" y="959449"/>
              <a:ext cx="216000" cy="216000"/>
            </a:xfrm>
            <a:prstGeom prst="ellipse">
              <a:avLst/>
            </a:prstGeom>
            <a:solidFill>
              <a:schemeClr val="tx1"/>
            </a:solidFill>
            <a:ln w="6350">
              <a:noFill/>
            </a:ln>
          </p:spPr>
          <p:txBody>
            <a:bodyPr vert="horz" wrap="none" lIns="0" tIns="0" rIns="0" bIns="0" rtlCol="0" anchor="ctr">
              <a:noAutofit/>
            </a:bodyPr>
            <a:lstStyle>
              <a:defPPr>
                <a:defRPr lang="en-EN"/>
              </a:defPPr>
              <a:lvl1pPr algn="ctr">
                <a:lnSpc>
                  <a:spcPct val="100000"/>
                </a:lnSpc>
                <a:spcBef>
                  <a:spcPts val="0"/>
                </a:spcBef>
                <a:spcAft>
                  <a:spcPts val="0"/>
                </a:spcAft>
                <a:buClr>
                  <a:srgbClr val="000000"/>
                </a:buClr>
                <a:buSzPct val="100000"/>
                <a:defRPr kumimoji="1" sz="900">
                  <a:solidFill>
                    <a:schemeClr val="bg1"/>
                  </a:solidFill>
                  <a:latin typeface="+mn-lt"/>
                </a:defRPr>
              </a:lvl1pPr>
            </a:lstStyle>
            <a:p>
              <a:r>
                <a:rPr lang="en-US" sz="900">
                  <a:latin typeface="+mn-lt"/>
                  <a:ea typeface="+mn-ea"/>
                  <a:cs typeface="+mn-cs"/>
                  <a:sym typeface="+mn-lt"/>
                </a:rPr>
                <a:t>3</a:t>
              </a:r>
            </a:p>
          </p:txBody>
        </p:sp>
        <p:sp>
          <p:nvSpPr>
            <p:cNvPr id="70" name="RbSticker">
              <a:extLst>
                <a:ext uri="{FF2B5EF4-FFF2-40B4-BE49-F238E27FC236}">
                  <a16:creationId xmlns:a16="http://schemas.microsoft.com/office/drawing/2014/main" id="{B7815BDF-317D-78A0-B8C4-06753BC55C3B}"/>
                </a:ext>
              </a:extLst>
            </p:cNvPr>
            <p:cNvSpPr txBox="1">
              <a:spLocks/>
            </p:cNvSpPr>
            <p:nvPr/>
          </p:nvSpPr>
          <p:spPr>
            <a:xfrm>
              <a:off x="548331" y="998200"/>
              <a:ext cx="2304000" cy="13849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defPPr>
                <a:defRPr lang="en-EN"/>
              </a:defPPr>
              <a:lvl1pPr>
                <a:lnSpc>
                  <a:spcPct val="100000"/>
                </a:lnSpc>
                <a:spcBef>
                  <a:spcPts val="0"/>
                </a:spcBef>
                <a:spcAft>
                  <a:spcPts val="0"/>
                </a:spcAft>
                <a:buClr>
                  <a:srgbClr val="000000"/>
                </a:buClr>
                <a:buSzPct val="100000"/>
                <a:defRPr sz="900">
                  <a:latin typeface="+mn-lt"/>
                </a:defRPr>
              </a:lvl1pPr>
            </a:lstStyle>
            <a:p>
              <a:r>
                <a:rPr lang="en-US" sz="900" b="1"/>
                <a:t>Focus on specialty</a:t>
              </a:r>
            </a:p>
          </p:txBody>
        </p:sp>
      </p:grpSp>
      <p:graphicFrame>
        <p:nvGraphicFramePr>
          <p:cNvPr id="71" name="Chart 9">
            <a:extLst>
              <a:ext uri="{FF2B5EF4-FFF2-40B4-BE49-F238E27FC236}">
                <a16:creationId xmlns:a16="http://schemas.microsoft.com/office/drawing/2014/main" id="{862FE512-F67B-7678-F4C6-31F2EE2A8C0F}"/>
              </a:ext>
            </a:extLst>
          </p:cNvPr>
          <p:cNvGraphicFramePr/>
          <p:nvPr>
            <p:custDataLst>
              <p:tags r:id="rId1"/>
            </p:custDataLst>
            <p:extLst>
              <p:ext uri="{D42A27DB-BD31-4B8C-83A1-F6EECF244321}">
                <p14:modId xmlns:p14="http://schemas.microsoft.com/office/powerpoint/2010/main" val="2919657427"/>
              </p:ext>
            </p:extLst>
          </p:nvPr>
        </p:nvGraphicFramePr>
        <p:xfrm>
          <a:off x="1573213" y="3576130"/>
          <a:ext cx="5135562" cy="1127125"/>
        </p:xfrm>
        <a:graphic>
          <a:graphicData uri="http://schemas.openxmlformats.org/drawingml/2006/chart">
            <c:chart xmlns:c="http://schemas.openxmlformats.org/drawingml/2006/chart" xmlns:r="http://schemas.openxmlformats.org/officeDocument/2006/relationships" r:id="rId9"/>
          </a:graphicData>
        </a:graphic>
      </p:graphicFrame>
      <p:sp>
        <p:nvSpPr>
          <p:cNvPr id="72" name="Text Placeholder">
            <a:extLst>
              <a:ext uri="{FF2B5EF4-FFF2-40B4-BE49-F238E27FC236}">
                <a16:creationId xmlns:a16="http://schemas.microsoft.com/office/drawing/2014/main" id="{5EB3DF4B-CECB-C14C-DA57-BDEBAE6233B1}"/>
              </a:ext>
            </a:extLst>
          </p:cNvPr>
          <p:cNvSpPr>
            <a:spLocks noGrp="1"/>
          </p:cNvSpPr>
          <p:nvPr>
            <p:custDataLst>
              <p:tags r:id="rId2"/>
            </p:custDataLst>
          </p:nvPr>
        </p:nvSpPr>
        <p:spPr bwMode="gray">
          <a:xfrm>
            <a:off x="1984375" y="4503230"/>
            <a:ext cx="3333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77542965-2A85-48D4-A79E-D9C403029A92}" type="datetime'''-''''''''''10''''''''''''''''''''''''''''''%'''''''''''">
              <a:rPr lang="en-US" altLang="en-US" sz="1000" b="1" smtClean="0"/>
              <a:pPr algn="ctr" defTabSz="685800">
                <a:lnSpc>
                  <a:spcPct val="90000"/>
                </a:lnSpc>
                <a:spcBef>
                  <a:spcPct val="0"/>
                </a:spcBef>
                <a:buSzPct val="100000"/>
                <a:buFont typeface="+mn-lt" pitchFamily="34" charset="0"/>
              </a:pPr>
              <a:t>-10%</a:t>
            </a:fld>
            <a:endParaRPr lang="en-US" sz="1000" b="1">
              <a:sym typeface="Arial" panose="020B0604020202020204" pitchFamily="34" charset="0"/>
            </a:endParaRPr>
          </a:p>
        </p:txBody>
      </p:sp>
      <p:sp>
        <p:nvSpPr>
          <p:cNvPr id="73" name="Text Placeholder">
            <a:extLst>
              <a:ext uri="{FF2B5EF4-FFF2-40B4-BE49-F238E27FC236}">
                <a16:creationId xmlns:a16="http://schemas.microsoft.com/office/drawing/2014/main" id="{CA20E793-66BD-3A4F-8191-5AE0930A94C6}"/>
              </a:ext>
            </a:extLst>
          </p:cNvPr>
          <p:cNvSpPr>
            <a:spLocks noGrp="1"/>
          </p:cNvSpPr>
          <p:nvPr>
            <p:custDataLst>
              <p:tags r:id="rId3"/>
            </p:custDataLst>
          </p:nvPr>
        </p:nvSpPr>
        <p:spPr bwMode="gray">
          <a:xfrm>
            <a:off x="3013075" y="4334955"/>
            <a:ext cx="2635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5271A1F0-DCD5-470B-B56E-6F0C689786B3}" type="datetime'''''''-''''''''''4''''''''''''''''''''%'''''''''">
              <a:rPr lang="en-US" altLang="en-US" sz="1000" b="1" smtClean="0"/>
              <a:pPr algn="ctr" defTabSz="685800">
                <a:lnSpc>
                  <a:spcPct val="90000"/>
                </a:lnSpc>
                <a:spcBef>
                  <a:spcPct val="0"/>
                </a:spcBef>
                <a:buSzPct val="100000"/>
                <a:buFont typeface="+mn-lt" pitchFamily="34" charset="0"/>
              </a:pPr>
              <a:t>-4%</a:t>
            </a:fld>
            <a:endParaRPr lang="en-US" sz="1000" b="1">
              <a:sym typeface="Arial" panose="020B0604020202020204" pitchFamily="34" charset="0"/>
            </a:endParaRPr>
          </a:p>
        </p:txBody>
      </p:sp>
      <p:sp>
        <p:nvSpPr>
          <p:cNvPr id="74" name="Text Placeholder">
            <a:extLst>
              <a:ext uri="{FF2B5EF4-FFF2-40B4-BE49-F238E27FC236}">
                <a16:creationId xmlns:a16="http://schemas.microsoft.com/office/drawing/2014/main" id="{E3042014-2B04-B585-5E66-78AF80F4C184}"/>
              </a:ext>
            </a:extLst>
          </p:cNvPr>
          <p:cNvSpPr>
            <a:spLocks noGrp="1"/>
          </p:cNvSpPr>
          <p:nvPr>
            <p:custDataLst>
              <p:tags r:id="rId4"/>
            </p:custDataLst>
          </p:nvPr>
        </p:nvSpPr>
        <p:spPr bwMode="gray">
          <a:xfrm>
            <a:off x="4030663" y="3944430"/>
            <a:ext cx="2206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2EBF11C7-80AD-42C3-90D0-93D43A0E85B9}" type="datetime'''''''''''''''''''''''''2%'''''''''''''''">
              <a:rPr lang="en-US" altLang="en-US" sz="1000" b="1" smtClean="0"/>
              <a:pPr algn="ctr" defTabSz="685800">
                <a:lnSpc>
                  <a:spcPct val="90000"/>
                </a:lnSpc>
                <a:spcBef>
                  <a:spcPct val="0"/>
                </a:spcBef>
                <a:buSzPct val="100000"/>
                <a:buFont typeface="+mn-lt" pitchFamily="34" charset="0"/>
              </a:pPr>
              <a:t>2%</a:t>
            </a:fld>
            <a:endParaRPr lang="en-US" sz="1000" b="1">
              <a:sym typeface="Arial" panose="020B0604020202020204" pitchFamily="34" charset="0"/>
            </a:endParaRPr>
          </a:p>
        </p:txBody>
      </p:sp>
      <p:sp>
        <p:nvSpPr>
          <p:cNvPr id="75" name="Text Placeholder">
            <a:extLst>
              <a:ext uri="{FF2B5EF4-FFF2-40B4-BE49-F238E27FC236}">
                <a16:creationId xmlns:a16="http://schemas.microsoft.com/office/drawing/2014/main" id="{F756D171-AA88-BDF3-C135-F213B4C03324}"/>
              </a:ext>
            </a:extLst>
          </p:cNvPr>
          <p:cNvSpPr>
            <a:spLocks noGrp="1"/>
          </p:cNvSpPr>
          <p:nvPr>
            <p:custDataLst>
              <p:tags r:id="rId5"/>
            </p:custDataLst>
          </p:nvPr>
        </p:nvSpPr>
        <p:spPr bwMode="gray">
          <a:xfrm>
            <a:off x="5024438" y="3825368"/>
            <a:ext cx="2206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301C903B-B1A7-4F4A-8E2F-8816065FE3D0}" type="datetime'6''''''''''''''''''''''''''''''''''''''''''%'''''''''''''''''">
              <a:rPr lang="en-US" altLang="en-US" sz="1000" b="1" smtClean="0"/>
              <a:pPr algn="ctr" defTabSz="685800">
                <a:lnSpc>
                  <a:spcPct val="90000"/>
                </a:lnSpc>
                <a:spcBef>
                  <a:spcPct val="0"/>
                </a:spcBef>
                <a:buSzPct val="100000"/>
                <a:buFont typeface="+mn-lt" pitchFamily="34" charset="0"/>
              </a:pPr>
              <a:t>6%</a:t>
            </a:fld>
            <a:endParaRPr lang="en-US" sz="1000" b="1">
              <a:sym typeface="Arial" panose="020B0604020202020204" pitchFamily="34" charset="0"/>
            </a:endParaRPr>
          </a:p>
        </p:txBody>
      </p:sp>
      <p:sp>
        <p:nvSpPr>
          <p:cNvPr id="76" name="Text Placeholder">
            <a:extLst>
              <a:ext uri="{FF2B5EF4-FFF2-40B4-BE49-F238E27FC236}">
                <a16:creationId xmlns:a16="http://schemas.microsoft.com/office/drawing/2014/main" id="{18C39F91-11BE-AC38-D06B-CB873759147F}"/>
              </a:ext>
            </a:extLst>
          </p:cNvPr>
          <p:cNvSpPr>
            <a:spLocks noGrp="1"/>
          </p:cNvSpPr>
          <p:nvPr>
            <p:custDataLst>
              <p:tags r:id="rId6"/>
            </p:custDataLst>
          </p:nvPr>
        </p:nvSpPr>
        <p:spPr bwMode="gray">
          <a:xfrm>
            <a:off x="6018213" y="3715830"/>
            <a:ext cx="2206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12A3E02D-D9D3-425C-9B20-687B53E92C15}" type="datetime'''''''9''''''''''''''''''''''''''''%'''''''''''''''''''''''">
              <a:rPr lang="en-US" altLang="en-US" sz="1000" b="1" smtClean="0"/>
              <a:pPr algn="ctr" defTabSz="685800">
                <a:lnSpc>
                  <a:spcPct val="90000"/>
                </a:lnSpc>
                <a:spcBef>
                  <a:spcPct val="0"/>
                </a:spcBef>
                <a:buSzPct val="100000"/>
                <a:buFont typeface="+mn-lt" pitchFamily="34" charset="0"/>
              </a:pPr>
              <a:t>9%</a:t>
            </a:fld>
            <a:endParaRPr lang="en-US" sz="1000" b="1">
              <a:sym typeface="Arial" panose="020B0604020202020204" pitchFamily="34" charset="0"/>
            </a:endParaRPr>
          </a:p>
        </p:txBody>
      </p:sp>
      <p:sp>
        <p:nvSpPr>
          <p:cNvPr id="77" name="Title33">
            <a:extLst>
              <a:ext uri="{FF2B5EF4-FFF2-40B4-BE49-F238E27FC236}">
                <a16:creationId xmlns:a16="http://schemas.microsoft.com/office/drawing/2014/main" id="{1F8B8E81-6593-6865-1361-293A7C2448A2}"/>
              </a:ext>
            </a:extLst>
          </p:cNvPr>
          <p:cNvSpPr txBox="1">
            <a:spLocks/>
          </p:cNvSpPr>
          <p:nvPr/>
        </p:nvSpPr>
        <p:spPr>
          <a:xfrm>
            <a:off x="257898" y="4126879"/>
            <a:ext cx="1326205" cy="249299"/>
          </a:xfrm>
          <a:prstGeom prst="rect">
            <a:avLst/>
          </a:prstGeom>
          <a:noFill/>
          <a:ln w="9525">
            <a:noFill/>
          </a:ln>
        </p:spPr>
        <p:txBody>
          <a:bodyPr vert="horz" wrap="square" lIns="72000" tIns="0" rIns="0" bIns="0" rtlCol="0" anchor="t" anchorCtr="0">
            <a:spAutoFit/>
          </a:bodyPr>
          <a:lstStyle/>
          <a:p>
            <a:pPr>
              <a:lnSpc>
                <a:spcPct val="90000"/>
              </a:lnSpc>
              <a:buSzPct val="100000"/>
              <a:buFont typeface=""/>
            </a:pPr>
            <a:r>
              <a:rPr lang="en-US" sz="1000" b="1">
                <a:solidFill>
                  <a:schemeClr val="accent6"/>
                </a:solidFill>
                <a:sym typeface="+mn-lt"/>
              </a:rPr>
              <a:t>Change in revenues</a:t>
            </a:r>
          </a:p>
          <a:p>
            <a:pPr>
              <a:lnSpc>
                <a:spcPct val="90000"/>
              </a:lnSpc>
              <a:buSzPct val="100000"/>
              <a:buFont typeface=""/>
            </a:pPr>
            <a:r>
              <a:rPr lang="en-US" sz="800">
                <a:sym typeface="+mn-lt"/>
              </a:rPr>
              <a:t>[2019-'22; %]</a:t>
            </a:r>
          </a:p>
        </p:txBody>
      </p:sp>
      <p:sp>
        <p:nvSpPr>
          <p:cNvPr id="78" name="Notes">
            <a:extLst>
              <a:ext uri="{FF2B5EF4-FFF2-40B4-BE49-F238E27FC236}">
                <a16:creationId xmlns:a16="http://schemas.microsoft.com/office/drawing/2014/main" id="{1AF27AED-BB1D-9A5F-9039-88335BFB6202}"/>
              </a:ext>
            </a:extLst>
          </p:cNvPr>
          <p:cNvSpPr txBox="1">
            <a:spLocks/>
          </p:cNvSpPr>
          <p:nvPr/>
        </p:nvSpPr>
        <p:spPr>
          <a:xfrm>
            <a:off x="4251812" y="4310749"/>
            <a:ext cx="3231179" cy="92333"/>
          </a:xfrm>
          <a:prstGeom prst="rect">
            <a:avLst/>
          </a:prstGeom>
          <a:noFill/>
          <a:ln w="9525">
            <a:noFill/>
          </a:ln>
        </p:spPr>
        <p:txBody>
          <a:bodyPr vert="horz" wrap="square" lIns="0" tIns="0" rIns="0" bIns="0" rtlCol="0" anchor="b" anchorCtr="0">
            <a:spAutoFit/>
          </a:bodyPr>
          <a:lstStyle>
            <a:defPPr>
              <a:defRPr lang="en-EN"/>
            </a:defPPr>
            <a:lvl1pPr lvl="0">
              <a:lnSpc>
                <a:spcPct val="100000"/>
              </a:lnSpc>
              <a:spcBef>
                <a:spcPts val="0"/>
              </a:spcBef>
              <a:spcAft>
                <a:spcPts val="0"/>
              </a:spcAft>
              <a:buSzPct val="100000"/>
              <a:defRPr sz="800" b="0">
                <a:solidFill>
                  <a:schemeClr val="tx2"/>
                </a:solidFill>
                <a:latin typeface="+mn-lt"/>
              </a:defRPr>
            </a:lvl1pPr>
          </a:lstStyle>
          <a:p>
            <a:r>
              <a:rPr lang="en-US" sz="600" dirty="0">
                <a:sym typeface="+mn-lt"/>
              </a:rPr>
              <a:t>1) Valves manufacturers with a significant focus on the mentioned segment</a:t>
            </a:r>
          </a:p>
        </p:txBody>
      </p:sp>
      <p:sp>
        <p:nvSpPr>
          <p:cNvPr id="79" name="TextBox 2">
            <a:extLst>
              <a:ext uri="{FF2B5EF4-FFF2-40B4-BE49-F238E27FC236}">
                <a16:creationId xmlns:a16="http://schemas.microsoft.com/office/drawing/2014/main" id="{D4F9548F-203F-2CC4-7713-F750F56D87E2}"/>
              </a:ext>
            </a:extLst>
          </p:cNvPr>
          <p:cNvSpPr txBox="1"/>
          <p:nvPr/>
        </p:nvSpPr>
        <p:spPr>
          <a:xfrm>
            <a:off x="168275" y="1323201"/>
            <a:ext cx="7579731" cy="276999"/>
          </a:xfrm>
          <a:prstGeom prst="rect">
            <a:avLst/>
          </a:prstGeom>
          <a:noFill/>
        </p:spPr>
        <p:txBody>
          <a:bodyPr wrap="square">
            <a:spAutoFit/>
          </a:bodyPr>
          <a:lstStyle/>
          <a:p>
            <a:r>
              <a:rPr lang="en-US" sz="1200">
                <a:solidFill>
                  <a:schemeClr val="tx2"/>
                </a:solidFill>
                <a:latin typeface="+mj-lt"/>
                <a:cs typeface="+mj-cs"/>
                <a:sym typeface="+mn-lt"/>
              </a:rPr>
              <a:t>Average Gross Margin and Revenues of selected players by specialization</a:t>
            </a:r>
            <a:endParaRPr lang="en-GB" sz="1200">
              <a:solidFill>
                <a:schemeClr val="tx2"/>
              </a:solidFill>
            </a:endParaRPr>
          </a:p>
        </p:txBody>
      </p:sp>
    </p:spTree>
    <p:extLst>
      <p:ext uri="{BB962C8B-B14F-4D97-AF65-F5344CB8AC3E}">
        <p14:creationId xmlns:p14="http://schemas.microsoft.com/office/powerpoint/2010/main" val="19015165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28">
            <a:extLst>
              <a:ext uri="{FF2B5EF4-FFF2-40B4-BE49-F238E27FC236}">
                <a16:creationId xmlns:a16="http://schemas.microsoft.com/office/drawing/2014/main" id="{548FD310-0321-0A2F-768D-052D25E92CD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5543" t="11259" r="5543" b="9414"/>
          <a:stretch/>
        </p:blipFill>
        <p:spPr>
          <a:xfrm>
            <a:off x="6953250" y="579120"/>
            <a:ext cx="2190750" cy="4080193"/>
          </a:xfrm>
          <a:prstGeom prst="rect">
            <a:avLst/>
          </a:prstGeom>
        </p:spPr>
      </p:pic>
      <p:sp>
        <p:nvSpPr>
          <p:cNvPr id="37" name="rbStamp_Instructions">
            <a:extLst>
              <a:ext uri="{FF2B5EF4-FFF2-40B4-BE49-F238E27FC236}">
                <a16:creationId xmlns:a16="http://schemas.microsoft.com/office/drawing/2014/main" id="{C00DF3E2-4389-FC42-2728-5C01FE4A4010}"/>
              </a:ext>
            </a:extLst>
          </p:cNvPr>
          <p:cNvSpPr txBox="1"/>
          <p:nvPr/>
        </p:nvSpPr>
        <p:spPr>
          <a:xfrm rot="16200000">
            <a:off x="409529" y="4043315"/>
            <a:ext cx="277320" cy="138499"/>
          </a:xfrm>
          <a:prstGeom prst="rect">
            <a:avLst/>
          </a:prstGeom>
          <a:noFill/>
          <a:ln w="9525">
            <a:noFill/>
          </a:ln>
        </p:spPr>
        <p:txBody>
          <a:bodyPr vert="horz" wrap="none" lIns="0" tIns="0" rIns="0" bIns="0" rtlCol="0" anchor="ctr">
            <a:spAutoFit/>
          </a:bodyPr>
          <a:lstStyle/>
          <a:p>
            <a:pPr fontAlgn="base">
              <a:lnSpc>
                <a:spcPct val="90000"/>
              </a:lnSpc>
              <a:spcBef>
                <a:spcPts val="400"/>
              </a:spcBef>
              <a:spcAft>
                <a:spcPct val="0"/>
              </a:spcAft>
              <a:buSzPct val="100000"/>
            </a:pPr>
            <a:r>
              <a:rPr lang="en-US" sz="1000">
                <a:solidFill>
                  <a:schemeClr val="dk1"/>
                </a:solidFill>
                <a:sym typeface="+mn-lt"/>
              </a:rPr>
              <a:t>Near</a:t>
            </a:r>
          </a:p>
        </p:txBody>
      </p:sp>
      <p:cxnSp>
        <p:nvCxnSpPr>
          <p:cNvPr id="38" name="Straight Connector 20">
            <a:extLst>
              <a:ext uri="{FF2B5EF4-FFF2-40B4-BE49-F238E27FC236}">
                <a16:creationId xmlns:a16="http://schemas.microsoft.com/office/drawing/2014/main" id="{289544C6-6720-B4C9-4793-17C56B970198}"/>
              </a:ext>
            </a:extLst>
          </p:cNvPr>
          <p:cNvCxnSpPr>
            <a:cxnSpLocks/>
          </p:cNvCxnSpPr>
          <p:nvPr/>
        </p:nvCxnSpPr>
        <p:spPr>
          <a:xfrm rot="5400000" flipV="1">
            <a:off x="-279811" y="3068604"/>
            <a:ext cx="1656000" cy="0"/>
          </a:xfrm>
          <a:prstGeom prst="line">
            <a:avLst/>
          </a:prstGeom>
          <a:ln w="6350" cmpd="sng">
            <a:solidFill>
              <a:schemeClr val="tx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rbStamp_Instructions">
            <a:extLst>
              <a:ext uri="{FF2B5EF4-FFF2-40B4-BE49-F238E27FC236}">
                <a16:creationId xmlns:a16="http://schemas.microsoft.com/office/drawing/2014/main" id="{7BB97B64-7AE4-0459-495B-23E836E5E13E}"/>
              </a:ext>
            </a:extLst>
          </p:cNvPr>
          <p:cNvSpPr txBox="1"/>
          <p:nvPr/>
        </p:nvSpPr>
        <p:spPr>
          <a:xfrm rot="16200000">
            <a:off x="452009" y="1997872"/>
            <a:ext cx="192360" cy="138499"/>
          </a:xfrm>
          <a:prstGeom prst="rect">
            <a:avLst/>
          </a:prstGeom>
          <a:noFill/>
          <a:ln w="9525">
            <a:noFill/>
          </a:ln>
        </p:spPr>
        <p:txBody>
          <a:bodyPr vert="horz" wrap="none" lIns="0" tIns="0" rIns="0" bIns="0" rtlCol="0" anchor="ctr">
            <a:spAutoFit/>
          </a:bodyPr>
          <a:lstStyle/>
          <a:p>
            <a:pPr algn="r" fontAlgn="base">
              <a:lnSpc>
                <a:spcPct val="90000"/>
              </a:lnSpc>
              <a:spcBef>
                <a:spcPts val="400"/>
              </a:spcBef>
              <a:spcAft>
                <a:spcPct val="0"/>
              </a:spcAft>
              <a:buSzPct val="100000"/>
            </a:pPr>
            <a:r>
              <a:rPr lang="en-US" sz="1000">
                <a:solidFill>
                  <a:schemeClr val="dk1"/>
                </a:solidFill>
                <a:sym typeface="+mn-lt"/>
              </a:rPr>
              <a:t>Far</a:t>
            </a:r>
          </a:p>
        </p:txBody>
      </p:sp>
      <p:sp>
        <p:nvSpPr>
          <p:cNvPr id="40" name="Title 1">
            <a:extLst>
              <a:ext uri="{FF2B5EF4-FFF2-40B4-BE49-F238E27FC236}">
                <a16:creationId xmlns:a16="http://schemas.microsoft.com/office/drawing/2014/main" id="{DF762D92-F4F4-6069-8E9D-C92FF51B985C}"/>
              </a:ext>
            </a:extLst>
          </p:cNvPr>
          <p:cNvSpPr txBox="1">
            <a:spLocks/>
          </p:cNvSpPr>
          <p:nvPr/>
        </p:nvSpPr>
        <p:spPr>
          <a:xfrm>
            <a:off x="297588" y="855282"/>
            <a:ext cx="6514691" cy="576000"/>
          </a:xfrm>
          <a:prstGeom prst="rect">
            <a:avLst/>
          </a:prstGeom>
        </p:spPr>
        <p:txBody>
          <a:bodyPr vert="horz" wrap="square" lIns="0" tIns="0" rIns="0" bIns="0" rtlCol="0" anchor="t" anchorCtr="0">
            <a:noAutofit/>
          </a:bodyPr>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pPr defTabSz="844083">
              <a:lnSpc>
                <a:spcPct val="100000"/>
              </a:lnSpc>
            </a:pPr>
            <a:r>
              <a:rPr lang="en-US" sz="1800" dirty="0">
                <a:sym typeface="+mn-lt"/>
              </a:rPr>
              <a:t>Integrating components into tailored solutions enriches the value proposition</a:t>
            </a:r>
          </a:p>
        </p:txBody>
      </p:sp>
      <p:sp>
        <p:nvSpPr>
          <p:cNvPr id="41" name="Source">
            <a:extLst>
              <a:ext uri="{FF2B5EF4-FFF2-40B4-BE49-F238E27FC236}">
                <a16:creationId xmlns:a16="http://schemas.microsoft.com/office/drawing/2014/main" id="{E47FF53E-BB14-23B8-F6FB-890032744681}"/>
              </a:ext>
            </a:extLst>
          </p:cNvPr>
          <p:cNvSpPr txBox="1"/>
          <p:nvPr/>
        </p:nvSpPr>
        <p:spPr>
          <a:xfrm>
            <a:off x="4937036" y="1758901"/>
            <a:ext cx="1970091"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a:sym typeface="+mn-lt"/>
              </a:rPr>
              <a:t>Source: Desk research, Market interviews, Roland Berger</a:t>
            </a:r>
          </a:p>
        </p:txBody>
      </p:sp>
      <p:sp>
        <p:nvSpPr>
          <p:cNvPr id="42" name="Source">
            <a:extLst>
              <a:ext uri="{FF2B5EF4-FFF2-40B4-BE49-F238E27FC236}">
                <a16:creationId xmlns:a16="http://schemas.microsoft.com/office/drawing/2014/main" id="{AA2567E3-575B-8B4F-AF43-7FC3989E20D4}"/>
              </a:ext>
            </a:extLst>
          </p:cNvPr>
          <p:cNvSpPr txBox="1"/>
          <p:nvPr/>
        </p:nvSpPr>
        <p:spPr>
          <a:xfrm>
            <a:off x="4937036" y="1615155"/>
            <a:ext cx="1580561"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dirty="0">
                <a:sym typeface="+mn-lt"/>
              </a:rPr>
              <a:t>1) High Integrity Pressure Protection Systems </a:t>
            </a:r>
          </a:p>
        </p:txBody>
      </p:sp>
      <p:grpSp>
        <p:nvGrpSpPr>
          <p:cNvPr id="44" name="Gruppieren 46">
            <a:extLst>
              <a:ext uri="{FF2B5EF4-FFF2-40B4-BE49-F238E27FC236}">
                <a16:creationId xmlns:a16="http://schemas.microsoft.com/office/drawing/2014/main" id="{CC987BAD-C215-8187-58B8-889A49A7C011}"/>
              </a:ext>
            </a:extLst>
          </p:cNvPr>
          <p:cNvGrpSpPr/>
          <p:nvPr/>
        </p:nvGrpSpPr>
        <p:grpSpPr>
          <a:xfrm>
            <a:off x="250825" y="13448"/>
            <a:ext cx="2601506" cy="216000"/>
            <a:chOff x="250825" y="959449"/>
            <a:chExt cx="2601506" cy="216000"/>
          </a:xfrm>
        </p:grpSpPr>
        <p:sp>
          <p:nvSpPr>
            <p:cNvPr id="45" name="RbNavigator">
              <a:extLst>
                <a:ext uri="{FF2B5EF4-FFF2-40B4-BE49-F238E27FC236}">
                  <a16:creationId xmlns:a16="http://schemas.microsoft.com/office/drawing/2014/main" id="{91F3D1DF-D2D6-9E51-A226-25270B2B8E0F}"/>
                </a:ext>
              </a:extLst>
            </p:cNvPr>
            <p:cNvSpPr txBox="1">
              <a:spLocks/>
            </p:cNvSpPr>
            <p:nvPr/>
          </p:nvSpPr>
          <p:spPr>
            <a:xfrm>
              <a:off x="250825" y="959449"/>
              <a:ext cx="216000" cy="216000"/>
            </a:xfrm>
            <a:prstGeom prst="ellipse">
              <a:avLst/>
            </a:prstGeom>
            <a:solidFill>
              <a:schemeClr val="tx1"/>
            </a:solidFill>
            <a:ln w="6350">
              <a:noFill/>
            </a:ln>
          </p:spPr>
          <p:txBody>
            <a:bodyPr vert="horz" wrap="none" lIns="0" tIns="0" rIns="0" bIns="0" rtlCol="0" anchor="ctr">
              <a:noAutofit/>
            </a:bodyPr>
            <a:lstStyle>
              <a:defPPr>
                <a:defRPr lang="en-EN"/>
              </a:defPPr>
              <a:lvl1pPr algn="ctr">
                <a:lnSpc>
                  <a:spcPct val="100000"/>
                </a:lnSpc>
                <a:spcBef>
                  <a:spcPts val="0"/>
                </a:spcBef>
                <a:spcAft>
                  <a:spcPts val="0"/>
                </a:spcAft>
                <a:buClr>
                  <a:srgbClr val="000000"/>
                </a:buClr>
                <a:buSzPct val="100000"/>
                <a:defRPr kumimoji="1" sz="900">
                  <a:solidFill>
                    <a:schemeClr val="bg1"/>
                  </a:solidFill>
                  <a:latin typeface="+mn-lt"/>
                </a:defRPr>
              </a:lvl1pPr>
            </a:lstStyle>
            <a:p>
              <a:r>
                <a:rPr lang="en-US" sz="900">
                  <a:latin typeface="+mn-lt"/>
                  <a:ea typeface="+mn-ea"/>
                  <a:cs typeface="+mn-cs"/>
                  <a:sym typeface="+mn-lt"/>
                </a:rPr>
                <a:t>4</a:t>
              </a:r>
            </a:p>
          </p:txBody>
        </p:sp>
        <p:sp>
          <p:nvSpPr>
            <p:cNvPr id="46" name="RbSticker">
              <a:extLst>
                <a:ext uri="{FF2B5EF4-FFF2-40B4-BE49-F238E27FC236}">
                  <a16:creationId xmlns:a16="http://schemas.microsoft.com/office/drawing/2014/main" id="{891C427B-14C5-C6B2-2FAE-6EBA0B7DFCB0}"/>
                </a:ext>
              </a:extLst>
            </p:cNvPr>
            <p:cNvSpPr txBox="1">
              <a:spLocks/>
            </p:cNvSpPr>
            <p:nvPr/>
          </p:nvSpPr>
          <p:spPr>
            <a:xfrm>
              <a:off x="548331" y="998200"/>
              <a:ext cx="2304000" cy="13849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defPPr>
                <a:defRPr lang="en-EN"/>
              </a:defPPr>
              <a:lvl1pPr>
                <a:lnSpc>
                  <a:spcPct val="100000"/>
                </a:lnSpc>
                <a:spcBef>
                  <a:spcPts val="0"/>
                </a:spcBef>
                <a:spcAft>
                  <a:spcPts val="0"/>
                </a:spcAft>
                <a:buClr>
                  <a:srgbClr val="000000"/>
                </a:buClr>
                <a:buSzPct val="100000"/>
                <a:defRPr sz="900">
                  <a:latin typeface="+mn-lt"/>
                </a:defRPr>
              </a:lvl1pPr>
            </a:lstStyle>
            <a:p>
              <a:r>
                <a:rPr lang="en-US" sz="900" b="1"/>
                <a:t>Expand into solutions/systems</a:t>
              </a:r>
            </a:p>
          </p:txBody>
        </p:sp>
      </p:grpSp>
      <p:sp>
        <p:nvSpPr>
          <p:cNvPr id="47" name="rbStamp_Instructions">
            <a:extLst>
              <a:ext uri="{FF2B5EF4-FFF2-40B4-BE49-F238E27FC236}">
                <a16:creationId xmlns:a16="http://schemas.microsoft.com/office/drawing/2014/main" id="{CB961871-7242-EE50-A668-2DA3A4640DB0}"/>
              </a:ext>
            </a:extLst>
          </p:cNvPr>
          <p:cNvSpPr txBox="1"/>
          <p:nvPr/>
        </p:nvSpPr>
        <p:spPr>
          <a:xfrm rot="16200000">
            <a:off x="-191207" y="2917184"/>
            <a:ext cx="1274955" cy="387798"/>
          </a:xfrm>
          <a:prstGeom prst="rect">
            <a:avLst/>
          </a:prstGeom>
          <a:solidFill>
            <a:schemeClr val="bg1"/>
          </a:solidFill>
          <a:ln w="9525">
            <a:noFill/>
          </a:ln>
        </p:spPr>
        <p:txBody>
          <a:bodyPr vert="horz" wrap="none" lIns="36000" tIns="0" rIns="36000" bIns="0" rtlCol="0" anchor="t">
            <a:spAutoFit/>
          </a:bodyPr>
          <a:lstStyle/>
          <a:p>
            <a:pPr algn="ctr" fontAlgn="base">
              <a:lnSpc>
                <a:spcPct val="90000"/>
              </a:lnSpc>
              <a:spcBef>
                <a:spcPts val="400"/>
              </a:spcBef>
              <a:spcAft>
                <a:spcPct val="0"/>
              </a:spcAft>
              <a:buSzPct val="100000"/>
            </a:pPr>
            <a:r>
              <a:rPr lang="en-US" sz="1400" b="1">
                <a:solidFill>
                  <a:schemeClr val="accent6"/>
                </a:solidFill>
                <a:sym typeface="+mn-lt"/>
              </a:rPr>
              <a:t>Proximity to</a:t>
            </a:r>
            <a:br>
              <a:rPr lang="en-US" sz="1400" b="1">
                <a:solidFill>
                  <a:schemeClr val="accent6"/>
                </a:solidFill>
                <a:sym typeface="+mn-lt"/>
              </a:rPr>
            </a:br>
            <a:r>
              <a:rPr lang="en-US" sz="1400" b="1">
                <a:solidFill>
                  <a:schemeClr val="accent6"/>
                </a:solidFill>
                <a:sym typeface="+mn-lt"/>
              </a:rPr>
              <a:t>core business</a:t>
            </a:r>
          </a:p>
        </p:txBody>
      </p:sp>
      <p:sp>
        <p:nvSpPr>
          <p:cNvPr id="48" name="Freeform 7">
            <a:extLst>
              <a:ext uri="{FF2B5EF4-FFF2-40B4-BE49-F238E27FC236}">
                <a16:creationId xmlns:a16="http://schemas.microsoft.com/office/drawing/2014/main" id="{F35E981E-9C62-FA35-9B90-2E31A1B1C477}"/>
              </a:ext>
            </a:extLst>
          </p:cNvPr>
          <p:cNvSpPr>
            <a:spLocks/>
          </p:cNvSpPr>
          <p:nvPr/>
        </p:nvSpPr>
        <p:spPr bwMode="auto">
          <a:xfrm rot="21373076">
            <a:off x="760918" y="2057028"/>
            <a:ext cx="3822750" cy="1368954"/>
          </a:xfrm>
          <a:custGeom>
            <a:avLst/>
            <a:gdLst>
              <a:gd name="connsiteX0" fmla="*/ 0 w 9888"/>
              <a:gd name="connsiteY0" fmla="*/ 10000 h 10000"/>
              <a:gd name="connsiteX1" fmla="*/ 0 w 9888"/>
              <a:gd name="connsiteY1" fmla="*/ 10000 h 10000"/>
              <a:gd name="connsiteX2" fmla="*/ 45 w 9888"/>
              <a:gd name="connsiteY2" fmla="*/ 9769 h 10000"/>
              <a:gd name="connsiteX3" fmla="*/ 95 w 9888"/>
              <a:gd name="connsiteY3" fmla="*/ 9538 h 10000"/>
              <a:gd name="connsiteX4" fmla="*/ 151 w 9888"/>
              <a:gd name="connsiteY4" fmla="*/ 9316 h 10000"/>
              <a:gd name="connsiteX5" fmla="*/ 206 w 9888"/>
              <a:gd name="connsiteY5" fmla="*/ 9094 h 10000"/>
              <a:gd name="connsiteX6" fmla="*/ 268 w 9888"/>
              <a:gd name="connsiteY6" fmla="*/ 8872 h 10000"/>
              <a:gd name="connsiteX7" fmla="*/ 335 w 9888"/>
              <a:gd name="connsiteY7" fmla="*/ 8659 h 10000"/>
              <a:gd name="connsiteX8" fmla="*/ 407 w 9888"/>
              <a:gd name="connsiteY8" fmla="*/ 8446 h 10000"/>
              <a:gd name="connsiteX9" fmla="*/ 480 w 9888"/>
              <a:gd name="connsiteY9" fmla="*/ 8233 h 10000"/>
              <a:gd name="connsiteX10" fmla="*/ 558 w 9888"/>
              <a:gd name="connsiteY10" fmla="*/ 8028 h 10000"/>
              <a:gd name="connsiteX11" fmla="*/ 642 w 9888"/>
              <a:gd name="connsiteY11" fmla="*/ 7824 h 10000"/>
              <a:gd name="connsiteX12" fmla="*/ 731 w 9888"/>
              <a:gd name="connsiteY12" fmla="*/ 7629 h 10000"/>
              <a:gd name="connsiteX13" fmla="*/ 820 w 9888"/>
              <a:gd name="connsiteY13" fmla="*/ 7425 h 10000"/>
              <a:gd name="connsiteX14" fmla="*/ 915 w 9888"/>
              <a:gd name="connsiteY14" fmla="*/ 7238 h 10000"/>
              <a:gd name="connsiteX15" fmla="*/ 1010 w 9888"/>
              <a:gd name="connsiteY15" fmla="*/ 7043 h 10000"/>
              <a:gd name="connsiteX16" fmla="*/ 1110 w 9888"/>
              <a:gd name="connsiteY16" fmla="*/ 6856 h 10000"/>
              <a:gd name="connsiteX17" fmla="*/ 1217 w 9888"/>
              <a:gd name="connsiteY17" fmla="*/ 6670 h 10000"/>
              <a:gd name="connsiteX18" fmla="*/ 1323 w 9888"/>
              <a:gd name="connsiteY18" fmla="*/ 6492 h 10000"/>
              <a:gd name="connsiteX19" fmla="*/ 1434 w 9888"/>
              <a:gd name="connsiteY19" fmla="*/ 6314 h 10000"/>
              <a:gd name="connsiteX20" fmla="*/ 1546 w 9888"/>
              <a:gd name="connsiteY20" fmla="*/ 6137 h 10000"/>
              <a:gd name="connsiteX21" fmla="*/ 1663 w 9888"/>
              <a:gd name="connsiteY21" fmla="*/ 5959 h 10000"/>
              <a:gd name="connsiteX22" fmla="*/ 1903 w 9888"/>
              <a:gd name="connsiteY22" fmla="*/ 5631 h 10000"/>
              <a:gd name="connsiteX23" fmla="*/ 2154 w 9888"/>
              <a:gd name="connsiteY23" fmla="*/ 5302 h 10000"/>
              <a:gd name="connsiteX24" fmla="*/ 2416 w 9888"/>
              <a:gd name="connsiteY24" fmla="*/ 4991 h 10000"/>
              <a:gd name="connsiteX25" fmla="*/ 2684 w 9888"/>
              <a:gd name="connsiteY25" fmla="*/ 4689 h 10000"/>
              <a:gd name="connsiteX26" fmla="*/ 2969 w 9888"/>
              <a:gd name="connsiteY26" fmla="*/ 4405 h 10000"/>
              <a:gd name="connsiteX27" fmla="*/ 3253 w 9888"/>
              <a:gd name="connsiteY27" fmla="*/ 4130 h 10000"/>
              <a:gd name="connsiteX28" fmla="*/ 3549 w 9888"/>
              <a:gd name="connsiteY28" fmla="*/ 3863 h 10000"/>
              <a:gd name="connsiteX29" fmla="*/ 3850 w 9888"/>
              <a:gd name="connsiteY29" fmla="*/ 3606 h 10000"/>
              <a:gd name="connsiteX30" fmla="*/ 4163 w 9888"/>
              <a:gd name="connsiteY30" fmla="*/ 3366 h 10000"/>
              <a:gd name="connsiteX31" fmla="*/ 4475 w 9888"/>
              <a:gd name="connsiteY31" fmla="*/ 3135 h 10000"/>
              <a:gd name="connsiteX32" fmla="*/ 4794 w 9888"/>
              <a:gd name="connsiteY32" fmla="*/ 2913 h 10000"/>
              <a:gd name="connsiteX33" fmla="*/ 5117 w 9888"/>
              <a:gd name="connsiteY33" fmla="*/ 2709 h 10000"/>
              <a:gd name="connsiteX34" fmla="*/ 5441 w 9888"/>
              <a:gd name="connsiteY34" fmla="*/ 2513 h 10000"/>
              <a:gd name="connsiteX35" fmla="*/ 5770 w 9888"/>
              <a:gd name="connsiteY35" fmla="*/ 2327 h 10000"/>
              <a:gd name="connsiteX36" fmla="*/ 6099 w 9888"/>
              <a:gd name="connsiteY36" fmla="*/ 2149 h 10000"/>
              <a:gd name="connsiteX37" fmla="*/ 6429 w 9888"/>
              <a:gd name="connsiteY37" fmla="*/ 1989 h 10000"/>
              <a:gd name="connsiteX38" fmla="*/ 6763 w 9888"/>
              <a:gd name="connsiteY38" fmla="*/ 1838 h 10000"/>
              <a:gd name="connsiteX39" fmla="*/ 7093 w 9888"/>
              <a:gd name="connsiteY39" fmla="*/ 1696 h 10000"/>
              <a:gd name="connsiteX40" fmla="*/ 7422 w 9888"/>
              <a:gd name="connsiteY40" fmla="*/ 1563 h 10000"/>
              <a:gd name="connsiteX41" fmla="*/ 7751 w 9888"/>
              <a:gd name="connsiteY41" fmla="*/ 1448 h 10000"/>
              <a:gd name="connsiteX42" fmla="*/ 8080 w 9888"/>
              <a:gd name="connsiteY42" fmla="*/ 1332 h 10000"/>
              <a:gd name="connsiteX43" fmla="*/ 8404 w 9888"/>
              <a:gd name="connsiteY43" fmla="*/ 1234 h 10000"/>
              <a:gd name="connsiteX44" fmla="*/ 8343 w 9888"/>
              <a:gd name="connsiteY44" fmla="*/ 0 h 10000"/>
              <a:gd name="connsiteX45" fmla="*/ 9888 w 9888"/>
              <a:gd name="connsiteY45" fmla="*/ 2181 h 10000"/>
              <a:gd name="connsiteX46" fmla="*/ 8694 w 9888"/>
              <a:gd name="connsiteY46" fmla="*/ 4973 h 10000"/>
              <a:gd name="connsiteX47" fmla="*/ 8605 w 9888"/>
              <a:gd name="connsiteY47" fmla="*/ 3721 h 10000"/>
              <a:gd name="connsiteX48" fmla="*/ 8549 w 9888"/>
              <a:gd name="connsiteY48" fmla="*/ 3721 h 10000"/>
              <a:gd name="connsiteX49" fmla="*/ 8549 w 9888"/>
              <a:gd name="connsiteY49" fmla="*/ 3721 h 10000"/>
              <a:gd name="connsiteX50" fmla="*/ 8482 w 9888"/>
              <a:gd name="connsiteY50" fmla="*/ 3730 h 10000"/>
              <a:gd name="connsiteX51" fmla="*/ 8292 w 9888"/>
              <a:gd name="connsiteY51" fmla="*/ 3748 h 10000"/>
              <a:gd name="connsiteX52" fmla="*/ 7997 w 9888"/>
              <a:gd name="connsiteY52" fmla="*/ 3792 h 10000"/>
              <a:gd name="connsiteX53" fmla="*/ 7595 w 9888"/>
              <a:gd name="connsiteY53" fmla="*/ 3863 h 10000"/>
              <a:gd name="connsiteX54" fmla="*/ 7366 w 9888"/>
              <a:gd name="connsiteY54" fmla="*/ 3908 h 10000"/>
              <a:gd name="connsiteX55" fmla="*/ 7115 w 9888"/>
              <a:gd name="connsiteY55" fmla="*/ 3970 h 10000"/>
              <a:gd name="connsiteX56" fmla="*/ 6847 w 9888"/>
              <a:gd name="connsiteY56" fmla="*/ 4041 h 10000"/>
              <a:gd name="connsiteX57" fmla="*/ 6563 w 9888"/>
              <a:gd name="connsiteY57" fmla="*/ 4130 h 10000"/>
              <a:gd name="connsiteX58" fmla="*/ 6267 w 9888"/>
              <a:gd name="connsiteY58" fmla="*/ 4227 h 10000"/>
              <a:gd name="connsiteX59" fmla="*/ 5954 w 9888"/>
              <a:gd name="connsiteY59" fmla="*/ 4334 h 10000"/>
              <a:gd name="connsiteX60" fmla="*/ 5631 w 9888"/>
              <a:gd name="connsiteY60" fmla="*/ 4467 h 10000"/>
              <a:gd name="connsiteX61" fmla="*/ 5301 w 9888"/>
              <a:gd name="connsiteY61" fmla="*/ 4609 h 10000"/>
              <a:gd name="connsiteX62" fmla="*/ 4961 w 9888"/>
              <a:gd name="connsiteY62" fmla="*/ 4769 h 10000"/>
              <a:gd name="connsiteX63" fmla="*/ 4615 w 9888"/>
              <a:gd name="connsiteY63" fmla="*/ 4956 h 10000"/>
              <a:gd name="connsiteX64" fmla="*/ 4263 w 9888"/>
              <a:gd name="connsiteY64" fmla="*/ 5151 h 10000"/>
              <a:gd name="connsiteX65" fmla="*/ 3906 w 9888"/>
              <a:gd name="connsiteY65" fmla="*/ 5373 h 10000"/>
              <a:gd name="connsiteX66" fmla="*/ 3549 w 9888"/>
              <a:gd name="connsiteY66" fmla="*/ 5622 h 10000"/>
              <a:gd name="connsiteX67" fmla="*/ 3371 w 9888"/>
              <a:gd name="connsiteY67" fmla="*/ 5746 h 10000"/>
              <a:gd name="connsiteX68" fmla="*/ 3198 w 9888"/>
              <a:gd name="connsiteY68" fmla="*/ 5879 h 10000"/>
              <a:gd name="connsiteX69" fmla="*/ 3019 w 9888"/>
              <a:gd name="connsiteY69" fmla="*/ 6021 h 10000"/>
              <a:gd name="connsiteX70" fmla="*/ 2840 w 9888"/>
              <a:gd name="connsiteY70" fmla="*/ 6172 h 10000"/>
              <a:gd name="connsiteX71" fmla="*/ 2667 w 9888"/>
              <a:gd name="connsiteY71" fmla="*/ 6323 h 10000"/>
              <a:gd name="connsiteX72" fmla="*/ 2489 w 9888"/>
              <a:gd name="connsiteY72" fmla="*/ 6483 h 10000"/>
              <a:gd name="connsiteX73" fmla="*/ 2316 w 9888"/>
              <a:gd name="connsiteY73" fmla="*/ 6652 h 10000"/>
              <a:gd name="connsiteX74" fmla="*/ 2143 w 9888"/>
              <a:gd name="connsiteY74" fmla="*/ 6821 h 10000"/>
              <a:gd name="connsiteX75" fmla="*/ 1975 w 9888"/>
              <a:gd name="connsiteY75" fmla="*/ 7007 h 10000"/>
              <a:gd name="connsiteX76" fmla="*/ 1802 w 9888"/>
              <a:gd name="connsiteY76" fmla="*/ 7194 h 10000"/>
              <a:gd name="connsiteX77" fmla="*/ 1641 w 9888"/>
              <a:gd name="connsiteY77" fmla="*/ 7380 h 10000"/>
              <a:gd name="connsiteX78" fmla="*/ 1473 w 9888"/>
              <a:gd name="connsiteY78" fmla="*/ 7584 h 10000"/>
              <a:gd name="connsiteX79" fmla="*/ 1311 w 9888"/>
              <a:gd name="connsiteY79" fmla="*/ 7789 h 10000"/>
              <a:gd name="connsiteX80" fmla="*/ 1155 w 9888"/>
              <a:gd name="connsiteY80" fmla="*/ 8002 h 10000"/>
              <a:gd name="connsiteX81" fmla="*/ 999 w 9888"/>
              <a:gd name="connsiteY81" fmla="*/ 8224 h 10000"/>
              <a:gd name="connsiteX82" fmla="*/ 843 w 9888"/>
              <a:gd name="connsiteY82" fmla="*/ 8455 h 10000"/>
              <a:gd name="connsiteX83" fmla="*/ 692 w 9888"/>
              <a:gd name="connsiteY83" fmla="*/ 8694 h 10000"/>
              <a:gd name="connsiteX84" fmla="*/ 547 w 9888"/>
              <a:gd name="connsiteY84" fmla="*/ 8934 h 10000"/>
              <a:gd name="connsiteX85" fmla="*/ 402 w 9888"/>
              <a:gd name="connsiteY85" fmla="*/ 9192 h 10000"/>
              <a:gd name="connsiteX86" fmla="*/ 268 w 9888"/>
              <a:gd name="connsiteY86" fmla="*/ 9449 h 10000"/>
              <a:gd name="connsiteX87" fmla="*/ 128 w 9888"/>
              <a:gd name="connsiteY87" fmla="*/ 9725 h 10000"/>
              <a:gd name="connsiteX88" fmla="*/ 0 w 9888"/>
              <a:gd name="connsiteY88"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9888" h="10000">
                <a:moveTo>
                  <a:pt x="0" y="10000"/>
                </a:moveTo>
                <a:lnTo>
                  <a:pt x="0" y="10000"/>
                </a:lnTo>
                <a:lnTo>
                  <a:pt x="45" y="9769"/>
                </a:lnTo>
                <a:cubicBezTo>
                  <a:pt x="62" y="9692"/>
                  <a:pt x="78" y="9615"/>
                  <a:pt x="95" y="9538"/>
                </a:cubicBezTo>
                <a:cubicBezTo>
                  <a:pt x="114" y="9464"/>
                  <a:pt x="132" y="9390"/>
                  <a:pt x="151" y="9316"/>
                </a:cubicBezTo>
                <a:cubicBezTo>
                  <a:pt x="169" y="9242"/>
                  <a:pt x="188" y="9168"/>
                  <a:pt x="206" y="9094"/>
                </a:cubicBezTo>
                <a:cubicBezTo>
                  <a:pt x="227" y="9020"/>
                  <a:pt x="247" y="8946"/>
                  <a:pt x="268" y="8872"/>
                </a:cubicBezTo>
                <a:cubicBezTo>
                  <a:pt x="290" y="8801"/>
                  <a:pt x="313" y="8730"/>
                  <a:pt x="335" y="8659"/>
                </a:cubicBezTo>
                <a:lnTo>
                  <a:pt x="407" y="8446"/>
                </a:lnTo>
                <a:cubicBezTo>
                  <a:pt x="431" y="8375"/>
                  <a:pt x="456" y="8304"/>
                  <a:pt x="480" y="8233"/>
                </a:cubicBezTo>
                <a:cubicBezTo>
                  <a:pt x="506" y="8165"/>
                  <a:pt x="532" y="8096"/>
                  <a:pt x="558" y="8028"/>
                </a:cubicBezTo>
                <a:lnTo>
                  <a:pt x="642" y="7824"/>
                </a:lnTo>
                <a:cubicBezTo>
                  <a:pt x="672" y="7759"/>
                  <a:pt x="701" y="7694"/>
                  <a:pt x="731" y="7629"/>
                </a:cubicBezTo>
                <a:cubicBezTo>
                  <a:pt x="761" y="7561"/>
                  <a:pt x="790" y="7493"/>
                  <a:pt x="820" y="7425"/>
                </a:cubicBezTo>
                <a:cubicBezTo>
                  <a:pt x="852" y="7363"/>
                  <a:pt x="883" y="7300"/>
                  <a:pt x="915" y="7238"/>
                </a:cubicBezTo>
                <a:cubicBezTo>
                  <a:pt x="947" y="7173"/>
                  <a:pt x="978" y="7108"/>
                  <a:pt x="1010" y="7043"/>
                </a:cubicBezTo>
                <a:lnTo>
                  <a:pt x="1110" y="6856"/>
                </a:lnTo>
                <a:cubicBezTo>
                  <a:pt x="1146" y="6794"/>
                  <a:pt x="1181" y="6732"/>
                  <a:pt x="1217" y="6670"/>
                </a:cubicBezTo>
                <a:lnTo>
                  <a:pt x="1323" y="6492"/>
                </a:lnTo>
                <a:lnTo>
                  <a:pt x="1434" y="6314"/>
                </a:lnTo>
                <a:cubicBezTo>
                  <a:pt x="1471" y="6255"/>
                  <a:pt x="1509" y="6196"/>
                  <a:pt x="1546" y="6137"/>
                </a:cubicBezTo>
                <a:lnTo>
                  <a:pt x="1663" y="5959"/>
                </a:lnTo>
                <a:lnTo>
                  <a:pt x="1903" y="5631"/>
                </a:lnTo>
                <a:lnTo>
                  <a:pt x="2154" y="5302"/>
                </a:lnTo>
                <a:lnTo>
                  <a:pt x="2416" y="4991"/>
                </a:lnTo>
                <a:lnTo>
                  <a:pt x="2684" y="4689"/>
                </a:lnTo>
                <a:lnTo>
                  <a:pt x="2969" y="4405"/>
                </a:lnTo>
                <a:lnTo>
                  <a:pt x="3253" y="4130"/>
                </a:lnTo>
                <a:lnTo>
                  <a:pt x="3549" y="3863"/>
                </a:lnTo>
                <a:lnTo>
                  <a:pt x="3850" y="3606"/>
                </a:lnTo>
                <a:lnTo>
                  <a:pt x="4163" y="3366"/>
                </a:lnTo>
                <a:lnTo>
                  <a:pt x="4475" y="3135"/>
                </a:lnTo>
                <a:lnTo>
                  <a:pt x="4794" y="2913"/>
                </a:lnTo>
                <a:lnTo>
                  <a:pt x="5117" y="2709"/>
                </a:lnTo>
                <a:lnTo>
                  <a:pt x="5441" y="2513"/>
                </a:lnTo>
                <a:lnTo>
                  <a:pt x="5770" y="2327"/>
                </a:lnTo>
                <a:lnTo>
                  <a:pt x="6099" y="2149"/>
                </a:lnTo>
                <a:lnTo>
                  <a:pt x="6429" y="1989"/>
                </a:lnTo>
                <a:lnTo>
                  <a:pt x="6763" y="1838"/>
                </a:lnTo>
                <a:lnTo>
                  <a:pt x="7093" y="1696"/>
                </a:lnTo>
                <a:lnTo>
                  <a:pt x="7422" y="1563"/>
                </a:lnTo>
                <a:lnTo>
                  <a:pt x="7751" y="1448"/>
                </a:lnTo>
                <a:lnTo>
                  <a:pt x="8080" y="1332"/>
                </a:lnTo>
                <a:lnTo>
                  <a:pt x="8404" y="1234"/>
                </a:lnTo>
                <a:cubicBezTo>
                  <a:pt x="8384" y="823"/>
                  <a:pt x="8363" y="411"/>
                  <a:pt x="8343" y="0"/>
                </a:cubicBezTo>
                <a:lnTo>
                  <a:pt x="9888" y="2181"/>
                </a:lnTo>
                <a:lnTo>
                  <a:pt x="8694" y="4973"/>
                </a:lnTo>
                <a:cubicBezTo>
                  <a:pt x="8664" y="4556"/>
                  <a:pt x="8635" y="4138"/>
                  <a:pt x="8605" y="3721"/>
                </a:cubicBezTo>
                <a:lnTo>
                  <a:pt x="8549" y="3721"/>
                </a:lnTo>
                <a:lnTo>
                  <a:pt x="8549" y="3721"/>
                </a:lnTo>
                <a:lnTo>
                  <a:pt x="8482" y="3730"/>
                </a:lnTo>
                <a:lnTo>
                  <a:pt x="8292" y="3748"/>
                </a:lnTo>
                <a:lnTo>
                  <a:pt x="7997" y="3792"/>
                </a:lnTo>
                <a:lnTo>
                  <a:pt x="7595" y="3863"/>
                </a:lnTo>
                <a:lnTo>
                  <a:pt x="7366" y="3908"/>
                </a:lnTo>
                <a:lnTo>
                  <a:pt x="7115" y="3970"/>
                </a:lnTo>
                <a:lnTo>
                  <a:pt x="6847" y="4041"/>
                </a:lnTo>
                <a:lnTo>
                  <a:pt x="6563" y="4130"/>
                </a:lnTo>
                <a:lnTo>
                  <a:pt x="6267" y="4227"/>
                </a:lnTo>
                <a:lnTo>
                  <a:pt x="5954" y="4334"/>
                </a:lnTo>
                <a:lnTo>
                  <a:pt x="5631" y="4467"/>
                </a:lnTo>
                <a:lnTo>
                  <a:pt x="5301" y="4609"/>
                </a:lnTo>
                <a:lnTo>
                  <a:pt x="4961" y="4769"/>
                </a:lnTo>
                <a:lnTo>
                  <a:pt x="4615" y="4956"/>
                </a:lnTo>
                <a:lnTo>
                  <a:pt x="4263" y="5151"/>
                </a:lnTo>
                <a:lnTo>
                  <a:pt x="3906" y="5373"/>
                </a:lnTo>
                <a:lnTo>
                  <a:pt x="3549" y="5622"/>
                </a:lnTo>
                <a:lnTo>
                  <a:pt x="3371" y="5746"/>
                </a:lnTo>
                <a:cubicBezTo>
                  <a:pt x="3313" y="5790"/>
                  <a:pt x="3256" y="5835"/>
                  <a:pt x="3198" y="5879"/>
                </a:cubicBezTo>
                <a:lnTo>
                  <a:pt x="3019" y="6021"/>
                </a:lnTo>
                <a:cubicBezTo>
                  <a:pt x="2959" y="6071"/>
                  <a:pt x="2900" y="6122"/>
                  <a:pt x="2840" y="6172"/>
                </a:cubicBezTo>
                <a:cubicBezTo>
                  <a:pt x="2782" y="6222"/>
                  <a:pt x="2725" y="6273"/>
                  <a:pt x="2667" y="6323"/>
                </a:cubicBezTo>
                <a:lnTo>
                  <a:pt x="2489" y="6483"/>
                </a:lnTo>
                <a:cubicBezTo>
                  <a:pt x="2431" y="6539"/>
                  <a:pt x="2374" y="6596"/>
                  <a:pt x="2316" y="6652"/>
                </a:cubicBezTo>
                <a:cubicBezTo>
                  <a:pt x="2258" y="6708"/>
                  <a:pt x="2201" y="6765"/>
                  <a:pt x="2143" y="6821"/>
                </a:cubicBezTo>
                <a:lnTo>
                  <a:pt x="1975" y="7007"/>
                </a:lnTo>
                <a:cubicBezTo>
                  <a:pt x="1917" y="7069"/>
                  <a:pt x="1860" y="7132"/>
                  <a:pt x="1802" y="7194"/>
                </a:cubicBezTo>
                <a:lnTo>
                  <a:pt x="1641" y="7380"/>
                </a:lnTo>
                <a:lnTo>
                  <a:pt x="1473" y="7584"/>
                </a:lnTo>
                <a:lnTo>
                  <a:pt x="1311" y="7789"/>
                </a:lnTo>
                <a:lnTo>
                  <a:pt x="1155" y="8002"/>
                </a:lnTo>
                <a:lnTo>
                  <a:pt x="999" y="8224"/>
                </a:lnTo>
                <a:lnTo>
                  <a:pt x="843" y="8455"/>
                </a:lnTo>
                <a:cubicBezTo>
                  <a:pt x="793" y="8535"/>
                  <a:pt x="742" y="8614"/>
                  <a:pt x="692" y="8694"/>
                </a:cubicBezTo>
                <a:cubicBezTo>
                  <a:pt x="644" y="8774"/>
                  <a:pt x="595" y="8854"/>
                  <a:pt x="547" y="8934"/>
                </a:cubicBezTo>
                <a:cubicBezTo>
                  <a:pt x="499" y="9020"/>
                  <a:pt x="450" y="9106"/>
                  <a:pt x="402" y="9192"/>
                </a:cubicBezTo>
                <a:lnTo>
                  <a:pt x="268" y="9449"/>
                </a:lnTo>
                <a:cubicBezTo>
                  <a:pt x="221" y="9541"/>
                  <a:pt x="175" y="9633"/>
                  <a:pt x="128" y="9725"/>
                </a:cubicBezTo>
                <a:lnTo>
                  <a:pt x="0" y="10000"/>
                </a:lnTo>
              </a:path>
            </a:pathLst>
          </a:custGeom>
          <a:gradFill>
            <a:gsLst>
              <a:gs pos="67847">
                <a:schemeClr val="accent5"/>
              </a:gs>
              <a:gs pos="38000">
                <a:schemeClr val="accent2"/>
              </a:gs>
              <a:gs pos="3000">
                <a:schemeClr val="accent3"/>
              </a:gs>
              <a:gs pos="100000">
                <a:schemeClr val="accent6"/>
              </a:gs>
            </a:gsLst>
            <a:lin ang="0" scaled="1"/>
          </a:gradFill>
          <a:ln w="285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Rectangle 12">
            <a:extLst>
              <a:ext uri="{FF2B5EF4-FFF2-40B4-BE49-F238E27FC236}">
                <a16:creationId xmlns:a16="http://schemas.microsoft.com/office/drawing/2014/main" id="{07736F86-8632-3FB2-5065-0A5AF3AE2572}"/>
              </a:ext>
            </a:extLst>
          </p:cNvPr>
          <p:cNvSpPr/>
          <p:nvPr/>
        </p:nvSpPr>
        <p:spPr>
          <a:xfrm>
            <a:off x="777899" y="1970941"/>
            <a:ext cx="5832917" cy="2280284"/>
          </a:xfrm>
          <a:prstGeom prst="rect">
            <a:avLst/>
          </a:prstGeom>
          <a:solidFill>
            <a:schemeClr val="bg2"/>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fontAlgn="base">
              <a:lnSpc>
                <a:spcPct val="90000"/>
              </a:lnSpc>
              <a:spcBef>
                <a:spcPts val="400"/>
              </a:spcBef>
              <a:spcAft>
                <a:spcPct val="0"/>
              </a:spcAft>
              <a:buSzPct val="100000"/>
            </a:pPr>
            <a:endParaRPr lang="en-US" sz="1200" b="0">
              <a:solidFill>
                <a:schemeClr val="tx1"/>
              </a:solidFill>
              <a:sym typeface="+mn-lt"/>
            </a:endParaRPr>
          </a:p>
        </p:txBody>
      </p:sp>
      <p:sp>
        <p:nvSpPr>
          <p:cNvPr id="50" name="rbStamp_Instructions">
            <a:extLst>
              <a:ext uri="{FF2B5EF4-FFF2-40B4-BE49-F238E27FC236}">
                <a16:creationId xmlns:a16="http://schemas.microsoft.com/office/drawing/2014/main" id="{5F20D8BC-3AF2-B957-DB76-0E5FA03C8011}"/>
              </a:ext>
            </a:extLst>
          </p:cNvPr>
          <p:cNvSpPr txBox="1"/>
          <p:nvPr/>
        </p:nvSpPr>
        <p:spPr>
          <a:xfrm>
            <a:off x="777902" y="4380765"/>
            <a:ext cx="227392" cy="138499"/>
          </a:xfrm>
          <a:prstGeom prst="rect">
            <a:avLst/>
          </a:prstGeom>
          <a:noFill/>
          <a:ln w="9525">
            <a:noFill/>
          </a:ln>
        </p:spPr>
        <p:txBody>
          <a:bodyPr vert="horz" wrap="none" lIns="0" tIns="0" rIns="0" bIns="0" rtlCol="0" anchor="t">
            <a:spAutoFit/>
          </a:bodyPr>
          <a:lstStyle/>
          <a:p>
            <a:pPr fontAlgn="base">
              <a:lnSpc>
                <a:spcPct val="90000"/>
              </a:lnSpc>
              <a:spcBef>
                <a:spcPts val="400"/>
              </a:spcBef>
              <a:spcAft>
                <a:spcPct val="0"/>
              </a:spcAft>
              <a:buSzPct val="100000"/>
            </a:pPr>
            <a:r>
              <a:rPr lang="en-US" sz="1000">
                <a:solidFill>
                  <a:schemeClr val="dk1"/>
                </a:solidFill>
                <a:sym typeface="+mn-lt"/>
              </a:rPr>
              <a:t>Low</a:t>
            </a:r>
          </a:p>
        </p:txBody>
      </p:sp>
      <p:sp>
        <p:nvSpPr>
          <p:cNvPr id="51" name="rbStamp_Instructions">
            <a:extLst>
              <a:ext uri="{FF2B5EF4-FFF2-40B4-BE49-F238E27FC236}">
                <a16:creationId xmlns:a16="http://schemas.microsoft.com/office/drawing/2014/main" id="{2CF3B221-BED1-CED9-4D7B-2E2DB9D1320D}"/>
              </a:ext>
            </a:extLst>
          </p:cNvPr>
          <p:cNvSpPr txBox="1"/>
          <p:nvPr/>
        </p:nvSpPr>
        <p:spPr>
          <a:xfrm>
            <a:off x="6355390" y="4380765"/>
            <a:ext cx="255426" cy="138499"/>
          </a:xfrm>
          <a:prstGeom prst="rect">
            <a:avLst/>
          </a:prstGeom>
          <a:noFill/>
          <a:ln w="9525">
            <a:noFill/>
          </a:ln>
        </p:spPr>
        <p:txBody>
          <a:bodyPr vert="horz" wrap="none" lIns="0" tIns="0" rIns="0" bIns="0" rtlCol="0" anchor="t">
            <a:spAutoFit/>
          </a:bodyPr>
          <a:lstStyle/>
          <a:p>
            <a:pPr algn="r" fontAlgn="base">
              <a:lnSpc>
                <a:spcPct val="90000"/>
              </a:lnSpc>
              <a:spcBef>
                <a:spcPts val="400"/>
              </a:spcBef>
              <a:spcAft>
                <a:spcPct val="0"/>
              </a:spcAft>
              <a:buSzPct val="100000"/>
            </a:pPr>
            <a:r>
              <a:rPr lang="en-US" sz="1000">
                <a:solidFill>
                  <a:schemeClr val="dk1"/>
                </a:solidFill>
                <a:sym typeface="+mn-lt"/>
              </a:rPr>
              <a:t>High</a:t>
            </a:r>
          </a:p>
        </p:txBody>
      </p:sp>
      <p:cxnSp>
        <p:nvCxnSpPr>
          <p:cNvPr id="52" name="Straight Connector 19">
            <a:extLst>
              <a:ext uri="{FF2B5EF4-FFF2-40B4-BE49-F238E27FC236}">
                <a16:creationId xmlns:a16="http://schemas.microsoft.com/office/drawing/2014/main" id="{A1C153E6-0B2E-DC43-C491-B9D8A9C2959C}"/>
              </a:ext>
            </a:extLst>
          </p:cNvPr>
          <p:cNvCxnSpPr>
            <a:cxnSpLocks/>
          </p:cNvCxnSpPr>
          <p:nvPr/>
        </p:nvCxnSpPr>
        <p:spPr>
          <a:xfrm>
            <a:off x="1074506" y="4450014"/>
            <a:ext cx="5211670" cy="0"/>
          </a:xfrm>
          <a:prstGeom prst="line">
            <a:avLst/>
          </a:prstGeom>
          <a:ln w="6350" cmpd="sng">
            <a:solidFill>
              <a:schemeClr val="tx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rbStamp_Instructions">
            <a:extLst>
              <a:ext uri="{FF2B5EF4-FFF2-40B4-BE49-F238E27FC236}">
                <a16:creationId xmlns:a16="http://schemas.microsoft.com/office/drawing/2014/main" id="{54870E76-B08A-9308-958C-056AC18AABB0}"/>
              </a:ext>
            </a:extLst>
          </p:cNvPr>
          <p:cNvSpPr txBox="1"/>
          <p:nvPr/>
        </p:nvSpPr>
        <p:spPr>
          <a:xfrm>
            <a:off x="825955" y="3653675"/>
            <a:ext cx="1033959" cy="483346"/>
          </a:xfrm>
          <a:prstGeom prst="rect">
            <a:avLst/>
          </a:prstGeom>
          <a:solidFill>
            <a:schemeClr val="accent4"/>
          </a:solidFill>
          <a:ln w="9525">
            <a:noFill/>
          </a:ln>
        </p:spPr>
        <p:txBody>
          <a:bodyPr vert="horz" wrap="square" lIns="36000" tIns="36000" rIns="36576" bIns="36000" rtlCol="0" anchor="ctr">
            <a:noAutofit/>
          </a:bodyPr>
          <a:lstStyle>
            <a:defPPr>
              <a:defRPr lang="en-EN"/>
            </a:defPPr>
            <a:lvl1pPr algn="ctr">
              <a:lnSpc>
                <a:spcPct val="90000"/>
              </a:lnSpc>
              <a:spcBef>
                <a:spcPts val="400"/>
              </a:spcBef>
              <a:buSzPct val="100000"/>
              <a:defRPr sz="1400">
                <a:solidFill>
                  <a:schemeClr val="bg1"/>
                </a:solidFill>
              </a:defRPr>
            </a:lvl1pPr>
          </a:lstStyle>
          <a:p>
            <a:pPr algn="l"/>
            <a:r>
              <a:rPr lang="en-US" sz="1200">
                <a:sym typeface="+mn-lt"/>
              </a:rPr>
              <a:t>Stand alone component</a:t>
            </a:r>
          </a:p>
        </p:txBody>
      </p:sp>
      <p:sp>
        <p:nvSpPr>
          <p:cNvPr id="54" name="rbStamp_Instructions">
            <a:extLst>
              <a:ext uri="{FF2B5EF4-FFF2-40B4-BE49-F238E27FC236}">
                <a16:creationId xmlns:a16="http://schemas.microsoft.com/office/drawing/2014/main" id="{113C9A41-9AAD-36B6-5D66-05EBFD19FD7E}"/>
              </a:ext>
            </a:extLst>
          </p:cNvPr>
          <p:cNvSpPr txBox="1"/>
          <p:nvPr/>
        </p:nvSpPr>
        <p:spPr>
          <a:xfrm>
            <a:off x="2001667" y="3255069"/>
            <a:ext cx="1033959" cy="483346"/>
          </a:xfrm>
          <a:prstGeom prst="rect">
            <a:avLst/>
          </a:prstGeom>
          <a:solidFill>
            <a:schemeClr val="accent4"/>
          </a:solidFill>
          <a:ln w="9525">
            <a:noFill/>
          </a:ln>
        </p:spPr>
        <p:txBody>
          <a:bodyPr vert="horz" wrap="square" lIns="36000" tIns="36000" rIns="36576" bIns="36000" rtlCol="0" anchor="ctr">
            <a:noAutofit/>
          </a:bodyPr>
          <a:lstStyle>
            <a:defPPr>
              <a:defRPr lang="en-EN"/>
            </a:defPPr>
            <a:lvl1pPr algn="ctr">
              <a:lnSpc>
                <a:spcPct val="90000"/>
              </a:lnSpc>
              <a:spcBef>
                <a:spcPts val="400"/>
              </a:spcBef>
              <a:buSzPct val="100000"/>
              <a:defRPr sz="1400">
                <a:solidFill>
                  <a:schemeClr val="bg1"/>
                </a:solidFill>
              </a:defRPr>
            </a:lvl1pPr>
          </a:lstStyle>
          <a:p>
            <a:pPr algn="l"/>
            <a:r>
              <a:rPr lang="en-US" sz="1200">
                <a:sym typeface="+mn-lt"/>
              </a:rPr>
              <a:t>Component bundling</a:t>
            </a:r>
          </a:p>
        </p:txBody>
      </p:sp>
      <p:sp>
        <p:nvSpPr>
          <p:cNvPr id="55" name="rbStamp_Instructions">
            <a:extLst>
              <a:ext uri="{FF2B5EF4-FFF2-40B4-BE49-F238E27FC236}">
                <a16:creationId xmlns:a16="http://schemas.microsoft.com/office/drawing/2014/main" id="{62B0E111-14E0-2E48-DD77-D0709702FD92}"/>
              </a:ext>
            </a:extLst>
          </p:cNvPr>
          <p:cNvSpPr txBox="1"/>
          <p:nvPr/>
        </p:nvSpPr>
        <p:spPr>
          <a:xfrm>
            <a:off x="3177378" y="2856464"/>
            <a:ext cx="1033959" cy="483346"/>
          </a:xfrm>
          <a:prstGeom prst="rect">
            <a:avLst/>
          </a:prstGeom>
          <a:solidFill>
            <a:schemeClr val="accent4"/>
          </a:solidFill>
          <a:ln w="9525">
            <a:noFill/>
          </a:ln>
        </p:spPr>
        <p:txBody>
          <a:bodyPr vert="horz" wrap="square" lIns="36000" tIns="36000" rIns="36576" bIns="36000" rtlCol="0" anchor="ctr">
            <a:noAutofit/>
          </a:bodyPr>
          <a:lstStyle>
            <a:defPPr>
              <a:defRPr lang="en-EN"/>
            </a:defPPr>
            <a:lvl1pPr algn="ctr">
              <a:lnSpc>
                <a:spcPct val="90000"/>
              </a:lnSpc>
              <a:spcBef>
                <a:spcPts val="400"/>
              </a:spcBef>
              <a:buSzPct val="100000"/>
              <a:defRPr sz="1400">
                <a:solidFill>
                  <a:schemeClr val="bg1"/>
                </a:solidFill>
              </a:defRPr>
            </a:lvl1pPr>
          </a:lstStyle>
          <a:p>
            <a:pPr algn="l"/>
            <a:r>
              <a:rPr lang="en-US" sz="1200">
                <a:sym typeface="+mn-lt"/>
              </a:rPr>
              <a:t>Integrated solution</a:t>
            </a:r>
          </a:p>
        </p:txBody>
      </p:sp>
      <p:sp>
        <p:nvSpPr>
          <p:cNvPr id="56" name="rbStamp_Instructions">
            <a:extLst>
              <a:ext uri="{FF2B5EF4-FFF2-40B4-BE49-F238E27FC236}">
                <a16:creationId xmlns:a16="http://schemas.microsoft.com/office/drawing/2014/main" id="{365941AA-C435-67B3-203D-624FA7EE6393}"/>
              </a:ext>
            </a:extLst>
          </p:cNvPr>
          <p:cNvSpPr txBox="1"/>
          <p:nvPr/>
        </p:nvSpPr>
        <p:spPr>
          <a:xfrm>
            <a:off x="4353090" y="2457859"/>
            <a:ext cx="1033959" cy="483346"/>
          </a:xfrm>
          <a:prstGeom prst="rect">
            <a:avLst/>
          </a:prstGeom>
          <a:solidFill>
            <a:schemeClr val="accent4"/>
          </a:solidFill>
          <a:ln w="9525">
            <a:noFill/>
          </a:ln>
        </p:spPr>
        <p:txBody>
          <a:bodyPr vert="horz" wrap="square" lIns="36000" tIns="36000" rIns="36576" bIns="36000" rtlCol="0" anchor="ctr">
            <a:noAutofit/>
          </a:bodyPr>
          <a:lstStyle>
            <a:defPPr>
              <a:defRPr lang="en-EN"/>
            </a:defPPr>
            <a:lvl1pPr algn="ctr">
              <a:lnSpc>
                <a:spcPct val="90000"/>
              </a:lnSpc>
              <a:spcBef>
                <a:spcPts val="400"/>
              </a:spcBef>
              <a:buSzPct val="100000"/>
              <a:defRPr sz="1400">
                <a:solidFill>
                  <a:schemeClr val="bg1"/>
                </a:solidFill>
              </a:defRPr>
            </a:lvl1pPr>
          </a:lstStyle>
          <a:p>
            <a:pPr algn="l"/>
            <a:r>
              <a:rPr lang="en-US" sz="1200">
                <a:sym typeface="+mn-lt"/>
              </a:rPr>
              <a:t>IoT enabled solution</a:t>
            </a:r>
          </a:p>
        </p:txBody>
      </p:sp>
      <p:sp>
        <p:nvSpPr>
          <p:cNvPr id="57" name="rbStamp_Instructions">
            <a:extLst>
              <a:ext uri="{FF2B5EF4-FFF2-40B4-BE49-F238E27FC236}">
                <a16:creationId xmlns:a16="http://schemas.microsoft.com/office/drawing/2014/main" id="{2CCDA871-8A89-04BB-63B1-F5CE2F4F270D}"/>
              </a:ext>
            </a:extLst>
          </p:cNvPr>
          <p:cNvSpPr txBox="1"/>
          <p:nvPr/>
        </p:nvSpPr>
        <p:spPr>
          <a:xfrm>
            <a:off x="5528803" y="2059254"/>
            <a:ext cx="1033959" cy="483346"/>
          </a:xfrm>
          <a:prstGeom prst="rect">
            <a:avLst/>
          </a:prstGeom>
          <a:solidFill>
            <a:schemeClr val="bg1"/>
          </a:solidFill>
          <a:ln w="28575">
            <a:solidFill>
              <a:schemeClr val="accent6"/>
            </a:solidFill>
            <a:prstDash val="sysDot"/>
          </a:ln>
        </p:spPr>
        <p:txBody>
          <a:bodyPr vert="horz" wrap="square" lIns="36000" tIns="36000" rIns="36576" bIns="36000" rtlCol="0" anchor="ctr">
            <a:noAutofit/>
          </a:bodyPr>
          <a:lstStyle>
            <a:defPPr>
              <a:defRPr lang="en-EN"/>
            </a:defPPr>
            <a:lvl1pPr algn="ctr">
              <a:lnSpc>
                <a:spcPct val="90000"/>
              </a:lnSpc>
              <a:spcBef>
                <a:spcPts val="400"/>
              </a:spcBef>
              <a:buSzPct val="100000"/>
              <a:defRPr sz="1400">
                <a:solidFill>
                  <a:schemeClr val="bg1"/>
                </a:solidFill>
              </a:defRPr>
            </a:lvl1pPr>
          </a:lstStyle>
          <a:p>
            <a:r>
              <a:rPr lang="en-US">
                <a:solidFill>
                  <a:schemeClr val="tx1"/>
                </a:solidFill>
                <a:sym typeface="+mn-lt"/>
              </a:rPr>
              <a:t>Open IoT platform</a:t>
            </a:r>
          </a:p>
        </p:txBody>
      </p:sp>
      <p:sp>
        <p:nvSpPr>
          <p:cNvPr id="58" name="Speech Bubble: Rectangle 4">
            <a:extLst>
              <a:ext uri="{FF2B5EF4-FFF2-40B4-BE49-F238E27FC236}">
                <a16:creationId xmlns:a16="http://schemas.microsoft.com/office/drawing/2014/main" id="{776B2A2E-A18C-15E5-E3B0-B9EC403D91A6}"/>
              </a:ext>
            </a:extLst>
          </p:cNvPr>
          <p:cNvSpPr/>
          <p:nvPr/>
        </p:nvSpPr>
        <p:spPr>
          <a:xfrm>
            <a:off x="1587714" y="2908984"/>
            <a:ext cx="1135497" cy="229924"/>
          </a:xfrm>
          <a:prstGeom prst="wedgeRectCallout">
            <a:avLst>
              <a:gd name="adj1" fmla="val 40546"/>
              <a:gd name="adj2" fmla="val 80639"/>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lstStyle/>
          <a:p>
            <a:pPr fontAlgn="base">
              <a:spcBef>
                <a:spcPts val="300"/>
              </a:spcBef>
              <a:spcAft>
                <a:spcPct val="0"/>
              </a:spcAft>
              <a:buSzPct val="100000"/>
            </a:pPr>
            <a:r>
              <a:rPr lang="en-US" sz="900">
                <a:solidFill>
                  <a:schemeClr val="tx1"/>
                </a:solidFill>
                <a:sym typeface="+mn-lt"/>
              </a:rPr>
              <a:t>Valves + actuators</a:t>
            </a:r>
          </a:p>
        </p:txBody>
      </p:sp>
      <p:sp>
        <p:nvSpPr>
          <p:cNvPr id="59" name="Speech Bubble: Rectangle 5">
            <a:extLst>
              <a:ext uri="{FF2B5EF4-FFF2-40B4-BE49-F238E27FC236}">
                <a16:creationId xmlns:a16="http://schemas.microsoft.com/office/drawing/2014/main" id="{72584FC5-65E1-AC9E-B3EF-54243D50374E}"/>
              </a:ext>
            </a:extLst>
          </p:cNvPr>
          <p:cNvSpPr/>
          <p:nvPr/>
        </p:nvSpPr>
        <p:spPr>
          <a:xfrm>
            <a:off x="3445435" y="3453200"/>
            <a:ext cx="1325091" cy="418416"/>
          </a:xfrm>
          <a:prstGeom prst="wedgeRectCallout">
            <a:avLst>
              <a:gd name="adj1" fmla="val -38135"/>
              <a:gd name="adj2" fmla="val -70363"/>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lstStyle/>
          <a:p>
            <a:pPr fontAlgn="base">
              <a:spcBef>
                <a:spcPts val="300"/>
              </a:spcBef>
              <a:spcAft>
                <a:spcPct val="0"/>
              </a:spcAft>
              <a:buSzPct val="100000"/>
            </a:pPr>
            <a:r>
              <a:rPr lang="en-US" sz="900">
                <a:solidFill>
                  <a:schemeClr val="tx1"/>
                </a:solidFill>
                <a:sym typeface="+mn-lt"/>
              </a:rPr>
              <a:t>Connected components forming a complete solution</a:t>
            </a:r>
          </a:p>
        </p:txBody>
      </p:sp>
      <p:pic>
        <p:nvPicPr>
          <p:cNvPr id="60" name="Picture 6">
            <a:extLst>
              <a:ext uri="{FF2B5EF4-FFF2-40B4-BE49-F238E27FC236}">
                <a16:creationId xmlns:a16="http://schemas.microsoft.com/office/drawing/2014/main" id="{4C1D6D26-6B57-5BAA-81A7-9F31278B25C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57381" y="3464687"/>
            <a:ext cx="1049068" cy="729548"/>
          </a:xfrm>
          <a:prstGeom prst="rect">
            <a:avLst/>
          </a:prstGeom>
        </p:spPr>
      </p:pic>
      <p:sp>
        <p:nvSpPr>
          <p:cNvPr id="61" name="IsoscelesTriangle7">
            <a:extLst>
              <a:ext uri="{FF2B5EF4-FFF2-40B4-BE49-F238E27FC236}">
                <a16:creationId xmlns:a16="http://schemas.microsoft.com/office/drawing/2014/main" id="{69ED9E67-73CD-D86E-97DE-6455D5E70D64}"/>
              </a:ext>
            </a:extLst>
          </p:cNvPr>
          <p:cNvSpPr/>
          <p:nvPr/>
        </p:nvSpPr>
        <p:spPr>
          <a:xfrm rot="5400000">
            <a:off x="4622871" y="3597305"/>
            <a:ext cx="483347" cy="144983"/>
          </a:xfrm>
          <a:prstGeom prst="triangle">
            <a:avLst/>
          </a:prstGeom>
          <a:solidFill>
            <a:srgbClr val="005489"/>
          </a:solid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8">
            <a:extLst>
              <a:ext uri="{FF2B5EF4-FFF2-40B4-BE49-F238E27FC236}">
                <a16:creationId xmlns:a16="http://schemas.microsoft.com/office/drawing/2014/main" id="{53D87CA9-B8DF-21C2-8899-3CC685780599}"/>
              </a:ext>
            </a:extLst>
          </p:cNvPr>
          <p:cNvSpPr/>
          <p:nvPr/>
        </p:nvSpPr>
        <p:spPr>
          <a:xfrm>
            <a:off x="4937036" y="3231573"/>
            <a:ext cx="1069414" cy="26871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nSpc>
                <a:spcPct val="90000"/>
              </a:lnSpc>
              <a:spcBef>
                <a:spcPts val="300"/>
              </a:spcBef>
              <a:buSzPct val="100000"/>
            </a:pPr>
            <a:r>
              <a:rPr lang="en-US" sz="900" err="1">
                <a:solidFill>
                  <a:schemeClr val="tx1"/>
                </a:solidFill>
                <a:sym typeface="+mn-lt"/>
              </a:rPr>
              <a:t>HIPPS</a:t>
            </a:r>
            <a:r>
              <a:rPr lang="en-US" sz="900" baseline="30000" err="1">
                <a:solidFill>
                  <a:schemeClr val="tx1"/>
                </a:solidFill>
                <a:sym typeface="+mn-lt"/>
              </a:rPr>
              <a:t>1</a:t>
            </a:r>
            <a:r>
              <a:rPr lang="en-US" sz="900" baseline="30000">
                <a:solidFill>
                  <a:schemeClr val="tx1"/>
                </a:solidFill>
                <a:sym typeface="+mn-lt"/>
              </a:rPr>
              <a:t>)</a:t>
            </a:r>
          </a:p>
        </p:txBody>
      </p:sp>
      <p:sp>
        <p:nvSpPr>
          <p:cNvPr id="63" name="Speech Bubble: Rectangle 9">
            <a:extLst>
              <a:ext uri="{FF2B5EF4-FFF2-40B4-BE49-F238E27FC236}">
                <a16:creationId xmlns:a16="http://schemas.microsoft.com/office/drawing/2014/main" id="{FD57F228-DD36-B914-5D44-BDA277D3003C}"/>
              </a:ext>
            </a:extLst>
          </p:cNvPr>
          <p:cNvSpPr/>
          <p:nvPr/>
        </p:nvSpPr>
        <p:spPr>
          <a:xfrm>
            <a:off x="3445436" y="2445650"/>
            <a:ext cx="881864" cy="278208"/>
          </a:xfrm>
          <a:prstGeom prst="wedgeRectCallout">
            <a:avLst>
              <a:gd name="adj1" fmla="val 40546"/>
              <a:gd name="adj2" fmla="val 80639"/>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lstStyle/>
          <a:p>
            <a:pPr fontAlgn="base">
              <a:spcBef>
                <a:spcPts val="300"/>
              </a:spcBef>
              <a:spcAft>
                <a:spcPct val="0"/>
              </a:spcAft>
              <a:buSzPct val="100000"/>
            </a:pPr>
            <a:r>
              <a:rPr lang="en-US" sz="900">
                <a:solidFill>
                  <a:schemeClr val="tx1"/>
                </a:solidFill>
                <a:sym typeface="+mn-lt"/>
              </a:rPr>
              <a:t>Predictive maintenance</a:t>
            </a:r>
          </a:p>
        </p:txBody>
      </p:sp>
      <p:sp>
        <p:nvSpPr>
          <p:cNvPr id="64" name="Speech Bubble: Rectangle 10">
            <a:extLst>
              <a:ext uri="{FF2B5EF4-FFF2-40B4-BE49-F238E27FC236}">
                <a16:creationId xmlns:a16="http://schemas.microsoft.com/office/drawing/2014/main" id="{CFADA9ED-7702-CD57-DF4C-C47C32464285}"/>
              </a:ext>
            </a:extLst>
          </p:cNvPr>
          <p:cNvSpPr/>
          <p:nvPr/>
        </p:nvSpPr>
        <p:spPr>
          <a:xfrm>
            <a:off x="4770525" y="2027216"/>
            <a:ext cx="663683" cy="278208"/>
          </a:xfrm>
          <a:prstGeom prst="wedgeRectCallout">
            <a:avLst>
              <a:gd name="adj1" fmla="val 48913"/>
              <a:gd name="adj2" fmla="val 80639"/>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lstStyle/>
          <a:p>
            <a:pPr fontAlgn="base">
              <a:spcBef>
                <a:spcPts val="300"/>
              </a:spcBef>
              <a:spcAft>
                <a:spcPct val="0"/>
              </a:spcAft>
              <a:buSzPct val="100000"/>
            </a:pPr>
            <a:r>
              <a:rPr lang="en-US" sz="900">
                <a:solidFill>
                  <a:schemeClr val="tx1"/>
                </a:solidFill>
                <a:sym typeface="+mn-lt"/>
              </a:rPr>
              <a:t>Third party services</a:t>
            </a:r>
          </a:p>
        </p:txBody>
      </p:sp>
      <p:pic>
        <p:nvPicPr>
          <p:cNvPr id="65" name="Picture 21">
            <a:extLst>
              <a:ext uri="{FF2B5EF4-FFF2-40B4-BE49-F238E27FC236}">
                <a16:creationId xmlns:a16="http://schemas.microsoft.com/office/drawing/2014/main" id="{CE6CD54F-51CE-BEAA-F735-E5D584835C9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600224" y="2810156"/>
            <a:ext cx="919465" cy="550487"/>
          </a:xfrm>
          <a:prstGeom prst="rect">
            <a:avLst/>
          </a:prstGeom>
        </p:spPr>
      </p:pic>
      <p:sp>
        <p:nvSpPr>
          <p:cNvPr id="66" name="IsoscelesTriangle7">
            <a:extLst>
              <a:ext uri="{FF2B5EF4-FFF2-40B4-BE49-F238E27FC236}">
                <a16:creationId xmlns:a16="http://schemas.microsoft.com/office/drawing/2014/main" id="{F4101934-E793-B510-3ADC-43BBB6649AC6}"/>
              </a:ext>
            </a:extLst>
          </p:cNvPr>
          <p:cNvSpPr/>
          <p:nvPr/>
        </p:nvSpPr>
        <p:spPr>
          <a:xfrm rot="5400000">
            <a:off x="5265027" y="2911638"/>
            <a:ext cx="483347" cy="144983"/>
          </a:xfrm>
          <a:prstGeom prst="triangle">
            <a:avLst/>
          </a:prstGeom>
          <a:solidFill>
            <a:srgbClr val="005489"/>
          </a:solid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23">
            <a:extLst>
              <a:ext uri="{FF2B5EF4-FFF2-40B4-BE49-F238E27FC236}">
                <a16:creationId xmlns:a16="http://schemas.microsoft.com/office/drawing/2014/main" id="{45ADE431-75F2-F79F-3A68-6BE743C9CB98}"/>
              </a:ext>
            </a:extLst>
          </p:cNvPr>
          <p:cNvSpPr/>
          <p:nvPr/>
        </p:nvSpPr>
        <p:spPr>
          <a:xfrm>
            <a:off x="5598087" y="2574089"/>
            <a:ext cx="1008000" cy="26871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nSpc>
                <a:spcPct val="90000"/>
              </a:lnSpc>
              <a:spcBef>
                <a:spcPts val="300"/>
              </a:spcBef>
              <a:buSzPct val="100000"/>
            </a:pPr>
            <a:r>
              <a:rPr lang="en-US" sz="900">
                <a:solidFill>
                  <a:schemeClr val="tx1"/>
                </a:solidFill>
                <a:sym typeface="+mn-lt"/>
              </a:rPr>
              <a:t>Connected services</a:t>
            </a:r>
            <a:endParaRPr lang="en-US" sz="900" baseline="30000">
              <a:solidFill>
                <a:schemeClr val="tx1"/>
              </a:solidFill>
              <a:sym typeface="+mn-lt"/>
            </a:endParaRPr>
          </a:p>
        </p:txBody>
      </p:sp>
      <p:sp>
        <p:nvSpPr>
          <p:cNvPr id="68" name="rbStamp_Instructions">
            <a:extLst>
              <a:ext uri="{FF2B5EF4-FFF2-40B4-BE49-F238E27FC236}">
                <a16:creationId xmlns:a16="http://schemas.microsoft.com/office/drawing/2014/main" id="{22E6D3B1-4592-F3EE-4E61-075FA26D1574}"/>
              </a:ext>
            </a:extLst>
          </p:cNvPr>
          <p:cNvSpPr txBox="1"/>
          <p:nvPr/>
        </p:nvSpPr>
        <p:spPr>
          <a:xfrm>
            <a:off x="3152202" y="4370481"/>
            <a:ext cx="1084309" cy="193899"/>
          </a:xfrm>
          <a:prstGeom prst="rect">
            <a:avLst/>
          </a:prstGeom>
          <a:solidFill>
            <a:schemeClr val="bg1"/>
          </a:solidFill>
          <a:ln w="9525">
            <a:noFill/>
          </a:ln>
        </p:spPr>
        <p:txBody>
          <a:bodyPr vert="horz" wrap="none" lIns="36000" tIns="0" rIns="36000" bIns="0" rtlCol="0" anchor="t">
            <a:spAutoFit/>
          </a:bodyPr>
          <a:lstStyle/>
          <a:p>
            <a:pPr algn="ctr" fontAlgn="base">
              <a:lnSpc>
                <a:spcPct val="90000"/>
              </a:lnSpc>
              <a:spcBef>
                <a:spcPts val="400"/>
              </a:spcBef>
              <a:spcAft>
                <a:spcPct val="0"/>
              </a:spcAft>
              <a:buSzPct val="100000"/>
            </a:pPr>
            <a:r>
              <a:rPr lang="en-US" sz="1400" b="1">
                <a:solidFill>
                  <a:schemeClr val="accent6"/>
                </a:solidFill>
                <a:sym typeface="+mn-lt"/>
              </a:rPr>
              <a:t>Value added</a:t>
            </a:r>
          </a:p>
        </p:txBody>
      </p:sp>
      <p:sp>
        <p:nvSpPr>
          <p:cNvPr id="69" name="TextBox 1">
            <a:extLst>
              <a:ext uri="{FF2B5EF4-FFF2-40B4-BE49-F238E27FC236}">
                <a16:creationId xmlns:a16="http://schemas.microsoft.com/office/drawing/2014/main" id="{7BD0D115-1FAB-FF7D-A56F-1CFC4BF5E87F}"/>
              </a:ext>
            </a:extLst>
          </p:cNvPr>
          <p:cNvSpPr txBox="1"/>
          <p:nvPr/>
        </p:nvSpPr>
        <p:spPr>
          <a:xfrm>
            <a:off x="250825" y="1628011"/>
            <a:ext cx="7579731" cy="276999"/>
          </a:xfrm>
          <a:prstGeom prst="rect">
            <a:avLst/>
          </a:prstGeom>
          <a:noFill/>
        </p:spPr>
        <p:txBody>
          <a:bodyPr wrap="square">
            <a:spAutoFit/>
          </a:bodyPr>
          <a:lstStyle/>
          <a:p>
            <a:r>
              <a:rPr lang="en-US" sz="1200" dirty="0">
                <a:solidFill>
                  <a:schemeClr val="tx2"/>
                </a:solidFill>
                <a:latin typeface="+mj-lt"/>
                <a:cs typeface="+mj-cs"/>
                <a:sym typeface="+mn-lt"/>
              </a:rPr>
              <a:t>Potential value-added development</a:t>
            </a:r>
            <a:endParaRPr lang="en-GB" sz="1200" dirty="0">
              <a:solidFill>
                <a:schemeClr val="tx2"/>
              </a:solidFill>
            </a:endParaRPr>
          </a:p>
        </p:txBody>
      </p:sp>
    </p:spTree>
    <p:extLst>
      <p:ext uri="{BB962C8B-B14F-4D97-AF65-F5344CB8AC3E}">
        <p14:creationId xmlns:p14="http://schemas.microsoft.com/office/powerpoint/2010/main" val="28814250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8F9CA-981A-2987-331B-F01FB544A2DC}"/>
              </a:ext>
            </a:extLst>
          </p:cNvPr>
          <p:cNvSpPr txBox="1">
            <a:spLocks/>
          </p:cNvSpPr>
          <p:nvPr/>
        </p:nvSpPr>
        <p:spPr>
          <a:xfrm>
            <a:off x="301496" y="848806"/>
            <a:ext cx="8576052" cy="576000"/>
          </a:xfrm>
          <a:prstGeom prst="rect">
            <a:avLst/>
          </a:prstGeom>
        </p:spPr>
        <p:txBody>
          <a:bodyPr vert="horz" wrap="square" lIns="0" tIns="0" rIns="0" bIns="0" rtlCol="0" anchor="t" anchorCtr="0">
            <a:noAutofit/>
          </a:bodyPr>
          <a:lstStyle>
            <a:lvl1pPr algn="l" defTabSz="685800" rtl="0" eaLnBrk="1" latinLnBrk="0" hangingPunct="1">
              <a:lnSpc>
                <a:spcPct val="90000"/>
              </a:lnSpc>
              <a:spcBef>
                <a:spcPct val="0"/>
              </a:spcBef>
              <a:buNone/>
              <a:defRPr sz="3300" b="1" i="0" kern="1200">
                <a:solidFill>
                  <a:schemeClr val="tx1"/>
                </a:solidFill>
                <a:latin typeface="Arial" panose="020B0604020202020204" pitchFamily="34" charset="0"/>
                <a:ea typeface="+mj-ea"/>
                <a:cs typeface="+mj-cs"/>
              </a:defRPr>
            </a:lvl1pPr>
          </a:lstStyle>
          <a:p>
            <a:pPr defTabSz="844083">
              <a:lnSpc>
                <a:spcPct val="100000"/>
              </a:lnSpc>
            </a:pPr>
            <a:r>
              <a:rPr lang="en-US" sz="1100" dirty="0"/>
              <a:t>Recent international acquisitions show that M&amp;A is a key lever to accelerate business repositioning while building further scale</a:t>
            </a:r>
            <a:endParaRPr lang="en-US" sz="700" dirty="0">
              <a:sym typeface="+mn-lt"/>
            </a:endParaRPr>
          </a:p>
        </p:txBody>
      </p:sp>
      <p:sp>
        <p:nvSpPr>
          <p:cNvPr id="3" name="Source">
            <a:extLst>
              <a:ext uri="{FF2B5EF4-FFF2-40B4-BE49-F238E27FC236}">
                <a16:creationId xmlns:a16="http://schemas.microsoft.com/office/drawing/2014/main" id="{18E2A75B-A72C-2F5A-3D88-7DFA565203FF}"/>
              </a:ext>
            </a:extLst>
          </p:cNvPr>
          <p:cNvSpPr txBox="1"/>
          <p:nvPr/>
        </p:nvSpPr>
        <p:spPr>
          <a:xfrm>
            <a:off x="7121609" y="1207559"/>
            <a:ext cx="1849865" cy="831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600" dirty="0">
                <a:sym typeface="+mn-lt"/>
              </a:rPr>
              <a:t>Source: Desk research, </a:t>
            </a:r>
            <a:r>
              <a:rPr lang="en-US" sz="600" dirty="0" err="1">
                <a:sym typeface="+mn-lt"/>
              </a:rPr>
              <a:t>MergerMarket</a:t>
            </a:r>
            <a:r>
              <a:rPr lang="en-US" sz="600" dirty="0">
                <a:sym typeface="+mn-lt"/>
              </a:rPr>
              <a:t>, Roland Berger</a:t>
            </a:r>
          </a:p>
        </p:txBody>
      </p:sp>
      <p:sp>
        <p:nvSpPr>
          <p:cNvPr id="4" name="Title2323">
            <a:extLst>
              <a:ext uri="{FF2B5EF4-FFF2-40B4-BE49-F238E27FC236}">
                <a16:creationId xmlns:a16="http://schemas.microsoft.com/office/drawing/2014/main" id="{D7351B57-F4F5-B378-4733-B02A87EDD0F0}"/>
              </a:ext>
            </a:extLst>
          </p:cNvPr>
          <p:cNvSpPr txBox="1">
            <a:spLocks/>
          </p:cNvSpPr>
          <p:nvPr/>
        </p:nvSpPr>
        <p:spPr>
          <a:xfrm>
            <a:off x="247916" y="1344439"/>
            <a:ext cx="576000" cy="195171"/>
          </a:xfrm>
          <a:prstGeom prst="round2SameRect">
            <a:avLst/>
          </a:prstGeom>
          <a:solidFill>
            <a:schemeClr val="accent3"/>
          </a:solidFill>
          <a:ln w="6350">
            <a:solidFill>
              <a:schemeClr val="accent3"/>
            </a:solidFill>
          </a:ln>
        </p:spPr>
        <p:txBody>
          <a:bodyPr vert="horz" wrap="square" lIns="0" tIns="0" rIns="0" bIns="0" rtlCol="0" anchor="ctr" anchorCtr="0">
            <a:noAutofit/>
          </a:bodyPr>
          <a:lstStyle/>
          <a:p>
            <a:pPr algn="ctr" fontAlgn="base">
              <a:lnSpc>
                <a:spcPct val="90000"/>
              </a:lnSpc>
              <a:spcBef>
                <a:spcPts val="300"/>
              </a:spcBef>
              <a:spcAft>
                <a:spcPct val="0"/>
              </a:spcAft>
              <a:buSzPct val="100000"/>
              <a:buFont typeface=""/>
              <a:defRPr/>
            </a:pPr>
            <a:r>
              <a:rPr lang="en-US" sz="1000" b="1">
                <a:solidFill>
                  <a:schemeClr val="bg1"/>
                </a:solidFill>
              </a:rPr>
              <a:t>Year</a:t>
            </a:r>
          </a:p>
        </p:txBody>
      </p:sp>
      <p:sp>
        <p:nvSpPr>
          <p:cNvPr id="5" name="Title2323">
            <a:extLst>
              <a:ext uri="{FF2B5EF4-FFF2-40B4-BE49-F238E27FC236}">
                <a16:creationId xmlns:a16="http://schemas.microsoft.com/office/drawing/2014/main" id="{976496B6-B45E-2F68-5F28-4BDFB5B9FE78}"/>
              </a:ext>
            </a:extLst>
          </p:cNvPr>
          <p:cNvSpPr txBox="1">
            <a:spLocks/>
          </p:cNvSpPr>
          <p:nvPr/>
        </p:nvSpPr>
        <p:spPr>
          <a:xfrm>
            <a:off x="907489" y="1344439"/>
            <a:ext cx="1170375" cy="195171"/>
          </a:xfrm>
          <a:prstGeom prst="round2SameRect">
            <a:avLst/>
          </a:prstGeom>
          <a:solidFill>
            <a:schemeClr val="accent3"/>
          </a:solidFill>
          <a:ln w="6350">
            <a:solidFill>
              <a:schemeClr val="accent3"/>
            </a:solidFill>
          </a:ln>
        </p:spPr>
        <p:txBody>
          <a:bodyPr vert="horz" wrap="square" lIns="0" tIns="0" rIns="0" bIns="0" rtlCol="0" anchor="ctr" anchorCtr="0">
            <a:noAutofit/>
          </a:bodyPr>
          <a:lstStyle/>
          <a:p>
            <a:pPr algn="ctr" fontAlgn="base">
              <a:lnSpc>
                <a:spcPct val="90000"/>
              </a:lnSpc>
              <a:spcBef>
                <a:spcPts val="300"/>
              </a:spcBef>
              <a:spcAft>
                <a:spcPct val="0"/>
              </a:spcAft>
              <a:buSzPct val="100000"/>
              <a:buFont typeface=""/>
              <a:defRPr/>
            </a:pPr>
            <a:r>
              <a:rPr lang="en-US" sz="1000" b="1">
                <a:solidFill>
                  <a:schemeClr val="bg1"/>
                </a:solidFill>
              </a:rPr>
              <a:t>Target</a:t>
            </a:r>
          </a:p>
        </p:txBody>
      </p:sp>
      <p:sp>
        <p:nvSpPr>
          <p:cNvPr id="6" name="Title2323">
            <a:extLst>
              <a:ext uri="{FF2B5EF4-FFF2-40B4-BE49-F238E27FC236}">
                <a16:creationId xmlns:a16="http://schemas.microsoft.com/office/drawing/2014/main" id="{B18F4348-1DF7-3860-7167-83EEC822E3D6}"/>
              </a:ext>
            </a:extLst>
          </p:cNvPr>
          <p:cNvSpPr txBox="1">
            <a:spLocks/>
          </p:cNvSpPr>
          <p:nvPr/>
        </p:nvSpPr>
        <p:spPr>
          <a:xfrm>
            <a:off x="2167320" y="1344439"/>
            <a:ext cx="1170375" cy="195171"/>
          </a:xfrm>
          <a:prstGeom prst="round2SameRect">
            <a:avLst/>
          </a:prstGeom>
          <a:solidFill>
            <a:schemeClr val="accent3"/>
          </a:solidFill>
          <a:ln w="6350">
            <a:solidFill>
              <a:schemeClr val="accent3"/>
            </a:solidFill>
          </a:ln>
        </p:spPr>
        <p:txBody>
          <a:bodyPr vert="horz" wrap="square" lIns="0" tIns="0" rIns="0" bIns="0" rtlCol="0" anchor="ctr" anchorCtr="0">
            <a:noAutofit/>
          </a:bodyPr>
          <a:lstStyle/>
          <a:p>
            <a:pPr algn="ctr" fontAlgn="base">
              <a:lnSpc>
                <a:spcPct val="90000"/>
              </a:lnSpc>
              <a:spcBef>
                <a:spcPts val="300"/>
              </a:spcBef>
              <a:spcAft>
                <a:spcPct val="0"/>
              </a:spcAft>
              <a:buSzPct val="100000"/>
              <a:buFont typeface=""/>
              <a:defRPr/>
            </a:pPr>
            <a:r>
              <a:rPr lang="en-US" sz="1000" b="1">
                <a:solidFill>
                  <a:schemeClr val="bg1"/>
                </a:solidFill>
              </a:rPr>
              <a:t>Buyer</a:t>
            </a:r>
          </a:p>
        </p:txBody>
      </p:sp>
      <p:sp>
        <p:nvSpPr>
          <p:cNvPr id="7" name="Title2323">
            <a:extLst>
              <a:ext uri="{FF2B5EF4-FFF2-40B4-BE49-F238E27FC236}">
                <a16:creationId xmlns:a16="http://schemas.microsoft.com/office/drawing/2014/main" id="{C964F402-F734-38EF-C7D4-CA69395FB742}"/>
              </a:ext>
            </a:extLst>
          </p:cNvPr>
          <p:cNvSpPr txBox="1">
            <a:spLocks/>
          </p:cNvSpPr>
          <p:nvPr/>
        </p:nvSpPr>
        <p:spPr>
          <a:xfrm>
            <a:off x="3423821" y="1344439"/>
            <a:ext cx="612000" cy="195171"/>
          </a:xfrm>
          <a:prstGeom prst="round2SameRect">
            <a:avLst/>
          </a:prstGeom>
          <a:solidFill>
            <a:schemeClr val="accent3"/>
          </a:solidFill>
          <a:ln w="6350">
            <a:solidFill>
              <a:schemeClr val="accent3"/>
            </a:solidFill>
          </a:ln>
        </p:spPr>
        <p:txBody>
          <a:bodyPr vert="horz" wrap="square" lIns="0" tIns="0" rIns="0" bIns="0" rtlCol="0" anchor="ctr" anchorCtr="0">
            <a:noAutofit/>
          </a:bodyPr>
          <a:lstStyle/>
          <a:p>
            <a:pPr algn="ctr" fontAlgn="base">
              <a:lnSpc>
                <a:spcPct val="90000"/>
              </a:lnSpc>
              <a:spcBef>
                <a:spcPts val="300"/>
              </a:spcBef>
              <a:spcAft>
                <a:spcPct val="0"/>
              </a:spcAft>
              <a:buSzPct val="100000"/>
              <a:buFont typeface=""/>
              <a:defRPr/>
            </a:pPr>
            <a:r>
              <a:rPr lang="en-US" sz="1000" b="1">
                <a:solidFill>
                  <a:schemeClr val="bg1"/>
                </a:solidFill>
              </a:rPr>
              <a:t>Size</a:t>
            </a:r>
            <a:endParaRPr lang="en-US" sz="1000">
              <a:solidFill>
                <a:schemeClr val="bg1"/>
              </a:solidFill>
            </a:endParaRPr>
          </a:p>
        </p:txBody>
      </p:sp>
      <p:sp>
        <p:nvSpPr>
          <p:cNvPr id="8" name="Title2323">
            <a:extLst>
              <a:ext uri="{FF2B5EF4-FFF2-40B4-BE49-F238E27FC236}">
                <a16:creationId xmlns:a16="http://schemas.microsoft.com/office/drawing/2014/main" id="{45D791F7-F1A2-A44C-A0BE-9BEBE4A732C8}"/>
              </a:ext>
            </a:extLst>
          </p:cNvPr>
          <p:cNvSpPr txBox="1">
            <a:spLocks/>
          </p:cNvSpPr>
          <p:nvPr/>
        </p:nvSpPr>
        <p:spPr>
          <a:xfrm>
            <a:off x="4130351" y="1344439"/>
            <a:ext cx="4762824" cy="195171"/>
          </a:xfrm>
          <a:prstGeom prst="round2SameRect">
            <a:avLst/>
          </a:prstGeom>
          <a:solidFill>
            <a:schemeClr val="accent3"/>
          </a:solidFill>
          <a:ln w="6350">
            <a:solidFill>
              <a:schemeClr val="accent3"/>
            </a:solidFill>
          </a:ln>
        </p:spPr>
        <p:txBody>
          <a:bodyPr vert="horz" wrap="square" lIns="0" tIns="0" rIns="0" bIns="0" rtlCol="0" anchor="ctr" anchorCtr="0">
            <a:noAutofit/>
          </a:bodyPr>
          <a:lstStyle/>
          <a:p>
            <a:pPr algn="ctr" fontAlgn="base">
              <a:lnSpc>
                <a:spcPct val="90000"/>
              </a:lnSpc>
              <a:spcBef>
                <a:spcPts val="300"/>
              </a:spcBef>
              <a:spcAft>
                <a:spcPct val="0"/>
              </a:spcAft>
              <a:buSzPct val="100000"/>
              <a:buFont typeface=""/>
              <a:defRPr/>
            </a:pPr>
            <a:r>
              <a:rPr lang="en-US" sz="1000" b="1">
                <a:solidFill>
                  <a:schemeClr val="bg1"/>
                </a:solidFill>
              </a:rPr>
              <a:t>Deal rationale</a:t>
            </a:r>
          </a:p>
        </p:txBody>
      </p:sp>
      <p:sp>
        <p:nvSpPr>
          <p:cNvPr id="9" name="Title2323">
            <a:extLst>
              <a:ext uri="{FF2B5EF4-FFF2-40B4-BE49-F238E27FC236}">
                <a16:creationId xmlns:a16="http://schemas.microsoft.com/office/drawing/2014/main" id="{6976D825-E72A-B938-DC65-DDB43133AF79}"/>
              </a:ext>
            </a:extLst>
          </p:cNvPr>
          <p:cNvSpPr txBox="1">
            <a:spLocks/>
          </p:cNvSpPr>
          <p:nvPr/>
        </p:nvSpPr>
        <p:spPr>
          <a:xfrm flipV="1">
            <a:off x="247916" y="1539610"/>
            <a:ext cx="8641890" cy="3090176"/>
          </a:xfrm>
          <a:prstGeom prst="round2SameRect">
            <a:avLst>
              <a:gd name="adj1" fmla="val 5424"/>
              <a:gd name="adj2" fmla="val 0"/>
            </a:avLst>
          </a:prstGeom>
          <a:noFill/>
          <a:ln w="6350">
            <a:solidFill>
              <a:schemeClr val="accent3"/>
            </a:solidFill>
          </a:ln>
        </p:spPr>
        <p:txBody>
          <a:bodyPr vert="horz" wrap="square" lIns="0" tIns="0" rIns="0" bIns="0" rtlCol="0" anchor="ctr" anchorCtr="0">
            <a:noAutofit/>
          </a:bodyPr>
          <a:lstStyle/>
          <a:p>
            <a:pPr algn="ctr" fontAlgn="base">
              <a:lnSpc>
                <a:spcPct val="90000"/>
              </a:lnSpc>
              <a:spcBef>
                <a:spcPts val="300"/>
              </a:spcBef>
              <a:spcAft>
                <a:spcPct val="0"/>
              </a:spcAft>
              <a:buSzPct val="100000"/>
              <a:buFont typeface=""/>
              <a:defRPr/>
            </a:pPr>
            <a:endParaRPr lang="en-US" sz="800" b="1">
              <a:solidFill>
                <a:schemeClr val="bg1"/>
              </a:solidFill>
            </a:endParaRPr>
          </a:p>
        </p:txBody>
      </p:sp>
      <p:sp>
        <p:nvSpPr>
          <p:cNvPr id="10" name="Pfeil: nach oben 126">
            <a:extLst>
              <a:ext uri="{FF2B5EF4-FFF2-40B4-BE49-F238E27FC236}">
                <a16:creationId xmlns:a16="http://schemas.microsoft.com/office/drawing/2014/main" id="{0D64D783-6330-B569-AFDE-4756322DBD8C}"/>
              </a:ext>
            </a:extLst>
          </p:cNvPr>
          <p:cNvSpPr/>
          <p:nvPr/>
        </p:nvSpPr>
        <p:spPr>
          <a:xfrm>
            <a:off x="272702" y="1599276"/>
            <a:ext cx="216000" cy="2988000"/>
          </a:xfrm>
          <a:prstGeom prst="up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a:p>
        </p:txBody>
      </p:sp>
      <p:grpSp>
        <p:nvGrpSpPr>
          <p:cNvPr id="11" name="Gruppieren 187">
            <a:extLst>
              <a:ext uri="{FF2B5EF4-FFF2-40B4-BE49-F238E27FC236}">
                <a16:creationId xmlns:a16="http://schemas.microsoft.com/office/drawing/2014/main" id="{F4EFB192-21D3-5DF5-29C4-AE32586B4625}"/>
              </a:ext>
            </a:extLst>
          </p:cNvPr>
          <p:cNvGrpSpPr/>
          <p:nvPr/>
        </p:nvGrpSpPr>
        <p:grpSpPr>
          <a:xfrm>
            <a:off x="907489" y="2086800"/>
            <a:ext cx="7977237" cy="136800"/>
            <a:chOff x="910858" y="2276754"/>
            <a:chExt cx="7977237" cy="136800"/>
          </a:xfrm>
        </p:grpSpPr>
        <p:sp>
          <p:nvSpPr>
            <p:cNvPr id="12" name="636130924584304792Table First Content Row Header 68">
              <a:extLst>
                <a:ext uri="{FF2B5EF4-FFF2-40B4-BE49-F238E27FC236}">
                  <a16:creationId xmlns:a16="http://schemas.microsoft.com/office/drawing/2014/main" id="{85184B74-6A1B-D5D2-02CB-C28F27B170D4}"/>
                </a:ext>
              </a:extLst>
            </p:cNvPr>
            <p:cNvSpPr txBox="1">
              <a:spLocks/>
            </p:cNvSpPr>
            <p:nvPr/>
          </p:nvSpPr>
          <p:spPr>
            <a:xfrm>
              <a:off x="1059723" y="2296679"/>
              <a:ext cx="1028435"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err="1"/>
                <a:t>Habonim</a:t>
              </a:r>
              <a:endParaRPr lang="en-US" sz="700"/>
            </a:p>
          </p:txBody>
        </p:sp>
        <p:pic>
          <p:nvPicPr>
            <p:cNvPr id="13" name="Graphic 82">
              <a:extLst>
                <a:ext uri="{FF2B5EF4-FFF2-40B4-BE49-F238E27FC236}">
                  <a16:creationId xmlns:a16="http://schemas.microsoft.com/office/drawing/2014/main" id="{9CF279DD-B3B0-6049-BCED-51A9EC8C7DDC}"/>
                </a:ext>
              </a:extLst>
            </p:cNvPr>
            <p:cNvPicPr>
              <a:picLocks/>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0858" y="2276754"/>
              <a:ext cx="137160" cy="136800"/>
            </a:xfrm>
            <a:prstGeom prst="rect">
              <a:avLst/>
            </a:prstGeom>
          </p:spPr>
        </p:pic>
        <p:sp>
          <p:nvSpPr>
            <p:cNvPr id="14" name="636130924584304792Table First Content Row Header 68">
              <a:extLst>
                <a:ext uri="{FF2B5EF4-FFF2-40B4-BE49-F238E27FC236}">
                  <a16:creationId xmlns:a16="http://schemas.microsoft.com/office/drawing/2014/main" id="{29FDE699-310F-1870-AFC6-92BABBCFE2C2}"/>
                </a:ext>
              </a:extLst>
            </p:cNvPr>
            <p:cNvSpPr txBox="1">
              <a:spLocks/>
            </p:cNvSpPr>
            <p:nvPr/>
          </p:nvSpPr>
          <p:spPr>
            <a:xfrm>
              <a:off x="2348343" y="2296679"/>
              <a:ext cx="992721"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ITT</a:t>
              </a:r>
            </a:p>
          </p:txBody>
        </p:sp>
        <p:pic>
          <p:nvPicPr>
            <p:cNvPr id="15" name="Graphic 494">
              <a:extLst>
                <a:ext uri="{FF2B5EF4-FFF2-40B4-BE49-F238E27FC236}">
                  <a16:creationId xmlns:a16="http://schemas.microsoft.com/office/drawing/2014/main" id="{BD155EF1-DEC5-C668-D11D-8E91E47DB356}"/>
                </a:ext>
              </a:extLst>
            </p:cNvPr>
            <p:cNvPicPr>
              <a:picLocks/>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70688" y="2276754"/>
              <a:ext cx="137160" cy="136800"/>
            </a:xfrm>
            <a:prstGeom prst="rect">
              <a:avLst/>
            </a:prstGeom>
          </p:spPr>
        </p:pic>
        <p:sp>
          <p:nvSpPr>
            <p:cNvPr id="16" name="636130924584304792Table First Content Row Header 68">
              <a:extLst>
                <a:ext uri="{FF2B5EF4-FFF2-40B4-BE49-F238E27FC236}">
                  <a16:creationId xmlns:a16="http://schemas.microsoft.com/office/drawing/2014/main" id="{15083D78-4B4B-63FF-F327-B6A917F5DF21}"/>
                </a:ext>
              </a:extLst>
            </p:cNvPr>
            <p:cNvSpPr txBox="1">
              <a:spLocks/>
            </p:cNvSpPr>
            <p:nvPr/>
          </p:nvSpPr>
          <p:spPr>
            <a:xfrm>
              <a:off x="3427190" y="2296679"/>
              <a:ext cx="612000" cy="96950"/>
            </a:xfrm>
            <a:prstGeom prst="rect">
              <a:avLst/>
            </a:prstGeom>
            <a:noFill/>
            <a:ln w="9525">
              <a:noFill/>
            </a:ln>
          </p:spPr>
          <p:txBody>
            <a:bodyPr vert="horz" wrap="square" lIns="0" tIns="0" rIns="0" bIns="0" rtlCol="0" anchor="ctr" anchorCtr="0">
              <a:spAutoFit/>
            </a:bodyPr>
            <a:lstStyle/>
            <a:p>
              <a:pPr algn="ctr">
                <a:lnSpc>
                  <a:spcPct val="90000"/>
                </a:lnSpc>
                <a:spcBef>
                  <a:spcPts val="300"/>
                </a:spcBef>
                <a:buClr>
                  <a:srgbClr val="000000"/>
                </a:buClr>
                <a:buSzPct val="100000"/>
                <a:buFont typeface=""/>
              </a:pPr>
              <a:r>
                <a:rPr lang="en-US" sz="700"/>
                <a:t>USD 44 m</a:t>
              </a:r>
            </a:p>
          </p:txBody>
        </p:sp>
        <p:sp>
          <p:nvSpPr>
            <p:cNvPr id="17" name="Rectangle 473">
              <a:extLst>
                <a:ext uri="{FF2B5EF4-FFF2-40B4-BE49-F238E27FC236}">
                  <a16:creationId xmlns:a16="http://schemas.microsoft.com/office/drawing/2014/main" id="{BA49E2AC-ABED-2E0C-3F3C-76BE718E9DD7}"/>
                </a:ext>
              </a:extLst>
            </p:cNvPr>
            <p:cNvSpPr>
              <a:spLocks/>
            </p:cNvSpPr>
            <p:nvPr/>
          </p:nvSpPr>
          <p:spPr>
            <a:xfrm>
              <a:off x="4125271" y="2296679"/>
              <a:ext cx="4762824" cy="969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spAutoFit/>
            </a:bodyPr>
            <a:lstStyle/>
            <a:p>
              <a:pPr>
                <a:lnSpc>
                  <a:spcPct val="90000"/>
                </a:lnSpc>
                <a:buSzPct val="100000"/>
              </a:pPr>
              <a:r>
                <a:rPr lang="en-US" sz="700">
                  <a:solidFill>
                    <a:schemeClr val="accent3"/>
                  </a:solidFill>
                </a:rPr>
                <a:t>Business drivers: </a:t>
              </a:r>
              <a:r>
                <a:rPr lang="en-US" sz="700">
                  <a:solidFill>
                    <a:schemeClr val="tx1"/>
                  </a:solidFill>
                  <a:sym typeface="+mn-lt"/>
                </a:rPr>
                <a:t>Obtain access to new markets and applications (LNG, H</a:t>
              </a:r>
              <a:r>
                <a:rPr lang="en-US" sz="700" baseline="-25000">
                  <a:solidFill>
                    <a:schemeClr val="tx1"/>
                  </a:solidFill>
                  <a:sym typeface="+mn-lt"/>
                </a:rPr>
                <a:t>2</a:t>
              </a:r>
              <a:r>
                <a:rPr lang="en-US" sz="700">
                  <a:solidFill>
                    <a:schemeClr val="tx1"/>
                  </a:solidFill>
                  <a:sym typeface="+mn-lt"/>
                </a:rPr>
                <a:t>)</a:t>
              </a:r>
            </a:p>
          </p:txBody>
        </p:sp>
      </p:grpSp>
      <p:grpSp>
        <p:nvGrpSpPr>
          <p:cNvPr id="18" name="Gruppieren 186">
            <a:extLst>
              <a:ext uri="{FF2B5EF4-FFF2-40B4-BE49-F238E27FC236}">
                <a16:creationId xmlns:a16="http://schemas.microsoft.com/office/drawing/2014/main" id="{492E860A-08C8-65E6-B735-20017E31D4DF}"/>
              </a:ext>
            </a:extLst>
          </p:cNvPr>
          <p:cNvGrpSpPr/>
          <p:nvPr/>
        </p:nvGrpSpPr>
        <p:grpSpPr>
          <a:xfrm>
            <a:off x="339285" y="1917021"/>
            <a:ext cx="8545440" cy="136800"/>
            <a:chOff x="342654" y="1927360"/>
            <a:chExt cx="8545440" cy="136800"/>
          </a:xfrm>
        </p:grpSpPr>
        <p:sp>
          <p:nvSpPr>
            <p:cNvPr id="19" name="636130924584304792Table First Content Row Header 68">
              <a:extLst>
                <a:ext uri="{FF2B5EF4-FFF2-40B4-BE49-F238E27FC236}">
                  <a16:creationId xmlns:a16="http://schemas.microsoft.com/office/drawing/2014/main" id="{1EFC56F2-AC16-9CBB-F516-9832E92912D6}"/>
                </a:ext>
              </a:extLst>
            </p:cNvPr>
            <p:cNvSpPr txBox="1">
              <a:spLocks/>
            </p:cNvSpPr>
            <p:nvPr/>
          </p:nvSpPr>
          <p:spPr>
            <a:xfrm>
              <a:off x="528395" y="1940360"/>
              <a:ext cx="252000" cy="96950"/>
            </a:xfrm>
            <a:prstGeom prst="rect">
              <a:avLst/>
            </a:prstGeom>
            <a:noFill/>
            <a:ln w="9525">
              <a:noFill/>
            </a:ln>
          </p:spPr>
          <p:txBody>
            <a:bodyPr vert="horz" wrap="square" lIns="0" tIns="0" rIns="0" bIns="0" rtlCol="0" anchor="t">
              <a:spAutoFit/>
            </a:bodyPr>
            <a:lstStyle/>
            <a:p>
              <a:pPr>
                <a:lnSpc>
                  <a:spcPct val="90000"/>
                </a:lnSpc>
                <a:spcBef>
                  <a:spcPts val="300"/>
                </a:spcBef>
                <a:buClr>
                  <a:srgbClr val="000000"/>
                </a:buClr>
                <a:buSzPct val="100000"/>
                <a:buFont typeface=""/>
              </a:pPr>
              <a:r>
                <a:rPr lang="en-US" sz="700">
                  <a:solidFill>
                    <a:schemeClr val="accent3"/>
                  </a:solidFill>
                </a:rPr>
                <a:t>2022</a:t>
              </a:r>
            </a:p>
          </p:txBody>
        </p:sp>
        <p:sp>
          <p:nvSpPr>
            <p:cNvPr id="20" name="Oval 33">
              <a:extLst>
                <a:ext uri="{FF2B5EF4-FFF2-40B4-BE49-F238E27FC236}">
                  <a16:creationId xmlns:a16="http://schemas.microsoft.com/office/drawing/2014/main" id="{0590615A-D167-8DB4-2320-63664C638DCB}"/>
                </a:ext>
              </a:extLst>
            </p:cNvPr>
            <p:cNvSpPr/>
            <p:nvPr/>
          </p:nvSpPr>
          <p:spPr>
            <a:xfrm>
              <a:off x="342654" y="1954360"/>
              <a:ext cx="82296" cy="82800"/>
            </a:xfrm>
            <a:prstGeom prst="ellipse">
              <a:avLst/>
            </a:prstGeom>
            <a:solidFill>
              <a:schemeClr val="accent3"/>
            </a:solid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800">
                <a:solidFill>
                  <a:schemeClr val="tx1"/>
                </a:solidFill>
                <a:sym typeface="+mn-lt"/>
              </a:endParaRPr>
            </a:p>
          </p:txBody>
        </p:sp>
        <p:pic>
          <p:nvPicPr>
            <p:cNvPr id="21" name="Graphic 103">
              <a:extLst>
                <a:ext uri="{FF2B5EF4-FFF2-40B4-BE49-F238E27FC236}">
                  <a16:creationId xmlns:a16="http://schemas.microsoft.com/office/drawing/2014/main" id="{7656BF8E-0C65-949B-A94E-207C3BECEE16}"/>
                </a:ext>
              </a:extLst>
            </p:cNvPr>
            <p:cNvPicPr>
              <a:picLocks/>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10858" y="1927360"/>
              <a:ext cx="137160" cy="136800"/>
            </a:xfrm>
            <a:prstGeom prst="rect">
              <a:avLst/>
            </a:prstGeom>
          </p:spPr>
        </p:pic>
        <p:sp>
          <p:nvSpPr>
            <p:cNvPr id="22" name="636130924584304792Table First Content Row Header 68">
              <a:extLst>
                <a:ext uri="{FF2B5EF4-FFF2-40B4-BE49-F238E27FC236}">
                  <a16:creationId xmlns:a16="http://schemas.microsoft.com/office/drawing/2014/main" id="{4DF6AB44-D7D2-11F6-D073-59737B1CE15B}"/>
                </a:ext>
              </a:extLst>
            </p:cNvPr>
            <p:cNvSpPr txBox="1">
              <a:spLocks/>
            </p:cNvSpPr>
            <p:nvPr/>
          </p:nvSpPr>
          <p:spPr>
            <a:xfrm>
              <a:off x="1059723" y="1947285"/>
              <a:ext cx="1028435"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Schlumberger</a:t>
              </a:r>
            </a:p>
          </p:txBody>
        </p:sp>
        <p:sp>
          <p:nvSpPr>
            <p:cNvPr id="23" name="636130924584304792Table First Content Row Header 68">
              <a:extLst>
                <a:ext uri="{FF2B5EF4-FFF2-40B4-BE49-F238E27FC236}">
                  <a16:creationId xmlns:a16="http://schemas.microsoft.com/office/drawing/2014/main" id="{FB2D1F5D-05C8-8705-56D0-517C4AB9CF30}"/>
                </a:ext>
              </a:extLst>
            </p:cNvPr>
            <p:cNvSpPr txBox="1">
              <a:spLocks/>
            </p:cNvSpPr>
            <p:nvPr/>
          </p:nvSpPr>
          <p:spPr>
            <a:xfrm>
              <a:off x="2348343" y="1947285"/>
              <a:ext cx="992721"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err="1"/>
                <a:t>n.a.</a:t>
              </a:r>
              <a:endParaRPr lang="en-US" sz="700"/>
            </a:p>
          </p:txBody>
        </p:sp>
        <p:sp>
          <p:nvSpPr>
            <p:cNvPr id="24" name="636130924584304792Table First Content Row Header 68">
              <a:extLst>
                <a:ext uri="{FF2B5EF4-FFF2-40B4-BE49-F238E27FC236}">
                  <a16:creationId xmlns:a16="http://schemas.microsoft.com/office/drawing/2014/main" id="{6AD3CE80-DF2D-4B09-C8F0-8FF7F5F0957B}"/>
                </a:ext>
              </a:extLst>
            </p:cNvPr>
            <p:cNvSpPr txBox="1">
              <a:spLocks/>
            </p:cNvSpPr>
            <p:nvPr/>
          </p:nvSpPr>
          <p:spPr>
            <a:xfrm>
              <a:off x="3427190" y="1947285"/>
              <a:ext cx="612000" cy="96950"/>
            </a:xfrm>
            <a:prstGeom prst="rect">
              <a:avLst/>
            </a:prstGeom>
            <a:noFill/>
            <a:ln w="9525">
              <a:noFill/>
            </a:ln>
          </p:spPr>
          <p:txBody>
            <a:bodyPr vert="horz" wrap="square" lIns="0" tIns="0" rIns="0" bIns="0" rtlCol="0" anchor="ctr" anchorCtr="0">
              <a:spAutoFit/>
            </a:bodyPr>
            <a:lstStyle/>
            <a:p>
              <a:pPr algn="ctr">
                <a:lnSpc>
                  <a:spcPct val="90000"/>
                </a:lnSpc>
                <a:spcBef>
                  <a:spcPts val="300"/>
                </a:spcBef>
                <a:buClr>
                  <a:srgbClr val="000000"/>
                </a:buClr>
                <a:buSzPct val="100000"/>
                <a:buFont typeface=""/>
              </a:pPr>
              <a:r>
                <a:rPr lang="en-US" sz="700" err="1"/>
                <a:t>n.a.</a:t>
              </a:r>
              <a:endParaRPr lang="en-US" sz="700"/>
            </a:p>
          </p:txBody>
        </p:sp>
        <p:sp>
          <p:nvSpPr>
            <p:cNvPr id="25" name="Rectangle 476">
              <a:extLst>
                <a:ext uri="{FF2B5EF4-FFF2-40B4-BE49-F238E27FC236}">
                  <a16:creationId xmlns:a16="http://schemas.microsoft.com/office/drawing/2014/main" id="{3C17FF2B-BAB2-FD43-B8DE-4CDD714DA886}"/>
                </a:ext>
              </a:extLst>
            </p:cNvPr>
            <p:cNvSpPr>
              <a:spLocks/>
            </p:cNvSpPr>
            <p:nvPr/>
          </p:nvSpPr>
          <p:spPr>
            <a:xfrm>
              <a:off x="4125270" y="1947285"/>
              <a:ext cx="4762824" cy="969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spAutoFit/>
            </a:bodyPr>
            <a:lstStyle/>
            <a:p>
              <a:pPr>
                <a:lnSpc>
                  <a:spcPct val="90000"/>
                </a:lnSpc>
                <a:buSzPct val="100000"/>
              </a:pPr>
              <a:r>
                <a:rPr lang="en-US" sz="700">
                  <a:solidFill>
                    <a:schemeClr val="accent3"/>
                  </a:solidFill>
                </a:rPr>
                <a:t>Geo coverage: </a:t>
              </a:r>
              <a:r>
                <a:rPr lang="en-US" sz="700">
                  <a:solidFill>
                    <a:schemeClr val="tx1"/>
                  </a:solidFill>
                  <a:sym typeface="+mn-lt"/>
                </a:rPr>
                <a:t>Part of US valves business on sale</a:t>
              </a:r>
            </a:p>
          </p:txBody>
        </p:sp>
      </p:grpSp>
      <p:grpSp>
        <p:nvGrpSpPr>
          <p:cNvPr id="26" name="Gruppieren 178">
            <a:extLst>
              <a:ext uri="{FF2B5EF4-FFF2-40B4-BE49-F238E27FC236}">
                <a16:creationId xmlns:a16="http://schemas.microsoft.com/office/drawing/2014/main" id="{A2B2EBFE-D4AB-0EDB-CD3C-095D0C0E5322}"/>
              </a:ext>
            </a:extLst>
          </p:cNvPr>
          <p:cNvGrpSpPr/>
          <p:nvPr/>
        </p:nvGrpSpPr>
        <p:grpSpPr>
          <a:xfrm>
            <a:off x="339285" y="1714262"/>
            <a:ext cx="8545441" cy="136800"/>
            <a:chOff x="342654" y="1581497"/>
            <a:chExt cx="8545441" cy="136800"/>
          </a:xfrm>
        </p:grpSpPr>
        <p:sp>
          <p:nvSpPr>
            <p:cNvPr id="27" name="636130924584304792Table First Content Row Header 68">
              <a:extLst>
                <a:ext uri="{FF2B5EF4-FFF2-40B4-BE49-F238E27FC236}">
                  <a16:creationId xmlns:a16="http://schemas.microsoft.com/office/drawing/2014/main" id="{55C3E72D-3140-4CE8-951A-E9D6BB286784}"/>
                </a:ext>
              </a:extLst>
            </p:cNvPr>
            <p:cNvSpPr txBox="1">
              <a:spLocks/>
            </p:cNvSpPr>
            <p:nvPr/>
          </p:nvSpPr>
          <p:spPr>
            <a:xfrm>
              <a:off x="528395" y="1594497"/>
              <a:ext cx="252000" cy="96950"/>
            </a:xfrm>
            <a:prstGeom prst="rect">
              <a:avLst/>
            </a:prstGeom>
            <a:noFill/>
            <a:ln w="9525">
              <a:noFill/>
            </a:ln>
          </p:spPr>
          <p:txBody>
            <a:bodyPr vert="horz" wrap="square" lIns="0" tIns="0" rIns="0" bIns="0" rtlCol="0" anchor="t">
              <a:spAutoFit/>
            </a:bodyPr>
            <a:lstStyle/>
            <a:p>
              <a:pPr>
                <a:lnSpc>
                  <a:spcPct val="90000"/>
                </a:lnSpc>
                <a:spcBef>
                  <a:spcPts val="300"/>
                </a:spcBef>
                <a:buClr>
                  <a:srgbClr val="000000"/>
                </a:buClr>
                <a:buSzPct val="100000"/>
                <a:buFont typeface=""/>
              </a:pPr>
              <a:r>
                <a:rPr lang="en-US" sz="700">
                  <a:solidFill>
                    <a:schemeClr val="accent3"/>
                  </a:solidFill>
                </a:rPr>
                <a:t>2023</a:t>
              </a:r>
            </a:p>
          </p:txBody>
        </p:sp>
        <p:sp>
          <p:nvSpPr>
            <p:cNvPr id="28" name="Oval 33">
              <a:extLst>
                <a:ext uri="{FF2B5EF4-FFF2-40B4-BE49-F238E27FC236}">
                  <a16:creationId xmlns:a16="http://schemas.microsoft.com/office/drawing/2014/main" id="{3CDF672F-70A3-AB29-29AC-7BB8FE3992A8}"/>
                </a:ext>
              </a:extLst>
            </p:cNvPr>
            <p:cNvSpPr/>
            <p:nvPr/>
          </p:nvSpPr>
          <p:spPr>
            <a:xfrm>
              <a:off x="342654" y="1608497"/>
              <a:ext cx="82296" cy="82800"/>
            </a:xfrm>
            <a:prstGeom prst="ellipse">
              <a:avLst/>
            </a:prstGeom>
            <a:solidFill>
              <a:schemeClr val="accent3"/>
            </a:solid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800">
                <a:solidFill>
                  <a:schemeClr val="tx1"/>
                </a:solidFill>
                <a:sym typeface="+mn-lt"/>
              </a:endParaRPr>
            </a:p>
          </p:txBody>
        </p:sp>
        <p:sp>
          <p:nvSpPr>
            <p:cNvPr id="29" name="636130924584304792Table First Content Row Header 68">
              <a:extLst>
                <a:ext uri="{FF2B5EF4-FFF2-40B4-BE49-F238E27FC236}">
                  <a16:creationId xmlns:a16="http://schemas.microsoft.com/office/drawing/2014/main" id="{67F605FB-A9E3-B2C6-8FB0-07980258FBE6}"/>
                </a:ext>
              </a:extLst>
            </p:cNvPr>
            <p:cNvSpPr txBox="1">
              <a:spLocks/>
            </p:cNvSpPr>
            <p:nvPr/>
          </p:nvSpPr>
          <p:spPr>
            <a:xfrm>
              <a:off x="1059723" y="1601422"/>
              <a:ext cx="1028435"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Velan</a:t>
              </a:r>
            </a:p>
          </p:txBody>
        </p:sp>
        <p:pic>
          <p:nvPicPr>
            <p:cNvPr id="30" name="Graphic 108">
              <a:extLst>
                <a:ext uri="{FF2B5EF4-FFF2-40B4-BE49-F238E27FC236}">
                  <a16:creationId xmlns:a16="http://schemas.microsoft.com/office/drawing/2014/main" id="{FCA8E5F8-433F-43AF-BA2E-4CC632EE3776}"/>
                </a:ext>
              </a:extLst>
            </p:cNvPr>
            <p:cNvPicPr>
              <a:picLocks/>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10858" y="1581497"/>
              <a:ext cx="137160" cy="136800"/>
            </a:xfrm>
            <a:prstGeom prst="rect">
              <a:avLst/>
            </a:prstGeom>
          </p:spPr>
        </p:pic>
        <p:pic>
          <p:nvPicPr>
            <p:cNvPr id="31" name="Graphic 496">
              <a:extLst>
                <a:ext uri="{FF2B5EF4-FFF2-40B4-BE49-F238E27FC236}">
                  <a16:creationId xmlns:a16="http://schemas.microsoft.com/office/drawing/2014/main" id="{0ADEE887-10B4-17E5-2FE4-EE46B5DE3234}"/>
                </a:ext>
              </a:extLst>
            </p:cNvPr>
            <p:cNvPicPr>
              <a:picLocks/>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70688" y="1581497"/>
              <a:ext cx="137160" cy="136800"/>
            </a:xfrm>
            <a:prstGeom prst="rect">
              <a:avLst/>
            </a:prstGeom>
          </p:spPr>
        </p:pic>
        <p:sp>
          <p:nvSpPr>
            <p:cNvPr id="32" name="636130924584304792Table First Content Row Header 68">
              <a:extLst>
                <a:ext uri="{FF2B5EF4-FFF2-40B4-BE49-F238E27FC236}">
                  <a16:creationId xmlns:a16="http://schemas.microsoft.com/office/drawing/2014/main" id="{28176DA2-C61F-868E-B140-E262088D8974}"/>
                </a:ext>
              </a:extLst>
            </p:cNvPr>
            <p:cNvSpPr txBox="1">
              <a:spLocks/>
            </p:cNvSpPr>
            <p:nvPr/>
          </p:nvSpPr>
          <p:spPr>
            <a:xfrm>
              <a:off x="2348343" y="1601422"/>
              <a:ext cx="992721"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Flowserve</a:t>
              </a:r>
            </a:p>
          </p:txBody>
        </p:sp>
        <p:sp>
          <p:nvSpPr>
            <p:cNvPr id="33" name="636130924584304792Table First Content Row Header 68">
              <a:extLst>
                <a:ext uri="{FF2B5EF4-FFF2-40B4-BE49-F238E27FC236}">
                  <a16:creationId xmlns:a16="http://schemas.microsoft.com/office/drawing/2014/main" id="{9E6BC18F-B0E8-1F40-690B-92A08939382F}"/>
                </a:ext>
              </a:extLst>
            </p:cNvPr>
            <p:cNvSpPr txBox="1">
              <a:spLocks/>
            </p:cNvSpPr>
            <p:nvPr/>
          </p:nvSpPr>
          <p:spPr>
            <a:xfrm>
              <a:off x="3427190" y="1601422"/>
              <a:ext cx="612000" cy="96950"/>
            </a:xfrm>
            <a:prstGeom prst="rect">
              <a:avLst/>
            </a:prstGeom>
            <a:noFill/>
            <a:ln w="9525">
              <a:noFill/>
            </a:ln>
          </p:spPr>
          <p:txBody>
            <a:bodyPr vert="horz" wrap="square" lIns="0" tIns="0" rIns="0" bIns="0" rtlCol="0" anchor="ctr" anchorCtr="0">
              <a:spAutoFit/>
            </a:bodyPr>
            <a:lstStyle/>
            <a:p>
              <a:pPr algn="ctr">
                <a:lnSpc>
                  <a:spcPct val="90000"/>
                </a:lnSpc>
                <a:spcBef>
                  <a:spcPts val="300"/>
                </a:spcBef>
                <a:buClr>
                  <a:srgbClr val="000000"/>
                </a:buClr>
                <a:buSzPct val="100000"/>
                <a:buFont typeface=""/>
              </a:pPr>
              <a:r>
                <a:rPr lang="en-US" sz="700"/>
                <a:t>USD 411 m</a:t>
              </a:r>
            </a:p>
          </p:txBody>
        </p:sp>
        <p:sp>
          <p:nvSpPr>
            <p:cNvPr id="34" name="Rectangle 479">
              <a:extLst>
                <a:ext uri="{FF2B5EF4-FFF2-40B4-BE49-F238E27FC236}">
                  <a16:creationId xmlns:a16="http://schemas.microsoft.com/office/drawing/2014/main" id="{C59DF270-2682-E9CB-F075-0449A60771D0}"/>
                </a:ext>
              </a:extLst>
            </p:cNvPr>
            <p:cNvSpPr>
              <a:spLocks/>
            </p:cNvSpPr>
            <p:nvPr/>
          </p:nvSpPr>
          <p:spPr>
            <a:xfrm>
              <a:off x="4125271" y="1601422"/>
              <a:ext cx="4762824" cy="969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spAutoFit/>
            </a:bodyPr>
            <a:lstStyle/>
            <a:p>
              <a:pPr>
                <a:lnSpc>
                  <a:spcPct val="90000"/>
                </a:lnSpc>
                <a:buSzPct val="100000"/>
              </a:pPr>
              <a:r>
                <a:rPr lang="en-US" sz="700">
                  <a:solidFill>
                    <a:schemeClr val="accent3"/>
                  </a:solidFill>
                </a:rPr>
                <a:t>Business drivers: </a:t>
              </a:r>
              <a:r>
                <a:rPr lang="en-US" sz="700">
                  <a:solidFill>
                    <a:schemeClr val="tx1"/>
                  </a:solidFill>
                  <a:sym typeface="+mn-lt"/>
                </a:rPr>
                <a:t>Expand to new </a:t>
              </a:r>
              <a:r>
                <a:rPr lang="en-US" sz="700" err="1">
                  <a:solidFill>
                    <a:schemeClr val="tx1"/>
                  </a:solidFill>
                  <a:sym typeface="+mn-lt"/>
                </a:rPr>
                <a:t>applicat</a:t>
              </a:r>
              <a:r>
                <a:rPr lang="en-US" sz="700">
                  <a:solidFill>
                    <a:schemeClr val="tx1"/>
                  </a:solidFill>
                  <a:sym typeface="+mn-lt"/>
                </a:rPr>
                <a:t>. (nuclear, H</a:t>
              </a:r>
              <a:r>
                <a:rPr lang="en-US" sz="700" baseline="-25000">
                  <a:solidFill>
                    <a:schemeClr val="tx1"/>
                  </a:solidFill>
                  <a:sym typeface="+mn-lt"/>
                </a:rPr>
                <a:t>2</a:t>
              </a:r>
              <a:r>
                <a:rPr lang="en-US" sz="700">
                  <a:solidFill>
                    <a:schemeClr val="tx1"/>
                  </a:solidFill>
                  <a:sym typeface="+mn-lt"/>
                </a:rPr>
                <a:t>) and strengthen service network</a:t>
              </a:r>
            </a:p>
          </p:txBody>
        </p:sp>
      </p:grpSp>
      <p:grpSp>
        <p:nvGrpSpPr>
          <p:cNvPr id="35" name="Gruppieren 513">
            <a:extLst>
              <a:ext uri="{FF2B5EF4-FFF2-40B4-BE49-F238E27FC236}">
                <a16:creationId xmlns:a16="http://schemas.microsoft.com/office/drawing/2014/main" id="{2D11087A-3854-81D8-4CCB-69D753E7A865}"/>
              </a:ext>
            </a:extLst>
          </p:cNvPr>
          <p:cNvGrpSpPr/>
          <p:nvPr/>
        </p:nvGrpSpPr>
        <p:grpSpPr>
          <a:xfrm>
            <a:off x="339285" y="4190218"/>
            <a:ext cx="8545441" cy="136800"/>
            <a:chOff x="342654" y="3899779"/>
            <a:chExt cx="8545441" cy="136800"/>
          </a:xfrm>
        </p:grpSpPr>
        <p:sp>
          <p:nvSpPr>
            <p:cNvPr id="36" name="636130924584304792Table First Content Row Header 68">
              <a:extLst>
                <a:ext uri="{FF2B5EF4-FFF2-40B4-BE49-F238E27FC236}">
                  <a16:creationId xmlns:a16="http://schemas.microsoft.com/office/drawing/2014/main" id="{93BD71A0-2A97-DB3F-EDD4-8E3D7A640800}"/>
                </a:ext>
              </a:extLst>
            </p:cNvPr>
            <p:cNvSpPr txBox="1">
              <a:spLocks/>
            </p:cNvSpPr>
            <p:nvPr/>
          </p:nvSpPr>
          <p:spPr>
            <a:xfrm>
              <a:off x="528395" y="3919704"/>
              <a:ext cx="252000" cy="96950"/>
            </a:xfrm>
            <a:prstGeom prst="rect">
              <a:avLst/>
            </a:prstGeom>
            <a:noFill/>
            <a:ln w="9525">
              <a:noFill/>
            </a:ln>
          </p:spPr>
          <p:txBody>
            <a:bodyPr vert="horz" wrap="square" lIns="0" tIns="0" rIns="0" bIns="0" rtlCol="0" anchor="t">
              <a:spAutoFit/>
            </a:bodyPr>
            <a:lstStyle/>
            <a:p>
              <a:pPr>
                <a:lnSpc>
                  <a:spcPct val="90000"/>
                </a:lnSpc>
                <a:spcBef>
                  <a:spcPts val="300"/>
                </a:spcBef>
                <a:buClr>
                  <a:srgbClr val="000000"/>
                </a:buClr>
                <a:buSzPct val="100000"/>
                <a:buFont typeface=""/>
              </a:pPr>
              <a:r>
                <a:rPr lang="en-US" sz="700">
                  <a:solidFill>
                    <a:schemeClr val="accent3"/>
                  </a:solidFill>
                </a:rPr>
                <a:t>2017</a:t>
              </a:r>
            </a:p>
          </p:txBody>
        </p:sp>
        <p:sp>
          <p:nvSpPr>
            <p:cNvPr id="37" name="Oval 33">
              <a:extLst>
                <a:ext uri="{FF2B5EF4-FFF2-40B4-BE49-F238E27FC236}">
                  <a16:creationId xmlns:a16="http://schemas.microsoft.com/office/drawing/2014/main" id="{FC686360-2573-6C30-9875-5010F92C4828}"/>
                </a:ext>
              </a:extLst>
            </p:cNvPr>
            <p:cNvSpPr/>
            <p:nvPr/>
          </p:nvSpPr>
          <p:spPr>
            <a:xfrm>
              <a:off x="342654" y="3926779"/>
              <a:ext cx="82296" cy="82800"/>
            </a:xfrm>
            <a:prstGeom prst="ellipse">
              <a:avLst/>
            </a:prstGeom>
            <a:solidFill>
              <a:schemeClr val="accent3"/>
            </a:solid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800">
                <a:solidFill>
                  <a:schemeClr val="tx1"/>
                </a:solidFill>
                <a:sym typeface="+mn-lt"/>
              </a:endParaRPr>
            </a:p>
          </p:txBody>
        </p:sp>
        <p:sp>
          <p:nvSpPr>
            <p:cNvPr id="38" name="636130924584304792Table First Content Row Header 68">
              <a:extLst>
                <a:ext uri="{FF2B5EF4-FFF2-40B4-BE49-F238E27FC236}">
                  <a16:creationId xmlns:a16="http://schemas.microsoft.com/office/drawing/2014/main" id="{62C41F88-4657-32A1-6A7F-DC269577FAE7}"/>
                </a:ext>
              </a:extLst>
            </p:cNvPr>
            <p:cNvSpPr txBox="1">
              <a:spLocks/>
            </p:cNvSpPr>
            <p:nvPr/>
          </p:nvSpPr>
          <p:spPr>
            <a:xfrm>
              <a:off x="1059723" y="3919704"/>
              <a:ext cx="1028435"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Pentair Valves &amp; Contr.</a:t>
              </a:r>
            </a:p>
          </p:txBody>
        </p:sp>
        <p:pic>
          <p:nvPicPr>
            <p:cNvPr id="39" name="Graphic 112">
              <a:extLst>
                <a:ext uri="{FF2B5EF4-FFF2-40B4-BE49-F238E27FC236}">
                  <a16:creationId xmlns:a16="http://schemas.microsoft.com/office/drawing/2014/main" id="{45C68E66-D63B-D67D-771F-97AE9C77D5BD}"/>
                </a:ext>
              </a:extLst>
            </p:cNvPr>
            <p:cNvPicPr>
              <a:picLocks/>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10858" y="3899779"/>
              <a:ext cx="137160" cy="136800"/>
            </a:xfrm>
            <a:prstGeom prst="rect">
              <a:avLst/>
            </a:prstGeom>
          </p:spPr>
        </p:pic>
        <p:sp>
          <p:nvSpPr>
            <p:cNvPr id="40" name="636130924584304792Table First Content Row Header 68">
              <a:extLst>
                <a:ext uri="{FF2B5EF4-FFF2-40B4-BE49-F238E27FC236}">
                  <a16:creationId xmlns:a16="http://schemas.microsoft.com/office/drawing/2014/main" id="{1DFE1099-1CD0-02CB-2FFE-70805346E2B4}"/>
                </a:ext>
              </a:extLst>
            </p:cNvPr>
            <p:cNvSpPr txBox="1">
              <a:spLocks/>
            </p:cNvSpPr>
            <p:nvPr/>
          </p:nvSpPr>
          <p:spPr>
            <a:xfrm>
              <a:off x="2348343" y="3919704"/>
              <a:ext cx="992721"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Emerson</a:t>
              </a:r>
            </a:p>
          </p:txBody>
        </p:sp>
        <p:pic>
          <p:nvPicPr>
            <p:cNvPr id="41" name="Graphic 499">
              <a:extLst>
                <a:ext uri="{FF2B5EF4-FFF2-40B4-BE49-F238E27FC236}">
                  <a16:creationId xmlns:a16="http://schemas.microsoft.com/office/drawing/2014/main" id="{1FFA2A6E-6A8F-CA02-3ECE-2129867E74E6}"/>
                </a:ext>
              </a:extLst>
            </p:cNvPr>
            <p:cNvPicPr>
              <a:picLocks/>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70688" y="3899779"/>
              <a:ext cx="137160" cy="136800"/>
            </a:xfrm>
            <a:prstGeom prst="rect">
              <a:avLst/>
            </a:prstGeom>
          </p:spPr>
        </p:pic>
        <p:sp>
          <p:nvSpPr>
            <p:cNvPr id="42" name="636130924584304792Table First Content Row Header 68">
              <a:extLst>
                <a:ext uri="{FF2B5EF4-FFF2-40B4-BE49-F238E27FC236}">
                  <a16:creationId xmlns:a16="http://schemas.microsoft.com/office/drawing/2014/main" id="{7AC4491A-FDB8-AF7A-213A-AD5D144D0715}"/>
                </a:ext>
              </a:extLst>
            </p:cNvPr>
            <p:cNvSpPr txBox="1">
              <a:spLocks/>
            </p:cNvSpPr>
            <p:nvPr/>
          </p:nvSpPr>
          <p:spPr>
            <a:xfrm>
              <a:off x="3427190" y="3919704"/>
              <a:ext cx="612000" cy="96950"/>
            </a:xfrm>
            <a:prstGeom prst="rect">
              <a:avLst/>
            </a:prstGeom>
            <a:noFill/>
            <a:ln w="9525">
              <a:noFill/>
            </a:ln>
          </p:spPr>
          <p:txBody>
            <a:bodyPr vert="horz" wrap="square" lIns="0" tIns="0" rIns="0" bIns="0" rtlCol="0" anchor="ctr" anchorCtr="0">
              <a:spAutoFit/>
            </a:bodyPr>
            <a:lstStyle/>
            <a:p>
              <a:pPr algn="ctr">
                <a:lnSpc>
                  <a:spcPct val="90000"/>
                </a:lnSpc>
                <a:spcBef>
                  <a:spcPts val="300"/>
                </a:spcBef>
                <a:buClr>
                  <a:srgbClr val="000000"/>
                </a:buClr>
                <a:buSzPct val="100000"/>
                <a:buFont typeface=""/>
              </a:pPr>
              <a:r>
                <a:rPr lang="en-US" sz="700" err="1"/>
                <a:t>n.a.</a:t>
              </a:r>
              <a:endParaRPr lang="en-US" sz="700"/>
            </a:p>
          </p:txBody>
        </p:sp>
        <p:sp>
          <p:nvSpPr>
            <p:cNvPr id="43" name="Rectangle 482">
              <a:extLst>
                <a:ext uri="{FF2B5EF4-FFF2-40B4-BE49-F238E27FC236}">
                  <a16:creationId xmlns:a16="http://schemas.microsoft.com/office/drawing/2014/main" id="{135F71EA-B50F-42F7-28E1-348A96DCF445}"/>
                </a:ext>
              </a:extLst>
            </p:cNvPr>
            <p:cNvSpPr>
              <a:spLocks/>
            </p:cNvSpPr>
            <p:nvPr/>
          </p:nvSpPr>
          <p:spPr>
            <a:xfrm>
              <a:off x="4125271" y="3919704"/>
              <a:ext cx="4762824" cy="969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spAutoFit/>
            </a:bodyPr>
            <a:lstStyle/>
            <a:p>
              <a:pPr>
                <a:lnSpc>
                  <a:spcPct val="90000"/>
                </a:lnSpc>
                <a:buSzPct val="100000"/>
              </a:pPr>
              <a:r>
                <a:rPr lang="en-US" sz="700">
                  <a:solidFill>
                    <a:schemeClr val="accent3"/>
                  </a:solidFill>
                </a:rPr>
                <a:t>Business drivers: </a:t>
              </a:r>
              <a:r>
                <a:rPr lang="en-US" sz="700">
                  <a:solidFill>
                    <a:schemeClr val="tx1"/>
                  </a:solidFill>
                  <a:sym typeface="+mn-lt"/>
                </a:rPr>
                <a:t>Expand service footprint, strengthen coverage in industrial and O&amp;G sectors</a:t>
              </a:r>
            </a:p>
          </p:txBody>
        </p:sp>
      </p:grpSp>
      <p:grpSp>
        <p:nvGrpSpPr>
          <p:cNvPr id="44" name="Gruppieren 188">
            <a:extLst>
              <a:ext uri="{FF2B5EF4-FFF2-40B4-BE49-F238E27FC236}">
                <a16:creationId xmlns:a16="http://schemas.microsoft.com/office/drawing/2014/main" id="{2484B42E-FE82-2530-69F9-4E770805CB4A}"/>
              </a:ext>
            </a:extLst>
          </p:cNvPr>
          <p:cNvGrpSpPr/>
          <p:nvPr/>
        </p:nvGrpSpPr>
        <p:grpSpPr>
          <a:xfrm>
            <a:off x="339285" y="3713751"/>
            <a:ext cx="8545441" cy="136800"/>
            <a:chOff x="342654" y="2624382"/>
            <a:chExt cx="8545441" cy="136800"/>
          </a:xfrm>
        </p:grpSpPr>
        <p:sp>
          <p:nvSpPr>
            <p:cNvPr id="45" name="636130924584304792Table First Content Row Header 68">
              <a:extLst>
                <a:ext uri="{FF2B5EF4-FFF2-40B4-BE49-F238E27FC236}">
                  <a16:creationId xmlns:a16="http://schemas.microsoft.com/office/drawing/2014/main" id="{96A8625A-26F5-A535-B08E-B5B921B59B88}"/>
                </a:ext>
              </a:extLst>
            </p:cNvPr>
            <p:cNvSpPr txBox="1">
              <a:spLocks/>
            </p:cNvSpPr>
            <p:nvPr/>
          </p:nvSpPr>
          <p:spPr>
            <a:xfrm>
              <a:off x="528395" y="2637382"/>
              <a:ext cx="252000" cy="96950"/>
            </a:xfrm>
            <a:prstGeom prst="rect">
              <a:avLst/>
            </a:prstGeom>
            <a:noFill/>
            <a:ln w="9525">
              <a:noFill/>
            </a:ln>
          </p:spPr>
          <p:txBody>
            <a:bodyPr vert="horz" wrap="square" lIns="0" tIns="0" rIns="0" bIns="0" rtlCol="0" anchor="t">
              <a:spAutoFit/>
            </a:bodyPr>
            <a:lstStyle/>
            <a:p>
              <a:pPr>
                <a:lnSpc>
                  <a:spcPct val="90000"/>
                </a:lnSpc>
                <a:spcBef>
                  <a:spcPts val="300"/>
                </a:spcBef>
                <a:buClr>
                  <a:srgbClr val="000000"/>
                </a:buClr>
                <a:buSzPct val="100000"/>
                <a:buFont typeface=""/>
              </a:pPr>
              <a:r>
                <a:rPr lang="en-US" sz="700">
                  <a:solidFill>
                    <a:schemeClr val="accent3"/>
                  </a:solidFill>
                </a:rPr>
                <a:t>2018</a:t>
              </a:r>
            </a:p>
          </p:txBody>
        </p:sp>
        <p:sp>
          <p:nvSpPr>
            <p:cNvPr id="46" name="Oval 33">
              <a:extLst>
                <a:ext uri="{FF2B5EF4-FFF2-40B4-BE49-F238E27FC236}">
                  <a16:creationId xmlns:a16="http://schemas.microsoft.com/office/drawing/2014/main" id="{98168A3F-DAD5-543B-4377-BBF30F1A974D}"/>
                </a:ext>
              </a:extLst>
            </p:cNvPr>
            <p:cNvSpPr/>
            <p:nvPr/>
          </p:nvSpPr>
          <p:spPr>
            <a:xfrm>
              <a:off x="342654" y="2651382"/>
              <a:ext cx="82296" cy="82800"/>
            </a:xfrm>
            <a:prstGeom prst="ellipse">
              <a:avLst/>
            </a:prstGeom>
            <a:solidFill>
              <a:schemeClr val="accent3"/>
            </a:solid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800">
                <a:solidFill>
                  <a:schemeClr val="tx1"/>
                </a:solidFill>
                <a:sym typeface="+mn-lt"/>
              </a:endParaRPr>
            </a:p>
          </p:txBody>
        </p:sp>
        <p:sp>
          <p:nvSpPr>
            <p:cNvPr id="47" name="636130924584304792Table First Content Row Header 68">
              <a:extLst>
                <a:ext uri="{FF2B5EF4-FFF2-40B4-BE49-F238E27FC236}">
                  <a16:creationId xmlns:a16="http://schemas.microsoft.com/office/drawing/2014/main" id="{8978CFE7-AD50-835E-A354-1D750B4840A8}"/>
                </a:ext>
              </a:extLst>
            </p:cNvPr>
            <p:cNvSpPr txBox="1">
              <a:spLocks/>
            </p:cNvSpPr>
            <p:nvPr/>
          </p:nvSpPr>
          <p:spPr>
            <a:xfrm>
              <a:off x="1059723" y="2644307"/>
              <a:ext cx="1028435"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err="1"/>
                <a:t>AEV</a:t>
              </a:r>
              <a:endParaRPr lang="en-US" sz="700"/>
            </a:p>
          </p:txBody>
        </p:sp>
        <p:pic>
          <p:nvPicPr>
            <p:cNvPr id="48" name="Graphic 116">
              <a:extLst>
                <a:ext uri="{FF2B5EF4-FFF2-40B4-BE49-F238E27FC236}">
                  <a16:creationId xmlns:a16="http://schemas.microsoft.com/office/drawing/2014/main" id="{2352C2A9-4B99-33D0-DC22-5E8E4EB7FA29}"/>
                </a:ext>
              </a:extLst>
            </p:cNvPr>
            <p:cNvPicPr>
              <a:picLocks/>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10858" y="2624382"/>
              <a:ext cx="137160" cy="136800"/>
            </a:xfrm>
            <a:prstGeom prst="rect">
              <a:avLst/>
            </a:prstGeom>
          </p:spPr>
        </p:pic>
        <p:sp>
          <p:nvSpPr>
            <p:cNvPr id="49" name="636130924584304792Table First Content Row Header 68">
              <a:extLst>
                <a:ext uri="{FF2B5EF4-FFF2-40B4-BE49-F238E27FC236}">
                  <a16:creationId xmlns:a16="http://schemas.microsoft.com/office/drawing/2014/main" id="{E1B3A73F-4476-6389-A885-B0B7D2B3CD60}"/>
                </a:ext>
              </a:extLst>
            </p:cNvPr>
            <p:cNvSpPr txBox="1">
              <a:spLocks/>
            </p:cNvSpPr>
            <p:nvPr/>
          </p:nvSpPr>
          <p:spPr>
            <a:xfrm>
              <a:off x="2348343" y="2644307"/>
              <a:ext cx="992721"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Emerson</a:t>
              </a:r>
            </a:p>
          </p:txBody>
        </p:sp>
        <p:pic>
          <p:nvPicPr>
            <p:cNvPr id="50" name="Graphic 501">
              <a:extLst>
                <a:ext uri="{FF2B5EF4-FFF2-40B4-BE49-F238E27FC236}">
                  <a16:creationId xmlns:a16="http://schemas.microsoft.com/office/drawing/2014/main" id="{62D1D895-6905-E47D-ABFB-AD01485F9C2F}"/>
                </a:ext>
              </a:extLst>
            </p:cNvPr>
            <p:cNvPicPr>
              <a:picLocks/>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70688" y="2624382"/>
              <a:ext cx="137160" cy="136800"/>
            </a:xfrm>
            <a:prstGeom prst="rect">
              <a:avLst/>
            </a:prstGeom>
          </p:spPr>
        </p:pic>
        <p:sp>
          <p:nvSpPr>
            <p:cNvPr id="51" name="636130924584304792Table First Content Row Header 68">
              <a:extLst>
                <a:ext uri="{FF2B5EF4-FFF2-40B4-BE49-F238E27FC236}">
                  <a16:creationId xmlns:a16="http://schemas.microsoft.com/office/drawing/2014/main" id="{951AF236-542A-541E-2139-0040F4BF65C0}"/>
                </a:ext>
              </a:extLst>
            </p:cNvPr>
            <p:cNvSpPr txBox="1">
              <a:spLocks/>
            </p:cNvSpPr>
            <p:nvPr/>
          </p:nvSpPr>
          <p:spPr>
            <a:xfrm>
              <a:off x="3427190" y="2644307"/>
              <a:ext cx="612000" cy="96950"/>
            </a:xfrm>
            <a:prstGeom prst="rect">
              <a:avLst/>
            </a:prstGeom>
            <a:noFill/>
            <a:ln w="9525">
              <a:noFill/>
            </a:ln>
          </p:spPr>
          <p:txBody>
            <a:bodyPr vert="horz" wrap="square" lIns="0" tIns="0" rIns="0" bIns="0" rtlCol="0" anchor="ctr" anchorCtr="0">
              <a:spAutoFit/>
            </a:bodyPr>
            <a:lstStyle/>
            <a:p>
              <a:pPr algn="ctr">
                <a:lnSpc>
                  <a:spcPct val="90000"/>
                </a:lnSpc>
                <a:spcBef>
                  <a:spcPts val="300"/>
                </a:spcBef>
                <a:buClr>
                  <a:srgbClr val="000000"/>
                </a:buClr>
                <a:buSzPct val="100000"/>
                <a:buFont typeface=""/>
              </a:pPr>
              <a:r>
                <a:rPr lang="en-US" sz="700"/>
                <a:t>USD 20 m</a:t>
              </a:r>
            </a:p>
          </p:txBody>
        </p:sp>
        <p:sp>
          <p:nvSpPr>
            <p:cNvPr id="52" name="Rectangle 484">
              <a:extLst>
                <a:ext uri="{FF2B5EF4-FFF2-40B4-BE49-F238E27FC236}">
                  <a16:creationId xmlns:a16="http://schemas.microsoft.com/office/drawing/2014/main" id="{8B1A40A0-A55D-B7AC-685D-FA0DC32C2095}"/>
                </a:ext>
              </a:extLst>
            </p:cNvPr>
            <p:cNvSpPr>
              <a:spLocks/>
            </p:cNvSpPr>
            <p:nvPr/>
          </p:nvSpPr>
          <p:spPr>
            <a:xfrm>
              <a:off x="4125271" y="2644307"/>
              <a:ext cx="4762824" cy="969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spAutoFit/>
            </a:bodyPr>
            <a:lstStyle/>
            <a:p>
              <a:pPr>
                <a:lnSpc>
                  <a:spcPct val="90000"/>
                </a:lnSpc>
                <a:buSzPct val="100000"/>
              </a:pPr>
              <a:r>
                <a:rPr lang="en-US" sz="700">
                  <a:solidFill>
                    <a:schemeClr val="accent3"/>
                  </a:solidFill>
                </a:rPr>
                <a:t>Business drivers: </a:t>
              </a:r>
              <a:r>
                <a:rPr lang="en-US" sz="700">
                  <a:solidFill>
                    <a:schemeClr val="tx1"/>
                  </a:solidFill>
                  <a:sym typeface="+mn-lt"/>
                </a:rPr>
                <a:t>Establish technological leadership in LNG severe service applications</a:t>
              </a:r>
            </a:p>
          </p:txBody>
        </p:sp>
      </p:grpSp>
      <p:grpSp>
        <p:nvGrpSpPr>
          <p:cNvPr id="53" name="Gruppieren 189">
            <a:extLst>
              <a:ext uri="{FF2B5EF4-FFF2-40B4-BE49-F238E27FC236}">
                <a16:creationId xmlns:a16="http://schemas.microsoft.com/office/drawing/2014/main" id="{1A69F4D7-5C3E-3263-645A-578EABEB5667}"/>
              </a:ext>
            </a:extLst>
          </p:cNvPr>
          <p:cNvGrpSpPr/>
          <p:nvPr/>
        </p:nvGrpSpPr>
        <p:grpSpPr>
          <a:xfrm>
            <a:off x="339285" y="3916510"/>
            <a:ext cx="8545441" cy="207749"/>
            <a:chOff x="342654" y="2906459"/>
            <a:chExt cx="8545441" cy="207749"/>
          </a:xfrm>
        </p:grpSpPr>
        <p:sp>
          <p:nvSpPr>
            <p:cNvPr id="54" name="636130924584304792Table First Content Row Header 68">
              <a:extLst>
                <a:ext uri="{FF2B5EF4-FFF2-40B4-BE49-F238E27FC236}">
                  <a16:creationId xmlns:a16="http://schemas.microsoft.com/office/drawing/2014/main" id="{32BEE509-427B-1ED7-32E8-1D511D2D6B20}"/>
                </a:ext>
              </a:extLst>
            </p:cNvPr>
            <p:cNvSpPr txBox="1">
              <a:spLocks/>
            </p:cNvSpPr>
            <p:nvPr/>
          </p:nvSpPr>
          <p:spPr>
            <a:xfrm>
              <a:off x="528395" y="2906459"/>
              <a:ext cx="252000" cy="96950"/>
            </a:xfrm>
            <a:prstGeom prst="rect">
              <a:avLst/>
            </a:prstGeom>
            <a:noFill/>
            <a:ln w="9525">
              <a:noFill/>
            </a:ln>
          </p:spPr>
          <p:txBody>
            <a:bodyPr vert="horz" wrap="square" lIns="0" tIns="0" rIns="0" bIns="0" rtlCol="0" anchor="t">
              <a:spAutoFit/>
            </a:bodyPr>
            <a:lstStyle/>
            <a:p>
              <a:pPr>
                <a:lnSpc>
                  <a:spcPct val="90000"/>
                </a:lnSpc>
                <a:spcBef>
                  <a:spcPts val="300"/>
                </a:spcBef>
                <a:buClr>
                  <a:srgbClr val="000000"/>
                </a:buClr>
                <a:buSzPct val="100000"/>
                <a:buFont typeface=""/>
              </a:pPr>
              <a:r>
                <a:rPr lang="en-US" sz="700">
                  <a:solidFill>
                    <a:schemeClr val="accent3"/>
                  </a:solidFill>
                </a:rPr>
                <a:t>2017</a:t>
              </a:r>
            </a:p>
          </p:txBody>
        </p:sp>
        <p:sp>
          <p:nvSpPr>
            <p:cNvPr id="55" name="Oval 33">
              <a:extLst>
                <a:ext uri="{FF2B5EF4-FFF2-40B4-BE49-F238E27FC236}">
                  <a16:creationId xmlns:a16="http://schemas.microsoft.com/office/drawing/2014/main" id="{30A72ABB-6B79-4039-D6B5-91F6D66364D0}"/>
                </a:ext>
              </a:extLst>
            </p:cNvPr>
            <p:cNvSpPr/>
            <p:nvPr/>
          </p:nvSpPr>
          <p:spPr>
            <a:xfrm>
              <a:off x="342654" y="2906459"/>
              <a:ext cx="82296" cy="82800"/>
            </a:xfrm>
            <a:prstGeom prst="ellipse">
              <a:avLst/>
            </a:prstGeom>
            <a:solidFill>
              <a:schemeClr val="accent3"/>
            </a:solid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800">
                <a:solidFill>
                  <a:schemeClr val="tx1"/>
                </a:solidFill>
                <a:sym typeface="+mn-lt"/>
              </a:endParaRPr>
            </a:p>
          </p:txBody>
        </p:sp>
        <p:sp>
          <p:nvSpPr>
            <p:cNvPr id="56" name="636130924584304792Table First Content Row Header 68">
              <a:extLst>
                <a:ext uri="{FF2B5EF4-FFF2-40B4-BE49-F238E27FC236}">
                  <a16:creationId xmlns:a16="http://schemas.microsoft.com/office/drawing/2014/main" id="{02FA88FD-9F30-B320-6330-DF3CE70A7813}"/>
                </a:ext>
              </a:extLst>
            </p:cNvPr>
            <p:cNvSpPr txBox="1">
              <a:spLocks/>
            </p:cNvSpPr>
            <p:nvPr/>
          </p:nvSpPr>
          <p:spPr>
            <a:xfrm>
              <a:off x="1059723" y="2913384"/>
              <a:ext cx="1028435"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Kemper Valves</a:t>
              </a:r>
            </a:p>
          </p:txBody>
        </p:sp>
        <p:pic>
          <p:nvPicPr>
            <p:cNvPr id="57" name="Graphic 119">
              <a:extLst>
                <a:ext uri="{FF2B5EF4-FFF2-40B4-BE49-F238E27FC236}">
                  <a16:creationId xmlns:a16="http://schemas.microsoft.com/office/drawing/2014/main" id="{C428B88F-5F5D-4A4C-FB3C-2828C8AA8725}"/>
                </a:ext>
              </a:extLst>
            </p:cNvPr>
            <p:cNvPicPr>
              <a:picLocks/>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10858" y="2906459"/>
              <a:ext cx="137160" cy="136800"/>
            </a:xfrm>
            <a:prstGeom prst="rect">
              <a:avLst/>
            </a:prstGeom>
          </p:spPr>
        </p:pic>
        <p:sp>
          <p:nvSpPr>
            <p:cNvPr id="58" name="636130924584304792Table First Content Row Header 68">
              <a:extLst>
                <a:ext uri="{FF2B5EF4-FFF2-40B4-BE49-F238E27FC236}">
                  <a16:creationId xmlns:a16="http://schemas.microsoft.com/office/drawing/2014/main" id="{4FB8C6CC-14FE-D365-6260-2C0210D82D90}"/>
                </a:ext>
              </a:extLst>
            </p:cNvPr>
            <p:cNvSpPr txBox="1">
              <a:spLocks/>
            </p:cNvSpPr>
            <p:nvPr/>
          </p:nvSpPr>
          <p:spPr>
            <a:xfrm>
              <a:off x="2348343" y="2913384"/>
              <a:ext cx="992721"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SPM Oil &amp; Gas</a:t>
              </a:r>
            </a:p>
          </p:txBody>
        </p:sp>
        <p:pic>
          <p:nvPicPr>
            <p:cNvPr id="59" name="Graphic 503">
              <a:extLst>
                <a:ext uri="{FF2B5EF4-FFF2-40B4-BE49-F238E27FC236}">
                  <a16:creationId xmlns:a16="http://schemas.microsoft.com/office/drawing/2014/main" id="{58A4263B-1025-C7D9-96B4-56D42B0A230F}"/>
                </a:ext>
              </a:extLst>
            </p:cNvPr>
            <p:cNvPicPr>
              <a:picLocks/>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70688" y="2906459"/>
              <a:ext cx="137160" cy="136800"/>
            </a:xfrm>
            <a:prstGeom prst="rect">
              <a:avLst/>
            </a:prstGeom>
          </p:spPr>
        </p:pic>
        <p:sp>
          <p:nvSpPr>
            <p:cNvPr id="60" name="636130924584304792Table First Content Row Header 68">
              <a:extLst>
                <a:ext uri="{FF2B5EF4-FFF2-40B4-BE49-F238E27FC236}">
                  <a16:creationId xmlns:a16="http://schemas.microsoft.com/office/drawing/2014/main" id="{A4A644F5-0488-1784-B07C-35318F5EF700}"/>
                </a:ext>
              </a:extLst>
            </p:cNvPr>
            <p:cNvSpPr txBox="1">
              <a:spLocks/>
            </p:cNvSpPr>
            <p:nvPr/>
          </p:nvSpPr>
          <p:spPr>
            <a:xfrm>
              <a:off x="3427190" y="2913384"/>
              <a:ext cx="612000" cy="96950"/>
            </a:xfrm>
            <a:prstGeom prst="rect">
              <a:avLst/>
            </a:prstGeom>
            <a:noFill/>
            <a:ln w="9525">
              <a:noFill/>
            </a:ln>
          </p:spPr>
          <p:txBody>
            <a:bodyPr vert="horz" wrap="square" lIns="0" tIns="0" rIns="0" bIns="0" rtlCol="0" anchor="ctr" anchorCtr="0">
              <a:spAutoFit/>
            </a:bodyPr>
            <a:lstStyle/>
            <a:p>
              <a:pPr algn="ctr">
                <a:lnSpc>
                  <a:spcPct val="90000"/>
                </a:lnSpc>
                <a:spcBef>
                  <a:spcPts val="300"/>
                </a:spcBef>
                <a:buClr>
                  <a:srgbClr val="000000"/>
                </a:buClr>
                <a:buSzPct val="100000"/>
                <a:buFont typeface=""/>
              </a:pPr>
              <a:r>
                <a:rPr lang="en-US" sz="700"/>
                <a:t>USD 32 m</a:t>
              </a:r>
            </a:p>
          </p:txBody>
        </p:sp>
        <p:sp>
          <p:nvSpPr>
            <p:cNvPr id="61" name="Rectangle 488">
              <a:extLst>
                <a:ext uri="{FF2B5EF4-FFF2-40B4-BE49-F238E27FC236}">
                  <a16:creationId xmlns:a16="http://schemas.microsoft.com/office/drawing/2014/main" id="{39697DF5-E716-3A15-7128-8FCD99C7F9DF}"/>
                </a:ext>
              </a:extLst>
            </p:cNvPr>
            <p:cNvSpPr>
              <a:spLocks/>
            </p:cNvSpPr>
            <p:nvPr/>
          </p:nvSpPr>
          <p:spPr>
            <a:xfrm>
              <a:off x="4125271" y="2920309"/>
              <a:ext cx="4762824" cy="1938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spAutoFit/>
            </a:bodyPr>
            <a:lstStyle/>
            <a:p>
              <a:pPr fontAlgn="base">
                <a:lnSpc>
                  <a:spcPct val="90000"/>
                </a:lnSpc>
                <a:spcAft>
                  <a:spcPct val="0"/>
                </a:spcAft>
                <a:buSzPct val="100000"/>
              </a:pPr>
              <a:r>
                <a:rPr lang="en-US" sz="700">
                  <a:solidFill>
                    <a:schemeClr val="accent3"/>
                  </a:solidFill>
                </a:rPr>
                <a:t>Business drivers: </a:t>
              </a:r>
              <a:r>
                <a:rPr lang="en-US" sz="700">
                  <a:solidFill>
                    <a:schemeClr val="tx1"/>
                  </a:solidFill>
                  <a:sym typeface="+mn-lt"/>
                </a:rPr>
                <a:t>Ensure complete coverage of O&amp;G wells components (e.g., engines, valves)</a:t>
              </a:r>
            </a:p>
            <a:p>
              <a:pPr fontAlgn="base">
                <a:lnSpc>
                  <a:spcPct val="90000"/>
                </a:lnSpc>
                <a:spcAft>
                  <a:spcPct val="0"/>
                </a:spcAft>
                <a:buSzPct val="100000"/>
              </a:pPr>
              <a:r>
                <a:rPr lang="en-US" sz="700">
                  <a:solidFill>
                    <a:schemeClr val="accent3"/>
                  </a:solidFill>
                </a:rPr>
                <a:t>Geo coverage: </a:t>
              </a:r>
              <a:r>
                <a:rPr lang="en-US" sz="700">
                  <a:solidFill>
                    <a:schemeClr val="tx1"/>
                  </a:solidFill>
                  <a:sym typeface="+mn-lt"/>
                </a:rPr>
                <a:t>US and Canada</a:t>
              </a:r>
            </a:p>
          </p:txBody>
        </p:sp>
      </p:grpSp>
      <p:grpSp>
        <p:nvGrpSpPr>
          <p:cNvPr id="62" name="Gruppieren 511">
            <a:extLst>
              <a:ext uri="{FF2B5EF4-FFF2-40B4-BE49-F238E27FC236}">
                <a16:creationId xmlns:a16="http://schemas.microsoft.com/office/drawing/2014/main" id="{3D3EB53F-3275-E9D6-0EF7-C680C653FD8F}"/>
              </a:ext>
            </a:extLst>
          </p:cNvPr>
          <p:cNvGrpSpPr/>
          <p:nvPr/>
        </p:nvGrpSpPr>
        <p:grpSpPr>
          <a:xfrm>
            <a:off x="339285" y="4392970"/>
            <a:ext cx="8545441" cy="207749"/>
            <a:chOff x="342654" y="3616813"/>
            <a:chExt cx="8545441" cy="207749"/>
          </a:xfrm>
        </p:grpSpPr>
        <p:sp>
          <p:nvSpPr>
            <p:cNvPr id="63" name="636130924584304792Table First Content Row Header 68">
              <a:extLst>
                <a:ext uri="{FF2B5EF4-FFF2-40B4-BE49-F238E27FC236}">
                  <a16:creationId xmlns:a16="http://schemas.microsoft.com/office/drawing/2014/main" id="{E23ED66A-5775-67FB-AAF2-238A091778AB}"/>
                </a:ext>
              </a:extLst>
            </p:cNvPr>
            <p:cNvSpPr txBox="1">
              <a:spLocks/>
            </p:cNvSpPr>
            <p:nvPr/>
          </p:nvSpPr>
          <p:spPr>
            <a:xfrm>
              <a:off x="528395" y="3616813"/>
              <a:ext cx="252000" cy="96950"/>
            </a:xfrm>
            <a:prstGeom prst="rect">
              <a:avLst/>
            </a:prstGeom>
            <a:noFill/>
            <a:ln w="9525">
              <a:noFill/>
            </a:ln>
          </p:spPr>
          <p:txBody>
            <a:bodyPr vert="horz" wrap="square" lIns="0" tIns="0" rIns="0" bIns="0" rtlCol="0" anchor="t">
              <a:spAutoFit/>
            </a:bodyPr>
            <a:lstStyle/>
            <a:p>
              <a:pPr>
                <a:lnSpc>
                  <a:spcPct val="90000"/>
                </a:lnSpc>
                <a:spcBef>
                  <a:spcPts val="300"/>
                </a:spcBef>
                <a:buClr>
                  <a:srgbClr val="000000"/>
                </a:buClr>
                <a:buSzPct val="100000"/>
                <a:buFont typeface=""/>
              </a:pPr>
              <a:r>
                <a:rPr lang="en-US" sz="700">
                  <a:solidFill>
                    <a:schemeClr val="accent3"/>
                  </a:solidFill>
                </a:rPr>
                <a:t>2016</a:t>
              </a:r>
            </a:p>
          </p:txBody>
        </p:sp>
        <p:sp>
          <p:nvSpPr>
            <p:cNvPr id="64" name="Oval 33">
              <a:extLst>
                <a:ext uri="{FF2B5EF4-FFF2-40B4-BE49-F238E27FC236}">
                  <a16:creationId xmlns:a16="http://schemas.microsoft.com/office/drawing/2014/main" id="{B9F899E2-ED4A-1D44-7E4E-12B1BF60D539}"/>
                </a:ext>
              </a:extLst>
            </p:cNvPr>
            <p:cNvSpPr/>
            <p:nvPr/>
          </p:nvSpPr>
          <p:spPr>
            <a:xfrm>
              <a:off x="342654" y="3616813"/>
              <a:ext cx="82296" cy="82800"/>
            </a:xfrm>
            <a:prstGeom prst="ellipse">
              <a:avLst/>
            </a:prstGeom>
            <a:solidFill>
              <a:schemeClr val="accent3"/>
            </a:solid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800">
                <a:solidFill>
                  <a:schemeClr val="tx1"/>
                </a:solidFill>
                <a:sym typeface="+mn-lt"/>
              </a:endParaRPr>
            </a:p>
          </p:txBody>
        </p:sp>
        <p:sp>
          <p:nvSpPr>
            <p:cNvPr id="65" name="636130924584304792Table First Content Row Header 68">
              <a:extLst>
                <a:ext uri="{FF2B5EF4-FFF2-40B4-BE49-F238E27FC236}">
                  <a16:creationId xmlns:a16="http://schemas.microsoft.com/office/drawing/2014/main" id="{98E51EA2-B6E9-F49C-4BD7-CA6F378DB437}"/>
                </a:ext>
              </a:extLst>
            </p:cNvPr>
            <p:cNvSpPr txBox="1">
              <a:spLocks/>
            </p:cNvSpPr>
            <p:nvPr/>
          </p:nvSpPr>
          <p:spPr>
            <a:xfrm>
              <a:off x="1059723" y="3623738"/>
              <a:ext cx="1028435"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Norvalves</a:t>
              </a:r>
            </a:p>
          </p:txBody>
        </p:sp>
        <p:pic>
          <p:nvPicPr>
            <p:cNvPr id="66" name="Graphic 121">
              <a:extLst>
                <a:ext uri="{FF2B5EF4-FFF2-40B4-BE49-F238E27FC236}">
                  <a16:creationId xmlns:a16="http://schemas.microsoft.com/office/drawing/2014/main" id="{4B003EE7-1597-2ECD-4B2D-95D8CB667FD1}"/>
                </a:ext>
              </a:extLst>
            </p:cNvPr>
            <p:cNvPicPr>
              <a:picLocks/>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10858" y="3616813"/>
              <a:ext cx="137160" cy="136800"/>
            </a:xfrm>
            <a:prstGeom prst="rect">
              <a:avLst/>
            </a:prstGeom>
          </p:spPr>
        </p:pic>
        <p:sp>
          <p:nvSpPr>
            <p:cNvPr id="67" name="636130924584304792Table First Content Row Header 68">
              <a:extLst>
                <a:ext uri="{FF2B5EF4-FFF2-40B4-BE49-F238E27FC236}">
                  <a16:creationId xmlns:a16="http://schemas.microsoft.com/office/drawing/2014/main" id="{250EAFD2-DAFD-E78B-10BD-F1CE6CB06D2B}"/>
                </a:ext>
              </a:extLst>
            </p:cNvPr>
            <p:cNvSpPr txBox="1">
              <a:spLocks/>
            </p:cNvSpPr>
            <p:nvPr/>
          </p:nvSpPr>
          <p:spPr>
            <a:xfrm>
              <a:off x="2348343" y="3623738"/>
              <a:ext cx="992721"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Ham-Let</a:t>
              </a:r>
            </a:p>
          </p:txBody>
        </p:sp>
        <p:pic>
          <p:nvPicPr>
            <p:cNvPr id="68" name="Graphic 509">
              <a:extLst>
                <a:ext uri="{FF2B5EF4-FFF2-40B4-BE49-F238E27FC236}">
                  <a16:creationId xmlns:a16="http://schemas.microsoft.com/office/drawing/2014/main" id="{ABF5D51B-0228-8293-3C16-E3F7ACFDD97F}"/>
                </a:ext>
              </a:extLst>
            </p:cNvPr>
            <p:cNvPicPr>
              <a:picLocks/>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170688" y="3616813"/>
              <a:ext cx="137160" cy="136800"/>
            </a:xfrm>
            <a:prstGeom prst="rect">
              <a:avLst/>
            </a:prstGeom>
          </p:spPr>
        </p:pic>
        <p:sp>
          <p:nvSpPr>
            <p:cNvPr id="69" name="636130924584304792Table First Content Row Header 68">
              <a:extLst>
                <a:ext uri="{FF2B5EF4-FFF2-40B4-BE49-F238E27FC236}">
                  <a16:creationId xmlns:a16="http://schemas.microsoft.com/office/drawing/2014/main" id="{8A991DBE-CB93-7D61-8D48-EEC53533FA27}"/>
                </a:ext>
              </a:extLst>
            </p:cNvPr>
            <p:cNvSpPr txBox="1">
              <a:spLocks/>
            </p:cNvSpPr>
            <p:nvPr/>
          </p:nvSpPr>
          <p:spPr>
            <a:xfrm>
              <a:off x="3427190" y="3623738"/>
              <a:ext cx="612000" cy="96950"/>
            </a:xfrm>
            <a:prstGeom prst="rect">
              <a:avLst/>
            </a:prstGeom>
            <a:noFill/>
            <a:ln w="9525">
              <a:noFill/>
            </a:ln>
          </p:spPr>
          <p:txBody>
            <a:bodyPr vert="horz" wrap="square" lIns="0" tIns="0" rIns="0" bIns="0" rtlCol="0" anchor="ctr" anchorCtr="0">
              <a:spAutoFit/>
            </a:bodyPr>
            <a:lstStyle/>
            <a:p>
              <a:pPr algn="ctr">
                <a:lnSpc>
                  <a:spcPct val="90000"/>
                </a:lnSpc>
                <a:spcBef>
                  <a:spcPts val="300"/>
                </a:spcBef>
                <a:buClr>
                  <a:srgbClr val="000000"/>
                </a:buClr>
                <a:buSzPct val="100000"/>
                <a:buFont typeface=""/>
              </a:pPr>
              <a:r>
                <a:rPr lang="en-US" sz="700"/>
                <a:t>n.a.</a:t>
              </a:r>
            </a:p>
          </p:txBody>
        </p:sp>
        <p:sp>
          <p:nvSpPr>
            <p:cNvPr id="70" name="Rectangle 68">
              <a:extLst>
                <a:ext uri="{FF2B5EF4-FFF2-40B4-BE49-F238E27FC236}">
                  <a16:creationId xmlns:a16="http://schemas.microsoft.com/office/drawing/2014/main" id="{6AD4B259-8DB4-D6B7-E58C-02CE6237DBE7}"/>
                </a:ext>
              </a:extLst>
            </p:cNvPr>
            <p:cNvSpPr>
              <a:spLocks/>
            </p:cNvSpPr>
            <p:nvPr/>
          </p:nvSpPr>
          <p:spPr>
            <a:xfrm>
              <a:off x="4125271" y="3630663"/>
              <a:ext cx="4762824" cy="1938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spAutoFit/>
            </a:bodyPr>
            <a:lstStyle/>
            <a:p>
              <a:pPr>
                <a:lnSpc>
                  <a:spcPct val="90000"/>
                </a:lnSpc>
                <a:buSzPct val="100000"/>
              </a:pPr>
              <a:r>
                <a:rPr lang="en-US" sz="700">
                  <a:solidFill>
                    <a:schemeClr val="accent3"/>
                  </a:solidFill>
                </a:rPr>
                <a:t>Business drivers: </a:t>
              </a:r>
              <a:r>
                <a:rPr lang="en-US" sz="700">
                  <a:solidFill>
                    <a:schemeClr val="tx1"/>
                  </a:solidFill>
                  <a:sym typeface="+mn-lt"/>
                </a:rPr>
                <a:t>Improve market positioning, establish service network in Scandinavia</a:t>
              </a:r>
            </a:p>
            <a:p>
              <a:pPr>
                <a:lnSpc>
                  <a:spcPct val="90000"/>
                </a:lnSpc>
                <a:buSzPct val="100000"/>
              </a:pPr>
              <a:r>
                <a:rPr lang="en-US" sz="700">
                  <a:solidFill>
                    <a:schemeClr val="accent3"/>
                  </a:solidFill>
                </a:rPr>
                <a:t>Geo coverage: </a:t>
              </a:r>
              <a:r>
                <a:rPr lang="en-US" sz="700">
                  <a:solidFill>
                    <a:schemeClr val="tx1"/>
                  </a:solidFill>
                  <a:sym typeface="+mn-lt"/>
                </a:rPr>
                <a:t>Northern Europe</a:t>
              </a:r>
            </a:p>
          </p:txBody>
        </p:sp>
      </p:grpSp>
      <p:grpSp>
        <p:nvGrpSpPr>
          <p:cNvPr id="71" name="Gruppieren 182">
            <a:extLst>
              <a:ext uri="{FF2B5EF4-FFF2-40B4-BE49-F238E27FC236}">
                <a16:creationId xmlns:a16="http://schemas.microsoft.com/office/drawing/2014/main" id="{486B1F2D-A7B5-25B7-A2BA-75099D48CDD4}"/>
              </a:ext>
            </a:extLst>
          </p:cNvPr>
          <p:cNvGrpSpPr/>
          <p:nvPr/>
        </p:nvGrpSpPr>
        <p:grpSpPr>
          <a:xfrm>
            <a:off x="525026" y="3680771"/>
            <a:ext cx="8359700" cy="1"/>
            <a:chOff x="528395" y="2510912"/>
            <a:chExt cx="8359700" cy="1"/>
          </a:xfrm>
        </p:grpSpPr>
        <p:cxnSp>
          <p:nvCxnSpPr>
            <p:cNvPr id="72" name="Straight Connector 19">
              <a:extLst>
                <a:ext uri="{FF2B5EF4-FFF2-40B4-BE49-F238E27FC236}">
                  <a16:creationId xmlns:a16="http://schemas.microsoft.com/office/drawing/2014/main" id="{A7D04766-880F-F92A-AFC8-4F6787BC8AEC}"/>
                </a:ext>
              </a:extLst>
            </p:cNvPr>
            <p:cNvCxnSpPr>
              <a:cxnSpLocks/>
            </p:cNvCxnSpPr>
            <p:nvPr/>
          </p:nvCxnSpPr>
          <p:spPr>
            <a:xfrm>
              <a:off x="528395" y="2510913"/>
              <a:ext cx="251773"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73" name="Straight Connector 187">
              <a:extLst>
                <a:ext uri="{FF2B5EF4-FFF2-40B4-BE49-F238E27FC236}">
                  <a16:creationId xmlns:a16="http://schemas.microsoft.com/office/drawing/2014/main" id="{8F6120F7-76F2-5E76-3689-2C7705D38A77}"/>
                </a:ext>
              </a:extLst>
            </p:cNvPr>
            <p:cNvCxnSpPr>
              <a:cxnSpLocks/>
            </p:cNvCxnSpPr>
            <p:nvPr/>
          </p:nvCxnSpPr>
          <p:spPr>
            <a:xfrm>
              <a:off x="917783" y="2510912"/>
              <a:ext cx="1170375"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74" name="Straight Connector 187">
              <a:extLst>
                <a:ext uri="{FF2B5EF4-FFF2-40B4-BE49-F238E27FC236}">
                  <a16:creationId xmlns:a16="http://schemas.microsoft.com/office/drawing/2014/main" id="{D1F769F6-420C-40A6-2ED1-43E0F6CBBF2D}"/>
                </a:ext>
              </a:extLst>
            </p:cNvPr>
            <p:cNvCxnSpPr>
              <a:cxnSpLocks/>
            </p:cNvCxnSpPr>
            <p:nvPr/>
          </p:nvCxnSpPr>
          <p:spPr>
            <a:xfrm>
              <a:off x="2170688" y="2510912"/>
              <a:ext cx="1170375"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75" name="Straight Connector 187">
              <a:extLst>
                <a:ext uri="{FF2B5EF4-FFF2-40B4-BE49-F238E27FC236}">
                  <a16:creationId xmlns:a16="http://schemas.microsoft.com/office/drawing/2014/main" id="{543B598B-FF3D-9BAC-7721-874B976BD63A}"/>
                </a:ext>
              </a:extLst>
            </p:cNvPr>
            <p:cNvCxnSpPr>
              <a:cxnSpLocks/>
            </p:cNvCxnSpPr>
            <p:nvPr/>
          </p:nvCxnSpPr>
          <p:spPr>
            <a:xfrm>
              <a:off x="3427190" y="2510912"/>
              <a:ext cx="612000"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76" name="Straight Connector 187">
              <a:extLst>
                <a:ext uri="{FF2B5EF4-FFF2-40B4-BE49-F238E27FC236}">
                  <a16:creationId xmlns:a16="http://schemas.microsoft.com/office/drawing/2014/main" id="{65E6A9AC-2E0D-4859-E5D7-509EB8D43A53}"/>
                </a:ext>
              </a:extLst>
            </p:cNvPr>
            <p:cNvCxnSpPr>
              <a:cxnSpLocks/>
            </p:cNvCxnSpPr>
            <p:nvPr/>
          </p:nvCxnSpPr>
          <p:spPr>
            <a:xfrm>
              <a:off x="4125271" y="2510912"/>
              <a:ext cx="4762824"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grpSp>
      <p:grpSp>
        <p:nvGrpSpPr>
          <p:cNvPr id="77" name="Gruppieren 183">
            <a:extLst>
              <a:ext uri="{FF2B5EF4-FFF2-40B4-BE49-F238E27FC236}">
                <a16:creationId xmlns:a16="http://schemas.microsoft.com/office/drawing/2014/main" id="{573774ED-C70C-A716-154C-134A5992E5A0}"/>
              </a:ext>
            </a:extLst>
          </p:cNvPr>
          <p:cNvGrpSpPr/>
          <p:nvPr/>
        </p:nvGrpSpPr>
        <p:grpSpPr>
          <a:xfrm>
            <a:off x="525026" y="3883530"/>
            <a:ext cx="8359700" cy="1"/>
            <a:chOff x="528395" y="2858540"/>
            <a:chExt cx="8359700" cy="1"/>
          </a:xfrm>
        </p:grpSpPr>
        <p:cxnSp>
          <p:nvCxnSpPr>
            <p:cNvPr id="78" name="Straight Connector 20">
              <a:extLst>
                <a:ext uri="{FF2B5EF4-FFF2-40B4-BE49-F238E27FC236}">
                  <a16:creationId xmlns:a16="http://schemas.microsoft.com/office/drawing/2014/main" id="{DE38CDCB-0033-F261-B89A-C34403052F3E}"/>
                </a:ext>
              </a:extLst>
            </p:cNvPr>
            <p:cNvCxnSpPr>
              <a:cxnSpLocks/>
            </p:cNvCxnSpPr>
            <p:nvPr/>
          </p:nvCxnSpPr>
          <p:spPr>
            <a:xfrm>
              <a:off x="528395" y="2858541"/>
              <a:ext cx="251773"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79" name="Straight Connector 188">
              <a:extLst>
                <a:ext uri="{FF2B5EF4-FFF2-40B4-BE49-F238E27FC236}">
                  <a16:creationId xmlns:a16="http://schemas.microsoft.com/office/drawing/2014/main" id="{BF03F83F-52D8-29D3-D172-4D5451FC94D5}"/>
                </a:ext>
              </a:extLst>
            </p:cNvPr>
            <p:cNvCxnSpPr>
              <a:cxnSpLocks/>
            </p:cNvCxnSpPr>
            <p:nvPr/>
          </p:nvCxnSpPr>
          <p:spPr>
            <a:xfrm>
              <a:off x="917783" y="2858540"/>
              <a:ext cx="1170375"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80" name="Straight Connector 188">
              <a:extLst>
                <a:ext uri="{FF2B5EF4-FFF2-40B4-BE49-F238E27FC236}">
                  <a16:creationId xmlns:a16="http://schemas.microsoft.com/office/drawing/2014/main" id="{A38AF7C0-B52C-2B91-88F8-EDDAFDFBA891}"/>
                </a:ext>
              </a:extLst>
            </p:cNvPr>
            <p:cNvCxnSpPr>
              <a:cxnSpLocks/>
            </p:cNvCxnSpPr>
            <p:nvPr/>
          </p:nvCxnSpPr>
          <p:spPr>
            <a:xfrm>
              <a:off x="2170688" y="2858540"/>
              <a:ext cx="1170375"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81" name="Straight Connector 188">
              <a:extLst>
                <a:ext uri="{FF2B5EF4-FFF2-40B4-BE49-F238E27FC236}">
                  <a16:creationId xmlns:a16="http://schemas.microsoft.com/office/drawing/2014/main" id="{95B27CD5-9917-C743-4A8D-63C40402DEF9}"/>
                </a:ext>
              </a:extLst>
            </p:cNvPr>
            <p:cNvCxnSpPr>
              <a:cxnSpLocks/>
            </p:cNvCxnSpPr>
            <p:nvPr/>
          </p:nvCxnSpPr>
          <p:spPr>
            <a:xfrm>
              <a:off x="3427190" y="2858540"/>
              <a:ext cx="612000"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82" name="Straight Connector 188">
              <a:extLst>
                <a:ext uri="{FF2B5EF4-FFF2-40B4-BE49-F238E27FC236}">
                  <a16:creationId xmlns:a16="http://schemas.microsoft.com/office/drawing/2014/main" id="{971430A5-BBF3-0BCF-53ED-6FB99B6787F7}"/>
                </a:ext>
              </a:extLst>
            </p:cNvPr>
            <p:cNvCxnSpPr>
              <a:cxnSpLocks/>
            </p:cNvCxnSpPr>
            <p:nvPr/>
          </p:nvCxnSpPr>
          <p:spPr>
            <a:xfrm>
              <a:off x="4125271" y="2858540"/>
              <a:ext cx="4762824"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grpSp>
      <p:grpSp>
        <p:nvGrpSpPr>
          <p:cNvPr id="83" name="Gruppieren 184">
            <a:extLst>
              <a:ext uri="{FF2B5EF4-FFF2-40B4-BE49-F238E27FC236}">
                <a16:creationId xmlns:a16="http://schemas.microsoft.com/office/drawing/2014/main" id="{FC374966-31CB-C2EB-0A13-28C30D3C0811}"/>
              </a:ext>
            </a:extLst>
          </p:cNvPr>
          <p:cNvGrpSpPr/>
          <p:nvPr/>
        </p:nvGrpSpPr>
        <p:grpSpPr>
          <a:xfrm>
            <a:off x="525026" y="4157238"/>
            <a:ext cx="8359700" cy="1"/>
            <a:chOff x="528395" y="3206168"/>
            <a:chExt cx="8359700" cy="1"/>
          </a:xfrm>
        </p:grpSpPr>
        <p:cxnSp>
          <p:nvCxnSpPr>
            <p:cNvPr id="84" name="Straight Connector 21">
              <a:extLst>
                <a:ext uri="{FF2B5EF4-FFF2-40B4-BE49-F238E27FC236}">
                  <a16:creationId xmlns:a16="http://schemas.microsoft.com/office/drawing/2014/main" id="{5E72EFEE-4971-02F8-32A1-CE298C7E9C4F}"/>
                </a:ext>
              </a:extLst>
            </p:cNvPr>
            <p:cNvCxnSpPr>
              <a:cxnSpLocks/>
            </p:cNvCxnSpPr>
            <p:nvPr/>
          </p:nvCxnSpPr>
          <p:spPr>
            <a:xfrm>
              <a:off x="528395" y="3206169"/>
              <a:ext cx="251773"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85" name="Straight Connector 189">
              <a:extLst>
                <a:ext uri="{FF2B5EF4-FFF2-40B4-BE49-F238E27FC236}">
                  <a16:creationId xmlns:a16="http://schemas.microsoft.com/office/drawing/2014/main" id="{C6D4E767-849B-5F25-F013-8F9F92DFA94A}"/>
                </a:ext>
              </a:extLst>
            </p:cNvPr>
            <p:cNvCxnSpPr>
              <a:cxnSpLocks/>
            </p:cNvCxnSpPr>
            <p:nvPr/>
          </p:nvCxnSpPr>
          <p:spPr>
            <a:xfrm>
              <a:off x="917783" y="3206168"/>
              <a:ext cx="1170375"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86" name="Straight Connector 189">
              <a:extLst>
                <a:ext uri="{FF2B5EF4-FFF2-40B4-BE49-F238E27FC236}">
                  <a16:creationId xmlns:a16="http://schemas.microsoft.com/office/drawing/2014/main" id="{8DF18CF6-A4ED-3FFE-3657-CE0D510393FE}"/>
                </a:ext>
              </a:extLst>
            </p:cNvPr>
            <p:cNvCxnSpPr>
              <a:cxnSpLocks/>
            </p:cNvCxnSpPr>
            <p:nvPr/>
          </p:nvCxnSpPr>
          <p:spPr>
            <a:xfrm>
              <a:off x="2170688" y="3206168"/>
              <a:ext cx="1170375"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87" name="Straight Connector 189">
              <a:extLst>
                <a:ext uri="{FF2B5EF4-FFF2-40B4-BE49-F238E27FC236}">
                  <a16:creationId xmlns:a16="http://schemas.microsoft.com/office/drawing/2014/main" id="{257D5AAA-975F-B1E8-5842-6401ADC1430F}"/>
                </a:ext>
              </a:extLst>
            </p:cNvPr>
            <p:cNvCxnSpPr>
              <a:cxnSpLocks/>
            </p:cNvCxnSpPr>
            <p:nvPr/>
          </p:nvCxnSpPr>
          <p:spPr>
            <a:xfrm>
              <a:off x="3427190" y="3206168"/>
              <a:ext cx="612000"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88" name="Straight Connector 189">
              <a:extLst>
                <a:ext uri="{FF2B5EF4-FFF2-40B4-BE49-F238E27FC236}">
                  <a16:creationId xmlns:a16="http://schemas.microsoft.com/office/drawing/2014/main" id="{F480B697-F2AD-5417-B9DB-6D12F1EE3D1B}"/>
                </a:ext>
              </a:extLst>
            </p:cNvPr>
            <p:cNvCxnSpPr>
              <a:cxnSpLocks/>
            </p:cNvCxnSpPr>
            <p:nvPr/>
          </p:nvCxnSpPr>
          <p:spPr>
            <a:xfrm>
              <a:off x="4125271" y="3206168"/>
              <a:ext cx="4762824"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grpSp>
      <p:grpSp>
        <p:nvGrpSpPr>
          <p:cNvPr id="89" name="Gruppieren 180">
            <a:extLst>
              <a:ext uri="{FF2B5EF4-FFF2-40B4-BE49-F238E27FC236}">
                <a16:creationId xmlns:a16="http://schemas.microsoft.com/office/drawing/2014/main" id="{1D0EBB0E-B4A8-C1D9-5F3F-718A7FBF3F36}"/>
              </a:ext>
            </a:extLst>
          </p:cNvPr>
          <p:cNvGrpSpPr/>
          <p:nvPr/>
        </p:nvGrpSpPr>
        <p:grpSpPr>
          <a:xfrm>
            <a:off x="525253" y="1884041"/>
            <a:ext cx="8359473" cy="1"/>
            <a:chOff x="528622" y="1815656"/>
            <a:chExt cx="8359473" cy="1"/>
          </a:xfrm>
        </p:grpSpPr>
        <p:cxnSp>
          <p:nvCxnSpPr>
            <p:cNvPr id="90" name="Straight Connector 468">
              <a:extLst>
                <a:ext uri="{FF2B5EF4-FFF2-40B4-BE49-F238E27FC236}">
                  <a16:creationId xmlns:a16="http://schemas.microsoft.com/office/drawing/2014/main" id="{D03BF69C-7F81-25BE-4852-DFE7E13B89A2}"/>
                </a:ext>
              </a:extLst>
            </p:cNvPr>
            <p:cNvCxnSpPr>
              <a:cxnSpLocks/>
            </p:cNvCxnSpPr>
            <p:nvPr/>
          </p:nvCxnSpPr>
          <p:spPr>
            <a:xfrm>
              <a:off x="528622" y="1815657"/>
              <a:ext cx="251773"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91" name="Straight Connector 130">
              <a:extLst>
                <a:ext uri="{FF2B5EF4-FFF2-40B4-BE49-F238E27FC236}">
                  <a16:creationId xmlns:a16="http://schemas.microsoft.com/office/drawing/2014/main" id="{5BA87B19-D4DF-0B65-BF89-A98162C104F7}"/>
                </a:ext>
              </a:extLst>
            </p:cNvPr>
            <p:cNvCxnSpPr>
              <a:cxnSpLocks/>
            </p:cNvCxnSpPr>
            <p:nvPr/>
          </p:nvCxnSpPr>
          <p:spPr>
            <a:xfrm>
              <a:off x="918779" y="1815656"/>
              <a:ext cx="1170375"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130">
              <a:extLst>
                <a:ext uri="{FF2B5EF4-FFF2-40B4-BE49-F238E27FC236}">
                  <a16:creationId xmlns:a16="http://schemas.microsoft.com/office/drawing/2014/main" id="{1293626C-1416-EFF7-C269-9C203962E0B4}"/>
                </a:ext>
              </a:extLst>
            </p:cNvPr>
            <p:cNvCxnSpPr>
              <a:cxnSpLocks/>
            </p:cNvCxnSpPr>
            <p:nvPr/>
          </p:nvCxnSpPr>
          <p:spPr>
            <a:xfrm>
              <a:off x="2170688" y="1815656"/>
              <a:ext cx="1170375"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130">
              <a:extLst>
                <a:ext uri="{FF2B5EF4-FFF2-40B4-BE49-F238E27FC236}">
                  <a16:creationId xmlns:a16="http://schemas.microsoft.com/office/drawing/2014/main" id="{95F9A3C6-F27B-935D-938A-FCA0867EEFB0}"/>
                </a:ext>
              </a:extLst>
            </p:cNvPr>
            <p:cNvCxnSpPr>
              <a:cxnSpLocks/>
            </p:cNvCxnSpPr>
            <p:nvPr/>
          </p:nvCxnSpPr>
          <p:spPr>
            <a:xfrm>
              <a:off x="3427190" y="1815656"/>
              <a:ext cx="612000"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94" name="Straight Connector 130">
              <a:extLst>
                <a:ext uri="{FF2B5EF4-FFF2-40B4-BE49-F238E27FC236}">
                  <a16:creationId xmlns:a16="http://schemas.microsoft.com/office/drawing/2014/main" id="{9FB69A24-1A6D-753C-A0BB-C27DCE827A24}"/>
                </a:ext>
              </a:extLst>
            </p:cNvPr>
            <p:cNvCxnSpPr>
              <a:cxnSpLocks/>
            </p:cNvCxnSpPr>
            <p:nvPr/>
          </p:nvCxnSpPr>
          <p:spPr>
            <a:xfrm>
              <a:off x="4125271" y="1815656"/>
              <a:ext cx="4762824"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grpSp>
      <p:grpSp>
        <p:nvGrpSpPr>
          <p:cNvPr id="95" name="Gruppieren 185">
            <a:extLst>
              <a:ext uri="{FF2B5EF4-FFF2-40B4-BE49-F238E27FC236}">
                <a16:creationId xmlns:a16="http://schemas.microsoft.com/office/drawing/2014/main" id="{A392E3F6-DE80-3490-22AE-316669380549}"/>
              </a:ext>
            </a:extLst>
          </p:cNvPr>
          <p:cNvGrpSpPr/>
          <p:nvPr/>
        </p:nvGrpSpPr>
        <p:grpSpPr>
          <a:xfrm>
            <a:off x="525026" y="4359997"/>
            <a:ext cx="8359700" cy="0"/>
            <a:chOff x="528395" y="3553797"/>
            <a:chExt cx="8359700" cy="0"/>
          </a:xfrm>
        </p:grpSpPr>
        <p:cxnSp>
          <p:nvCxnSpPr>
            <p:cNvPr id="96" name="Straight Connector 469">
              <a:extLst>
                <a:ext uri="{FF2B5EF4-FFF2-40B4-BE49-F238E27FC236}">
                  <a16:creationId xmlns:a16="http://schemas.microsoft.com/office/drawing/2014/main" id="{0C5E5A6A-2008-0666-E655-B9DB71AA6D35}"/>
                </a:ext>
              </a:extLst>
            </p:cNvPr>
            <p:cNvCxnSpPr>
              <a:cxnSpLocks/>
            </p:cNvCxnSpPr>
            <p:nvPr/>
          </p:nvCxnSpPr>
          <p:spPr>
            <a:xfrm>
              <a:off x="528395" y="3553797"/>
              <a:ext cx="251773"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97" name="Straight Connector 150">
              <a:extLst>
                <a:ext uri="{FF2B5EF4-FFF2-40B4-BE49-F238E27FC236}">
                  <a16:creationId xmlns:a16="http://schemas.microsoft.com/office/drawing/2014/main" id="{0E6369D0-6126-BA4D-8818-68718286673C}"/>
                </a:ext>
              </a:extLst>
            </p:cNvPr>
            <p:cNvCxnSpPr>
              <a:cxnSpLocks/>
            </p:cNvCxnSpPr>
            <p:nvPr/>
          </p:nvCxnSpPr>
          <p:spPr>
            <a:xfrm>
              <a:off x="917783" y="3553797"/>
              <a:ext cx="1170375"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98" name="Straight Connector 150">
              <a:extLst>
                <a:ext uri="{FF2B5EF4-FFF2-40B4-BE49-F238E27FC236}">
                  <a16:creationId xmlns:a16="http://schemas.microsoft.com/office/drawing/2014/main" id="{1025F387-3E2A-C303-AC96-2532B7CD1C95}"/>
                </a:ext>
              </a:extLst>
            </p:cNvPr>
            <p:cNvCxnSpPr>
              <a:cxnSpLocks/>
            </p:cNvCxnSpPr>
            <p:nvPr/>
          </p:nvCxnSpPr>
          <p:spPr>
            <a:xfrm>
              <a:off x="2170688" y="3553797"/>
              <a:ext cx="1170375"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99" name="Straight Connector 150">
              <a:extLst>
                <a:ext uri="{FF2B5EF4-FFF2-40B4-BE49-F238E27FC236}">
                  <a16:creationId xmlns:a16="http://schemas.microsoft.com/office/drawing/2014/main" id="{6FAACAFF-F678-5CD5-DD68-44B34BF43BDF}"/>
                </a:ext>
              </a:extLst>
            </p:cNvPr>
            <p:cNvCxnSpPr>
              <a:cxnSpLocks/>
            </p:cNvCxnSpPr>
            <p:nvPr/>
          </p:nvCxnSpPr>
          <p:spPr>
            <a:xfrm>
              <a:off x="3427190" y="3553797"/>
              <a:ext cx="612000"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100" name="Straight Connector 150">
              <a:extLst>
                <a:ext uri="{FF2B5EF4-FFF2-40B4-BE49-F238E27FC236}">
                  <a16:creationId xmlns:a16="http://schemas.microsoft.com/office/drawing/2014/main" id="{A7F8FC0D-5036-1A81-ECD3-68DD71D1BBA5}"/>
                </a:ext>
              </a:extLst>
            </p:cNvPr>
            <p:cNvCxnSpPr>
              <a:cxnSpLocks/>
            </p:cNvCxnSpPr>
            <p:nvPr/>
          </p:nvCxnSpPr>
          <p:spPr>
            <a:xfrm>
              <a:off x="4125271" y="3553797"/>
              <a:ext cx="4762824"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grpSp>
      <p:sp>
        <p:nvSpPr>
          <p:cNvPr id="101" name="Speech Bubble: Rectangle 179">
            <a:extLst>
              <a:ext uri="{FF2B5EF4-FFF2-40B4-BE49-F238E27FC236}">
                <a16:creationId xmlns:a16="http://schemas.microsoft.com/office/drawing/2014/main" id="{22BD6AD6-AC29-C698-3689-2DB414FB9D4C}"/>
              </a:ext>
            </a:extLst>
          </p:cNvPr>
          <p:cNvSpPr/>
          <p:nvPr/>
        </p:nvSpPr>
        <p:spPr>
          <a:xfrm>
            <a:off x="7690757" y="1575604"/>
            <a:ext cx="1186791" cy="288147"/>
          </a:xfrm>
          <a:prstGeom prst="wedgeRectCallout">
            <a:avLst>
              <a:gd name="adj1" fmla="val -57528"/>
              <a:gd name="adj2" fmla="val 18201"/>
            </a:avLst>
          </a:prstGeom>
          <a:solidFill>
            <a:srgbClr val="FFFFFF"/>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fontAlgn="base">
              <a:spcBef>
                <a:spcPts val="300"/>
              </a:spcBef>
              <a:spcAft>
                <a:spcPct val="0"/>
              </a:spcAft>
              <a:buSzPct val="100000"/>
            </a:pPr>
            <a:r>
              <a:rPr lang="en-US" sz="700">
                <a:solidFill>
                  <a:schemeClr val="tx1"/>
                </a:solidFill>
                <a:sym typeface="+mn-lt"/>
              </a:rPr>
              <a:t>Acquisition rejected from</a:t>
            </a:r>
            <a:br>
              <a:rPr lang="en-US" sz="700">
                <a:solidFill>
                  <a:schemeClr val="tx1"/>
                </a:solidFill>
                <a:sym typeface="+mn-lt"/>
              </a:rPr>
            </a:br>
            <a:r>
              <a:rPr lang="en-US" sz="700">
                <a:solidFill>
                  <a:schemeClr val="tx1"/>
                </a:solidFill>
                <a:sym typeface="+mn-lt"/>
              </a:rPr>
              <a:t>French Ministry of Economy</a:t>
            </a:r>
          </a:p>
        </p:txBody>
      </p:sp>
      <p:grpSp>
        <p:nvGrpSpPr>
          <p:cNvPr id="102" name="Gruppieren 24">
            <a:extLst>
              <a:ext uri="{FF2B5EF4-FFF2-40B4-BE49-F238E27FC236}">
                <a16:creationId xmlns:a16="http://schemas.microsoft.com/office/drawing/2014/main" id="{A5C5391D-622C-8B0F-3AF3-21706E761793}"/>
              </a:ext>
            </a:extLst>
          </p:cNvPr>
          <p:cNvGrpSpPr/>
          <p:nvPr/>
        </p:nvGrpSpPr>
        <p:grpSpPr>
          <a:xfrm>
            <a:off x="250825" y="13448"/>
            <a:ext cx="2601506" cy="216000"/>
            <a:chOff x="250825" y="959449"/>
            <a:chExt cx="2601506" cy="216000"/>
          </a:xfrm>
        </p:grpSpPr>
        <p:sp>
          <p:nvSpPr>
            <p:cNvPr id="103" name="RbNavigator">
              <a:extLst>
                <a:ext uri="{FF2B5EF4-FFF2-40B4-BE49-F238E27FC236}">
                  <a16:creationId xmlns:a16="http://schemas.microsoft.com/office/drawing/2014/main" id="{092B8A57-9C9C-6898-244D-4AEBA16ECD7E}"/>
                </a:ext>
              </a:extLst>
            </p:cNvPr>
            <p:cNvSpPr txBox="1">
              <a:spLocks/>
            </p:cNvSpPr>
            <p:nvPr/>
          </p:nvSpPr>
          <p:spPr>
            <a:xfrm>
              <a:off x="250825" y="959449"/>
              <a:ext cx="216000" cy="216000"/>
            </a:xfrm>
            <a:prstGeom prst="ellipse">
              <a:avLst/>
            </a:prstGeom>
            <a:solidFill>
              <a:schemeClr val="tx1"/>
            </a:solidFill>
            <a:ln w="6350">
              <a:noFill/>
            </a:ln>
          </p:spPr>
          <p:txBody>
            <a:bodyPr vert="horz" wrap="none" lIns="0" tIns="0" rIns="0" bIns="0" rtlCol="0" anchor="ctr">
              <a:noAutofit/>
            </a:bodyPr>
            <a:lstStyle>
              <a:defPPr>
                <a:defRPr lang="en-EN"/>
              </a:defPPr>
              <a:lvl1pPr algn="ctr">
                <a:lnSpc>
                  <a:spcPct val="100000"/>
                </a:lnSpc>
                <a:spcBef>
                  <a:spcPts val="0"/>
                </a:spcBef>
                <a:spcAft>
                  <a:spcPts val="0"/>
                </a:spcAft>
                <a:buClr>
                  <a:srgbClr val="000000"/>
                </a:buClr>
                <a:buSzPct val="100000"/>
                <a:defRPr kumimoji="1" sz="900">
                  <a:solidFill>
                    <a:schemeClr val="bg1"/>
                  </a:solidFill>
                  <a:latin typeface="+mn-lt"/>
                </a:defRPr>
              </a:lvl1pPr>
            </a:lstStyle>
            <a:p>
              <a:r>
                <a:rPr lang="en-US" sz="900">
                  <a:latin typeface="+mn-lt"/>
                  <a:ea typeface="+mn-ea"/>
                  <a:cs typeface="+mn-cs"/>
                  <a:sym typeface="+mn-lt"/>
                </a:rPr>
                <a:t>5</a:t>
              </a:r>
            </a:p>
          </p:txBody>
        </p:sp>
        <p:sp>
          <p:nvSpPr>
            <p:cNvPr id="104" name="RbSticker">
              <a:extLst>
                <a:ext uri="{FF2B5EF4-FFF2-40B4-BE49-F238E27FC236}">
                  <a16:creationId xmlns:a16="http://schemas.microsoft.com/office/drawing/2014/main" id="{7D3D6028-7FEC-36D6-067F-A112B08D32FB}"/>
                </a:ext>
              </a:extLst>
            </p:cNvPr>
            <p:cNvSpPr txBox="1">
              <a:spLocks/>
            </p:cNvSpPr>
            <p:nvPr/>
          </p:nvSpPr>
          <p:spPr>
            <a:xfrm>
              <a:off x="548331" y="998200"/>
              <a:ext cx="2304000" cy="13849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defPPr>
                <a:defRPr lang="en-EN"/>
              </a:defPPr>
              <a:lvl1pPr>
                <a:lnSpc>
                  <a:spcPct val="100000"/>
                </a:lnSpc>
                <a:spcBef>
                  <a:spcPts val="0"/>
                </a:spcBef>
                <a:spcAft>
                  <a:spcPts val="0"/>
                </a:spcAft>
                <a:buClr>
                  <a:srgbClr val="000000"/>
                </a:buClr>
                <a:buSzPct val="100000"/>
                <a:defRPr sz="900">
                  <a:latin typeface="+mn-lt"/>
                </a:defRPr>
              </a:lvl1pPr>
            </a:lstStyle>
            <a:p>
              <a:r>
                <a:rPr lang="en-US" sz="900" b="1"/>
                <a:t>M&amp;A</a:t>
              </a:r>
            </a:p>
          </p:txBody>
        </p:sp>
      </p:grpSp>
      <p:grpSp>
        <p:nvGrpSpPr>
          <p:cNvPr id="105" name="Gruppieren 523">
            <a:extLst>
              <a:ext uri="{FF2B5EF4-FFF2-40B4-BE49-F238E27FC236}">
                <a16:creationId xmlns:a16="http://schemas.microsoft.com/office/drawing/2014/main" id="{8752CF9D-29D7-72B4-5CF2-0E3D960E668D}"/>
              </a:ext>
            </a:extLst>
          </p:cNvPr>
          <p:cNvGrpSpPr/>
          <p:nvPr/>
        </p:nvGrpSpPr>
        <p:grpSpPr>
          <a:xfrm>
            <a:off x="525026" y="3105474"/>
            <a:ext cx="8359700" cy="1"/>
            <a:chOff x="528395" y="2510912"/>
            <a:chExt cx="8359700" cy="1"/>
          </a:xfrm>
        </p:grpSpPr>
        <p:cxnSp>
          <p:nvCxnSpPr>
            <p:cNvPr id="106" name="Straight Connector 19">
              <a:extLst>
                <a:ext uri="{FF2B5EF4-FFF2-40B4-BE49-F238E27FC236}">
                  <a16:creationId xmlns:a16="http://schemas.microsoft.com/office/drawing/2014/main" id="{FEDCE0E8-80FC-474A-9C5C-935B570F0E8A}"/>
                </a:ext>
              </a:extLst>
            </p:cNvPr>
            <p:cNvCxnSpPr>
              <a:cxnSpLocks/>
            </p:cNvCxnSpPr>
            <p:nvPr/>
          </p:nvCxnSpPr>
          <p:spPr>
            <a:xfrm>
              <a:off x="528395" y="2510913"/>
              <a:ext cx="251773"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107" name="Straight Connector 187">
              <a:extLst>
                <a:ext uri="{FF2B5EF4-FFF2-40B4-BE49-F238E27FC236}">
                  <a16:creationId xmlns:a16="http://schemas.microsoft.com/office/drawing/2014/main" id="{063D8904-2F89-ADAA-E114-E47447CB69EE}"/>
                </a:ext>
              </a:extLst>
            </p:cNvPr>
            <p:cNvCxnSpPr>
              <a:cxnSpLocks/>
            </p:cNvCxnSpPr>
            <p:nvPr/>
          </p:nvCxnSpPr>
          <p:spPr>
            <a:xfrm>
              <a:off x="917783" y="2510912"/>
              <a:ext cx="1170375"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108" name="Straight Connector 187">
              <a:extLst>
                <a:ext uri="{FF2B5EF4-FFF2-40B4-BE49-F238E27FC236}">
                  <a16:creationId xmlns:a16="http://schemas.microsoft.com/office/drawing/2014/main" id="{633F4955-8ECD-FECB-F3B8-6EF4501269BF}"/>
                </a:ext>
              </a:extLst>
            </p:cNvPr>
            <p:cNvCxnSpPr>
              <a:cxnSpLocks/>
            </p:cNvCxnSpPr>
            <p:nvPr/>
          </p:nvCxnSpPr>
          <p:spPr>
            <a:xfrm>
              <a:off x="2170688" y="2510912"/>
              <a:ext cx="1170375"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109" name="Straight Connector 187">
              <a:extLst>
                <a:ext uri="{FF2B5EF4-FFF2-40B4-BE49-F238E27FC236}">
                  <a16:creationId xmlns:a16="http://schemas.microsoft.com/office/drawing/2014/main" id="{929B9E7A-82DD-79F7-B517-6BA5686E62EF}"/>
                </a:ext>
              </a:extLst>
            </p:cNvPr>
            <p:cNvCxnSpPr>
              <a:cxnSpLocks/>
            </p:cNvCxnSpPr>
            <p:nvPr/>
          </p:nvCxnSpPr>
          <p:spPr>
            <a:xfrm>
              <a:off x="3427190" y="2510912"/>
              <a:ext cx="612000"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110" name="Straight Connector 187">
              <a:extLst>
                <a:ext uri="{FF2B5EF4-FFF2-40B4-BE49-F238E27FC236}">
                  <a16:creationId xmlns:a16="http://schemas.microsoft.com/office/drawing/2014/main" id="{97959995-378B-DB5C-23C3-D22EAD79F7EA}"/>
                </a:ext>
              </a:extLst>
            </p:cNvPr>
            <p:cNvCxnSpPr>
              <a:cxnSpLocks/>
            </p:cNvCxnSpPr>
            <p:nvPr/>
          </p:nvCxnSpPr>
          <p:spPr>
            <a:xfrm>
              <a:off x="4125271" y="2510912"/>
              <a:ext cx="4762824"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grpSp>
      <p:grpSp>
        <p:nvGrpSpPr>
          <p:cNvPr id="111" name="Gruppieren 532">
            <a:extLst>
              <a:ext uri="{FF2B5EF4-FFF2-40B4-BE49-F238E27FC236}">
                <a16:creationId xmlns:a16="http://schemas.microsoft.com/office/drawing/2014/main" id="{D53E42BA-4B20-1E19-41C9-36257443ED83}"/>
              </a:ext>
            </a:extLst>
          </p:cNvPr>
          <p:cNvGrpSpPr/>
          <p:nvPr/>
        </p:nvGrpSpPr>
        <p:grpSpPr>
          <a:xfrm>
            <a:off x="339285" y="3510992"/>
            <a:ext cx="8545441" cy="136800"/>
            <a:chOff x="342654" y="3095176"/>
            <a:chExt cx="8545441" cy="136800"/>
          </a:xfrm>
        </p:grpSpPr>
        <p:sp>
          <p:nvSpPr>
            <p:cNvPr id="112" name="636130924584304792Table First Content Row Header 68">
              <a:extLst>
                <a:ext uri="{FF2B5EF4-FFF2-40B4-BE49-F238E27FC236}">
                  <a16:creationId xmlns:a16="http://schemas.microsoft.com/office/drawing/2014/main" id="{76A88385-60AB-868F-8DF1-C571AB7C108F}"/>
                </a:ext>
              </a:extLst>
            </p:cNvPr>
            <p:cNvSpPr txBox="1">
              <a:spLocks/>
            </p:cNvSpPr>
            <p:nvPr/>
          </p:nvSpPr>
          <p:spPr>
            <a:xfrm>
              <a:off x="528395" y="3108176"/>
              <a:ext cx="252000" cy="96950"/>
            </a:xfrm>
            <a:prstGeom prst="rect">
              <a:avLst/>
            </a:prstGeom>
            <a:noFill/>
            <a:ln w="9525">
              <a:noFill/>
            </a:ln>
          </p:spPr>
          <p:txBody>
            <a:bodyPr vert="horz" wrap="square" lIns="0" tIns="0" rIns="0" bIns="0" rtlCol="0" anchor="t">
              <a:spAutoFit/>
            </a:bodyPr>
            <a:lstStyle/>
            <a:p>
              <a:pPr>
                <a:lnSpc>
                  <a:spcPct val="90000"/>
                </a:lnSpc>
                <a:spcBef>
                  <a:spcPts val="300"/>
                </a:spcBef>
                <a:buClr>
                  <a:srgbClr val="000000"/>
                </a:buClr>
                <a:buSzPct val="100000"/>
                <a:buFont typeface=""/>
              </a:pPr>
              <a:r>
                <a:rPr lang="en-US" sz="700">
                  <a:solidFill>
                    <a:schemeClr val="accent3"/>
                  </a:solidFill>
                </a:rPr>
                <a:t>2019</a:t>
              </a:r>
            </a:p>
          </p:txBody>
        </p:sp>
        <p:sp>
          <p:nvSpPr>
            <p:cNvPr id="113" name="Oval 33">
              <a:extLst>
                <a:ext uri="{FF2B5EF4-FFF2-40B4-BE49-F238E27FC236}">
                  <a16:creationId xmlns:a16="http://schemas.microsoft.com/office/drawing/2014/main" id="{788F46A5-DC1B-E98B-D719-5D6E0807149B}"/>
                </a:ext>
              </a:extLst>
            </p:cNvPr>
            <p:cNvSpPr/>
            <p:nvPr/>
          </p:nvSpPr>
          <p:spPr>
            <a:xfrm>
              <a:off x="342654" y="3122176"/>
              <a:ext cx="82296" cy="82800"/>
            </a:xfrm>
            <a:prstGeom prst="ellipse">
              <a:avLst/>
            </a:prstGeom>
            <a:solidFill>
              <a:schemeClr val="accent3"/>
            </a:solid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800">
                <a:solidFill>
                  <a:schemeClr val="tx1"/>
                </a:solidFill>
                <a:sym typeface="+mn-lt"/>
              </a:endParaRPr>
            </a:p>
          </p:txBody>
        </p:sp>
        <p:sp>
          <p:nvSpPr>
            <p:cNvPr id="114" name="636130924584304792Table First Content Row Header 68">
              <a:extLst>
                <a:ext uri="{FF2B5EF4-FFF2-40B4-BE49-F238E27FC236}">
                  <a16:creationId xmlns:a16="http://schemas.microsoft.com/office/drawing/2014/main" id="{2D7E1341-0238-6611-96A6-1A08C1A268D0}"/>
                </a:ext>
              </a:extLst>
            </p:cNvPr>
            <p:cNvSpPr txBox="1">
              <a:spLocks/>
            </p:cNvSpPr>
            <p:nvPr/>
          </p:nvSpPr>
          <p:spPr>
            <a:xfrm>
              <a:off x="1059723" y="3115101"/>
              <a:ext cx="1028435"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err="1"/>
                <a:t>tiv</a:t>
              </a:r>
              <a:r>
                <a:rPr lang="en-US" sz="700"/>
                <a:t> valves</a:t>
              </a:r>
            </a:p>
          </p:txBody>
        </p:sp>
        <p:sp>
          <p:nvSpPr>
            <p:cNvPr id="115" name="636130924584304792Table First Content Row Header 68">
              <a:extLst>
                <a:ext uri="{FF2B5EF4-FFF2-40B4-BE49-F238E27FC236}">
                  <a16:creationId xmlns:a16="http://schemas.microsoft.com/office/drawing/2014/main" id="{D635984E-C282-9B83-FBEB-A26349580EEA}"/>
                </a:ext>
              </a:extLst>
            </p:cNvPr>
            <p:cNvSpPr txBox="1">
              <a:spLocks/>
            </p:cNvSpPr>
            <p:nvPr/>
          </p:nvSpPr>
          <p:spPr>
            <a:xfrm>
              <a:off x="2348343" y="3115101"/>
              <a:ext cx="992721"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Pietro </a:t>
              </a:r>
              <a:r>
                <a:rPr lang="en-US" sz="700" err="1"/>
                <a:t>Fiorentini</a:t>
              </a:r>
              <a:endParaRPr lang="en-US" sz="700"/>
            </a:p>
          </p:txBody>
        </p:sp>
        <p:sp>
          <p:nvSpPr>
            <p:cNvPr id="116" name="636130924584304792Table First Content Row Header 68">
              <a:extLst>
                <a:ext uri="{FF2B5EF4-FFF2-40B4-BE49-F238E27FC236}">
                  <a16:creationId xmlns:a16="http://schemas.microsoft.com/office/drawing/2014/main" id="{DB7F8B92-1A6E-8BD1-6798-053B30418F3B}"/>
                </a:ext>
              </a:extLst>
            </p:cNvPr>
            <p:cNvSpPr txBox="1">
              <a:spLocks/>
            </p:cNvSpPr>
            <p:nvPr/>
          </p:nvSpPr>
          <p:spPr>
            <a:xfrm>
              <a:off x="3427190" y="3115101"/>
              <a:ext cx="612000" cy="96950"/>
            </a:xfrm>
            <a:prstGeom prst="rect">
              <a:avLst/>
            </a:prstGeom>
            <a:noFill/>
            <a:ln w="9525">
              <a:noFill/>
            </a:ln>
          </p:spPr>
          <p:txBody>
            <a:bodyPr vert="horz" wrap="square" lIns="0" tIns="0" rIns="0" bIns="0" rtlCol="0" anchor="ctr" anchorCtr="0">
              <a:spAutoFit/>
            </a:bodyPr>
            <a:lstStyle/>
            <a:p>
              <a:pPr algn="ctr">
                <a:lnSpc>
                  <a:spcPct val="90000"/>
                </a:lnSpc>
                <a:spcBef>
                  <a:spcPts val="300"/>
                </a:spcBef>
                <a:buClr>
                  <a:srgbClr val="000000"/>
                </a:buClr>
                <a:buSzPct val="100000"/>
                <a:buFont typeface=""/>
              </a:pPr>
              <a:r>
                <a:rPr lang="en-US" sz="700"/>
                <a:t>EUR 6 m</a:t>
              </a:r>
            </a:p>
          </p:txBody>
        </p:sp>
        <p:sp>
          <p:nvSpPr>
            <p:cNvPr id="117" name="Rectangle 484">
              <a:extLst>
                <a:ext uri="{FF2B5EF4-FFF2-40B4-BE49-F238E27FC236}">
                  <a16:creationId xmlns:a16="http://schemas.microsoft.com/office/drawing/2014/main" id="{413270B7-064D-D34A-7E35-57B51EC7C4B5}"/>
                </a:ext>
              </a:extLst>
            </p:cNvPr>
            <p:cNvSpPr>
              <a:spLocks/>
            </p:cNvSpPr>
            <p:nvPr/>
          </p:nvSpPr>
          <p:spPr>
            <a:xfrm>
              <a:off x="4125271" y="3109715"/>
              <a:ext cx="4762824" cy="1077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spAutoFit/>
            </a:bodyPr>
            <a:lstStyle/>
            <a:p>
              <a:pPr>
                <a:buSzPct val="100000"/>
                <a:defRPr/>
              </a:pPr>
              <a:r>
                <a:rPr lang="en-US" sz="700" b="1" kern="1200">
                  <a:solidFill>
                    <a:schemeClr val="accent4"/>
                  </a:solidFill>
                </a:rPr>
                <a:t>Portfolio expansion: </a:t>
              </a:r>
              <a:r>
                <a:rPr lang="en-US" sz="700">
                  <a:solidFill>
                    <a:srgbClr val="212121"/>
                  </a:solidFill>
                </a:rPr>
                <a:t>Optimize manufacturing, expand portfolio (ball valves)</a:t>
              </a:r>
            </a:p>
          </p:txBody>
        </p:sp>
        <p:pic>
          <p:nvPicPr>
            <p:cNvPr id="118" name="Graphic 28">
              <a:extLst>
                <a:ext uri="{FF2B5EF4-FFF2-40B4-BE49-F238E27FC236}">
                  <a16:creationId xmlns:a16="http://schemas.microsoft.com/office/drawing/2014/main" id="{1952B17A-14F0-0166-AFD8-4DF16185C00E}"/>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170688" y="3095176"/>
              <a:ext cx="137160" cy="136800"/>
            </a:xfrm>
            <a:prstGeom prst="rect">
              <a:avLst/>
            </a:prstGeom>
          </p:spPr>
        </p:pic>
        <p:pic>
          <p:nvPicPr>
            <p:cNvPr id="119" name="Graphic 28">
              <a:extLst>
                <a:ext uri="{FF2B5EF4-FFF2-40B4-BE49-F238E27FC236}">
                  <a16:creationId xmlns:a16="http://schemas.microsoft.com/office/drawing/2014/main" id="{0AB8BE84-7FD7-95C9-FECB-3D16AF315244}"/>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910858" y="3095176"/>
              <a:ext cx="137160" cy="136800"/>
            </a:xfrm>
            <a:prstGeom prst="rect">
              <a:avLst/>
            </a:prstGeom>
          </p:spPr>
        </p:pic>
      </p:grpSp>
      <p:grpSp>
        <p:nvGrpSpPr>
          <p:cNvPr id="120" name="Gruppieren 533">
            <a:extLst>
              <a:ext uri="{FF2B5EF4-FFF2-40B4-BE49-F238E27FC236}">
                <a16:creationId xmlns:a16="http://schemas.microsoft.com/office/drawing/2014/main" id="{7B28FAC1-CDE3-5450-A230-CF5D0A0E3909}"/>
              </a:ext>
            </a:extLst>
          </p:cNvPr>
          <p:cNvGrpSpPr/>
          <p:nvPr/>
        </p:nvGrpSpPr>
        <p:grpSpPr>
          <a:xfrm>
            <a:off x="907489" y="3308233"/>
            <a:ext cx="7977237" cy="136800"/>
            <a:chOff x="910858" y="3095176"/>
            <a:chExt cx="7977237" cy="136800"/>
          </a:xfrm>
        </p:grpSpPr>
        <p:sp>
          <p:nvSpPr>
            <p:cNvPr id="121" name="636130924584304792Table First Content Row Header 68">
              <a:extLst>
                <a:ext uri="{FF2B5EF4-FFF2-40B4-BE49-F238E27FC236}">
                  <a16:creationId xmlns:a16="http://schemas.microsoft.com/office/drawing/2014/main" id="{0D269316-0C2A-4396-67A0-B595F89C2093}"/>
                </a:ext>
              </a:extLst>
            </p:cNvPr>
            <p:cNvSpPr txBox="1">
              <a:spLocks/>
            </p:cNvSpPr>
            <p:nvPr/>
          </p:nvSpPr>
          <p:spPr>
            <a:xfrm>
              <a:off x="1059723" y="3115101"/>
              <a:ext cx="1028435"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QUAM</a:t>
              </a:r>
            </a:p>
          </p:txBody>
        </p:sp>
        <p:sp>
          <p:nvSpPr>
            <p:cNvPr id="122" name="636130924584304792Table First Content Row Header 68">
              <a:extLst>
                <a:ext uri="{FF2B5EF4-FFF2-40B4-BE49-F238E27FC236}">
                  <a16:creationId xmlns:a16="http://schemas.microsoft.com/office/drawing/2014/main" id="{88A5E983-B0BC-EBB0-2921-B416AAD0EB01}"/>
                </a:ext>
              </a:extLst>
            </p:cNvPr>
            <p:cNvSpPr txBox="1">
              <a:spLocks/>
            </p:cNvSpPr>
            <p:nvPr/>
          </p:nvSpPr>
          <p:spPr>
            <a:xfrm>
              <a:off x="2348343" y="3115101"/>
              <a:ext cx="992721"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Bonomi Group</a:t>
              </a:r>
            </a:p>
          </p:txBody>
        </p:sp>
        <p:sp>
          <p:nvSpPr>
            <p:cNvPr id="123" name="636130924584304792Table First Content Row Header 68">
              <a:extLst>
                <a:ext uri="{FF2B5EF4-FFF2-40B4-BE49-F238E27FC236}">
                  <a16:creationId xmlns:a16="http://schemas.microsoft.com/office/drawing/2014/main" id="{E3874156-2900-B6C9-8EBA-45DF3312A189}"/>
                </a:ext>
              </a:extLst>
            </p:cNvPr>
            <p:cNvSpPr txBox="1">
              <a:spLocks/>
            </p:cNvSpPr>
            <p:nvPr/>
          </p:nvSpPr>
          <p:spPr>
            <a:xfrm>
              <a:off x="3427190" y="3115101"/>
              <a:ext cx="612000" cy="96950"/>
            </a:xfrm>
            <a:prstGeom prst="rect">
              <a:avLst/>
            </a:prstGeom>
            <a:noFill/>
            <a:ln w="9525">
              <a:noFill/>
            </a:ln>
          </p:spPr>
          <p:txBody>
            <a:bodyPr vert="horz" wrap="square" lIns="0" tIns="0" rIns="0" bIns="0" rtlCol="0" anchor="ctr" anchorCtr="0">
              <a:spAutoFit/>
            </a:bodyPr>
            <a:lstStyle/>
            <a:p>
              <a:pPr algn="ctr">
                <a:lnSpc>
                  <a:spcPct val="90000"/>
                </a:lnSpc>
                <a:spcBef>
                  <a:spcPts val="300"/>
                </a:spcBef>
                <a:buClr>
                  <a:srgbClr val="000000"/>
                </a:buClr>
                <a:buSzPct val="100000"/>
                <a:buFont typeface=""/>
              </a:pPr>
              <a:r>
                <a:rPr lang="en-US" sz="700"/>
                <a:t>EUR 14 m</a:t>
              </a:r>
            </a:p>
          </p:txBody>
        </p:sp>
        <p:sp>
          <p:nvSpPr>
            <p:cNvPr id="124" name="Rectangle 484">
              <a:extLst>
                <a:ext uri="{FF2B5EF4-FFF2-40B4-BE49-F238E27FC236}">
                  <a16:creationId xmlns:a16="http://schemas.microsoft.com/office/drawing/2014/main" id="{F473FC3E-D624-D422-BD62-7E993D050219}"/>
                </a:ext>
              </a:extLst>
            </p:cNvPr>
            <p:cNvSpPr>
              <a:spLocks/>
            </p:cNvSpPr>
            <p:nvPr/>
          </p:nvSpPr>
          <p:spPr>
            <a:xfrm>
              <a:off x="4125271" y="3109715"/>
              <a:ext cx="4762824" cy="1077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spAutoFit/>
            </a:bodyPr>
            <a:lstStyle/>
            <a:p>
              <a:pPr>
                <a:buSzPct val="100000"/>
                <a:defRPr/>
              </a:pPr>
              <a:r>
                <a:rPr lang="en-US" sz="700" b="1" kern="1200">
                  <a:solidFill>
                    <a:schemeClr val="accent4"/>
                  </a:solidFill>
                </a:rPr>
                <a:t>Portfolio expansion: </a:t>
              </a:r>
              <a:r>
                <a:rPr lang="en-US" sz="700">
                  <a:solidFill>
                    <a:srgbClr val="212121"/>
                  </a:solidFill>
                </a:rPr>
                <a:t>Expand product coverage to O&amp;G choke valves</a:t>
              </a:r>
            </a:p>
          </p:txBody>
        </p:sp>
        <p:pic>
          <p:nvPicPr>
            <p:cNvPr id="125" name="Graphic 28">
              <a:extLst>
                <a:ext uri="{FF2B5EF4-FFF2-40B4-BE49-F238E27FC236}">
                  <a16:creationId xmlns:a16="http://schemas.microsoft.com/office/drawing/2014/main" id="{6F7B603A-9B82-920B-C26E-4BA286F15C8A}"/>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170688" y="3095176"/>
              <a:ext cx="137160" cy="136800"/>
            </a:xfrm>
            <a:prstGeom prst="rect">
              <a:avLst/>
            </a:prstGeom>
          </p:spPr>
        </p:pic>
        <p:pic>
          <p:nvPicPr>
            <p:cNvPr id="126" name="Graphic 28">
              <a:extLst>
                <a:ext uri="{FF2B5EF4-FFF2-40B4-BE49-F238E27FC236}">
                  <a16:creationId xmlns:a16="http://schemas.microsoft.com/office/drawing/2014/main" id="{084F1E98-868D-B150-F79A-41C11C519A67}"/>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910858" y="3095176"/>
              <a:ext cx="137160" cy="136800"/>
            </a:xfrm>
            <a:prstGeom prst="rect">
              <a:avLst/>
            </a:prstGeom>
          </p:spPr>
        </p:pic>
      </p:grpSp>
      <p:grpSp>
        <p:nvGrpSpPr>
          <p:cNvPr id="127" name="Gruppieren 542">
            <a:extLst>
              <a:ext uri="{FF2B5EF4-FFF2-40B4-BE49-F238E27FC236}">
                <a16:creationId xmlns:a16="http://schemas.microsoft.com/office/drawing/2014/main" id="{5AC85C01-0B04-A42A-8C8D-D537A5D8125C}"/>
              </a:ext>
            </a:extLst>
          </p:cNvPr>
          <p:cNvGrpSpPr/>
          <p:nvPr/>
        </p:nvGrpSpPr>
        <p:grpSpPr>
          <a:xfrm>
            <a:off x="339285" y="3138454"/>
            <a:ext cx="8545441" cy="136800"/>
            <a:chOff x="342654" y="3095176"/>
            <a:chExt cx="8545441" cy="136800"/>
          </a:xfrm>
        </p:grpSpPr>
        <p:sp>
          <p:nvSpPr>
            <p:cNvPr id="128" name="636130924584304792Table First Content Row Header 68">
              <a:extLst>
                <a:ext uri="{FF2B5EF4-FFF2-40B4-BE49-F238E27FC236}">
                  <a16:creationId xmlns:a16="http://schemas.microsoft.com/office/drawing/2014/main" id="{200FC050-CFB3-6396-9CD1-DFC86BB69F23}"/>
                </a:ext>
              </a:extLst>
            </p:cNvPr>
            <p:cNvSpPr txBox="1">
              <a:spLocks/>
            </p:cNvSpPr>
            <p:nvPr/>
          </p:nvSpPr>
          <p:spPr>
            <a:xfrm>
              <a:off x="528395" y="3108176"/>
              <a:ext cx="252000" cy="96950"/>
            </a:xfrm>
            <a:prstGeom prst="rect">
              <a:avLst/>
            </a:prstGeom>
            <a:noFill/>
            <a:ln w="9525">
              <a:noFill/>
            </a:ln>
          </p:spPr>
          <p:txBody>
            <a:bodyPr vert="horz" wrap="square" lIns="0" tIns="0" rIns="0" bIns="0" rtlCol="0" anchor="t">
              <a:spAutoFit/>
            </a:bodyPr>
            <a:lstStyle/>
            <a:p>
              <a:pPr>
                <a:lnSpc>
                  <a:spcPct val="90000"/>
                </a:lnSpc>
                <a:spcBef>
                  <a:spcPts val="300"/>
                </a:spcBef>
                <a:buClr>
                  <a:srgbClr val="000000"/>
                </a:buClr>
                <a:buSzPct val="100000"/>
                <a:buFont typeface=""/>
              </a:pPr>
              <a:r>
                <a:rPr lang="en-US" sz="700">
                  <a:solidFill>
                    <a:schemeClr val="accent3"/>
                  </a:solidFill>
                </a:rPr>
                <a:t>2020</a:t>
              </a:r>
            </a:p>
          </p:txBody>
        </p:sp>
        <p:sp>
          <p:nvSpPr>
            <p:cNvPr id="129" name="Oval 33">
              <a:extLst>
                <a:ext uri="{FF2B5EF4-FFF2-40B4-BE49-F238E27FC236}">
                  <a16:creationId xmlns:a16="http://schemas.microsoft.com/office/drawing/2014/main" id="{80F7C51A-FE13-2225-3AD3-1CDDD6A7FB31}"/>
                </a:ext>
              </a:extLst>
            </p:cNvPr>
            <p:cNvSpPr/>
            <p:nvPr/>
          </p:nvSpPr>
          <p:spPr>
            <a:xfrm>
              <a:off x="342654" y="3122176"/>
              <a:ext cx="82296" cy="82800"/>
            </a:xfrm>
            <a:prstGeom prst="ellipse">
              <a:avLst/>
            </a:prstGeom>
            <a:solidFill>
              <a:schemeClr val="accent3"/>
            </a:solidFill>
            <a:ln w="190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800">
                <a:solidFill>
                  <a:schemeClr val="tx1"/>
                </a:solidFill>
                <a:sym typeface="+mn-lt"/>
              </a:endParaRPr>
            </a:p>
          </p:txBody>
        </p:sp>
        <p:sp>
          <p:nvSpPr>
            <p:cNvPr id="130" name="636130924584304792Table First Content Row Header 68">
              <a:extLst>
                <a:ext uri="{FF2B5EF4-FFF2-40B4-BE49-F238E27FC236}">
                  <a16:creationId xmlns:a16="http://schemas.microsoft.com/office/drawing/2014/main" id="{85AF4AB0-1BA6-27C5-5467-9CED3EFDE48E}"/>
                </a:ext>
              </a:extLst>
            </p:cNvPr>
            <p:cNvSpPr txBox="1">
              <a:spLocks/>
            </p:cNvSpPr>
            <p:nvPr/>
          </p:nvSpPr>
          <p:spPr>
            <a:xfrm>
              <a:off x="1059723" y="3115101"/>
              <a:ext cx="1028435"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BEL VALVES</a:t>
              </a:r>
            </a:p>
          </p:txBody>
        </p:sp>
        <p:sp>
          <p:nvSpPr>
            <p:cNvPr id="131" name="636130924584304792Table First Content Row Header 68">
              <a:extLst>
                <a:ext uri="{FF2B5EF4-FFF2-40B4-BE49-F238E27FC236}">
                  <a16:creationId xmlns:a16="http://schemas.microsoft.com/office/drawing/2014/main" id="{AB0C8DB8-155F-392D-3920-E569183E6FC5}"/>
                </a:ext>
              </a:extLst>
            </p:cNvPr>
            <p:cNvSpPr txBox="1">
              <a:spLocks/>
            </p:cNvSpPr>
            <p:nvPr/>
          </p:nvSpPr>
          <p:spPr>
            <a:xfrm>
              <a:off x="2348343" y="3115101"/>
              <a:ext cx="992721"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OMB</a:t>
              </a:r>
            </a:p>
          </p:txBody>
        </p:sp>
        <p:sp>
          <p:nvSpPr>
            <p:cNvPr id="132" name="636130924584304792Table First Content Row Header 68">
              <a:extLst>
                <a:ext uri="{FF2B5EF4-FFF2-40B4-BE49-F238E27FC236}">
                  <a16:creationId xmlns:a16="http://schemas.microsoft.com/office/drawing/2014/main" id="{D60F9CB1-8E28-94BA-717B-28B4EC2F6C73}"/>
                </a:ext>
              </a:extLst>
            </p:cNvPr>
            <p:cNvSpPr txBox="1">
              <a:spLocks/>
            </p:cNvSpPr>
            <p:nvPr/>
          </p:nvSpPr>
          <p:spPr>
            <a:xfrm>
              <a:off x="3427190" y="3115101"/>
              <a:ext cx="612000" cy="96950"/>
            </a:xfrm>
            <a:prstGeom prst="rect">
              <a:avLst/>
            </a:prstGeom>
            <a:noFill/>
            <a:ln w="9525">
              <a:noFill/>
            </a:ln>
          </p:spPr>
          <p:txBody>
            <a:bodyPr vert="horz" wrap="square" lIns="0" tIns="0" rIns="0" bIns="0" rtlCol="0" anchor="ctr" anchorCtr="0">
              <a:spAutoFit/>
            </a:bodyPr>
            <a:lstStyle/>
            <a:p>
              <a:pPr algn="ctr">
                <a:lnSpc>
                  <a:spcPct val="90000"/>
                </a:lnSpc>
                <a:spcBef>
                  <a:spcPts val="300"/>
                </a:spcBef>
                <a:buClr>
                  <a:srgbClr val="000000"/>
                </a:buClr>
                <a:buSzPct val="100000"/>
                <a:buFont typeface=""/>
              </a:pPr>
              <a:r>
                <a:rPr lang="en-US" sz="700"/>
                <a:t>EUR 5 m</a:t>
              </a:r>
            </a:p>
          </p:txBody>
        </p:sp>
        <p:sp>
          <p:nvSpPr>
            <p:cNvPr id="133" name="Rectangle 484">
              <a:extLst>
                <a:ext uri="{FF2B5EF4-FFF2-40B4-BE49-F238E27FC236}">
                  <a16:creationId xmlns:a16="http://schemas.microsoft.com/office/drawing/2014/main" id="{075DC913-009B-FFB9-9785-154A55EA58CD}"/>
                </a:ext>
              </a:extLst>
            </p:cNvPr>
            <p:cNvSpPr>
              <a:spLocks/>
            </p:cNvSpPr>
            <p:nvPr/>
          </p:nvSpPr>
          <p:spPr>
            <a:xfrm>
              <a:off x="4125271" y="3109715"/>
              <a:ext cx="4762824" cy="1077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spAutoFit/>
            </a:bodyPr>
            <a:lstStyle/>
            <a:p>
              <a:pPr>
                <a:buSzPct val="100000"/>
                <a:defRPr/>
              </a:pPr>
              <a:r>
                <a:rPr lang="en-US" sz="700" b="1" kern="1200">
                  <a:solidFill>
                    <a:schemeClr val="accent4"/>
                  </a:solidFill>
                </a:rPr>
                <a:t>Portfolio expansion: </a:t>
              </a:r>
              <a:r>
                <a:rPr lang="en-US" sz="700">
                  <a:solidFill>
                    <a:srgbClr val="212121"/>
                  </a:solidFill>
                </a:rPr>
                <a:t>Expand product portfolio (gate, ball valves) and consolidate production capacity</a:t>
              </a:r>
            </a:p>
          </p:txBody>
        </p:sp>
        <p:pic>
          <p:nvPicPr>
            <p:cNvPr id="134" name="Graphic 28">
              <a:extLst>
                <a:ext uri="{FF2B5EF4-FFF2-40B4-BE49-F238E27FC236}">
                  <a16:creationId xmlns:a16="http://schemas.microsoft.com/office/drawing/2014/main" id="{BD780FB1-37CD-E8F4-4115-732E61F6A987}"/>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170688" y="3095176"/>
              <a:ext cx="137160" cy="136800"/>
            </a:xfrm>
            <a:prstGeom prst="rect">
              <a:avLst/>
            </a:prstGeom>
          </p:spPr>
        </p:pic>
        <p:pic>
          <p:nvPicPr>
            <p:cNvPr id="135" name="Graphic 28">
              <a:extLst>
                <a:ext uri="{FF2B5EF4-FFF2-40B4-BE49-F238E27FC236}">
                  <a16:creationId xmlns:a16="http://schemas.microsoft.com/office/drawing/2014/main" id="{3E877E43-E18C-DB4F-77AA-BA01E4C9AFA6}"/>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910858" y="3095176"/>
              <a:ext cx="137160" cy="136800"/>
            </a:xfrm>
            <a:prstGeom prst="rect">
              <a:avLst/>
            </a:prstGeom>
          </p:spPr>
        </p:pic>
      </p:grpSp>
      <p:grpSp>
        <p:nvGrpSpPr>
          <p:cNvPr id="136" name="Gruppieren 551">
            <a:extLst>
              <a:ext uri="{FF2B5EF4-FFF2-40B4-BE49-F238E27FC236}">
                <a16:creationId xmlns:a16="http://schemas.microsoft.com/office/drawing/2014/main" id="{F5EFAF9F-9A75-D710-0803-A647973779FB}"/>
              </a:ext>
            </a:extLst>
          </p:cNvPr>
          <p:cNvGrpSpPr/>
          <p:nvPr/>
        </p:nvGrpSpPr>
        <p:grpSpPr>
          <a:xfrm>
            <a:off x="525026" y="3478012"/>
            <a:ext cx="8359700" cy="1"/>
            <a:chOff x="528395" y="2510912"/>
            <a:chExt cx="8359700" cy="1"/>
          </a:xfrm>
        </p:grpSpPr>
        <p:cxnSp>
          <p:nvCxnSpPr>
            <p:cNvPr id="137" name="Straight Connector 19">
              <a:extLst>
                <a:ext uri="{FF2B5EF4-FFF2-40B4-BE49-F238E27FC236}">
                  <a16:creationId xmlns:a16="http://schemas.microsoft.com/office/drawing/2014/main" id="{E5509CD0-C695-69B4-4D23-E689381FCFD4}"/>
                </a:ext>
              </a:extLst>
            </p:cNvPr>
            <p:cNvCxnSpPr>
              <a:cxnSpLocks/>
            </p:cNvCxnSpPr>
            <p:nvPr/>
          </p:nvCxnSpPr>
          <p:spPr>
            <a:xfrm>
              <a:off x="528395" y="2510913"/>
              <a:ext cx="251773"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138" name="Straight Connector 187">
              <a:extLst>
                <a:ext uri="{FF2B5EF4-FFF2-40B4-BE49-F238E27FC236}">
                  <a16:creationId xmlns:a16="http://schemas.microsoft.com/office/drawing/2014/main" id="{1CF65660-6898-3C3D-B11D-0D9AA8374C72}"/>
                </a:ext>
              </a:extLst>
            </p:cNvPr>
            <p:cNvCxnSpPr>
              <a:cxnSpLocks/>
            </p:cNvCxnSpPr>
            <p:nvPr/>
          </p:nvCxnSpPr>
          <p:spPr>
            <a:xfrm>
              <a:off x="917783" y="2510912"/>
              <a:ext cx="1170375"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139" name="Straight Connector 187">
              <a:extLst>
                <a:ext uri="{FF2B5EF4-FFF2-40B4-BE49-F238E27FC236}">
                  <a16:creationId xmlns:a16="http://schemas.microsoft.com/office/drawing/2014/main" id="{29B0F862-A422-D032-09AE-08A6880B077A}"/>
                </a:ext>
              </a:extLst>
            </p:cNvPr>
            <p:cNvCxnSpPr>
              <a:cxnSpLocks/>
            </p:cNvCxnSpPr>
            <p:nvPr/>
          </p:nvCxnSpPr>
          <p:spPr>
            <a:xfrm>
              <a:off x="2170688" y="2510912"/>
              <a:ext cx="1170375"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140" name="Straight Connector 187">
              <a:extLst>
                <a:ext uri="{FF2B5EF4-FFF2-40B4-BE49-F238E27FC236}">
                  <a16:creationId xmlns:a16="http://schemas.microsoft.com/office/drawing/2014/main" id="{A95EF1AA-7CDF-6E1B-FD48-65ED690C23C9}"/>
                </a:ext>
              </a:extLst>
            </p:cNvPr>
            <p:cNvCxnSpPr>
              <a:cxnSpLocks/>
            </p:cNvCxnSpPr>
            <p:nvPr/>
          </p:nvCxnSpPr>
          <p:spPr>
            <a:xfrm>
              <a:off x="3427190" y="2510912"/>
              <a:ext cx="612000"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141" name="Straight Connector 187">
              <a:extLst>
                <a:ext uri="{FF2B5EF4-FFF2-40B4-BE49-F238E27FC236}">
                  <a16:creationId xmlns:a16="http://schemas.microsoft.com/office/drawing/2014/main" id="{7D7464D0-8EF0-147E-F1F7-E6601696D7C4}"/>
                </a:ext>
              </a:extLst>
            </p:cNvPr>
            <p:cNvCxnSpPr>
              <a:cxnSpLocks/>
            </p:cNvCxnSpPr>
            <p:nvPr/>
          </p:nvCxnSpPr>
          <p:spPr>
            <a:xfrm>
              <a:off x="4125271" y="2510912"/>
              <a:ext cx="4762824" cy="0"/>
            </a:xfrm>
            <a:prstGeom prst="line">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cxnSp>
      </p:grpSp>
      <p:grpSp>
        <p:nvGrpSpPr>
          <p:cNvPr id="142" name="Gruppieren 563">
            <a:extLst>
              <a:ext uri="{FF2B5EF4-FFF2-40B4-BE49-F238E27FC236}">
                <a16:creationId xmlns:a16="http://schemas.microsoft.com/office/drawing/2014/main" id="{4820CF02-EC4B-7B0E-41D5-5B66848585CE}"/>
              </a:ext>
            </a:extLst>
          </p:cNvPr>
          <p:cNvGrpSpPr/>
          <p:nvPr/>
        </p:nvGrpSpPr>
        <p:grpSpPr>
          <a:xfrm>
            <a:off x="907489" y="2935695"/>
            <a:ext cx="7977237" cy="136800"/>
            <a:chOff x="910858" y="3095176"/>
            <a:chExt cx="7977237" cy="136800"/>
          </a:xfrm>
        </p:grpSpPr>
        <p:sp>
          <p:nvSpPr>
            <p:cNvPr id="143" name="636130924584304792Table First Content Row Header 68">
              <a:extLst>
                <a:ext uri="{FF2B5EF4-FFF2-40B4-BE49-F238E27FC236}">
                  <a16:creationId xmlns:a16="http://schemas.microsoft.com/office/drawing/2014/main" id="{AFB92F9E-2C0F-DA69-0794-A8B7E9AC354D}"/>
                </a:ext>
              </a:extLst>
            </p:cNvPr>
            <p:cNvSpPr txBox="1">
              <a:spLocks/>
            </p:cNvSpPr>
            <p:nvPr/>
          </p:nvSpPr>
          <p:spPr>
            <a:xfrm>
              <a:off x="1059723" y="3115101"/>
              <a:ext cx="1028435"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pent </a:t>
              </a:r>
              <a:r>
                <a:rPr lang="en-US" sz="700" err="1"/>
                <a:t>s.r.l</a:t>
              </a:r>
              <a:r>
                <a:rPr lang="en-US" sz="700"/>
                <a:t>.</a:t>
              </a:r>
            </a:p>
          </p:txBody>
        </p:sp>
        <p:sp>
          <p:nvSpPr>
            <p:cNvPr id="144" name="636130924584304792Table First Content Row Header 68">
              <a:extLst>
                <a:ext uri="{FF2B5EF4-FFF2-40B4-BE49-F238E27FC236}">
                  <a16:creationId xmlns:a16="http://schemas.microsoft.com/office/drawing/2014/main" id="{9966B83C-113C-D045-2489-C8825E64174D}"/>
                </a:ext>
              </a:extLst>
            </p:cNvPr>
            <p:cNvSpPr txBox="1">
              <a:spLocks/>
            </p:cNvSpPr>
            <p:nvPr/>
          </p:nvSpPr>
          <p:spPr>
            <a:xfrm>
              <a:off x="2348343" y="3115101"/>
              <a:ext cx="992721"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Bonomi Group</a:t>
              </a:r>
            </a:p>
          </p:txBody>
        </p:sp>
        <p:sp>
          <p:nvSpPr>
            <p:cNvPr id="145" name="636130924584304792Table First Content Row Header 68">
              <a:extLst>
                <a:ext uri="{FF2B5EF4-FFF2-40B4-BE49-F238E27FC236}">
                  <a16:creationId xmlns:a16="http://schemas.microsoft.com/office/drawing/2014/main" id="{60EFEB52-7565-C87F-BDC3-428573059544}"/>
                </a:ext>
              </a:extLst>
            </p:cNvPr>
            <p:cNvSpPr txBox="1">
              <a:spLocks/>
            </p:cNvSpPr>
            <p:nvPr/>
          </p:nvSpPr>
          <p:spPr>
            <a:xfrm>
              <a:off x="3427190" y="3115101"/>
              <a:ext cx="612000" cy="96950"/>
            </a:xfrm>
            <a:prstGeom prst="rect">
              <a:avLst/>
            </a:prstGeom>
            <a:noFill/>
            <a:ln w="9525">
              <a:noFill/>
            </a:ln>
          </p:spPr>
          <p:txBody>
            <a:bodyPr vert="horz" wrap="square" lIns="0" tIns="0" rIns="0" bIns="0" rtlCol="0" anchor="ctr" anchorCtr="0">
              <a:spAutoFit/>
            </a:bodyPr>
            <a:lstStyle/>
            <a:p>
              <a:pPr algn="ctr">
                <a:lnSpc>
                  <a:spcPct val="90000"/>
                </a:lnSpc>
                <a:spcBef>
                  <a:spcPts val="300"/>
                </a:spcBef>
                <a:buClr>
                  <a:srgbClr val="000000"/>
                </a:buClr>
                <a:buSzPct val="100000"/>
                <a:buFont typeface=""/>
              </a:pPr>
              <a:r>
                <a:rPr lang="en-US" sz="700"/>
                <a:t>EUR 4 m</a:t>
              </a:r>
            </a:p>
          </p:txBody>
        </p:sp>
        <p:sp>
          <p:nvSpPr>
            <p:cNvPr id="146" name="Rectangle 484">
              <a:extLst>
                <a:ext uri="{FF2B5EF4-FFF2-40B4-BE49-F238E27FC236}">
                  <a16:creationId xmlns:a16="http://schemas.microsoft.com/office/drawing/2014/main" id="{168ACE70-B40F-87FA-CDB8-8108A0E66D20}"/>
                </a:ext>
              </a:extLst>
            </p:cNvPr>
            <p:cNvSpPr>
              <a:spLocks/>
            </p:cNvSpPr>
            <p:nvPr/>
          </p:nvSpPr>
          <p:spPr>
            <a:xfrm>
              <a:off x="4125271" y="3109714"/>
              <a:ext cx="4762824" cy="1077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spAutoFit/>
            </a:bodyPr>
            <a:lstStyle/>
            <a:p>
              <a:pPr>
                <a:buSzPct val="100000"/>
                <a:defRPr/>
              </a:pPr>
              <a:r>
                <a:rPr lang="en-US" sz="700" b="1" kern="1200">
                  <a:solidFill>
                    <a:schemeClr val="accent4"/>
                  </a:solidFill>
                </a:rPr>
                <a:t>Applications expansion: </a:t>
              </a:r>
              <a:r>
                <a:rPr lang="en-US" sz="700">
                  <a:solidFill>
                    <a:srgbClr val="212121"/>
                  </a:solidFill>
                </a:rPr>
                <a:t>Expand to O&amp;G, chemicals, energy and mining</a:t>
              </a:r>
            </a:p>
          </p:txBody>
        </p:sp>
        <p:pic>
          <p:nvPicPr>
            <p:cNvPr id="147" name="Graphic 28">
              <a:extLst>
                <a:ext uri="{FF2B5EF4-FFF2-40B4-BE49-F238E27FC236}">
                  <a16:creationId xmlns:a16="http://schemas.microsoft.com/office/drawing/2014/main" id="{48F05E29-8351-D512-9749-503721046EFE}"/>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170688" y="3095176"/>
              <a:ext cx="137160" cy="136800"/>
            </a:xfrm>
            <a:prstGeom prst="rect">
              <a:avLst/>
            </a:prstGeom>
          </p:spPr>
        </p:pic>
        <p:pic>
          <p:nvPicPr>
            <p:cNvPr id="148" name="Graphic 28">
              <a:extLst>
                <a:ext uri="{FF2B5EF4-FFF2-40B4-BE49-F238E27FC236}">
                  <a16:creationId xmlns:a16="http://schemas.microsoft.com/office/drawing/2014/main" id="{02749780-A010-C6D8-53A1-4DECA3B9C7A4}"/>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910858" y="3095176"/>
              <a:ext cx="137160" cy="136800"/>
            </a:xfrm>
            <a:prstGeom prst="rect">
              <a:avLst/>
            </a:prstGeom>
          </p:spPr>
        </p:pic>
      </p:grpSp>
      <p:grpSp>
        <p:nvGrpSpPr>
          <p:cNvPr id="149" name="Gruppieren 572">
            <a:extLst>
              <a:ext uri="{FF2B5EF4-FFF2-40B4-BE49-F238E27FC236}">
                <a16:creationId xmlns:a16="http://schemas.microsoft.com/office/drawing/2014/main" id="{A5A2785B-8AFF-00E6-2FFA-00C8EA787503}"/>
              </a:ext>
            </a:extLst>
          </p:cNvPr>
          <p:cNvGrpSpPr/>
          <p:nvPr/>
        </p:nvGrpSpPr>
        <p:grpSpPr>
          <a:xfrm>
            <a:off x="907489" y="2765916"/>
            <a:ext cx="7977237" cy="136800"/>
            <a:chOff x="910858" y="3095176"/>
            <a:chExt cx="7977237" cy="136800"/>
          </a:xfrm>
        </p:grpSpPr>
        <p:sp>
          <p:nvSpPr>
            <p:cNvPr id="150" name="636130924584304792Table First Content Row Header 68">
              <a:extLst>
                <a:ext uri="{FF2B5EF4-FFF2-40B4-BE49-F238E27FC236}">
                  <a16:creationId xmlns:a16="http://schemas.microsoft.com/office/drawing/2014/main" id="{2002D6B8-434A-8465-2BA2-923733C5B2FC}"/>
                </a:ext>
              </a:extLst>
            </p:cNvPr>
            <p:cNvSpPr txBox="1">
              <a:spLocks/>
            </p:cNvSpPr>
            <p:nvPr/>
          </p:nvSpPr>
          <p:spPr>
            <a:xfrm>
              <a:off x="1059723" y="3115101"/>
              <a:ext cx="1028435"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err="1"/>
                <a:t>Ghibson</a:t>
              </a:r>
              <a:r>
                <a:rPr lang="en-US" sz="700"/>
                <a:t> valves</a:t>
              </a:r>
            </a:p>
          </p:txBody>
        </p:sp>
        <p:sp>
          <p:nvSpPr>
            <p:cNvPr id="151" name="636130924584304792Table First Content Row Header 68">
              <a:extLst>
                <a:ext uri="{FF2B5EF4-FFF2-40B4-BE49-F238E27FC236}">
                  <a16:creationId xmlns:a16="http://schemas.microsoft.com/office/drawing/2014/main" id="{DE50918E-0296-07D0-C428-18EE84570E24}"/>
                </a:ext>
              </a:extLst>
            </p:cNvPr>
            <p:cNvSpPr txBox="1">
              <a:spLocks/>
            </p:cNvSpPr>
            <p:nvPr/>
          </p:nvSpPr>
          <p:spPr>
            <a:xfrm>
              <a:off x="2348343" y="3115101"/>
              <a:ext cx="992721"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Bonomi Group</a:t>
              </a:r>
            </a:p>
          </p:txBody>
        </p:sp>
        <p:sp>
          <p:nvSpPr>
            <p:cNvPr id="152" name="636130924584304792Table First Content Row Header 68">
              <a:extLst>
                <a:ext uri="{FF2B5EF4-FFF2-40B4-BE49-F238E27FC236}">
                  <a16:creationId xmlns:a16="http://schemas.microsoft.com/office/drawing/2014/main" id="{C32BD968-4F49-C727-F114-A5EA259A70F6}"/>
                </a:ext>
              </a:extLst>
            </p:cNvPr>
            <p:cNvSpPr txBox="1">
              <a:spLocks/>
            </p:cNvSpPr>
            <p:nvPr/>
          </p:nvSpPr>
          <p:spPr>
            <a:xfrm>
              <a:off x="3427190" y="3115101"/>
              <a:ext cx="612000" cy="96950"/>
            </a:xfrm>
            <a:prstGeom prst="rect">
              <a:avLst/>
            </a:prstGeom>
            <a:noFill/>
            <a:ln w="9525">
              <a:noFill/>
            </a:ln>
          </p:spPr>
          <p:txBody>
            <a:bodyPr vert="horz" wrap="square" lIns="0" tIns="0" rIns="0" bIns="0" rtlCol="0" anchor="ctr" anchorCtr="0">
              <a:spAutoFit/>
            </a:bodyPr>
            <a:lstStyle/>
            <a:p>
              <a:pPr algn="ctr">
                <a:lnSpc>
                  <a:spcPct val="90000"/>
                </a:lnSpc>
                <a:spcBef>
                  <a:spcPts val="300"/>
                </a:spcBef>
                <a:buClr>
                  <a:srgbClr val="000000"/>
                </a:buClr>
                <a:buSzPct val="100000"/>
                <a:buFont typeface=""/>
              </a:pPr>
              <a:r>
                <a:rPr lang="en-US" sz="700"/>
                <a:t>EUR 23 m</a:t>
              </a:r>
            </a:p>
          </p:txBody>
        </p:sp>
        <p:sp>
          <p:nvSpPr>
            <p:cNvPr id="153" name="Rectangle 484">
              <a:extLst>
                <a:ext uri="{FF2B5EF4-FFF2-40B4-BE49-F238E27FC236}">
                  <a16:creationId xmlns:a16="http://schemas.microsoft.com/office/drawing/2014/main" id="{02B8E796-D6F7-94B5-7082-51300E4F991A}"/>
                </a:ext>
              </a:extLst>
            </p:cNvPr>
            <p:cNvSpPr>
              <a:spLocks/>
            </p:cNvSpPr>
            <p:nvPr/>
          </p:nvSpPr>
          <p:spPr>
            <a:xfrm>
              <a:off x="4125271" y="3109714"/>
              <a:ext cx="4762824" cy="1077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spAutoFit/>
            </a:bodyPr>
            <a:lstStyle/>
            <a:p>
              <a:pPr>
                <a:buSzPct val="100000"/>
                <a:defRPr/>
              </a:pPr>
              <a:r>
                <a:rPr lang="en-US" sz="700" b="1" kern="1200">
                  <a:solidFill>
                    <a:schemeClr val="accent4"/>
                  </a:solidFill>
                </a:rPr>
                <a:t>Commercial expansion: </a:t>
              </a:r>
              <a:r>
                <a:rPr lang="en-US" sz="700">
                  <a:solidFill>
                    <a:srgbClr val="212121"/>
                  </a:solidFill>
                </a:rPr>
                <a:t>Expand to industrial applications and widen sales network</a:t>
              </a:r>
            </a:p>
          </p:txBody>
        </p:sp>
        <p:pic>
          <p:nvPicPr>
            <p:cNvPr id="154" name="Graphic 28">
              <a:extLst>
                <a:ext uri="{FF2B5EF4-FFF2-40B4-BE49-F238E27FC236}">
                  <a16:creationId xmlns:a16="http://schemas.microsoft.com/office/drawing/2014/main" id="{82D9F49B-9DDC-DD5D-3C95-05505529D81B}"/>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170688" y="3095176"/>
              <a:ext cx="137160" cy="136800"/>
            </a:xfrm>
            <a:prstGeom prst="rect">
              <a:avLst/>
            </a:prstGeom>
          </p:spPr>
        </p:pic>
        <p:pic>
          <p:nvPicPr>
            <p:cNvPr id="155" name="Graphic 28">
              <a:extLst>
                <a:ext uri="{FF2B5EF4-FFF2-40B4-BE49-F238E27FC236}">
                  <a16:creationId xmlns:a16="http://schemas.microsoft.com/office/drawing/2014/main" id="{4C0F7DB7-8920-9B94-4277-097D405B7D86}"/>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910858" y="3095176"/>
              <a:ext cx="137160" cy="136800"/>
            </a:xfrm>
            <a:prstGeom prst="rect">
              <a:avLst/>
            </a:prstGeom>
          </p:spPr>
        </p:pic>
      </p:grpSp>
      <p:grpSp>
        <p:nvGrpSpPr>
          <p:cNvPr id="156" name="Gruppieren 579">
            <a:extLst>
              <a:ext uri="{FF2B5EF4-FFF2-40B4-BE49-F238E27FC236}">
                <a16:creationId xmlns:a16="http://schemas.microsoft.com/office/drawing/2014/main" id="{56B61603-9B07-29D1-9071-FC537021DEDF}"/>
              </a:ext>
            </a:extLst>
          </p:cNvPr>
          <p:cNvGrpSpPr/>
          <p:nvPr/>
        </p:nvGrpSpPr>
        <p:grpSpPr>
          <a:xfrm>
            <a:off x="907489" y="2596137"/>
            <a:ext cx="7977237" cy="136800"/>
            <a:chOff x="910858" y="3095176"/>
            <a:chExt cx="7977237" cy="136800"/>
          </a:xfrm>
        </p:grpSpPr>
        <p:sp>
          <p:nvSpPr>
            <p:cNvPr id="157" name="636130924584304792Table First Content Row Header 68">
              <a:extLst>
                <a:ext uri="{FF2B5EF4-FFF2-40B4-BE49-F238E27FC236}">
                  <a16:creationId xmlns:a16="http://schemas.microsoft.com/office/drawing/2014/main" id="{257FE3C2-F84F-852D-D8A2-71765CD83BEF}"/>
                </a:ext>
              </a:extLst>
            </p:cNvPr>
            <p:cNvSpPr txBox="1">
              <a:spLocks/>
            </p:cNvSpPr>
            <p:nvPr/>
          </p:nvSpPr>
          <p:spPr>
            <a:xfrm>
              <a:off x="1059723" y="3115101"/>
              <a:ext cx="1028435"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AVS</a:t>
              </a:r>
            </a:p>
          </p:txBody>
        </p:sp>
        <p:sp>
          <p:nvSpPr>
            <p:cNvPr id="158" name="636130924584304792Table First Content Row Header 68">
              <a:extLst>
                <a:ext uri="{FF2B5EF4-FFF2-40B4-BE49-F238E27FC236}">
                  <a16:creationId xmlns:a16="http://schemas.microsoft.com/office/drawing/2014/main" id="{2E9DD779-5398-360B-72FF-28E0D1BB310C}"/>
                </a:ext>
              </a:extLst>
            </p:cNvPr>
            <p:cNvSpPr txBox="1">
              <a:spLocks/>
            </p:cNvSpPr>
            <p:nvPr/>
          </p:nvSpPr>
          <p:spPr>
            <a:xfrm>
              <a:off x="2348343" y="3115101"/>
              <a:ext cx="992721"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Bonomi Group</a:t>
              </a:r>
            </a:p>
          </p:txBody>
        </p:sp>
        <p:sp>
          <p:nvSpPr>
            <p:cNvPr id="159" name="636130924584304792Table First Content Row Header 68">
              <a:extLst>
                <a:ext uri="{FF2B5EF4-FFF2-40B4-BE49-F238E27FC236}">
                  <a16:creationId xmlns:a16="http://schemas.microsoft.com/office/drawing/2014/main" id="{890A05AD-6346-F2E7-E419-7491F1C5A094}"/>
                </a:ext>
              </a:extLst>
            </p:cNvPr>
            <p:cNvSpPr txBox="1">
              <a:spLocks/>
            </p:cNvSpPr>
            <p:nvPr/>
          </p:nvSpPr>
          <p:spPr>
            <a:xfrm>
              <a:off x="3427190" y="3115101"/>
              <a:ext cx="612000" cy="96950"/>
            </a:xfrm>
            <a:prstGeom prst="rect">
              <a:avLst/>
            </a:prstGeom>
            <a:noFill/>
            <a:ln w="9525">
              <a:noFill/>
            </a:ln>
          </p:spPr>
          <p:txBody>
            <a:bodyPr vert="horz" wrap="square" lIns="0" tIns="0" rIns="0" bIns="0" rtlCol="0" anchor="ctr" anchorCtr="0">
              <a:spAutoFit/>
            </a:bodyPr>
            <a:lstStyle/>
            <a:p>
              <a:pPr algn="ctr">
                <a:lnSpc>
                  <a:spcPct val="90000"/>
                </a:lnSpc>
                <a:spcBef>
                  <a:spcPts val="300"/>
                </a:spcBef>
                <a:buClr>
                  <a:srgbClr val="000000"/>
                </a:buClr>
                <a:buSzPct val="100000"/>
                <a:buFont typeface=""/>
              </a:pPr>
              <a:r>
                <a:rPr lang="en-US" sz="700" err="1"/>
                <a:t>n.a.</a:t>
              </a:r>
              <a:endParaRPr lang="en-US" sz="700"/>
            </a:p>
          </p:txBody>
        </p:sp>
        <p:sp>
          <p:nvSpPr>
            <p:cNvPr id="160" name="Rectangle 484">
              <a:extLst>
                <a:ext uri="{FF2B5EF4-FFF2-40B4-BE49-F238E27FC236}">
                  <a16:creationId xmlns:a16="http://schemas.microsoft.com/office/drawing/2014/main" id="{7D0E954F-E025-4682-9A86-B4742A5D4630}"/>
                </a:ext>
              </a:extLst>
            </p:cNvPr>
            <p:cNvSpPr>
              <a:spLocks/>
            </p:cNvSpPr>
            <p:nvPr/>
          </p:nvSpPr>
          <p:spPr>
            <a:xfrm>
              <a:off x="4125271" y="3109713"/>
              <a:ext cx="4762824" cy="1077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spAutoFit/>
            </a:bodyPr>
            <a:lstStyle/>
            <a:p>
              <a:pPr>
                <a:buSzPct val="100000"/>
                <a:defRPr/>
              </a:pPr>
              <a:r>
                <a:rPr lang="en-US" sz="700" b="1" kern="1200">
                  <a:solidFill>
                    <a:schemeClr val="accent4"/>
                  </a:solidFill>
                </a:rPr>
                <a:t>Commercial expansion: </a:t>
              </a:r>
              <a:r>
                <a:rPr lang="en-US" sz="700">
                  <a:solidFill>
                    <a:srgbClr val="212121"/>
                  </a:solidFill>
                </a:rPr>
                <a:t>Expand in the Northern European market</a:t>
              </a:r>
            </a:p>
          </p:txBody>
        </p:sp>
        <p:pic>
          <p:nvPicPr>
            <p:cNvPr id="161" name="Graphic 28">
              <a:extLst>
                <a:ext uri="{FF2B5EF4-FFF2-40B4-BE49-F238E27FC236}">
                  <a16:creationId xmlns:a16="http://schemas.microsoft.com/office/drawing/2014/main" id="{642A1F97-B7CD-49F6-BC80-FF4C902077E9}"/>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170688" y="3095176"/>
              <a:ext cx="137160" cy="136800"/>
            </a:xfrm>
            <a:prstGeom prst="rect">
              <a:avLst/>
            </a:prstGeom>
          </p:spPr>
        </p:pic>
        <p:pic>
          <p:nvPicPr>
            <p:cNvPr id="162" name="Graphic 28">
              <a:extLst>
                <a:ext uri="{FF2B5EF4-FFF2-40B4-BE49-F238E27FC236}">
                  <a16:creationId xmlns:a16="http://schemas.microsoft.com/office/drawing/2014/main" id="{8DD5EF35-9CF6-363E-4910-28A08C06B362}"/>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910858" y="3095176"/>
              <a:ext cx="137160" cy="136800"/>
            </a:xfrm>
            <a:prstGeom prst="rect">
              <a:avLst/>
            </a:prstGeom>
          </p:spPr>
        </p:pic>
      </p:grpSp>
      <p:grpSp>
        <p:nvGrpSpPr>
          <p:cNvPr id="163" name="Gruppieren 586">
            <a:extLst>
              <a:ext uri="{FF2B5EF4-FFF2-40B4-BE49-F238E27FC236}">
                <a16:creationId xmlns:a16="http://schemas.microsoft.com/office/drawing/2014/main" id="{70BB8495-2980-84F0-AAAB-0696292452AF}"/>
              </a:ext>
            </a:extLst>
          </p:cNvPr>
          <p:cNvGrpSpPr/>
          <p:nvPr/>
        </p:nvGrpSpPr>
        <p:grpSpPr>
          <a:xfrm>
            <a:off x="907489" y="2426358"/>
            <a:ext cx="7977237" cy="136800"/>
            <a:chOff x="910858" y="3095176"/>
            <a:chExt cx="7977237" cy="136800"/>
          </a:xfrm>
        </p:grpSpPr>
        <p:sp>
          <p:nvSpPr>
            <p:cNvPr id="164" name="636130924584304792Table First Content Row Header 68">
              <a:extLst>
                <a:ext uri="{FF2B5EF4-FFF2-40B4-BE49-F238E27FC236}">
                  <a16:creationId xmlns:a16="http://schemas.microsoft.com/office/drawing/2014/main" id="{4F4D66AC-00D7-F8A2-3209-9F8A8A458F20}"/>
                </a:ext>
              </a:extLst>
            </p:cNvPr>
            <p:cNvSpPr txBox="1">
              <a:spLocks/>
            </p:cNvSpPr>
            <p:nvPr/>
          </p:nvSpPr>
          <p:spPr>
            <a:xfrm>
              <a:off x="1059723" y="3115101"/>
              <a:ext cx="1028435"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NENCINI</a:t>
              </a:r>
            </a:p>
          </p:txBody>
        </p:sp>
        <p:sp>
          <p:nvSpPr>
            <p:cNvPr id="165" name="636130924584304792Table First Content Row Header 68">
              <a:extLst>
                <a:ext uri="{FF2B5EF4-FFF2-40B4-BE49-F238E27FC236}">
                  <a16:creationId xmlns:a16="http://schemas.microsoft.com/office/drawing/2014/main" id="{C651774E-7AB2-DA54-206F-22C3D2BDF513}"/>
                </a:ext>
              </a:extLst>
            </p:cNvPr>
            <p:cNvSpPr txBox="1">
              <a:spLocks/>
            </p:cNvSpPr>
            <p:nvPr/>
          </p:nvSpPr>
          <p:spPr>
            <a:xfrm>
              <a:off x="2348343" y="3115101"/>
              <a:ext cx="992721"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OMB</a:t>
              </a:r>
            </a:p>
          </p:txBody>
        </p:sp>
        <p:sp>
          <p:nvSpPr>
            <p:cNvPr id="166" name="636130924584304792Table First Content Row Header 68">
              <a:extLst>
                <a:ext uri="{FF2B5EF4-FFF2-40B4-BE49-F238E27FC236}">
                  <a16:creationId xmlns:a16="http://schemas.microsoft.com/office/drawing/2014/main" id="{DD6D0074-4BCC-DC83-517B-196AA0D9C673}"/>
                </a:ext>
              </a:extLst>
            </p:cNvPr>
            <p:cNvSpPr txBox="1">
              <a:spLocks/>
            </p:cNvSpPr>
            <p:nvPr/>
          </p:nvSpPr>
          <p:spPr>
            <a:xfrm>
              <a:off x="3427190" y="3115101"/>
              <a:ext cx="612000" cy="96950"/>
            </a:xfrm>
            <a:prstGeom prst="rect">
              <a:avLst/>
            </a:prstGeom>
            <a:noFill/>
            <a:ln w="9525">
              <a:noFill/>
            </a:ln>
          </p:spPr>
          <p:txBody>
            <a:bodyPr vert="horz" wrap="square" lIns="0" tIns="0" rIns="0" bIns="0" rtlCol="0" anchor="ctr" anchorCtr="0">
              <a:spAutoFit/>
            </a:bodyPr>
            <a:lstStyle/>
            <a:p>
              <a:pPr algn="ctr">
                <a:lnSpc>
                  <a:spcPct val="90000"/>
                </a:lnSpc>
                <a:spcBef>
                  <a:spcPts val="300"/>
                </a:spcBef>
                <a:buClr>
                  <a:srgbClr val="000000"/>
                </a:buClr>
                <a:buSzPct val="100000"/>
                <a:buFont typeface=""/>
              </a:pPr>
              <a:r>
                <a:rPr lang="en-US" sz="700" err="1"/>
                <a:t>n.a.</a:t>
              </a:r>
              <a:endParaRPr lang="en-US" sz="700"/>
            </a:p>
          </p:txBody>
        </p:sp>
        <p:sp>
          <p:nvSpPr>
            <p:cNvPr id="167" name="Rectangle 484">
              <a:extLst>
                <a:ext uri="{FF2B5EF4-FFF2-40B4-BE49-F238E27FC236}">
                  <a16:creationId xmlns:a16="http://schemas.microsoft.com/office/drawing/2014/main" id="{7A9E04AF-A9B5-FD6C-7E44-026ACEBDFD7A}"/>
                </a:ext>
              </a:extLst>
            </p:cNvPr>
            <p:cNvSpPr>
              <a:spLocks/>
            </p:cNvSpPr>
            <p:nvPr/>
          </p:nvSpPr>
          <p:spPr>
            <a:xfrm>
              <a:off x="4125271" y="3109713"/>
              <a:ext cx="4762824" cy="1077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spAutoFit/>
            </a:bodyPr>
            <a:lstStyle/>
            <a:p>
              <a:pPr>
                <a:buSzPct val="100000"/>
                <a:defRPr/>
              </a:pPr>
              <a:r>
                <a:rPr lang="en-US" sz="700" b="1" kern="1200">
                  <a:solidFill>
                    <a:schemeClr val="accent4"/>
                  </a:solidFill>
                </a:rPr>
                <a:t>Applications expansion: </a:t>
              </a:r>
              <a:r>
                <a:rPr lang="en-US" sz="700">
                  <a:solidFill>
                    <a:srgbClr val="212121"/>
                  </a:solidFill>
                </a:rPr>
                <a:t>Expand in the renewable energy sector (hydroelectric)</a:t>
              </a:r>
            </a:p>
          </p:txBody>
        </p:sp>
        <p:pic>
          <p:nvPicPr>
            <p:cNvPr id="168" name="Graphic 28">
              <a:extLst>
                <a:ext uri="{FF2B5EF4-FFF2-40B4-BE49-F238E27FC236}">
                  <a16:creationId xmlns:a16="http://schemas.microsoft.com/office/drawing/2014/main" id="{45B06234-143B-8D05-4E7F-BD6898701B97}"/>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170688" y="3095176"/>
              <a:ext cx="137160" cy="136800"/>
            </a:xfrm>
            <a:prstGeom prst="rect">
              <a:avLst/>
            </a:prstGeom>
          </p:spPr>
        </p:pic>
        <p:pic>
          <p:nvPicPr>
            <p:cNvPr id="169" name="Graphic 28">
              <a:extLst>
                <a:ext uri="{FF2B5EF4-FFF2-40B4-BE49-F238E27FC236}">
                  <a16:creationId xmlns:a16="http://schemas.microsoft.com/office/drawing/2014/main" id="{DD276DFE-BBFF-40B9-B134-D6EC09F124FF}"/>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910858" y="3095176"/>
              <a:ext cx="137160" cy="136800"/>
            </a:xfrm>
            <a:prstGeom prst="rect">
              <a:avLst/>
            </a:prstGeom>
          </p:spPr>
        </p:pic>
      </p:grpSp>
      <p:grpSp>
        <p:nvGrpSpPr>
          <p:cNvPr id="170" name="Gruppieren 593">
            <a:extLst>
              <a:ext uri="{FF2B5EF4-FFF2-40B4-BE49-F238E27FC236}">
                <a16:creationId xmlns:a16="http://schemas.microsoft.com/office/drawing/2014/main" id="{E17762E4-9366-6C19-509C-271C0E487BF1}"/>
              </a:ext>
            </a:extLst>
          </p:cNvPr>
          <p:cNvGrpSpPr/>
          <p:nvPr/>
        </p:nvGrpSpPr>
        <p:grpSpPr>
          <a:xfrm>
            <a:off x="907489" y="2256579"/>
            <a:ext cx="7977237" cy="136800"/>
            <a:chOff x="910858" y="3095176"/>
            <a:chExt cx="7977237" cy="136800"/>
          </a:xfrm>
        </p:grpSpPr>
        <p:sp>
          <p:nvSpPr>
            <p:cNvPr id="171" name="636130924584304792Table First Content Row Header 68">
              <a:extLst>
                <a:ext uri="{FF2B5EF4-FFF2-40B4-BE49-F238E27FC236}">
                  <a16:creationId xmlns:a16="http://schemas.microsoft.com/office/drawing/2014/main" id="{B61C5763-1E2B-1774-D07B-B648D751E00E}"/>
                </a:ext>
              </a:extLst>
            </p:cNvPr>
            <p:cNvSpPr txBox="1">
              <a:spLocks/>
            </p:cNvSpPr>
            <p:nvPr/>
          </p:nvSpPr>
          <p:spPr>
            <a:xfrm>
              <a:off x="1059723" y="3115101"/>
              <a:ext cx="1028435"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SPSV</a:t>
              </a:r>
            </a:p>
          </p:txBody>
        </p:sp>
        <p:sp>
          <p:nvSpPr>
            <p:cNvPr id="172" name="636130924584304792Table First Content Row Header 68">
              <a:extLst>
                <a:ext uri="{FF2B5EF4-FFF2-40B4-BE49-F238E27FC236}">
                  <a16:creationId xmlns:a16="http://schemas.microsoft.com/office/drawing/2014/main" id="{AA7C3F58-3C66-5D20-7E65-28ED8757655D}"/>
                </a:ext>
              </a:extLst>
            </p:cNvPr>
            <p:cNvSpPr txBox="1">
              <a:spLocks/>
            </p:cNvSpPr>
            <p:nvPr/>
          </p:nvSpPr>
          <p:spPr>
            <a:xfrm>
              <a:off x="2348343" y="3115101"/>
              <a:ext cx="992721" cy="96950"/>
            </a:xfrm>
            <a:prstGeom prst="rect">
              <a:avLst/>
            </a:prstGeom>
            <a:noFill/>
            <a:ln w="9525">
              <a:noFill/>
            </a:ln>
          </p:spPr>
          <p:txBody>
            <a:bodyPr vert="horz" wrap="square" lIns="0" tIns="0" rIns="0" bIns="0" rtlCol="0" anchor="ctr" anchorCtr="0">
              <a:spAutoFit/>
            </a:bodyPr>
            <a:lstStyle/>
            <a:p>
              <a:pPr>
                <a:lnSpc>
                  <a:spcPct val="90000"/>
                </a:lnSpc>
                <a:spcBef>
                  <a:spcPts val="300"/>
                </a:spcBef>
                <a:buClr>
                  <a:srgbClr val="000000"/>
                </a:buClr>
                <a:buSzPct val="100000"/>
                <a:buFont typeface=""/>
              </a:pPr>
              <a:r>
                <a:rPr lang="en-US" sz="700"/>
                <a:t>ORION Valves</a:t>
              </a:r>
            </a:p>
          </p:txBody>
        </p:sp>
        <p:sp>
          <p:nvSpPr>
            <p:cNvPr id="173" name="636130924584304792Table First Content Row Header 68">
              <a:extLst>
                <a:ext uri="{FF2B5EF4-FFF2-40B4-BE49-F238E27FC236}">
                  <a16:creationId xmlns:a16="http://schemas.microsoft.com/office/drawing/2014/main" id="{C62E107D-7F70-523F-C5D4-0272ACBF27A4}"/>
                </a:ext>
              </a:extLst>
            </p:cNvPr>
            <p:cNvSpPr txBox="1">
              <a:spLocks/>
            </p:cNvSpPr>
            <p:nvPr/>
          </p:nvSpPr>
          <p:spPr>
            <a:xfrm>
              <a:off x="3427190" y="3115101"/>
              <a:ext cx="612000" cy="96950"/>
            </a:xfrm>
            <a:prstGeom prst="rect">
              <a:avLst/>
            </a:prstGeom>
            <a:noFill/>
            <a:ln w="9525">
              <a:noFill/>
            </a:ln>
          </p:spPr>
          <p:txBody>
            <a:bodyPr vert="horz" wrap="square" lIns="0" tIns="0" rIns="0" bIns="0" rtlCol="0" anchor="ctr" anchorCtr="0">
              <a:spAutoFit/>
            </a:bodyPr>
            <a:lstStyle/>
            <a:p>
              <a:pPr algn="ctr">
                <a:lnSpc>
                  <a:spcPct val="90000"/>
                </a:lnSpc>
                <a:spcBef>
                  <a:spcPts val="300"/>
                </a:spcBef>
                <a:buClr>
                  <a:srgbClr val="000000"/>
                </a:buClr>
                <a:buSzPct val="100000"/>
                <a:buFont typeface=""/>
              </a:pPr>
              <a:r>
                <a:rPr lang="en-US" sz="700"/>
                <a:t>EUR 8 m</a:t>
              </a:r>
            </a:p>
          </p:txBody>
        </p:sp>
        <p:sp>
          <p:nvSpPr>
            <p:cNvPr id="174" name="Rectangle 484">
              <a:extLst>
                <a:ext uri="{FF2B5EF4-FFF2-40B4-BE49-F238E27FC236}">
                  <a16:creationId xmlns:a16="http://schemas.microsoft.com/office/drawing/2014/main" id="{7F3C932E-71EC-5393-5E63-F3BD26528E1A}"/>
                </a:ext>
              </a:extLst>
            </p:cNvPr>
            <p:cNvSpPr>
              <a:spLocks/>
            </p:cNvSpPr>
            <p:nvPr/>
          </p:nvSpPr>
          <p:spPr>
            <a:xfrm>
              <a:off x="4125271" y="3109713"/>
              <a:ext cx="4762824" cy="10772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spAutoFit/>
            </a:bodyPr>
            <a:lstStyle/>
            <a:p>
              <a:pPr>
                <a:buSzPct val="100000"/>
                <a:defRPr/>
              </a:pPr>
              <a:r>
                <a:rPr lang="en-US" sz="700" b="1" kern="1200">
                  <a:solidFill>
                    <a:schemeClr val="accent4"/>
                  </a:solidFill>
                </a:rPr>
                <a:t>Commercial expansion: </a:t>
              </a:r>
              <a:r>
                <a:rPr lang="en-US" sz="700">
                  <a:solidFill>
                    <a:srgbClr val="212121"/>
                  </a:solidFill>
                </a:rPr>
                <a:t>Commercial expansion</a:t>
              </a:r>
            </a:p>
          </p:txBody>
        </p:sp>
        <p:pic>
          <p:nvPicPr>
            <p:cNvPr id="175" name="Graphic 28">
              <a:extLst>
                <a:ext uri="{FF2B5EF4-FFF2-40B4-BE49-F238E27FC236}">
                  <a16:creationId xmlns:a16="http://schemas.microsoft.com/office/drawing/2014/main" id="{DFD10A8A-DB8B-B900-E7EB-F926A3320E40}"/>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2170688" y="3095176"/>
              <a:ext cx="137160" cy="136800"/>
            </a:xfrm>
            <a:prstGeom prst="rect">
              <a:avLst/>
            </a:prstGeom>
          </p:spPr>
        </p:pic>
        <p:pic>
          <p:nvPicPr>
            <p:cNvPr id="176" name="Graphic 28">
              <a:extLst>
                <a:ext uri="{FF2B5EF4-FFF2-40B4-BE49-F238E27FC236}">
                  <a16:creationId xmlns:a16="http://schemas.microsoft.com/office/drawing/2014/main" id="{60B682E8-0BB0-758F-6C64-4CCD3BF23154}"/>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910858" y="3095176"/>
              <a:ext cx="137160" cy="136800"/>
            </a:xfrm>
            <a:prstGeom prst="rect">
              <a:avLst/>
            </a:prstGeom>
          </p:spPr>
        </p:pic>
      </p:grpSp>
      <p:sp>
        <p:nvSpPr>
          <p:cNvPr id="177" name="TextBox 1">
            <a:extLst>
              <a:ext uri="{FF2B5EF4-FFF2-40B4-BE49-F238E27FC236}">
                <a16:creationId xmlns:a16="http://schemas.microsoft.com/office/drawing/2014/main" id="{494FF1BC-38BA-D07A-7AB5-6B2F4273CB74}"/>
              </a:ext>
            </a:extLst>
          </p:cNvPr>
          <p:cNvSpPr txBox="1"/>
          <p:nvPr/>
        </p:nvSpPr>
        <p:spPr>
          <a:xfrm>
            <a:off x="172526" y="1090190"/>
            <a:ext cx="7579731" cy="276999"/>
          </a:xfrm>
          <a:prstGeom prst="rect">
            <a:avLst/>
          </a:prstGeom>
          <a:noFill/>
        </p:spPr>
        <p:txBody>
          <a:bodyPr wrap="square">
            <a:spAutoFit/>
          </a:bodyPr>
          <a:lstStyle/>
          <a:p>
            <a:r>
              <a:rPr lang="en-US" sz="1200" dirty="0">
                <a:solidFill>
                  <a:schemeClr val="tx2"/>
                </a:solidFill>
                <a:latin typeface="+mj-lt"/>
                <a:cs typeface="+mj-cs"/>
                <a:sym typeface="+mn-lt"/>
              </a:rPr>
              <a:t>Global M&amp;A dynamics</a:t>
            </a:r>
            <a:endParaRPr lang="en-GB" sz="1200" dirty="0">
              <a:solidFill>
                <a:schemeClr val="tx2"/>
              </a:solidFill>
            </a:endParaRPr>
          </a:p>
        </p:txBody>
      </p:sp>
    </p:spTree>
    <p:extLst>
      <p:ext uri="{BB962C8B-B14F-4D97-AF65-F5344CB8AC3E}">
        <p14:creationId xmlns:p14="http://schemas.microsoft.com/office/powerpoint/2010/main" val="5386515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sellaDiTesto 3">
            <a:extLst>
              <a:ext uri="{FF2B5EF4-FFF2-40B4-BE49-F238E27FC236}">
                <a16:creationId xmlns:a16="http://schemas.microsoft.com/office/drawing/2014/main" id="{ACA81CF8-1927-2746-B50E-22B40B820A74}"/>
              </a:ext>
            </a:extLst>
          </p:cNvPr>
          <p:cNvSpPr txBox="1"/>
          <p:nvPr/>
        </p:nvSpPr>
        <p:spPr>
          <a:xfrm>
            <a:off x="249031" y="3965302"/>
            <a:ext cx="2677049" cy="622573"/>
          </a:xfrm>
          <a:prstGeom prst="rect">
            <a:avLst/>
          </a:prstGeom>
          <a:noFill/>
        </p:spPr>
        <p:txBody>
          <a:bodyPr wrap="square" lIns="0" tIns="0" rIns="0" bIns="0" numCol="1" rtlCol="0" anchor="t" anchorCtr="0">
            <a:noAutofit/>
          </a:bodyPr>
          <a:lstStyle/>
          <a:p>
            <a:r>
              <a:rPr lang="it-IT" sz="900" u="sng" dirty="0">
                <a:solidFill>
                  <a:schemeClr val="bg1"/>
                </a:solidFill>
                <a:effectLst/>
                <a:latin typeface="Helvetica Neue" panose="02000503000000020004" pitchFamily="2" charset="0"/>
              </a:rPr>
              <a:t>ORGANIZING SECRETARIAT</a:t>
            </a:r>
          </a:p>
          <a:p>
            <a:endParaRPr lang="it-IT" sz="900" dirty="0">
              <a:solidFill>
                <a:schemeClr val="bg1"/>
              </a:solidFill>
              <a:effectLst/>
              <a:latin typeface="Helvetica Neue" panose="02000503000000020004" pitchFamily="2" charset="0"/>
            </a:endParaRPr>
          </a:p>
          <a:p>
            <a:r>
              <a:rPr lang="it-IT" sz="900" dirty="0" err="1">
                <a:solidFill>
                  <a:schemeClr val="bg1"/>
                </a:solidFill>
                <a:effectLst/>
                <a:latin typeface="Helvetica Neue" panose="02000503000000020004" pitchFamily="2" charset="0"/>
              </a:rPr>
              <a:t>Ph</a:t>
            </a:r>
            <a:r>
              <a:rPr lang="it-IT" sz="900" dirty="0">
                <a:solidFill>
                  <a:schemeClr val="bg1"/>
                </a:solidFill>
                <a:effectLst/>
                <a:latin typeface="Helvetica Neue" panose="02000503000000020004" pitchFamily="2" charset="0"/>
              </a:rPr>
              <a:t>. +39 </a:t>
            </a:r>
            <a:r>
              <a:rPr lang="it-IT" sz="900" b="1" dirty="0">
                <a:solidFill>
                  <a:schemeClr val="bg1"/>
                </a:solidFill>
                <a:effectLst/>
                <a:latin typeface="Helvetica Neue" panose="02000503000000020004" pitchFamily="2" charset="0"/>
              </a:rPr>
              <a:t>035 3230904</a:t>
            </a:r>
          </a:p>
          <a:p>
            <a:r>
              <a:rPr lang="it-IT" sz="900" dirty="0">
                <a:solidFill>
                  <a:schemeClr val="bg1"/>
                </a:solidFill>
                <a:effectLst/>
                <a:latin typeface="Helvetica Neue" panose="02000503000000020004" pitchFamily="2" charset="0"/>
              </a:rPr>
              <a:t>e-mail </a:t>
            </a:r>
            <a:r>
              <a:rPr lang="it-IT" sz="800" b="1" dirty="0">
                <a:solidFill>
                  <a:srgbClr val="5ABAF3"/>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info@industrialvalvesummit.com</a:t>
            </a:r>
            <a:endParaRPr lang="it-IT" sz="800" b="1" dirty="0">
              <a:solidFill>
                <a:srgbClr val="5ABAF3"/>
              </a:solidFill>
              <a:latin typeface="Arial" panose="020B0604020202020204" pitchFamily="34" charset="0"/>
              <a:cs typeface="Arial" panose="020B0604020202020204" pitchFamily="34" charset="0"/>
            </a:endParaRPr>
          </a:p>
        </p:txBody>
      </p:sp>
      <p:sp>
        <p:nvSpPr>
          <p:cNvPr id="11" name="Segnaposto testo 10">
            <a:extLst>
              <a:ext uri="{FF2B5EF4-FFF2-40B4-BE49-F238E27FC236}">
                <a16:creationId xmlns:a16="http://schemas.microsoft.com/office/drawing/2014/main" id="{F8C86833-44DB-FB4C-B90A-0DC045F4E05A}"/>
              </a:ext>
            </a:extLst>
          </p:cNvPr>
          <p:cNvSpPr>
            <a:spLocks noGrp="1"/>
          </p:cNvSpPr>
          <p:nvPr>
            <p:ph type="body" sz="quarter" idx="4294967295"/>
          </p:nvPr>
        </p:nvSpPr>
        <p:spPr>
          <a:xfrm>
            <a:off x="250826" y="4660718"/>
            <a:ext cx="2744924" cy="242298"/>
          </a:xfrm>
        </p:spPr>
        <p:txBody>
          <a:bodyPr lIns="0" tIns="0" rIns="0" bIns="0" anchor="b" anchorCtr="0"/>
          <a:lstStyle/>
          <a:p>
            <a:pPr marL="0" indent="0">
              <a:buNone/>
            </a:pPr>
            <a:r>
              <a:rPr lang="it-IT" sz="1200" b="1" dirty="0">
                <a:solidFill>
                  <a:schemeClr val="bg1"/>
                </a:solidFill>
                <a:hlinkClick r:id="rId4" tooltip="www.industrialvalvesummit.com">
                  <a:extLst>
                    <a:ext uri="{A12FA001-AC4F-418D-AE19-62706E023703}">
                      <ahyp:hlinkClr xmlns:ahyp="http://schemas.microsoft.com/office/drawing/2018/hyperlinkcolor" val="tx"/>
                    </a:ext>
                  </a:extLst>
                </a:hlinkClick>
              </a:rPr>
              <a:t>www.industrialvalvesummit.com</a:t>
            </a:r>
            <a:endParaRPr lang="it-IT" sz="1200" b="1" dirty="0">
              <a:solidFill>
                <a:schemeClr val="bg1"/>
              </a:solidFill>
              <a:hlinkClick r:id="rId4">
                <a:extLst>
                  <a:ext uri="{A12FA001-AC4F-418D-AE19-62706E023703}">
                    <ahyp:hlinkClr xmlns:ahyp="http://schemas.microsoft.com/office/drawing/2018/hyperlinkcolor" val="tx"/>
                  </a:ext>
                </a:extLst>
              </a:hlinkClick>
            </a:endParaRPr>
          </a:p>
        </p:txBody>
      </p:sp>
      <p:sp>
        <p:nvSpPr>
          <p:cNvPr id="2" name="CasellaDiTesto 1">
            <a:extLst>
              <a:ext uri="{FF2B5EF4-FFF2-40B4-BE49-F238E27FC236}">
                <a16:creationId xmlns:a16="http://schemas.microsoft.com/office/drawing/2014/main" id="{8A233F8D-4B63-D6E3-CF8D-44C1D137B070}"/>
              </a:ext>
            </a:extLst>
          </p:cNvPr>
          <p:cNvSpPr txBox="1"/>
          <p:nvPr/>
        </p:nvSpPr>
        <p:spPr>
          <a:xfrm>
            <a:off x="3218653" y="3965302"/>
            <a:ext cx="3962607" cy="622573"/>
          </a:xfrm>
          <a:prstGeom prst="rect">
            <a:avLst/>
          </a:prstGeom>
          <a:noFill/>
        </p:spPr>
        <p:txBody>
          <a:bodyPr wrap="square" lIns="0" tIns="0" rIns="0" bIns="0" numCol="1" rtlCol="0" anchor="t" anchorCtr="0">
            <a:noAutofit/>
          </a:bodyPr>
          <a:lstStyle/>
          <a:p>
            <a:r>
              <a:rPr lang="it-IT" sz="900" u="sng" dirty="0">
                <a:solidFill>
                  <a:schemeClr val="bg1"/>
                </a:solidFill>
                <a:effectLst/>
                <a:latin typeface="Helvetica Neue" panose="02000503000000020004" pitchFamily="2" charset="0"/>
              </a:rPr>
              <a:t>CONFERENCE ORGANIZERS</a:t>
            </a:r>
          </a:p>
          <a:p>
            <a:endParaRPr lang="it-IT" sz="900" dirty="0">
              <a:solidFill>
                <a:schemeClr val="bg1"/>
              </a:solidFill>
              <a:effectLst/>
              <a:latin typeface="Helvetica Neue" panose="02000503000000020004" pitchFamily="2" charset="0"/>
            </a:endParaRPr>
          </a:p>
          <a:p>
            <a:r>
              <a:rPr lang="it-IT" sz="900" dirty="0" err="1">
                <a:solidFill>
                  <a:schemeClr val="bg1"/>
                </a:solidFill>
                <a:effectLst/>
                <a:latin typeface="Helvetica Neue" panose="02000503000000020004" pitchFamily="2" charset="0"/>
              </a:rPr>
              <a:t>Ph</a:t>
            </a:r>
            <a:r>
              <a:rPr lang="it-IT" sz="900" dirty="0">
                <a:solidFill>
                  <a:schemeClr val="bg1"/>
                </a:solidFill>
                <a:effectLst/>
                <a:latin typeface="Helvetica Neue" panose="02000503000000020004" pitchFamily="2" charset="0"/>
              </a:rPr>
              <a:t>. +39 </a:t>
            </a:r>
            <a:r>
              <a:rPr lang="it-IT" sz="900" b="1" dirty="0">
                <a:solidFill>
                  <a:schemeClr val="bg1"/>
                </a:solidFill>
                <a:effectLst/>
                <a:latin typeface="Helvetica Neue" panose="02000503000000020004" pitchFamily="2" charset="0"/>
              </a:rPr>
              <a:t>3474908420</a:t>
            </a:r>
          </a:p>
          <a:p>
            <a:r>
              <a:rPr lang="it-IT" sz="900" dirty="0">
                <a:solidFill>
                  <a:schemeClr val="bg1"/>
                </a:solidFill>
                <a:effectLst/>
                <a:latin typeface="Helvetica Neue" panose="02000503000000020004" pitchFamily="2" charset="0"/>
              </a:rPr>
              <a:t>e-mail </a:t>
            </a:r>
            <a:r>
              <a:rPr lang="it-IT" sz="800" b="1" dirty="0">
                <a:solidFill>
                  <a:srgbClr val="5ABAF3"/>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segreteria@valvecampus.com</a:t>
            </a:r>
            <a:endParaRPr lang="it-IT" sz="800" b="1" dirty="0">
              <a:solidFill>
                <a:srgbClr val="5ABAF3"/>
              </a:solidFill>
              <a:latin typeface="Arial" panose="020B0604020202020204" pitchFamily="34" charset="0"/>
              <a:cs typeface="Arial" panose="020B0604020202020204" pitchFamily="34" charset="0"/>
            </a:endParaRPr>
          </a:p>
        </p:txBody>
      </p:sp>
      <p:sp>
        <p:nvSpPr>
          <p:cNvPr id="3" name="Segnaposto testo 10">
            <a:extLst>
              <a:ext uri="{FF2B5EF4-FFF2-40B4-BE49-F238E27FC236}">
                <a16:creationId xmlns:a16="http://schemas.microsoft.com/office/drawing/2014/main" id="{7A8CF7F8-04F7-A07B-DC2D-A3A30384A482}"/>
              </a:ext>
            </a:extLst>
          </p:cNvPr>
          <p:cNvSpPr txBox="1">
            <a:spLocks/>
          </p:cNvSpPr>
          <p:nvPr/>
        </p:nvSpPr>
        <p:spPr>
          <a:xfrm>
            <a:off x="3232014" y="4659313"/>
            <a:ext cx="2744924" cy="242298"/>
          </a:xfrm>
          <a:prstGeom prst="rect">
            <a:avLst/>
          </a:prstGeom>
        </p:spPr>
        <p:txBody>
          <a:bodyPr vert="horz" lIns="0" tIns="0" rIns="0" bIns="0" rtlCol="0" anchor="b"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it-IT" sz="1200" b="1" dirty="0">
                <a:solidFill>
                  <a:schemeClr val="bg1"/>
                </a:solidFill>
                <a:hlinkClick r:id="rId6" tooltip="www.industrialvalvesummit.com">
                  <a:extLst>
                    <a:ext uri="{A12FA001-AC4F-418D-AE19-62706E023703}">
                      <ahyp:hlinkClr xmlns:ahyp="http://schemas.microsoft.com/office/drawing/2018/hyperlinkcolor" val="tx"/>
                    </a:ext>
                  </a:extLst>
                </a:hlinkClick>
              </a:rPr>
              <a:t>www.valvecampus.com</a:t>
            </a:r>
            <a:endParaRPr lang="it-IT" sz="1200" b="1" dirty="0">
              <a:solidFill>
                <a:schemeClr val="bg1"/>
              </a:solidFill>
              <a:hlinkClick r:id="rId4">
                <a:extLst>
                  <a:ext uri="{A12FA001-AC4F-418D-AE19-62706E023703}">
                    <ahyp:hlinkClr xmlns:ahyp="http://schemas.microsoft.com/office/drawing/2018/hyperlinkcolor" val="tx"/>
                  </a:ext>
                </a:extLst>
              </a:hlinkClick>
            </a:endParaRPr>
          </a:p>
        </p:txBody>
      </p:sp>
      <p:sp>
        <p:nvSpPr>
          <p:cNvPr id="5" name="Segnaposto testo 7">
            <a:extLst>
              <a:ext uri="{FF2B5EF4-FFF2-40B4-BE49-F238E27FC236}">
                <a16:creationId xmlns:a16="http://schemas.microsoft.com/office/drawing/2014/main" id="{AF6F1220-1809-0FC9-106B-9E2CE8B029A5}"/>
              </a:ext>
            </a:extLst>
          </p:cNvPr>
          <p:cNvSpPr txBox="1">
            <a:spLocks/>
          </p:cNvSpPr>
          <p:nvPr/>
        </p:nvSpPr>
        <p:spPr>
          <a:xfrm>
            <a:off x="252567" y="1909675"/>
            <a:ext cx="3959071" cy="705620"/>
          </a:xfrm>
          <a:prstGeom prst="rect">
            <a:avLst/>
          </a:prstGeom>
        </p:spPr>
        <p:txBody>
          <a:bodyPr vert="horz" lIns="0" tIns="0" rIns="0" bIns="0" rtlCol="0" anchor="b"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it-IT" b="1" u="sng" dirty="0">
                <a:solidFill>
                  <a:schemeClr val="bg1"/>
                </a:solidFill>
              </a:rPr>
              <a:t>Thanks</a:t>
            </a:r>
          </a:p>
        </p:txBody>
      </p:sp>
    </p:spTree>
    <p:extLst>
      <p:ext uri="{BB962C8B-B14F-4D97-AF65-F5344CB8AC3E}">
        <p14:creationId xmlns:p14="http://schemas.microsoft.com/office/powerpoint/2010/main" val="24627924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4">
            <a:extLst>
              <a:ext uri="{FF2B5EF4-FFF2-40B4-BE49-F238E27FC236}">
                <a16:creationId xmlns:a16="http://schemas.microsoft.com/office/drawing/2014/main" id="{C0DBB4F0-08FB-C36B-A6E2-DE00F305EE7A}"/>
              </a:ext>
            </a:extLst>
          </p:cNvPr>
          <p:cNvSpPr>
            <a:spLocks noGrp="1"/>
          </p:cNvSpPr>
          <p:nvPr>
            <p:ph type="title"/>
          </p:nvPr>
        </p:nvSpPr>
        <p:spPr/>
        <p:txBody>
          <a:bodyPr/>
          <a:lstStyle/>
          <a:p>
            <a:pPr marL="514350" indent="-514350">
              <a:buFont typeface="+mj-lt"/>
              <a:buAutoNum type="alphaUcPeriod"/>
            </a:pPr>
            <a:r>
              <a:rPr lang="en-US" sz="3200" dirty="0">
                <a:cs typeface="Arial" panose="020B0604020202020204" pitchFamily="34" charset="0"/>
              </a:rPr>
              <a:t>Perspectives on core </a:t>
            </a:r>
            <a:br>
              <a:rPr lang="en-US" sz="3200" dirty="0">
                <a:cs typeface="Arial" panose="020B0604020202020204" pitchFamily="34" charset="0"/>
              </a:rPr>
            </a:br>
            <a:r>
              <a:rPr lang="en-US" sz="3200" dirty="0">
                <a:cs typeface="Arial" panose="020B0604020202020204" pitchFamily="34" charset="0"/>
              </a:rPr>
              <a:t>Oil &amp; Gas markets</a:t>
            </a:r>
            <a:endParaRPr lang="it-IT" sz="3200" dirty="0">
              <a:cs typeface="Arial" panose="020B0604020202020204" pitchFamily="34" charset="0"/>
            </a:endParaRPr>
          </a:p>
        </p:txBody>
      </p:sp>
    </p:spTree>
    <p:extLst>
      <p:ext uri="{BB962C8B-B14F-4D97-AF65-F5344CB8AC3E}">
        <p14:creationId xmlns:p14="http://schemas.microsoft.com/office/powerpoint/2010/main" val="2145323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5">
            <a:extLst>
              <a:ext uri="{FF2B5EF4-FFF2-40B4-BE49-F238E27FC236}">
                <a16:creationId xmlns:a16="http://schemas.microsoft.com/office/drawing/2014/main" id="{C57A0B68-948F-CBED-97A5-A01371066D12}"/>
              </a:ext>
            </a:extLst>
          </p:cNvPr>
          <p:cNvSpPr>
            <a:spLocks noGrp="1"/>
          </p:cNvSpPr>
          <p:nvPr>
            <p:ph type="title"/>
          </p:nvPr>
        </p:nvSpPr>
        <p:spPr>
          <a:xfrm>
            <a:off x="250825" y="842963"/>
            <a:ext cx="8642350" cy="1101725"/>
          </a:xfrm>
        </p:spPr>
        <p:txBody>
          <a:bodyPr/>
          <a:lstStyle/>
          <a:p>
            <a:pPr>
              <a:lnSpc>
                <a:spcPct val="100000"/>
              </a:lnSpc>
            </a:pPr>
            <a:r>
              <a:rPr lang="en-US" sz="1800" dirty="0"/>
              <a:t>Despite price volatility, investments by major players have been steadily recovering over the past three years</a:t>
            </a:r>
            <a:endParaRPr lang="it-IT" sz="1800" dirty="0"/>
          </a:p>
        </p:txBody>
      </p:sp>
      <p:sp>
        <p:nvSpPr>
          <p:cNvPr id="9" name="Rechteck 36">
            <a:extLst>
              <a:ext uri="{FF2B5EF4-FFF2-40B4-BE49-F238E27FC236}">
                <a16:creationId xmlns:a16="http://schemas.microsoft.com/office/drawing/2014/main" id="{E58AE750-00A2-3A24-B1B1-4A27D1D337A4}"/>
              </a:ext>
            </a:extLst>
          </p:cNvPr>
          <p:cNvSpPr>
            <a:spLocks/>
          </p:cNvSpPr>
          <p:nvPr/>
        </p:nvSpPr>
        <p:spPr>
          <a:xfrm>
            <a:off x="3156629" y="1835281"/>
            <a:ext cx="2862262" cy="2738953"/>
          </a:xfrm>
          <a:prstGeom prst="rect">
            <a:avLst/>
          </a:prstGeom>
          <a:solidFill>
            <a:srgbClr val="0C133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700" err="1">
              <a:solidFill>
                <a:schemeClr val="tx1"/>
              </a:solidFill>
              <a:latin typeface="Arial" panose="020B0604020202020204" pitchFamily="34" charset="0"/>
              <a:cs typeface="Arial" panose="020B0604020202020204" pitchFamily="34" charset="0"/>
              <a:sym typeface="+mn-lt"/>
            </a:endParaRPr>
          </a:p>
        </p:txBody>
      </p:sp>
      <p:sp>
        <p:nvSpPr>
          <p:cNvPr id="10" name="Rechteck 30">
            <a:extLst>
              <a:ext uri="{FF2B5EF4-FFF2-40B4-BE49-F238E27FC236}">
                <a16:creationId xmlns:a16="http://schemas.microsoft.com/office/drawing/2014/main" id="{FFE55206-8FC6-CF88-4B83-C048F8526BDB}"/>
              </a:ext>
            </a:extLst>
          </p:cNvPr>
          <p:cNvSpPr/>
          <p:nvPr/>
        </p:nvSpPr>
        <p:spPr>
          <a:xfrm>
            <a:off x="0" y="1448810"/>
            <a:ext cx="9144000" cy="46800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700" err="1">
              <a:solidFill>
                <a:schemeClr val="tx1"/>
              </a:solidFill>
              <a:latin typeface="Arial" panose="020B0604020202020204" pitchFamily="34" charset="0"/>
              <a:cs typeface="Arial" panose="020B0604020202020204" pitchFamily="34" charset="0"/>
              <a:sym typeface="+mn-lt"/>
            </a:endParaRPr>
          </a:p>
        </p:txBody>
      </p:sp>
      <p:sp>
        <p:nvSpPr>
          <p:cNvPr id="11" name="Title1818">
            <a:extLst>
              <a:ext uri="{FF2B5EF4-FFF2-40B4-BE49-F238E27FC236}">
                <a16:creationId xmlns:a16="http://schemas.microsoft.com/office/drawing/2014/main" id="{6C551F66-277C-7305-3E50-E5C40F02E7E2}"/>
              </a:ext>
            </a:extLst>
          </p:cNvPr>
          <p:cNvSpPr txBox="1">
            <a:spLocks/>
          </p:cNvSpPr>
          <p:nvPr/>
        </p:nvSpPr>
        <p:spPr>
          <a:xfrm>
            <a:off x="6193175" y="1537386"/>
            <a:ext cx="2700000" cy="290849"/>
          </a:xfrm>
          <a:prstGeom prst="rect">
            <a:avLst/>
          </a:prstGeom>
          <a:noFill/>
          <a:ln w="9525">
            <a:noFill/>
          </a:ln>
        </p:spPr>
        <p:txBody>
          <a:bodyPr vert="horz" wrap="square" lIns="0" tIns="0" rIns="0" bIns="0" rtlCol="0" anchor="ctr">
            <a:spAutoFit/>
          </a:bodyPr>
          <a:lstStyle/>
          <a:p>
            <a:pPr>
              <a:lnSpc>
                <a:spcPct val="90000"/>
              </a:lnSpc>
              <a:spcBef>
                <a:spcPts val="300"/>
              </a:spcBef>
              <a:buSzPct val="100000"/>
              <a:buFont typeface=""/>
            </a:pPr>
            <a:r>
              <a:rPr lang="en-GB" sz="1050" b="1" dirty="0">
                <a:solidFill>
                  <a:srgbClr val="0070C0"/>
                </a:solidFill>
                <a:latin typeface="Arial" panose="020B0604020202020204" pitchFamily="34" charset="0"/>
                <a:cs typeface="Arial" panose="020B0604020202020204" pitchFamily="34" charset="0"/>
              </a:rPr>
              <a:t>… as the majors increased </a:t>
            </a:r>
            <a:br>
              <a:rPr lang="en-GB" sz="1050" b="1" dirty="0">
                <a:solidFill>
                  <a:srgbClr val="0070C0"/>
                </a:solidFill>
                <a:latin typeface="Arial" panose="020B0604020202020204" pitchFamily="34" charset="0"/>
                <a:cs typeface="Arial" panose="020B0604020202020204" pitchFamily="34" charset="0"/>
              </a:rPr>
            </a:br>
            <a:r>
              <a:rPr lang="en-GB" sz="1050" b="1" dirty="0">
                <a:solidFill>
                  <a:srgbClr val="0070C0"/>
                </a:solidFill>
                <a:latin typeface="Arial" panose="020B0604020202020204" pitchFamily="34" charset="0"/>
                <a:cs typeface="Arial" panose="020B0604020202020204" pitchFamily="34" charset="0"/>
              </a:rPr>
              <a:t>CAPEX recently </a:t>
            </a:r>
            <a:r>
              <a:rPr lang="en-GB" sz="800" dirty="0">
                <a:solidFill>
                  <a:srgbClr val="0070C0"/>
                </a:solidFill>
                <a:latin typeface="Arial" panose="020B0604020202020204" pitchFamily="34" charset="0"/>
                <a:cs typeface="Arial" panose="020B0604020202020204" pitchFamily="34" charset="0"/>
              </a:rPr>
              <a:t>[USD bn]</a:t>
            </a:r>
          </a:p>
        </p:txBody>
      </p:sp>
      <p:sp>
        <p:nvSpPr>
          <p:cNvPr id="12" name="Title1818">
            <a:extLst>
              <a:ext uri="{FF2B5EF4-FFF2-40B4-BE49-F238E27FC236}">
                <a16:creationId xmlns:a16="http://schemas.microsoft.com/office/drawing/2014/main" id="{E4DC9391-3D16-3C39-33B8-4D7154AADA93}"/>
              </a:ext>
            </a:extLst>
          </p:cNvPr>
          <p:cNvSpPr txBox="1">
            <a:spLocks/>
          </p:cNvSpPr>
          <p:nvPr/>
        </p:nvSpPr>
        <p:spPr>
          <a:xfrm>
            <a:off x="3230165" y="1537386"/>
            <a:ext cx="2700000" cy="290849"/>
          </a:xfrm>
          <a:prstGeom prst="rect">
            <a:avLst/>
          </a:prstGeom>
          <a:noFill/>
          <a:ln w="9525">
            <a:noFill/>
          </a:ln>
        </p:spPr>
        <p:txBody>
          <a:bodyPr vert="horz" wrap="square" lIns="0" tIns="0" rIns="0" bIns="0" rtlCol="0" anchor="ctr">
            <a:spAutoFit/>
          </a:bodyPr>
          <a:lstStyle/>
          <a:p>
            <a:pPr>
              <a:lnSpc>
                <a:spcPct val="90000"/>
              </a:lnSpc>
              <a:spcBef>
                <a:spcPts val="300"/>
              </a:spcBef>
              <a:buSzPct val="100000"/>
              <a:buFont typeface=""/>
            </a:pPr>
            <a:r>
              <a:rPr lang="en-GB" sz="1050" b="1" dirty="0">
                <a:latin typeface="Arial" panose="020B0604020202020204" pitchFamily="34" charset="0"/>
                <a:cs typeface="Arial" panose="020B0604020202020204" pitchFamily="34" charset="0"/>
              </a:rPr>
              <a:t>… O&amp;G investment </a:t>
            </a:r>
            <a:br>
              <a:rPr lang="en-GB" sz="1050" b="1" dirty="0">
                <a:latin typeface="Arial" panose="020B0604020202020204" pitchFamily="34" charset="0"/>
                <a:cs typeface="Arial" panose="020B0604020202020204" pitchFamily="34" charset="0"/>
              </a:rPr>
            </a:br>
            <a:r>
              <a:rPr lang="en-GB" sz="1050" b="1" dirty="0">
                <a:latin typeface="Arial" panose="020B0604020202020204" pitchFamily="34" charset="0"/>
                <a:cs typeface="Arial" panose="020B0604020202020204" pitchFamily="34" charset="0"/>
              </a:rPr>
              <a:t>is rising</a:t>
            </a:r>
            <a:r>
              <a:rPr lang="en-GB" sz="1050" b="1" baseline="30000" dirty="0">
                <a:latin typeface="Arial" panose="020B0604020202020204" pitchFamily="34" charset="0"/>
                <a:cs typeface="Arial" panose="020B0604020202020204" pitchFamily="34" charset="0"/>
              </a:rPr>
              <a:t>1</a:t>
            </a:r>
            <a:r>
              <a:rPr lang="en-GB" sz="1050" b="1" dirty="0">
                <a:latin typeface="Arial" panose="020B0604020202020204" pitchFamily="34" charset="0"/>
                <a:cs typeface="Arial" panose="020B0604020202020204" pitchFamily="34" charset="0"/>
              </a:rPr>
              <a:t>) </a:t>
            </a:r>
            <a:r>
              <a:rPr lang="en-GB" sz="800" dirty="0">
                <a:latin typeface="Arial" panose="020B0604020202020204" pitchFamily="34" charset="0"/>
                <a:cs typeface="Arial" panose="020B0604020202020204" pitchFamily="34" charset="0"/>
              </a:rPr>
              <a:t>[USD bn]</a:t>
            </a:r>
            <a:r>
              <a:rPr lang="en-GB" sz="800" b="1" dirty="0">
                <a:latin typeface="Arial" panose="020B0604020202020204" pitchFamily="34" charset="0"/>
                <a:cs typeface="Arial" panose="020B0604020202020204" pitchFamily="34" charset="0"/>
              </a:rPr>
              <a:t> </a:t>
            </a:r>
            <a:r>
              <a:rPr lang="en-GB" sz="1050" b="1" dirty="0">
                <a:latin typeface="Arial" panose="020B0604020202020204" pitchFamily="34" charset="0"/>
                <a:cs typeface="Arial" panose="020B0604020202020204" pitchFamily="34" charset="0"/>
              </a:rPr>
              <a:t>…</a:t>
            </a:r>
          </a:p>
        </p:txBody>
      </p:sp>
      <p:sp>
        <p:nvSpPr>
          <p:cNvPr id="13" name="Title1818">
            <a:extLst>
              <a:ext uri="{FF2B5EF4-FFF2-40B4-BE49-F238E27FC236}">
                <a16:creationId xmlns:a16="http://schemas.microsoft.com/office/drawing/2014/main" id="{578B8A0A-38B4-7DD1-3D68-1D18C551CC67}"/>
              </a:ext>
            </a:extLst>
          </p:cNvPr>
          <p:cNvSpPr txBox="1">
            <a:spLocks/>
          </p:cNvSpPr>
          <p:nvPr/>
        </p:nvSpPr>
        <p:spPr>
          <a:xfrm>
            <a:off x="267155" y="1537386"/>
            <a:ext cx="2700000" cy="290849"/>
          </a:xfrm>
          <a:prstGeom prst="rect">
            <a:avLst/>
          </a:prstGeom>
          <a:noFill/>
          <a:ln w="9525">
            <a:noFill/>
          </a:ln>
        </p:spPr>
        <p:txBody>
          <a:bodyPr vert="horz" wrap="square" lIns="0" tIns="0" rIns="0" bIns="0" rtlCol="0" anchor="ctr">
            <a:spAutoFit/>
          </a:bodyPr>
          <a:lstStyle/>
          <a:p>
            <a:pPr>
              <a:lnSpc>
                <a:spcPct val="90000"/>
              </a:lnSpc>
              <a:spcBef>
                <a:spcPts val="300"/>
              </a:spcBef>
              <a:buSzPct val="100000"/>
              <a:buFont typeface=""/>
            </a:pPr>
            <a:r>
              <a:rPr lang="en-US" sz="1050" b="1" dirty="0">
                <a:solidFill>
                  <a:schemeClr val="accent1"/>
                </a:solidFill>
                <a:latin typeface="Arial" panose="020B0604020202020204" pitchFamily="34" charset="0"/>
                <a:cs typeface="Arial" panose="020B0604020202020204" pitchFamily="34" charset="0"/>
              </a:rPr>
              <a:t>Oil &amp; Gas prices</a:t>
            </a:r>
            <a:br>
              <a:rPr lang="en-US" sz="1050" b="1" dirty="0">
                <a:solidFill>
                  <a:schemeClr val="accent1"/>
                </a:solidFill>
                <a:latin typeface="Arial" panose="020B0604020202020204" pitchFamily="34" charset="0"/>
                <a:cs typeface="Arial" panose="020B0604020202020204" pitchFamily="34" charset="0"/>
              </a:rPr>
            </a:br>
            <a:r>
              <a:rPr lang="en-US" sz="1050" b="1" dirty="0">
                <a:solidFill>
                  <a:schemeClr val="accent1"/>
                </a:solidFill>
                <a:latin typeface="Arial" panose="020B0604020202020204" pitchFamily="34" charset="0"/>
                <a:cs typeface="Arial" panose="020B0604020202020204" pitchFamily="34" charset="0"/>
              </a:rPr>
              <a:t>remain volatile </a:t>
            </a:r>
            <a:r>
              <a:rPr lang="en-US" sz="800" dirty="0">
                <a:solidFill>
                  <a:schemeClr val="accent1"/>
                </a:solidFill>
                <a:latin typeface="Arial" panose="020B0604020202020204" pitchFamily="34" charset="0"/>
                <a:cs typeface="Arial" panose="020B0604020202020204" pitchFamily="34" charset="0"/>
              </a:rPr>
              <a:t>[USD]</a:t>
            </a:r>
            <a:r>
              <a:rPr lang="en-US" sz="1050" b="1" dirty="0">
                <a:solidFill>
                  <a:schemeClr val="accent1"/>
                </a:solidFill>
                <a:latin typeface="Arial" panose="020B0604020202020204" pitchFamily="34" charset="0"/>
                <a:cs typeface="Arial" panose="020B0604020202020204" pitchFamily="34" charset="0"/>
              </a:rPr>
              <a:t> …</a:t>
            </a:r>
            <a:endParaRPr lang="en-GB" sz="1050" b="1" dirty="0">
              <a:solidFill>
                <a:schemeClr val="accent1"/>
              </a:solidFill>
              <a:latin typeface="Arial" panose="020B0604020202020204" pitchFamily="34" charset="0"/>
              <a:cs typeface="Arial" panose="020B0604020202020204" pitchFamily="34" charset="0"/>
            </a:endParaRPr>
          </a:p>
        </p:txBody>
      </p:sp>
      <p:sp>
        <p:nvSpPr>
          <p:cNvPr id="14" name="Source">
            <a:extLst>
              <a:ext uri="{FF2B5EF4-FFF2-40B4-BE49-F238E27FC236}">
                <a16:creationId xmlns:a16="http://schemas.microsoft.com/office/drawing/2014/main" id="{8778674B-4265-6A1B-02CA-04C72886E112}"/>
              </a:ext>
            </a:extLst>
          </p:cNvPr>
          <p:cNvSpPr txBox="1"/>
          <p:nvPr/>
        </p:nvSpPr>
        <p:spPr>
          <a:xfrm>
            <a:off x="261529" y="4529172"/>
            <a:ext cx="1654299" cy="554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400">
                <a:latin typeface="Arial" panose="020B0604020202020204" pitchFamily="34" charset="0"/>
                <a:cs typeface="Arial" panose="020B0604020202020204" pitchFamily="34" charset="0"/>
                <a:sym typeface="+mn-lt"/>
              </a:rPr>
              <a:t>Source: FRED, IEA, Bloomberg, Companies' information, Roland Berger</a:t>
            </a:r>
          </a:p>
        </p:txBody>
      </p:sp>
      <p:sp>
        <p:nvSpPr>
          <p:cNvPr id="15" name="Notes">
            <a:extLst>
              <a:ext uri="{FF2B5EF4-FFF2-40B4-BE49-F238E27FC236}">
                <a16:creationId xmlns:a16="http://schemas.microsoft.com/office/drawing/2014/main" id="{86EDADDC-535E-8D48-72DC-FC65E42883D6}"/>
              </a:ext>
            </a:extLst>
          </p:cNvPr>
          <p:cNvSpPr txBox="1"/>
          <p:nvPr/>
        </p:nvSpPr>
        <p:spPr>
          <a:xfrm>
            <a:off x="261529" y="4379141"/>
            <a:ext cx="1628651" cy="61555"/>
          </a:xfrm>
          <a:prstGeom prst="rect">
            <a:avLst/>
          </a:prstGeom>
          <a:noFill/>
          <a:ln w="9525">
            <a:noFill/>
          </a:ln>
        </p:spPr>
        <p:txBody>
          <a:bodyPr vert="horz" wrap="none" lIns="0" tIns="0" rIns="0" bIns="0" rtlCol="0" anchor="b" anchorCtr="0">
            <a:spAutoFit/>
          </a:bodyPr>
          <a:lstStyle>
            <a:defPPr>
              <a:defRPr lang="en-EN"/>
            </a:defPPr>
            <a:lvl1pPr lvl="0">
              <a:lnSpc>
                <a:spcPct val="100000"/>
              </a:lnSpc>
              <a:spcBef>
                <a:spcPts val="0"/>
              </a:spcBef>
              <a:spcAft>
                <a:spcPts val="0"/>
              </a:spcAft>
              <a:buSzPct val="100000"/>
              <a:defRPr sz="800" b="0">
                <a:solidFill>
                  <a:schemeClr val="tx2"/>
                </a:solidFill>
                <a:latin typeface="+mn-lt"/>
              </a:defRPr>
            </a:lvl1pPr>
          </a:lstStyle>
          <a:p>
            <a:r>
              <a:rPr lang="en-US" sz="400">
                <a:latin typeface="Arial" panose="020B0604020202020204" pitchFamily="34" charset="0"/>
                <a:cs typeface="Arial" panose="020B0604020202020204" pitchFamily="34" charset="0"/>
                <a:sym typeface="+mn-lt"/>
              </a:rPr>
              <a:t>1) Total investment in upstream, downstream and midstream Oil &amp; Gas</a:t>
            </a:r>
          </a:p>
        </p:txBody>
      </p:sp>
      <p:graphicFrame>
        <p:nvGraphicFramePr>
          <p:cNvPr id="16" name="Chart 5">
            <a:extLst>
              <a:ext uri="{FF2B5EF4-FFF2-40B4-BE49-F238E27FC236}">
                <a16:creationId xmlns:a16="http://schemas.microsoft.com/office/drawing/2014/main" id="{C656C37C-8112-B046-52AD-90B20878AF25}"/>
              </a:ext>
            </a:extLst>
          </p:cNvPr>
          <p:cNvGraphicFramePr/>
          <p:nvPr>
            <p:custDataLst>
              <p:tags r:id="rId1"/>
            </p:custDataLst>
            <p:extLst>
              <p:ext uri="{D42A27DB-BD31-4B8C-83A1-F6EECF244321}">
                <p14:modId xmlns:p14="http://schemas.microsoft.com/office/powerpoint/2010/main" val="3300712042"/>
              </p:ext>
            </p:extLst>
          </p:nvPr>
        </p:nvGraphicFramePr>
        <p:xfrm>
          <a:off x="3143249" y="1879929"/>
          <a:ext cx="2768600" cy="2068512"/>
        </p:xfrm>
        <a:graphic>
          <a:graphicData uri="http://schemas.openxmlformats.org/drawingml/2006/chart">
            <c:chart xmlns:c="http://schemas.openxmlformats.org/drawingml/2006/chart" xmlns:r="http://schemas.openxmlformats.org/officeDocument/2006/relationships" r:id="rId53"/>
          </a:graphicData>
        </a:graphic>
      </p:graphicFrame>
      <p:sp>
        <p:nvSpPr>
          <p:cNvPr id="17" name="Text Placeholder">
            <a:extLst>
              <a:ext uri="{FF2B5EF4-FFF2-40B4-BE49-F238E27FC236}">
                <a16:creationId xmlns:a16="http://schemas.microsoft.com/office/drawing/2014/main" id="{C1215095-123A-8B0D-283F-06A4DC29BB41}"/>
              </a:ext>
            </a:extLst>
          </p:cNvPr>
          <p:cNvSpPr>
            <a:spLocks noGrp="1"/>
          </p:cNvSpPr>
          <p:nvPr>
            <p:custDataLst>
              <p:tags r:id="rId2"/>
            </p:custDataLst>
          </p:nvPr>
        </p:nvSpPr>
        <p:spPr bwMode="auto">
          <a:xfrm>
            <a:off x="3529011" y="3853191"/>
            <a:ext cx="24130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72DC8449-917B-4EB2-87F6-F0794331E587}" type="datetime'2''01''''''''''''5'''''''''''''''''''''''''''''''''''''''''''">
              <a:rPr lang="en-US" altLang="en-US" sz="600">
                <a:solidFill>
                  <a:schemeClr val="bg1"/>
                </a:solidFill>
                <a:latin typeface="Arial" panose="020B0604020202020204" pitchFamily="34" charset="0"/>
                <a:cs typeface="Arial" panose="020B0604020202020204" pitchFamily="34" charset="0"/>
                <a:sym typeface="Arial" panose="020B0604020202020204" pitchFamily="34" charset="0"/>
              </a:rPr>
              <a:pPr algn="ctr">
                <a:spcBef>
                  <a:spcPct val="0"/>
                </a:spcBef>
              </a:pPr>
              <a:t>2015</a:t>
            </a:fld>
            <a:endParaRPr lang="en-US" sz="6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8" name="Text Placeholder">
            <a:extLst>
              <a:ext uri="{FF2B5EF4-FFF2-40B4-BE49-F238E27FC236}">
                <a16:creationId xmlns:a16="http://schemas.microsoft.com/office/drawing/2014/main" id="{62B35F4E-985F-12A6-879F-C9AF736F34FD}"/>
              </a:ext>
            </a:extLst>
          </p:cNvPr>
          <p:cNvSpPr>
            <a:spLocks noGrp="1"/>
          </p:cNvSpPr>
          <p:nvPr>
            <p:custDataLst>
              <p:tags r:id="rId3"/>
            </p:custDataLst>
          </p:nvPr>
        </p:nvSpPr>
        <p:spPr bwMode="auto">
          <a:xfrm>
            <a:off x="3819524" y="3853191"/>
            <a:ext cx="24130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4B126EDF-6656-47D6-BD67-0D512CC01070}" type="datetime'''''''''''''''''''''''201''''''''6'''''''''">
              <a:rPr lang="en-US" altLang="en-US" sz="600">
                <a:solidFill>
                  <a:schemeClr val="bg1"/>
                </a:solidFill>
                <a:latin typeface="Arial" panose="020B0604020202020204" pitchFamily="34" charset="0"/>
                <a:cs typeface="Arial" panose="020B0604020202020204" pitchFamily="34" charset="0"/>
                <a:sym typeface="Arial" panose="020B0604020202020204" pitchFamily="34" charset="0"/>
              </a:rPr>
              <a:pPr algn="ctr">
                <a:spcBef>
                  <a:spcPct val="0"/>
                </a:spcBef>
              </a:pPr>
              <a:t>2016</a:t>
            </a:fld>
            <a:endParaRPr lang="en-US" sz="6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9" name="Text Placeholder">
            <a:extLst>
              <a:ext uri="{FF2B5EF4-FFF2-40B4-BE49-F238E27FC236}">
                <a16:creationId xmlns:a16="http://schemas.microsoft.com/office/drawing/2014/main" id="{AE083B84-0DA3-F6DA-914C-D17678043821}"/>
              </a:ext>
            </a:extLst>
          </p:cNvPr>
          <p:cNvSpPr>
            <a:spLocks noGrp="1"/>
          </p:cNvSpPr>
          <p:nvPr>
            <p:custDataLst>
              <p:tags r:id="rId4"/>
            </p:custDataLst>
          </p:nvPr>
        </p:nvSpPr>
        <p:spPr bwMode="auto">
          <a:xfrm>
            <a:off x="4110036" y="3853191"/>
            <a:ext cx="24130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C2A30AE-D1B1-4B8A-B5E9-BAB06F11D9EE}" type="datetime'''''''''''2''0''''''''''''''''''1''''''''''''''''''''''7'''">
              <a:rPr lang="en-US" altLang="en-US" sz="600">
                <a:solidFill>
                  <a:schemeClr val="bg1"/>
                </a:solidFill>
                <a:latin typeface="Arial" panose="020B0604020202020204" pitchFamily="34" charset="0"/>
                <a:cs typeface="Arial" panose="020B0604020202020204" pitchFamily="34" charset="0"/>
                <a:sym typeface="Arial" panose="020B0604020202020204" pitchFamily="34" charset="0"/>
              </a:rPr>
              <a:pPr algn="ctr">
                <a:spcBef>
                  <a:spcPct val="0"/>
                </a:spcBef>
              </a:pPr>
              <a:t>2017</a:t>
            </a:fld>
            <a:endParaRPr lang="en-US" sz="6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0" name="Text Placeholder">
            <a:extLst>
              <a:ext uri="{FF2B5EF4-FFF2-40B4-BE49-F238E27FC236}">
                <a16:creationId xmlns:a16="http://schemas.microsoft.com/office/drawing/2014/main" id="{0A614699-F92F-8062-08D1-4EF34E99D2AD}"/>
              </a:ext>
            </a:extLst>
          </p:cNvPr>
          <p:cNvSpPr>
            <a:spLocks noGrp="1"/>
          </p:cNvSpPr>
          <p:nvPr>
            <p:custDataLst>
              <p:tags r:id="rId5"/>
            </p:custDataLst>
          </p:nvPr>
        </p:nvSpPr>
        <p:spPr bwMode="auto">
          <a:xfrm>
            <a:off x="4400549" y="3853191"/>
            <a:ext cx="24130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7658121C-50B7-45D3-BA23-C8C270F1BA97}" type="datetime'''''''''''''''2''''''0''''''''1''''''''''''8'''''''''''''''''">
              <a:rPr lang="en-US" altLang="en-US" sz="600">
                <a:solidFill>
                  <a:schemeClr val="bg1"/>
                </a:solidFill>
                <a:latin typeface="Arial" panose="020B0604020202020204" pitchFamily="34" charset="0"/>
                <a:cs typeface="Arial" panose="020B0604020202020204" pitchFamily="34" charset="0"/>
                <a:sym typeface="Arial" panose="020B0604020202020204" pitchFamily="34" charset="0"/>
              </a:rPr>
              <a:pPr algn="ctr">
                <a:spcBef>
                  <a:spcPct val="0"/>
                </a:spcBef>
              </a:pPr>
              <a:t>2018</a:t>
            </a:fld>
            <a:endParaRPr lang="en-US" sz="6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1" name="Text Placeholder">
            <a:extLst>
              <a:ext uri="{FF2B5EF4-FFF2-40B4-BE49-F238E27FC236}">
                <a16:creationId xmlns:a16="http://schemas.microsoft.com/office/drawing/2014/main" id="{E04A4ACA-9F38-389E-FC74-94EF8F5C6EDF}"/>
              </a:ext>
            </a:extLst>
          </p:cNvPr>
          <p:cNvSpPr>
            <a:spLocks noGrp="1"/>
          </p:cNvSpPr>
          <p:nvPr>
            <p:custDataLst>
              <p:tags r:id="rId6"/>
            </p:custDataLst>
          </p:nvPr>
        </p:nvSpPr>
        <p:spPr bwMode="auto">
          <a:xfrm>
            <a:off x="4691061" y="3853191"/>
            <a:ext cx="24130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49D4314F-55E4-42FE-967C-9E859E6CCC3B}" type="datetime'''''''''''''2''''''''''''''''''''''''0''''1''9'''''''''">
              <a:rPr lang="en-US" altLang="en-US" sz="600">
                <a:solidFill>
                  <a:schemeClr val="bg1"/>
                </a:solidFill>
                <a:latin typeface="Arial" panose="020B0604020202020204" pitchFamily="34" charset="0"/>
                <a:cs typeface="Arial" panose="020B0604020202020204" pitchFamily="34" charset="0"/>
                <a:sym typeface="Arial" panose="020B0604020202020204" pitchFamily="34" charset="0"/>
              </a:rPr>
              <a:pPr algn="ctr">
                <a:spcBef>
                  <a:spcPct val="0"/>
                </a:spcBef>
              </a:pPr>
              <a:t>2019</a:t>
            </a:fld>
            <a:endParaRPr lang="en-US" sz="6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2" name="Text Placeholder">
            <a:extLst>
              <a:ext uri="{FF2B5EF4-FFF2-40B4-BE49-F238E27FC236}">
                <a16:creationId xmlns:a16="http://schemas.microsoft.com/office/drawing/2014/main" id="{3FF14DB3-0C0D-F65C-2868-1D136C4123AB}"/>
              </a:ext>
            </a:extLst>
          </p:cNvPr>
          <p:cNvSpPr>
            <a:spLocks noGrp="1"/>
          </p:cNvSpPr>
          <p:nvPr>
            <p:custDataLst>
              <p:tags r:id="rId7"/>
            </p:custDataLst>
          </p:nvPr>
        </p:nvSpPr>
        <p:spPr bwMode="auto">
          <a:xfrm>
            <a:off x="4981574" y="3853191"/>
            <a:ext cx="24130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7F4400D1-D9E2-4979-B373-D3AA2F155E8A}" type="datetime'''2''0''''''''''''''''''''''''''''''''''''''''''''''''''20'''">
              <a:rPr lang="en-US" altLang="en-US" sz="600">
                <a:solidFill>
                  <a:schemeClr val="bg1"/>
                </a:solidFill>
                <a:latin typeface="Arial" panose="020B0604020202020204" pitchFamily="34" charset="0"/>
                <a:cs typeface="Arial" panose="020B0604020202020204" pitchFamily="34" charset="0"/>
                <a:sym typeface="Arial" panose="020B0604020202020204" pitchFamily="34" charset="0"/>
              </a:rPr>
              <a:pPr algn="ctr">
                <a:spcBef>
                  <a:spcPct val="0"/>
                </a:spcBef>
              </a:pPr>
              <a:t>2020</a:t>
            </a:fld>
            <a:endParaRPr lang="en-US" sz="6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a:extLst>
              <a:ext uri="{FF2B5EF4-FFF2-40B4-BE49-F238E27FC236}">
                <a16:creationId xmlns:a16="http://schemas.microsoft.com/office/drawing/2014/main" id="{88FA9BA2-4C8B-5053-DCB1-29097FD13038}"/>
              </a:ext>
            </a:extLst>
          </p:cNvPr>
          <p:cNvSpPr>
            <a:spLocks noGrp="1"/>
          </p:cNvSpPr>
          <p:nvPr>
            <p:custDataLst>
              <p:tags r:id="rId8"/>
            </p:custDataLst>
          </p:nvPr>
        </p:nvSpPr>
        <p:spPr bwMode="auto">
          <a:xfrm>
            <a:off x="5272086" y="3853191"/>
            <a:ext cx="24130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0A5666FF-5815-4388-8B31-C85A55328CA0}" type="datetime'''''''''2''''''''''''''''''''''0''''''''2''''1'''''''''">
              <a:rPr lang="en-US" altLang="en-US" sz="600">
                <a:solidFill>
                  <a:schemeClr val="bg1"/>
                </a:solidFill>
                <a:latin typeface="Arial" panose="020B0604020202020204" pitchFamily="34" charset="0"/>
                <a:cs typeface="Arial" panose="020B0604020202020204" pitchFamily="34" charset="0"/>
                <a:sym typeface="Arial" panose="020B0604020202020204" pitchFamily="34" charset="0"/>
              </a:rPr>
              <a:pPr algn="ctr">
                <a:spcBef>
                  <a:spcPct val="0"/>
                </a:spcBef>
              </a:pPr>
              <a:t>2021</a:t>
            </a:fld>
            <a:endParaRPr lang="en-US" sz="6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a:extLst>
              <a:ext uri="{FF2B5EF4-FFF2-40B4-BE49-F238E27FC236}">
                <a16:creationId xmlns:a16="http://schemas.microsoft.com/office/drawing/2014/main" id="{A3BD980E-E512-A778-0ED9-F5E2E648A9DF}"/>
              </a:ext>
            </a:extLst>
          </p:cNvPr>
          <p:cNvSpPr>
            <a:spLocks noGrp="1"/>
          </p:cNvSpPr>
          <p:nvPr>
            <p:custDataLst>
              <p:tags r:id="rId9"/>
            </p:custDataLst>
          </p:nvPr>
        </p:nvSpPr>
        <p:spPr bwMode="auto">
          <a:xfrm>
            <a:off x="5562599" y="3853191"/>
            <a:ext cx="24130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8DACA88-A55B-44BA-B99E-55519ACBCFCF}" type="datetime'''2''0''''''2''2'''''''''''''''''''''''''''''''''''''">
              <a:rPr lang="en-US" altLang="en-US" sz="600">
                <a:solidFill>
                  <a:schemeClr val="bg1"/>
                </a:solidFill>
                <a:latin typeface="Arial" panose="020B0604020202020204" pitchFamily="34" charset="0"/>
                <a:cs typeface="Arial" panose="020B0604020202020204" pitchFamily="34" charset="0"/>
                <a:sym typeface="Arial" panose="020B0604020202020204" pitchFamily="34" charset="0"/>
              </a:rPr>
              <a:pPr algn="ctr">
                <a:spcBef>
                  <a:spcPct val="0"/>
                </a:spcBef>
              </a:pPr>
              <a:t>2022</a:t>
            </a:fld>
            <a:endParaRPr lang="en-US" sz="6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5" name="Rectangle 113">
            <a:extLst>
              <a:ext uri="{FF2B5EF4-FFF2-40B4-BE49-F238E27FC236}">
                <a16:creationId xmlns:a16="http://schemas.microsoft.com/office/drawing/2014/main" id="{9A338D59-FD35-3E0D-6669-EB1A2B7FE1BE}"/>
              </a:ext>
            </a:extLst>
          </p:cNvPr>
          <p:cNvSpPr/>
          <p:nvPr>
            <p:custDataLst>
              <p:tags r:id="rId10"/>
            </p:custDataLst>
          </p:nvPr>
        </p:nvSpPr>
        <p:spPr bwMode="auto">
          <a:xfrm>
            <a:off x="3257549" y="4150054"/>
            <a:ext cx="96838" cy="96838"/>
          </a:xfrm>
          <a:prstGeom prst="rect">
            <a:avLst/>
          </a:prstGeom>
          <a:solidFill>
            <a:schemeClr val="accent2"/>
          </a:solidFill>
          <a:ln w="9525"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050">
              <a:latin typeface="Arial" panose="020B0604020202020204" pitchFamily="34" charset="0"/>
              <a:cs typeface="Arial" panose="020B0604020202020204" pitchFamily="34" charset="0"/>
            </a:endParaRPr>
          </a:p>
        </p:txBody>
      </p:sp>
      <p:sp>
        <p:nvSpPr>
          <p:cNvPr id="26" name="Rectangle 41">
            <a:extLst>
              <a:ext uri="{FF2B5EF4-FFF2-40B4-BE49-F238E27FC236}">
                <a16:creationId xmlns:a16="http://schemas.microsoft.com/office/drawing/2014/main" id="{B3A78BED-C673-AA98-4B77-28198547E2B1}"/>
              </a:ext>
            </a:extLst>
          </p:cNvPr>
          <p:cNvSpPr/>
          <p:nvPr>
            <p:custDataLst>
              <p:tags r:id="rId11"/>
            </p:custDataLst>
          </p:nvPr>
        </p:nvSpPr>
        <p:spPr bwMode="auto">
          <a:xfrm>
            <a:off x="3257549" y="4302454"/>
            <a:ext cx="96838" cy="96838"/>
          </a:xfrm>
          <a:prstGeom prst="rect">
            <a:avLst/>
          </a:prstGeom>
          <a:solidFill>
            <a:schemeClr val="bg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700" err="1">
              <a:solidFill>
                <a:schemeClr val="tx1"/>
              </a:solidFill>
              <a:latin typeface="Arial" panose="020B0604020202020204" pitchFamily="34" charset="0"/>
              <a:cs typeface="Arial" panose="020B0604020202020204" pitchFamily="34" charset="0"/>
              <a:sym typeface="+mn-lt"/>
            </a:endParaRPr>
          </a:p>
        </p:txBody>
      </p:sp>
      <p:sp>
        <p:nvSpPr>
          <p:cNvPr id="27" name="Text Placeholder">
            <a:extLst>
              <a:ext uri="{FF2B5EF4-FFF2-40B4-BE49-F238E27FC236}">
                <a16:creationId xmlns:a16="http://schemas.microsoft.com/office/drawing/2014/main" id="{82F924F9-5F2E-61B6-D61D-D990B3BBFDA5}"/>
              </a:ext>
            </a:extLst>
          </p:cNvPr>
          <p:cNvSpPr>
            <a:spLocks noGrp="1"/>
          </p:cNvSpPr>
          <p:nvPr>
            <p:custDataLst>
              <p:tags r:id="rId12"/>
            </p:custDataLst>
          </p:nvPr>
        </p:nvSpPr>
        <p:spPr bwMode="auto">
          <a:xfrm>
            <a:off x="3405186" y="4156404"/>
            <a:ext cx="563563" cy="952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F4357092-5196-45AC-8C2B-F7FC24C5FABA}" type="datetime'O''i''l'''' ''''''in''v''e''s''t''''''men''''''''''t'''">
              <a:rPr lang="en-US" altLang="en-US" sz="500">
                <a:solidFill>
                  <a:schemeClr val="bg1"/>
                </a:solidFill>
                <a:latin typeface="Arial" panose="020B0604020202020204" pitchFamily="34" charset="0"/>
                <a:cs typeface="Arial" panose="020B0604020202020204" pitchFamily="34" charset="0"/>
                <a:sym typeface="Arial" panose="020B0604020202020204" pitchFamily="34" charset="0"/>
              </a:rPr>
              <a:pPr>
                <a:spcBef>
                  <a:spcPct val="0"/>
                </a:spcBef>
              </a:pPr>
              <a:t>Oil investment</a:t>
            </a:fld>
            <a:endParaRPr lang="en-US" sz="5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8" name="Text Placeholder">
            <a:extLst>
              <a:ext uri="{FF2B5EF4-FFF2-40B4-BE49-F238E27FC236}">
                <a16:creationId xmlns:a16="http://schemas.microsoft.com/office/drawing/2014/main" id="{DF5F5C0B-5110-9057-67C0-0C66E4CCD6B4}"/>
              </a:ext>
            </a:extLst>
          </p:cNvPr>
          <p:cNvSpPr>
            <a:spLocks noGrp="1"/>
          </p:cNvSpPr>
          <p:nvPr>
            <p:custDataLst>
              <p:tags r:id="rId13"/>
            </p:custDataLst>
          </p:nvPr>
        </p:nvSpPr>
        <p:spPr bwMode="auto">
          <a:xfrm>
            <a:off x="3405186" y="4308804"/>
            <a:ext cx="619125" cy="952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410E6ACD-C650-41E9-B16D-09071D09E466}" type="datetime'G''a''''s'''''' in''v''''e''''st''''''m''''en''''t'">
              <a:rPr lang="en-US" altLang="en-US" sz="500">
                <a:solidFill>
                  <a:schemeClr val="bg1"/>
                </a:solidFill>
                <a:latin typeface="Arial" panose="020B0604020202020204" pitchFamily="34" charset="0"/>
                <a:cs typeface="Arial" panose="020B0604020202020204" pitchFamily="34" charset="0"/>
                <a:sym typeface="Arial" panose="020B0604020202020204" pitchFamily="34" charset="0"/>
              </a:rPr>
              <a:pPr>
                <a:spcBef>
                  <a:spcPct val="0"/>
                </a:spcBef>
              </a:pPr>
              <a:t>Gas investment</a:t>
            </a:fld>
            <a:endParaRPr lang="en-US" sz="500">
              <a:solidFill>
                <a:schemeClr val="bg1"/>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29" name="Chart 2">
            <a:extLst>
              <a:ext uri="{FF2B5EF4-FFF2-40B4-BE49-F238E27FC236}">
                <a16:creationId xmlns:a16="http://schemas.microsoft.com/office/drawing/2014/main" id="{C81320EA-E826-6635-BBE8-072585ECCDB9}"/>
              </a:ext>
            </a:extLst>
          </p:cNvPr>
          <p:cNvGraphicFramePr/>
          <p:nvPr>
            <p:custDataLst>
              <p:tags r:id="rId14"/>
            </p:custDataLst>
            <p:extLst>
              <p:ext uri="{D42A27DB-BD31-4B8C-83A1-F6EECF244321}">
                <p14:modId xmlns:p14="http://schemas.microsoft.com/office/powerpoint/2010/main" val="815063264"/>
              </p:ext>
            </p:extLst>
          </p:nvPr>
        </p:nvGraphicFramePr>
        <p:xfrm>
          <a:off x="6827836" y="1821191"/>
          <a:ext cx="2114550" cy="2339975"/>
        </p:xfrm>
        <a:graphic>
          <a:graphicData uri="http://schemas.openxmlformats.org/drawingml/2006/chart">
            <c:chart xmlns:c="http://schemas.openxmlformats.org/drawingml/2006/chart" xmlns:r="http://schemas.openxmlformats.org/officeDocument/2006/relationships" r:id="rId54"/>
          </a:graphicData>
        </a:graphic>
      </p:graphicFrame>
      <p:sp>
        <p:nvSpPr>
          <p:cNvPr id="30" name="Text Placeholder">
            <a:extLst>
              <a:ext uri="{FF2B5EF4-FFF2-40B4-BE49-F238E27FC236}">
                <a16:creationId xmlns:a16="http://schemas.microsoft.com/office/drawing/2014/main" id="{194647DB-792E-EC86-C413-D190ACA9A226}"/>
              </a:ext>
            </a:extLst>
          </p:cNvPr>
          <p:cNvSpPr>
            <a:spLocks noGrp="1"/>
          </p:cNvSpPr>
          <p:nvPr>
            <p:custDataLst>
              <p:tags r:id="rId15"/>
            </p:custDataLst>
          </p:nvPr>
        </p:nvSpPr>
        <p:spPr bwMode="auto">
          <a:xfrm>
            <a:off x="6202361" y="2116466"/>
            <a:ext cx="64135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07608D16-B873-4294-8CDA-E2594668FCAE}" type="datetime'S''''''''au''d''''i ''''''''''Ara''''''''''m''''co'''''''">
              <a:rPr lang="en-US" altLang="en-US" sz="600">
                <a:latin typeface="Arial" panose="020B0604020202020204" pitchFamily="34" charset="0"/>
                <a:cs typeface="Arial" panose="020B0604020202020204" pitchFamily="34" charset="0"/>
                <a:sym typeface="Arial" panose="020B0604020202020204" pitchFamily="34" charset="0"/>
              </a:rPr>
              <a:pPr>
                <a:spcBef>
                  <a:spcPct val="0"/>
                </a:spcBef>
              </a:pPr>
              <a:t>Saudi Aramco</a:t>
            </a:fld>
            <a:endParaRPr lang="en-US" sz="600">
              <a:latin typeface="Arial" panose="020B0604020202020204" pitchFamily="34" charset="0"/>
              <a:cs typeface="Arial" panose="020B0604020202020204" pitchFamily="34" charset="0"/>
              <a:sym typeface="Arial" panose="020B0604020202020204" pitchFamily="34" charset="0"/>
            </a:endParaRPr>
          </a:p>
        </p:txBody>
      </p:sp>
      <p:sp>
        <p:nvSpPr>
          <p:cNvPr id="31" name="Text Placeholder">
            <a:extLst>
              <a:ext uri="{FF2B5EF4-FFF2-40B4-BE49-F238E27FC236}">
                <a16:creationId xmlns:a16="http://schemas.microsoft.com/office/drawing/2014/main" id="{0246BA0B-D632-A1B9-759B-7E37C6001BF4}"/>
              </a:ext>
            </a:extLst>
          </p:cNvPr>
          <p:cNvSpPr>
            <a:spLocks noGrp="1"/>
          </p:cNvSpPr>
          <p:nvPr>
            <p:custDataLst>
              <p:tags r:id="rId16"/>
            </p:custDataLst>
          </p:nvPr>
        </p:nvSpPr>
        <p:spPr bwMode="auto">
          <a:xfrm>
            <a:off x="6202361" y="2445079"/>
            <a:ext cx="52705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01C8E25B-E1FE-4DB6-BCDB-2B2F29D25E6C}" type="datetime'E''xx''''''''''o''''''''''nMo''''b''''''''''''''''i''l'">
              <a:rPr lang="en-US" altLang="en-US" sz="600">
                <a:latin typeface="Arial" panose="020B0604020202020204" pitchFamily="34" charset="0"/>
                <a:cs typeface="Arial" panose="020B0604020202020204" pitchFamily="34" charset="0"/>
                <a:sym typeface="Arial" panose="020B0604020202020204" pitchFamily="34" charset="0"/>
              </a:rPr>
              <a:pPr>
                <a:spcBef>
                  <a:spcPct val="0"/>
                </a:spcBef>
              </a:pPr>
              <a:t>ExxonMobil</a:t>
            </a:fld>
            <a:endParaRPr lang="en-US" sz="600">
              <a:latin typeface="Arial" panose="020B0604020202020204" pitchFamily="34" charset="0"/>
              <a:cs typeface="Arial" panose="020B0604020202020204" pitchFamily="34" charset="0"/>
              <a:sym typeface="Arial" panose="020B0604020202020204" pitchFamily="34" charset="0"/>
            </a:endParaRPr>
          </a:p>
        </p:txBody>
      </p:sp>
      <p:sp>
        <p:nvSpPr>
          <p:cNvPr id="32" name="Text Placeholder">
            <a:extLst>
              <a:ext uri="{FF2B5EF4-FFF2-40B4-BE49-F238E27FC236}">
                <a16:creationId xmlns:a16="http://schemas.microsoft.com/office/drawing/2014/main" id="{2E853969-0BD8-10DE-7AEE-B281F28E4341}"/>
              </a:ext>
            </a:extLst>
          </p:cNvPr>
          <p:cNvSpPr>
            <a:spLocks noGrp="1"/>
          </p:cNvSpPr>
          <p:nvPr>
            <p:custDataLst>
              <p:tags r:id="rId17"/>
            </p:custDataLst>
          </p:nvPr>
        </p:nvSpPr>
        <p:spPr bwMode="auto">
          <a:xfrm>
            <a:off x="6202361" y="2772104"/>
            <a:ext cx="2270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76B7BD1D-D5AA-4360-9DFD-830E4BADA4DB}" type="datetime'''''''''''''''''S''''''''''h''''''''''''''''''''''e''ll'''''">
              <a:rPr lang="en-US" altLang="en-US" sz="600">
                <a:latin typeface="Arial" panose="020B0604020202020204" pitchFamily="34" charset="0"/>
                <a:cs typeface="Arial" panose="020B0604020202020204" pitchFamily="34" charset="0"/>
                <a:sym typeface="Arial" panose="020B0604020202020204" pitchFamily="34" charset="0"/>
              </a:rPr>
              <a:pPr>
                <a:spcBef>
                  <a:spcPct val="0"/>
                </a:spcBef>
              </a:pPr>
              <a:t>Shell</a:t>
            </a:fld>
            <a:endParaRPr lang="en-US" sz="600">
              <a:latin typeface="Arial" panose="020B0604020202020204" pitchFamily="34" charset="0"/>
              <a:cs typeface="Arial" panose="020B0604020202020204" pitchFamily="34" charset="0"/>
              <a:sym typeface="Arial" panose="020B0604020202020204" pitchFamily="34" charset="0"/>
            </a:endParaRPr>
          </a:p>
        </p:txBody>
      </p:sp>
      <p:sp>
        <p:nvSpPr>
          <p:cNvPr id="33" name="Text Placeholder">
            <a:extLst>
              <a:ext uri="{FF2B5EF4-FFF2-40B4-BE49-F238E27FC236}">
                <a16:creationId xmlns:a16="http://schemas.microsoft.com/office/drawing/2014/main" id="{B1DC41B3-9EFA-B5D8-2310-EBBE2C9FDD52}"/>
              </a:ext>
            </a:extLst>
          </p:cNvPr>
          <p:cNvSpPr>
            <a:spLocks noGrp="1"/>
          </p:cNvSpPr>
          <p:nvPr>
            <p:custDataLst>
              <p:tags r:id="rId18"/>
            </p:custDataLst>
          </p:nvPr>
        </p:nvSpPr>
        <p:spPr bwMode="auto">
          <a:xfrm>
            <a:off x="6202361" y="3100716"/>
            <a:ext cx="63023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B301E9CE-B9DA-4D0A-AC99-B63384B179CA}" type="datetime'''''T''o''''''''''''''''''ta''''''lEnergi''''''''''''''''''es'">
              <a:rPr lang="en-US" altLang="en-US" sz="600">
                <a:latin typeface="Arial" panose="020B0604020202020204" pitchFamily="34" charset="0"/>
                <a:cs typeface="Arial" panose="020B0604020202020204" pitchFamily="34" charset="0"/>
                <a:sym typeface="Arial" panose="020B0604020202020204" pitchFamily="34" charset="0"/>
              </a:rPr>
              <a:pPr>
                <a:spcBef>
                  <a:spcPct val="0"/>
                </a:spcBef>
              </a:pPr>
              <a:t>TotalEnergies</a:t>
            </a:fld>
            <a:endParaRPr lang="en-US" sz="600">
              <a:latin typeface="Arial" panose="020B0604020202020204" pitchFamily="34" charset="0"/>
              <a:cs typeface="Arial" panose="020B0604020202020204" pitchFamily="34" charset="0"/>
              <a:sym typeface="Arial" panose="020B0604020202020204" pitchFamily="34" charset="0"/>
            </a:endParaRPr>
          </a:p>
        </p:txBody>
      </p:sp>
      <p:sp>
        <p:nvSpPr>
          <p:cNvPr id="34" name="Text Placeholder">
            <a:extLst>
              <a:ext uri="{FF2B5EF4-FFF2-40B4-BE49-F238E27FC236}">
                <a16:creationId xmlns:a16="http://schemas.microsoft.com/office/drawing/2014/main" id="{F7724C0D-89C8-8F90-DC62-35538E4F6D49}"/>
              </a:ext>
            </a:extLst>
          </p:cNvPr>
          <p:cNvSpPr>
            <a:spLocks noGrp="1"/>
          </p:cNvSpPr>
          <p:nvPr>
            <p:custDataLst>
              <p:tags r:id="rId19"/>
            </p:custDataLst>
          </p:nvPr>
        </p:nvSpPr>
        <p:spPr bwMode="auto">
          <a:xfrm>
            <a:off x="6202361" y="3429329"/>
            <a:ext cx="1365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9A11BAEF-1026-41CB-ADBC-C014E5E13696}" type="datetime'''''''''''''''''B''''''''P'''''''''''''''''''">
              <a:rPr lang="en-US" altLang="en-US" sz="600">
                <a:latin typeface="Arial" panose="020B0604020202020204" pitchFamily="34" charset="0"/>
                <a:cs typeface="Arial" panose="020B0604020202020204" pitchFamily="34" charset="0"/>
                <a:sym typeface="Arial" panose="020B0604020202020204" pitchFamily="34" charset="0"/>
              </a:rPr>
              <a:pPr>
                <a:spcBef>
                  <a:spcPct val="0"/>
                </a:spcBef>
              </a:pPr>
              <a:t>BP</a:t>
            </a:fld>
            <a:endParaRPr lang="en-US" sz="600">
              <a:latin typeface="Arial" panose="020B0604020202020204" pitchFamily="34" charset="0"/>
              <a:cs typeface="Arial" panose="020B0604020202020204" pitchFamily="34" charset="0"/>
              <a:sym typeface="Arial" panose="020B0604020202020204" pitchFamily="34" charset="0"/>
            </a:endParaRPr>
          </a:p>
        </p:txBody>
      </p:sp>
      <p:sp>
        <p:nvSpPr>
          <p:cNvPr id="35" name="Text Placeholder">
            <a:extLst>
              <a:ext uri="{FF2B5EF4-FFF2-40B4-BE49-F238E27FC236}">
                <a16:creationId xmlns:a16="http://schemas.microsoft.com/office/drawing/2014/main" id="{5EA7E975-43F8-D83C-B4A2-DCCE62FADE45}"/>
              </a:ext>
            </a:extLst>
          </p:cNvPr>
          <p:cNvSpPr>
            <a:spLocks noGrp="1"/>
          </p:cNvSpPr>
          <p:nvPr>
            <p:custDataLst>
              <p:tags r:id="rId20"/>
            </p:custDataLst>
          </p:nvPr>
        </p:nvSpPr>
        <p:spPr bwMode="auto">
          <a:xfrm>
            <a:off x="6202361" y="3756354"/>
            <a:ext cx="3857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19337807-2D63-4938-B058-C5F7DD994348}" type="datetime'''''''''C''''h''''''''''''''e''''vr''o''''''''''''n'''">
              <a:rPr lang="en-US" altLang="en-US" sz="600">
                <a:latin typeface="Arial" panose="020B0604020202020204" pitchFamily="34" charset="0"/>
                <a:cs typeface="Arial" panose="020B0604020202020204" pitchFamily="34" charset="0"/>
                <a:sym typeface="Arial" panose="020B0604020202020204" pitchFamily="34" charset="0"/>
              </a:rPr>
              <a:pPr>
                <a:spcBef>
                  <a:spcPct val="0"/>
                </a:spcBef>
              </a:pPr>
              <a:t>Chevron</a:t>
            </a:fld>
            <a:endParaRPr lang="en-US" sz="600">
              <a:latin typeface="Arial" panose="020B0604020202020204" pitchFamily="34" charset="0"/>
              <a:cs typeface="Arial" panose="020B0604020202020204" pitchFamily="34" charset="0"/>
              <a:sym typeface="Arial" panose="020B0604020202020204" pitchFamily="34" charset="0"/>
            </a:endParaRPr>
          </a:p>
        </p:txBody>
      </p:sp>
      <p:sp>
        <p:nvSpPr>
          <p:cNvPr id="36" name="Rectangle 57">
            <a:extLst>
              <a:ext uri="{FF2B5EF4-FFF2-40B4-BE49-F238E27FC236}">
                <a16:creationId xmlns:a16="http://schemas.microsoft.com/office/drawing/2014/main" id="{044A8092-8CA3-DCFC-1676-F1E699F930F3}"/>
              </a:ext>
            </a:extLst>
          </p:cNvPr>
          <p:cNvSpPr/>
          <p:nvPr>
            <p:custDataLst>
              <p:tags r:id="rId21"/>
            </p:custDataLst>
          </p:nvPr>
        </p:nvSpPr>
        <p:spPr bwMode="auto">
          <a:xfrm>
            <a:off x="6262686" y="4150054"/>
            <a:ext cx="96838" cy="96838"/>
          </a:xfrm>
          <a:prstGeom prst="rect">
            <a:avLst/>
          </a:prstGeom>
          <a:solidFill>
            <a:schemeClr val="accent1"/>
          </a:solidFill>
          <a:ln w="9525"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spcBef>
                <a:spcPts val="300"/>
              </a:spcBef>
              <a:spcAft>
                <a:spcPct val="0"/>
              </a:spcAft>
              <a:buSzPct val="100000"/>
            </a:pPr>
            <a:endParaRPr lang="en-US" sz="700" err="1">
              <a:solidFill>
                <a:schemeClr val="tx1"/>
              </a:solidFill>
              <a:latin typeface="Arial" panose="020B0604020202020204" pitchFamily="34" charset="0"/>
              <a:cs typeface="Arial" panose="020B0604020202020204" pitchFamily="34" charset="0"/>
              <a:sym typeface="+mn-lt"/>
            </a:endParaRPr>
          </a:p>
        </p:txBody>
      </p:sp>
      <p:sp>
        <p:nvSpPr>
          <p:cNvPr id="37" name="Rectangle 13">
            <a:extLst>
              <a:ext uri="{FF2B5EF4-FFF2-40B4-BE49-F238E27FC236}">
                <a16:creationId xmlns:a16="http://schemas.microsoft.com/office/drawing/2014/main" id="{D482E43F-306D-846A-5757-BAA3B741344B}"/>
              </a:ext>
            </a:extLst>
          </p:cNvPr>
          <p:cNvSpPr/>
          <p:nvPr>
            <p:custDataLst>
              <p:tags r:id="rId22"/>
            </p:custDataLst>
          </p:nvPr>
        </p:nvSpPr>
        <p:spPr bwMode="auto">
          <a:xfrm>
            <a:off x="6262686" y="4302454"/>
            <a:ext cx="96838" cy="96838"/>
          </a:xfrm>
          <a:prstGeom prst="rect">
            <a:avLst/>
          </a:prstGeom>
          <a:solidFill>
            <a:schemeClr val="accent3"/>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54000" tIns="54000" rIns="54000" bIns="54000" rtlCol="0" anchor="t" anchorCtr="0">
            <a:noAutofit/>
          </a:bodyPr>
          <a:lstStyle/>
          <a:p>
            <a:pPr>
              <a:lnSpc>
                <a:spcPct val="90000"/>
              </a:lnSpc>
              <a:spcBef>
                <a:spcPts val="300"/>
              </a:spcBef>
            </a:pPr>
            <a:endParaRPr lang="en-US" sz="1050">
              <a:latin typeface="Arial" panose="020B0604020202020204" pitchFamily="34" charset="0"/>
              <a:cs typeface="Arial" panose="020B0604020202020204" pitchFamily="34" charset="0"/>
            </a:endParaRPr>
          </a:p>
        </p:txBody>
      </p:sp>
      <p:sp>
        <p:nvSpPr>
          <p:cNvPr id="38" name="Rectangle 572">
            <a:extLst>
              <a:ext uri="{FF2B5EF4-FFF2-40B4-BE49-F238E27FC236}">
                <a16:creationId xmlns:a16="http://schemas.microsoft.com/office/drawing/2014/main" id="{16BCBA3A-C859-7574-414D-FF241D3C70E8}"/>
              </a:ext>
            </a:extLst>
          </p:cNvPr>
          <p:cNvSpPr/>
          <p:nvPr>
            <p:custDataLst>
              <p:tags r:id="rId23"/>
            </p:custDataLst>
          </p:nvPr>
        </p:nvSpPr>
        <p:spPr bwMode="auto">
          <a:xfrm>
            <a:off x="6262686" y="4454854"/>
            <a:ext cx="96838" cy="96838"/>
          </a:xfrm>
          <a:prstGeom prst="rect">
            <a:avLst/>
          </a:prstGeom>
          <a:solidFill>
            <a:schemeClr val="tx2"/>
          </a:solidFill>
          <a:ln w="9525"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lstStyle/>
          <a:p>
            <a:pPr fontAlgn="base">
              <a:lnSpc>
                <a:spcPct val="90000"/>
              </a:lnSpc>
              <a:spcBef>
                <a:spcPts val="300"/>
              </a:spcBef>
              <a:spcAft>
                <a:spcPct val="0"/>
              </a:spcAft>
              <a:buSzPct val="100000"/>
            </a:pPr>
            <a:endParaRPr lang="en-US" sz="700">
              <a:solidFill>
                <a:schemeClr val="tx1"/>
              </a:solidFill>
              <a:latin typeface="Arial" panose="020B0604020202020204" pitchFamily="34" charset="0"/>
              <a:cs typeface="Arial" panose="020B0604020202020204" pitchFamily="34" charset="0"/>
              <a:sym typeface="+mn-lt"/>
            </a:endParaRPr>
          </a:p>
        </p:txBody>
      </p:sp>
      <p:sp>
        <p:nvSpPr>
          <p:cNvPr id="39" name="Text Placeholder">
            <a:extLst>
              <a:ext uri="{FF2B5EF4-FFF2-40B4-BE49-F238E27FC236}">
                <a16:creationId xmlns:a16="http://schemas.microsoft.com/office/drawing/2014/main" id="{0E61CD4B-0033-D91D-7234-9A5EA898D483}"/>
              </a:ext>
            </a:extLst>
          </p:cNvPr>
          <p:cNvSpPr>
            <a:spLocks noGrp="1"/>
          </p:cNvSpPr>
          <p:nvPr>
            <p:custDataLst>
              <p:tags r:id="rId24"/>
            </p:custDataLst>
          </p:nvPr>
        </p:nvSpPr>
        <p:spPr bwMode="auto">
          <a:xfrm>
            <a:off x="6410324" y="4156404"/>
            <a:ext cx="965200" cy="952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38626FD4-B696-4903-90BB-9ACB0EF4423C}" type="datetime'''C''AP''E''''''X'' 20''''''''''24 ''(''g''''u''id''an''''ce)'">
              <a:rPr lang="en-US" altLang="en-US" sz="500" smtClean="0">
                <a:latin typeface="Arial" panose="020B0604020202020204" pitchFamily="34" charset="0"/>
                <a:cs typeface="Arial" panose="020B0604020202020204" pitchFamily="34" charset="0"/>
              </a:rPr>
              <a:pPr/>
              <a:t>CAPEX 2024 (guidance)</a:t>
            </a:fld>
            <a:endParaRPr lang="en-US" sz="500">
              <a:latin typeface="Arial" panose="020B0604020202020204" pitchFamily="34" charset="0"/>
              <a:cs typeface="Arial" panose="020B0604020202020204" pitchFamily="34" charset="0"/>
              <a:sym typeface="Arial" panose="020B0604020202020204" pitchFamily="34" charset="0"/>
            </a:endParaRPr>
          </a:p>
        </p:txBody>
      </p:sp>
      <p:sp>
        <p:nvSpPr>
          <p:cNvPr id="40" name="Text Placeholder">
            <a:extLst>
              <a:ext uri="{FF2B5EF4-FFF2-40B4-BE49-F238E27FC236}">
                <a16:creationId xmlns:a16="http://schemas.microsoft.com/office/drawing/2014/main" id="{95B5DC9F-11CE-376F-38B4-22BDFAAAD842}"/>
              </a:ext>
            </a:extLst>
          </p:cNvPr>
          <p:cNvSpPr>
            <a:spLocks noGrp="1"/>
          </p:cNvSpPr>
          <p:nvPr>
            <p:custDataLst>
              <p:tags r:id="rId25"/>
            </p:custDataLst>
          </p:nvPr>
        </p:nvSpPr>
        <p:spPr bwMode="auto">
          <a:xfrm>
            <a:off x="6410324" y="4308804"/>
            <a:ext cx="520700" cy="952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036FC3D2-4EEC-4763-828E-DF2E83C0A222}" type="datetime'''''C''''''''A''P''''''EX'''' ''''''''''20''''''''''''23'''''">
              <a:rPr lang="en-US" altLang="en-US" sz="500" smtClean="0">
                <a:latin typeface="Arial" panose="020B0604020202020204" pitchFamily="34" charset="0"/>
                <a:cs typeface="Arial" panose="020B0604020202020204" pitchFamily="34" charset="0"/>
              </a:rPr>
              <a:pPr/>
              <a:t>CAPEX 2023</a:t>
            </a:fld>
            <a:endParaRPr lang="en-US" sz="500">
              <a:latin typeface="Arial" panose="020B0604020202020204" pitchFamily="34" charset="0"/>
              <a:cs typeface="Arial" panose="020B0604020202020204" pitchFamily="34" charset="0"/>
              <a:sym typeface="Arial" panose="020B0604020202020204" pitchFamily="34" charset="0"/>
            </a:endParaRPr>
          </a:p>
        </p:txBody>
      </p:sp>
      <p:sp>
        <p:nvSpPr>
          <p:cNvPr id="41" name="Text Placeholder">
            <a:extLst>
              <a:ext uri="{FF2B5EF4-FFF2-40B4-BE49-F238E27FC236}">
                <a16:creationId xmlns:a16="http://schemas.microsoft.com/office/drawing/2014/main" id="{6502E427-C4C5-02D3-3870-8ED6F89DA49F}"/>
              </a:ext>
            </a:extLst>
          </p:cNvPr>
          <p:cNvSpPr>
            <a:spLocks noGrp="1"/>
          </p:cNvSpPr>
          <p:nvPr>
            <p:custDataLst>
              <p:tags r:id="rId26"/>
            </p:custDataLst>
          </p:nvPr>
        </p:nvSpPr>
        <p:spPr bwMode="auto">
          <a:xfrm>
            <a:off x="6410324" y="4461204"/>
            <a:ext cx="520700" cy="952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43DC7ECF-35E9-4373-9979-DE1DC976E025}" type="datetime'C''''''''''AP''''''''''E''X'''''' ''20''22'''">
              <a:rPr lang="en-US" altLang="en-US" sz="500" smtClean="0">
                <a:latin typeface="Arial" panose="020B0604020202020204" pitchFamily="34" charset="0"/>
                <a:cs typeface="Arial" panose="020B0604020202020204" pitchFamily="34" charset="0"/>
              </a:rPr>
              <a:pPr/>
              <a:t>CAPEX 2022</a:t>
            </a:fld>
            <a:endParaRPr lang="en-US" sz="500">
              <a:latin typeface="Arial" panose="020B0604020202020204" pitchFamily="34" charset="0"/>
              <a:cs typeface="Arial" panose="020B0604020202020204" pitchFamily="34" charset="0"/>
              <a:sym typeface="Arial" panose="020B0604020202020204" pitchFamily="34" charset="0"/>
            </a:endParaRPr>
          </a:p>
        </p:txBody>
      </p:sp>
      <p:sp>
        <p:nvSpPr>
          <p:cNvPr id="42" name="Freeform: Shape 451">
            <a:extLst>
              <a:ext uri="{FF2B5EF4-FFF2-40B4-BE49-F238E27FC236}">
                <a16:creationId xmlns:a16="http://schemas.microsoft.com/office/drawing/2014/main" id="{81EFF30B-5477-1AC0-C2FB-DF6D92A93BFB}"/>
              </a:ext>
            </a:extLst>
          </p:cNvPr>
          <p:cNvSpPr>
            <a:spLocks noChangeAspect="1"/>
          </p:cNvSpPr>
          <p:nvPr/>
        </p:nvSpPr>
        <p:spPr>
          <a:xfrm rot="18617826">
            <a:off x="7683499" y="2934029"/>
            <a:ext cx="1338453" cy="774700"/>
          </a:xfrm>
          <a:custGeom>
            <a:avLst/>
            <a:gdLst>
              <a:gd name="connsiteX0" fmla="*/ 704374 w 1051535"/>
              <a:gd name="connsiteY0" fmla="*/ 0 h 707641"/>
              <a:gd name="connsiteX1" fmla="*/ 742097 w 1051535"/>
              <a:gd name="connsiteY1" fmla="*/ 7829 h 707641"/>
              <a:gd name="connsiteX2" fmla="*/ 775567 w 1051535"/>
              <a:gd name="connsiteY2" fmla="*/ 32368 h 707641"/>
              <a:gd name="connsiteX3" fmla="*/ 1010478 w 1051535"/>
              <a:gd name="connsiteY3" fmla="*/ 278374 h 707641"/>
              <a:gd name="connsiteX4" fmla="*/ 1042015 w 1051535"/>
              <a:gd name="connsiteY4" fmla="*/ 316354 h 707641"/>
              <a:gd name="connsiteX5" fmla="*/ 1051535 w 1051535"/>
              <a:gd name="connsiteY5" fmla="*/ 353820 h 707641"/>
              <a:gd name="connsiteX6" fmla="*/ 1042310 w 1051535"/>
              <a:gd name="connsiteY6" fmla="*/ 391611 h 707641"/>
              <a:gd name="connsiteX7" fmla="*/ 1010633 w 1051535"/>
              <a:gd name="connsiteY7" fmla="*/ 429875 h 707641"/>
              <a:gd name="connsiteX8" fmla="*/ 775567 w 1051535"/>
              <a:gd name="connsiteY8" fmla="*/ 675465 h 707641"/>
              <a:gd name="connsiteX9" fmla="*/ 742300 w 1051535"/>
              <a:gd name="connsiteY9" fmla="*/ 699913 h 707641"/>
              <a:gd name="connsiteX10" fmla="*/ 704374 w 1051535"/>
              <a:gd name="connsiteY10" fmla="*/ 707641 h 707641"/>
              <a:gd name="connsiteX11" fmla="*/ 671450 w 1051535"/>
              <a:gd name="connsiteY11" fmla="*/ 700962 h 707641"/>
              <a:gd name="connsiteX12" fmla="*/ 643151 w 1051535"/>
              <a:gd name="connsiteY12" fmla="*/ 683198 h 707641"/>
              <a:gd name="connsiteX13" fmla="*/ 622830 w 1051535"/>
              <a:gd name="connsiteY13" fmla="*/ 656768 h 707641"/>
              <a:gd name="connsiteX14" fmla="*/ 614982 w 1051535"/>
              <a:gd name="connsiteY14" fmla="*/ 623709 h 707641"/>
              <a:gd name="connsiteX15" fmla="*/ 643484 w 1051535"/>
              <a:gd name="connsiteY15" fmla="*/ 571604 h 707641"/>
              <a:gd name="connsiteX16" fmla="*/ 765390 w 1051535"/>
              <a:gd name="connsiteY16" fmla="*/ 446857 h 707641"/>
              <a:gd name="connsiteX17" fmla="*/ 99706 w 1051535"/>
              <a:gd name="connsiteY17" fmla="*/ 446857 h 707641"/>
              <a:gd name="connsiteX18" fmla="*/ 26739 w 1051535"/>
              <a:gd name="connsiteY18" fmla="*/ 421877 h 707641"/>
              <a:gd name="connsiteX19" fmla="*/ 0 w 1051535"/>
              <a:gd name="connsiteY19" fmla="*/ 353820 h 707641"/>
              <a:gd name="connsiteX20" fmla="*/ 26845 w 1051535"/>
              <a:gd name="connsiteY20" fmla="*/ 285865 h 707641"/>
              <a:gd name="connsiteX21" fmla="*/ 99706 w 1051535"/>
              <a:gd name="connsiteY21" fmla="*/ 260784 h 707641"/>
              <a:gd name="connsiteX22" fmla="*/ 765390 w 1051535"/>
              <a:gd name="connsiteY22" fmla="*/ 260784 h 707641"/>
              <a:gd name="connsiteX23" fmla="*/ 646867 w 1051535"/>
              <a:gd name="connsiteY23" fmla="*/ 156314 h 707641"/>
              <a:gd name="connsiteX24" fmla="*/ 622719 w 1051535"/>
              <a:gd name="connsiteY24" fmla="*/ 122815 h 707641"/>
              <a:gd name="connsiteX25" fmla="*/ 614982 w 1051535"/>
              <a:gd name="connsiteY25" fmla="*/ 84541 h 707641"/>
              <a:gd name="connsiteX26" fmla="*/ 622830 w 1051535"/>
              <a:gd name="connsiteY26" fmla="*/ 51070 h 707641"/>
              <a:gd name="connsiteX27" fmla="*/ 643151 w 1051535"/>
              <a:gd name="connsiteY27" fmla="*/ 24636 h 707641"/>
              <a:gd name="connsiteX28" fmla="*/ 671682 w 1051535"/>
              <a:gd name="connsiteY28" fmla="*/ 6775 h 707641"/>
              <a:gd name="connsiteX29" fmla="*/ 704374 w 1051535"/>
              <a:gd name="connsiteY29" fmla="*/ 0 h 707641"/>
              <a:gd name="connsiteX0" fmla="*/ 704374 w 1051535"/>
              <a:gd name="connsiteY0" fmla="*/ 0 h 707641"/>
              <a:gd name="connsiteX1" fmla="*/ 742097 w 1051535"/>
              <a:gd name="connsiteY1" fmla="*/ 7829 h 707641"/>
              <a:gd name="connsiteX2" fmla="*/ 775567 w 1051535"/>
              <a:gd name="connsiteY2" fmla="*/ 32368 h 707641"/>
              <a:gd name="connsiteX3" fmla="*/ 1010478 w 1051535"/>
              <a:gd name="connsiteY3" fmla="*/ 278374 h 707641"/>
              <a:gd name="connsiteX4" fmla="*/ 1042015 w 1051535"/>
              <a:gd name="connsiteY4" fmla="*/ 316354 h 707641"/>
              <a:gd name="connsiteX5" fmla="*/ 1051535 w 1051535"/>
              <a:gd name="connsiteY5" fmla="*/ 353820 h 707641"/>
              <a:gd name="connsiteX6" fmla="*/ 1042310 w 1051535"/>
              <a:gd name="connsiteY6" fmla="*/ 391611 h 707641"/>
              <a:gd name="connsiteX7" fmla="*/ 1010633 w 1051535"/>
              <a:gd name="connsiteY7" fmla="*/ 429875 h 707641"/>
              <a:gd name="connsiteX8" fmla="*/ 775567 w 1051535"/>
              <a:gd name="connsiteY8" fmla="*/ 675465 h 707641"/>
              <a:gd name="connsiteX9" fmla="*/ 742300 w 1051535"/>
              <a:gd name="connsiteY9" fmla="*/ 699913 h 707641"/>
              <a:gd name="connsiteX10" fmla="*/ 704374 w 1051535"/>
              <a:gd name="connsiteY10" fmla="*/ 707641 h 707641"/>
              <a:gd name="connsiteX11" fmla="*/ 671450 w 1051535"/>
              <a:gd name="connsiteY11" fmla="*/ 700962 h 707641"/>
              <a:gd name="connsiteX12" fmla="*/ 643151 w 1051535"/>
              <a:gd name="connsiteY12" fmla="*/ 683198 h 707641"/>
              <a:gd name="connsiteX13" fmla="*/ 622830 w 1051535"/>
              <a:gd name="connsiteY13" fmla="*/ 656768 h 707641"/>
              <a:gd name="connsiteX14" fmla="*/ 620032 w 1051535"/>
              <a:gd name="connsiteY14" fmla="*/ 616639 h 707641"/>
              <a:gd name="connsiteX15" fmla="*/ 643484 w 1051535"/>
              <a:gd name="connsiteY15" fmla="*/ 571604 h 707641"/>
              <a:gd name="connsiteX16" fmla="*/ 765390 w 1051535"/>
              <a:gd name="connsiteY16" fmla="*/ 446857 h 707641"/>
              <a:gd name="connsiteX17" fmla="*/ 99706 w 1051535"/>
              <a:gd name="connsiteY17" fmla="*/ 446857 h 707641"/>
              <a:gd name="connsiteX18" fmla="*/ 26739 w 1051535"/>
              <a:gd name="connsiteY18" fmla="*/ 421877 h 707641"/>
              <a:gd name="connsiteX19" fmla="*/ 0 w 1051535"/>
              <a:gd name="connsiteY19" fmla="*/ 353820 h 707641"/>
              <a:gd name="connsiteX20" fmla="*/ 26845 w 1051535"/>
              <a:gd name="connsiteY20" fmla="*/ 285865 h 707641"/>
              <a:gd name="connsiteX21" fmla="*/ 99706 w 1051535"/>
              <a:gd name="connsiteY21" fmla="*/ 260784 h 707641"/>
              <a:gd name="connsiteX22" fmla="*/ 765390 w 1051535"/>
              <a:gd name="connsiteY22" fmla="*/ 260784 h 707641"/>
              <a:gd name="connsiteX23" fmla="*/ 646867 w 1051535"/>
              <a:gd name="connsiteY23" fmla="*/ 156314 h 707641"/>
              <a:gd name="connsiteX24" fmla="*/ 622719 w 1051535"/>
              <a:gd name="connsiteY24" fmla="*/ 122815 h 707641"/>
              <a:gd name="connsiteX25" fmla="*/ 614982 w 1051535"/>
              <a:gd name="connsiteY25" fmla="*/ 84541 h 707641"/>
              <a:gd name="connsiteX26" fmla="*/ 622830 w 1051535"/>
              <a:gd name="connsiteY26" fmla="*/ 51070 h 707641"/>
              <a:gd name="connsiteX27" fmla="*/ 643151 w 1051535"/>
              <a:gd name="connsiteY27" fmla="*/ 24636 h 707641"/>
              <a:gd name="connsiteX28" fmla="*/ 671682 w 1051535"/>
              <a:gd name="connsiteY28" fmla="*/ 6775 h 707641"/>
              <a:gd name="connsiteX29" fmla="*/ 704374 w 1051535"/>
              <a:gd name="connsiteY29" fmla="*/ 0 h 70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51535" h="707641">
                <a:moveTo>
                  <a:pt x="704374" y="0"/>
                </a:moveTo>
                <a:cubicBezTo>
                  <a:pt x="717899" y="0"/>
                  <a:pt x="730473" y="2610"/>
                  <a:pt x="742097" y="7829"/>
                </a:cubicBezTo>
                <a:cubicBezTo>
                  <a:pt x="753721" y="13048"/>
                  <a:pt x="764878" y="21228"/>
                  <a:pt x="775567" y="32368"/>
                </a:cubicBezTo>
                <a:lnTo>
                  <a:pt x="1010478" y="278374"/>
                </a:lnTo>
                <a:cubicBezTo>
                  <a:pt x="1025156" y="293117"/>
                  <a:pt x="1035668" y="305777"/>
                  <a:pt x="1042015" y="316354"/>
                </a:cubicBezTo>
                <a:cubicBezTo>
                  <a:pt x="1048362" y="326930"/>
                  <a:pt x="1051535" y="339419"/>
                  <a:pt x="1051535" y="353820"/>
                </a:cubicBezTo>
                <a:cubicBezTo>
                  <a:pt x="1051535" y="368531"/>
                  <a:pt x="1048460" y="381127"/>
                  <a:pt x="1042310" y="391611"/>
                </a:cubicBezTo>
                <a:cubicBezTo>
                  <a:pt x="1036160" y="402094"/>
                  <a:pt x="1025600" y="414849"/>
                  <a:pt x="1010633" y="429875"/>
                </a:cubicBezTo>
                <a:lnTo>
                  <a:pt x="775567" y="675465"/>
                </a:lnTo>
                <a:cubicBezTo>
                  <a:pt x="764865" y="686613"/>
                  <a:pt x="753776" y="694762"/>
                  <a:pt x="742300" y="699913"/>
                </a:cubicBezTo>
                <a:cubicBezTo>
                  <a:pt x="730824" y="705065"/>
                  <a:pt x="718182" y="707641"/>
                  <a:pt x="704374" y="707641"/>
                </a:cubicBezTo>
                <a:cubicBezTo>
                  <a:pt x="692976" y="707641"/>
                  <a:pt x="682001" y="705414"/>
                  <a:pt x="671450" y="700962"/>
                </a:cubicBezTo>
                <a:cubicBezTo>
                  <a:pt x="660899" y="696510"/>
                  <a:pt x="651466" y="690588"/>
                  <a:pt x="643151" y="683198"/>
                </a:cubicBezTo>
                <a:cubicBezTo>
                  <a:pt x="634835" y="675807"/>
                  <a:pt x="626683" y="667861"/>
                  <a:pt x="622830" y="656768"/>
                </a:cubicBezTo>
                <a:cubicBezTo>
                  <a:pt x="618977" y="645675"/>
                  <a:pt x="616590" y="630833"/>
                  <a:pt x="620032" y="616639"/>
                </a:cubicBezTo>
                <a:cubicBezTo>
                  <a:pt x="623474" y="602445"/>
                  <a:pt x="618416" y="601079"/>
                  <a:pt x="643484" y="571604"/>
                </a:cubicBezTo>
                <a:lnTo>
                  <a:pt x="765390" y="446857"/>
                </a:lnTo>
                <a:lnTo>
                  <a:pt x="99706" y="446857"/>
                </a:lnTo>
                <a:cubicBezTo>
                  <a:pt x="68887" y="446857"/>
                  <a:pt x="44565" y="438530"/>
                  <a:pt x="26739" y="421877"/>
                </a:cubicBezTo>
                <a:cubicBezTo>
                  <a:pt x="8913" y="405224"/>
                  <a:pt x="0" y="382539"/>
                  <a:pt x="0" y="353820"/>
                </a:cubicBezTo>
                <a:cubicBezTo>
                  <a:pt x="0" y="325237"/>
                  <a:pt x="8949" y="302586"/>
                  <a:pt x="26845" y="285865"/>
                </a:cubicBezTo>
                <a:cubicBezTo>
                  <a:pt x="44742" y="269144"/>
                  <a:pt x="69029" y="260784"/>
                  <a:pt x="99706" y="260784"/>
                </a:cubicBezTo>
                <a:lnTo>
                  <a:pt x="765390" y="260784"/>
                </a:lnTo>
                <a:lnTo>
                  <a:pt x="646867" y="156314"/>
                </a:lnTo>
                <a:cubicBezTo>
                  <a:pt x="635926" y="145006"/>
                  <a:pt x="627876" y="133839"/>
                  <a:pt x="622719" y="122815"/>
                </a:cubicBezTo>
                <a:cubicBezTo>
                  <a:pt x="617561" y="111790"/>
                  <a:pt x="614982" y="99032"/>
                  <a:pt x="614982" y="84541"/>
                </a:cubicBezTo>
                <a:cubicBezTo>
                  <a:pt x="614982" y="72459"/>
                  <a:pt x="617598" y="61303"/>
                  <a:pt x="622830" y="51070"/>
                </a:cubicBezTo>
                <a:cubicBezTo>
                  <a:pt x="628062" y="40838"/>
                  <a:pt x="634835" y="32027"/>
                  <a:pt x="643151" y="24636"/>
                </a:cubicBezTo>
                <a:cubicBezTo>
                  <a:pt x="651466" y="17246"/>
                  <a:pt x="660976" y="11292"/>
                  <a:pt x="671682" y="6775"/>
                </a:cubicBezTo>
                <a:cubicBezTo>
                  <a:pt x="682388" y="2258"/>
                  <a:pt x="693285" y="0"/>
                  <a:pt x="704374" y="0"/>
                </a:cubicBezTo>
                <a:close/>
              </a:path>
            </a:pathLst>
          </a:custGeom>
          <a:solidFill>
            <a:schemeClr val="accent1">
              <a:alpha val="32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t">
            <a:noAutofit/>
          </a:bodyPr>
          <a:lstStyle/>
          <a:p>
            <a:pPr>
              <a:lnSpc>
                <a:spcPct val="90000"/>
              </a:lnSpc>
              <a:spcBef>
                <a:spcPts val="300"/>
              </a:spcBef>
            </a:pPr>
            <a:endParaRPr lang="en-US" sz="700">
              <a:solidFill>
                <a:schemeClr val="tx1"/>
              </a:solidFill>
              <a:latin typeface="Arial" panose="020B0604020202020204" pitchFamily="34" charset="0"/>
              <a:cs typeface="Arial" panose="020B0604020202020204" pitchFamily="34" charset="0"/>
            </a:endParaRPr>
          </a:p>
        </p:txBody>
      </p:sp>
      <p:cxnSp>
        <p:nvCxnSpPr>
          <p:cNvPr id="43" name="Straight Connector 7">
            <a:extLst>
              <a:ext uri="{FF2B5EF4-FFF2-40B4-BE49-F238E27FC236}">
                <a16:creationId xmlns:a16="http://schemas.microsoft.com/office/drawing/2014/main" id="{8CE0764D-76B1-3F7D-38F8-12EBEC39C5F1}"/>
              </a:ext>
            </a:extLst>
          </p:cNvPr>
          <p:cNvCxnSpPr/>
          <p:nvPr>
            <p:custDataLst>
              <p:tags r:id="rId27"/>
            </p:custDataLst>
          </p:nvPr>
        </p:nvCxnSpPr>
        <p:spPr bwMode="auto">
          <a:xfrm>
            <a:off x="514350" y="3681413"/>
            <a:ext cx="0"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8">
            <a:extLst>
              <a:ext uri="{FF2B5EF4-FFF2-40B4-BE49-F238E27FC236}">
                <a16:creationId xmlns:a16="http://schemas.microsoft.com/office/drawing/2014/main" id="{D1EEDDF9-C6AF-758F-37BC-3721721A9B86}"/>
              </a:ext>
            </a:extLst>
          </p:cNvPr>
          <p:cNvCxnSpPr/>
          <p:nvPr>
            <p:custDataLst>
              <p:tags r:id="rId28"/>
            </p:custDataLst>
          </p:nvPr>
        </p:nvCxnSpPr>
        <p:spPr bwMode="auto">
          <a:xfrm>
            <a:off x="873125" y="3681413"/>
            <a:ext cx="0"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9">
            <a:extLst>
              <a:ext uri="{FF2B5EF4-FFF2-40B4-BE49-F238E27FC236}">
                <a16:creationId xmlns:a16="http://schemas.microsoft.com/office/drawing/2014/main" id="{36DD0844-ED9C-9992-8231-A50CD769DCB0}"/>
              </a:ext>
            </a:extLst>
          </p:cNvPr>
          <p:cNvCxnSpPr/>
          <p:nvPr>
            <p:custDataLst>
              <p:tags r:id="rId29"/>
            </p:custDataLst>
          </p:nvPr>
        </p:nvCxnSpPr>
        <p:spPr bwMode="auto">
          <a:xfrm>
            <a:off x="1231900" y="3681413"/>
            <a:ext cx="0"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10">
            <a:extLst>
              <a:ext uri="{FF2B5EF4-FFF2-40B4-BE49-F238E27FC236}">
                <a16:creationId xmlns:a16="http://schemas.microsoft.com/office/drawing/2014/main" id="{7E8272DE-4921-E075-BDE9-1628DA65BE9D}"/>
              </a:ext>
            </a:extLst>
          </p:cNvPr>
          <p:cNvCxnSpPr/>
          <p:nvPr>
            <p:custDataLst>
              <p:tags r:id="rId30"/>
            </p:custDataLst>
          </p:nvPr>
        </p:nvCxnSpPr>
        <p:spPr bwMode="auto">
          <a:xfrm>
            <a:off x="1592263" y="3681413"/>
            <a:ext cx="0"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11">
            <a:extLst>
              <a:ext uri="{FF2B5EF4-FFF2-40B4-BE49-F238E27FC236}">
                <a16:creationId xmlns:a16="http://schemas.microsoft.com/office/drawing/2014/main" id="{36927B86-D67C-16E7-4E61-085438285DF3}"/>
              </a:ext>
            </a:extLst>
          </p:cNvPr>
          <p:cNvCxnSpPr/>
          <p:nvPr>
            <p:custDataLst>
              <p:tags r:id="rId31"/>
            </p:custDataLst>
          </p:nvPr>
        </p:nvCxnSpPr>
        <p:spPr bwMode="auto">
          <a:xfrm>
            <a:off x="1951038" y="3681413"/>
            <a:ext cx="0"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12">
            <a:extLst>
              <a:ext uri="{FF2B5EF4-FFF2-40B4-BE49-F238E27FC236}">
                <a16:creationId xmlns:a16="http://schemas.microsoft.com/office/drawing/2014/main" id="{4022AD86-CB41-2C1F-0B29-8BDA07A54E1C}"/>
              </a:ext>
            </a:extLst>
          </p:cNvPr>
          <p:cNvCxnSpPr/>
          <p:nvPr>
            <p:custDataLst>
              <p:tags r:id="rId32"/>
            </p:custDataLst>
          </p:nvPr>
        </p:nvCxnSpPr>
        <p:spPr bwMode="auto">
          <a:xfrm>
            <a:off x="2311400" y="3681413"/>
            <a:ext cx="0"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13">
            <a:extLst>
              <a:ext uri="{FF2B5EF4-FFF2-40B4-BE49-F238E27FC236}">
                <a16:creationId xmlns:a16="http://schemas.microsoft.com/office/drawing/2014/main" id="{29D90D1C-0378-D7AC-1FEE-7D5613E9C8C9}"/>
              </a:ext>
            </a:extLst>
          </p:cNvPr>
          <p:cNvCxnSpPr/>
          <p:nvPr>
            <p:custDataLst>
              <p:tags r:id="rId33"/>
            </p:custDataLst>
          </p:nvPr>
        </p:nvCxnSpPr>
        <p:spPr bwMode="auto">
          <a:xfrm>
            <a:off x="2670175" y="3681413"/>
            <a:ext cx="0"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0" name="Chart 28">
            <a:extLst>
              <a:ext uri="{FF2B5EF4-FFF2-40B4-BE49-F238E27FC236}">
                <a16:creationId xmlns:a16="http://schemas.microsoft.com/office/drawing/2014/main" id="{3C9CC746-2E5D-2442-B233-C19DE779EECA}"/>
              </a:ext>
            </a:extLst>
          </p:cNvPr>
          <p:cNvGraphicFramePr/>
          <p:nvPr>
            <p:custDataLst>
              <p:tags r:id="rId34"/>
            </p:custDataLst>
            <p:extLst>
              <p:ext uri="{D42A27DB-BD31-4B8C-83A1-F6EECF244321}">
                <p14:modId xmlns:p14="http://schemas.microsoft.com/office/powerpoint/2010/main" val="3023949485"/>
              </p:ext>
            </p:extLst>
          </p:nvPr>
        </p:nvGraphicFramePr>
        <p:xfrm>
          <a:off x="152401" y="2076450"/>
          <a:ext cx="2119312" cy="1733550"/>
        </p:xfrm>
        <a:graphic>
          <a:graphicData uri="http://schemas.openxmlformats.org/drawingml/2006/chart">
            <c:chart xmlns:c="http://schemas.openxmlformats.org/drawingml/2006/chart" xmlns:r="http://schemas.openxmlformats.org/officeDocument/2006/relationships" r:id="rId55"/>
          </a:graphicData>
        </a:graphic>
      </p:graphicFrame>
      <p:sp>
        <p:nvSpPr>
          <p:cNvPr id="51" name="Text Placeholder">
            <a:extLst>
              <a:ext uri="{FF2B5EF4-FFF2-40B4-BE49-F238E27FC236}">
                <a16:creationId xmlns:a16="http://schemas.microsoft.com/office/drawing/2014/main" id="{A9B3D995-E1A0-F06F-1DFD-D3CA18447164}"/>
              </a:ext>
            </a:extLst>
          </p:cNvPr>
          <p:cNvSpPr>
            <a:spLocks noGrp="1"/>
          </p:cNvSpPr>
          <p:nvPr>
            <p:custDataLst>
              <p:tags r:id="rId35"/>
            </p:custDataLst>
          </p:nvPr>
        </p:nvSpPr>
        <p:spPr bwMode="gray">
          <a:xfrm>
            <a:off x="400050" y="37480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56C4DA7A-8D6E-4BF2-989A-7CE90C023BDA}" type="datetime'''''''''''''''''''''''''''''2''''''0''''''''''''1''8'''">
              <a:rPr lang="en-US" altLang="en-US" sz="60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18</a:t>
            </a:fld>
            <a:endParaRPr lang="en-US" sz="600">
              <a:latin typeface="Arial" panose="020B0604020202020204" pitchFamily="34" charset="0"/>
              <a:cs typeface="Arial" panose="020B0604020202020204" pitchFamily="34" charset="0"/>
              <a:sym typeface="Arial" panose="020B0604020202020204" pitchFamily="34" charset="0"/>
            </a:endParaRPr>
          </a:p>
        </p:txBody>
      </p:sp>
      <p:sp>
        <p:nvSpPr>
          <p:cNvPr id="52" name="Text Placeholder">
            <a:extLst>
              <a:ext uri="{FF2B5EF4-FFF2-40B4-BE49-F238E27FC236}">
                <a16:creationId xmlns:a16="http://schemas.microsoft.com/office/drawing/2014/main" id="{9C2EA79C-CCAE-1B23-BDDB-59CB2CEB5977}"/>
              </a:ext>
            </a:extLst>
          </p:cNvPr>
          <p:cNvSpPr>
            <a:spLocks noGrp="1"/>
          </p:cNvSpPr>
          <p:nvPr>
            <p:custDataLst>
              <p:tags r:id="rId36"/>
            </p:custDataLst>
          </p:nvPr>
        </p:nvSpPr>
        <p:spPr bwMode="gray">
          <a:xfrm>
            <a:off x="758825" y="37480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86A9D0B2-3382-4A49-9324-98FAFC2267F0}" type="datetime'''''''''''''''''''''''''''''''''''''''2''01''''''''''''''9'">
              <a:rPr lang="en-US" altLang="en-US" sz="60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19</a:t>
            </a:fld>
            <a:endParaRPr lang="en-US" sz="600">
              <a:latin typeface="Arial" panose="020B0604020202020204" pitchFamily="34" charset="0"/>
              <a:cs typeface="Arial" panose="020B0604020202020204" pitchFamily="34" charset="0"/>
              <a:sym typeface="Arial" panose="020B0604020202020204" pitchFamily="34" charset="0"/>
            </a:endParaRPr>
          </a:p>
        </p:txBody>
      </p:sp>
      <p:sp>
        <p:nvSpPr>
          <p:cNvPr id="53" name="Text Placeholder">
            <a:extLst>
              <a:ext uri="{FF2B5EF4-FFF2-40B4-BE49-F238E27FC236}">
                <a16:creationId xmlns:a16="http://schemas.microsoft.com/office/drawing/2014/main" id="{711B09FE-1E3E-5B39-CFAB-EB3326D74E8B}"/>
              </a:ext>
            </a:extLst>
          </p:cNvPr>
          <p:cNvSpPr>
            <a:spLocks noGrp="1"/>
          </p:cNvSpPr>
          <p:nvPr>
            <p:custDataLst>
              <p:tags r:id="rId37"/>
            </p:custDataLst>
          </p:nvPr>
        </p:nvSpPr>
        <p:spPr bwMode="gray">
          <a:xfrm>
            <a:off x="1117600" y="37480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336E50EF-845B-4DEA-9D5A-91328F0A0EE9}" type="datetime'''''''''''''''''''''''2''''''''0''''2''''''''''0'''">
              <a:rPr lang="en-US" altLang="en-US" sz="60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0</a:t>
            </a:fld>
            <a:endParaRPr lang="en-US" sz="600">
              <a:latin typeface="Arial" panose="020B0604020202020204" pitchFamily="34" charset="0"/>
              <a:cs typeface="Arial" panose="020B0604020202020204" pitchFamily="34" charset="0"/>
              <a:sym typeface="Arial" panose="020B0604020202020204" pitchFamily="34" charset="0"/>
            </a:endParaRPr>
          </a:p>
        </p:txBody>
      </p:sp>
      <p:sp>
        <p:nvSpPr>
          <p:cNvPr id="54" name="Text Placeholder">
            <a:extLst>
              <a:ext uri="{FF2B5EF4-FFF2-40B4-BE49-F238E27FC236}">
                <a16:creationId xmlns:a16="http://schemas.microsoft.com/office/drawing/2014/main" id="{2975B801-941C-9AA1-79EB-44F485F93CA3}"/>
              </a:ext>
            </a:extLst>
          </p:cNvPr>
          <p:cNvSpPr>
            <a:spLocks noGrp="1"/>
          </p:cNvSpPr>
          <p:nvPr>
            <p:custDataLst>
              <p:tags r:id="rId38"/>
            </p:custDataLst>
          </p:nvPr>
        </p:nvSpPr>
        <p:spPr bwMode="gray">
          <a:xfrm>
            <a:off x="1477963" y="37480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04247B0C-FDCA-4991-9C09-E57B11E396F5}" type="datetime'''''''''''''''''''''''2''0''''''''2''''''1'''''">
              <a:rPr lang="en-US" altLang="en-US" sz="60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1</a:t>
            </a:fld>
            <a:endParaRPr lang="en-US" sz="600">
              <a:latin typeface="Arial" panose="020B0604020202020204" pitchFamily="34" charset="0"/>
              <a:cs typeface="Arial" panose="020B0604020202020204" pitchFamily="34" charset="0"/>
              <a:sym typeface="Arial" panose="020B0604020202020204" pitchFamily="34" charset="0"/>
            </a:endParaRPr>
          </a:p>
        </p:txBody>
      </p:sp>
      <p:sp>
        <p:nvSpPr>
          <p:cNvPr id="55" name="Text Placeholder">
            <a:extLst>
              <a:ext uri="{FF2B5EF4-FFF2-40B4-BE49-F238E27FC236}">
                <a16:creationId xmlns:a16="http://schemas.microsoft.com/office/drawing/2014/main" id="{5D1DE17E-5BC9-7A26-2D27-E4EBFFBB1732}"/>
              </a:ext>
            </a:extLst>
          </p:cNvPr>
          <p:cNvSpPr>
            <a:spLocks noGrp="1"/>
          </p:cNvSpPr>
          <p:nvPr>
            <p:custDataLst>
              <p:tags r:id="rId39"/>
            </p:custDataLst>
          </p:nvPr>
        </p:nvSpPr>
        <p:spPr bwMode="gray">
          <a:xfrm>
            <a:off x="1836738" y="37480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729D3205-CE98-492A-9AC6-D0623A797525}" type="datetime'''''''''2''''''''''''0''''''''''''''''''''''2''''''''2'''">
              <a:rPr lang="en-US" altLang="en-US" sz="60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2</a:t>
            </a:fld>
            <a:endParaRPr lang="en-US" sz="600">
              <a:latin typeface="Arial" panose="020B0604020202020204" pitchFamily="34" charset="0"/>
              <a:cs typeface="Arial" panose="020B0604020202020204" pitchFamily="34" charset="0"/>
              <a:sym typeface="Arial" panose="020B0604020202020204" pitchFamily="34" charset="0"/>
            </a:endParaRPr>
          </a:p>
        </p:txBody>
      </p:sp>
      <p:sp>
        <p:nvSpPr>
          <p:cNvPr id="56" name="Text Placeholder">
            <a:extLst>
              <a:ext uri="{FF2B5EF4-FFF2-40B4-BE49-F238E27FC236}">
                <a16:creationId xmlns:a16="http://schemas.microsoft.com/office/drawing/2014/main" id="{FEC48566-E0C5-3896-BDC3-81BA17091AC5}"/>
              </a:ext>
            </a:extLst>
          </p:cNvPr>
          <p:cNvSpPr>
            <a:spLocks noGrp="1"/>
          </p:cNvSpPr>
          <p:nvPr>
            <p:custDataLst>
              <p:tags r:id="rId40"/>
            </p:custDataLst>
          </p:nvPr>
        </p:nvSpPr>
        <p:spPr bwMode="gray">
          <a:xfrm>
            <a:off x="2197100" y="37480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ABC97553-5E25-40A3-860B-3B8DF4F38595}" type="datetime'''''''''''''''''2''''''''''02''''''''''''3'''''''''">
              <a:rPr lang="en-US" altLang="en-US" sz="60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3</a:t>
            </a:fld>
            <a:endParaRPr lang="en-US" sz="600">
              <a:latin typeface="Arial" panose="020B0604020202020204" pitchFamily="34" charset="0"/>
              <a:cs typeface="Arial" panose="020B0604020202020204" pitchFamily="34" charset="0"/>
              <a:sym typeface="Arial" panose="020B0604020202020204" pitchFamily="34" charset="0"/>
            </a:endParaRPr>
          </a:p>
        </p:txBody>
      </p:sp>
      <p:sp>
        <p:nvSpPr>
          <p:cNvPr id="57" name="Text Placeholder">
            <a:extLst>
              <a:ext uri="{FF2B5EF4-FFF2-40B4-BE49-F238E27FC236}">
                <a16:creationId xmlns:a16="http://schemas.microsoft.com/office/drawing/2014/main" id="{74562352-3E6E-51AD-F2D0-81080572437F}"/>
              </a:ext>
            </a:extLst>
          </p:cNvPr>
          <p:cNvSpPr>
            <a:spLocks noGrp="1"/>
          </p:cNvSpPr>
          <p:nvPr>
            <p:custDataLst>
              <p:tags r:id="rId41"/>
            </p:custDataLst>
          </p:nvPr>
        </p:nvSpPr>
        <p:spPr bwMode="gray">
          <a:xfrm>
            <a:off x="2555875" y="37480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081E91C-FE24-40A3-A921-5D726EE61CF9}" type="datetime'''''''''2''''02''''4'''''''''">
              <a:rPr lang="en-US" altLang="en-US" sz="60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4</a:t>
            </a:fld>
            <a:endParaRPr lang="en-US" sz="600">
              <a:latin typeface="Arial" panose="020B0604020202020204" pitchFamily="34" charset="0"/>
              <a:cs typeface="Arial" panose="020B0604020202020204" pitchFamily="34" charset="0"/>
              <a:sym typeface="Arial" panose="020B0604020202020204" pitchFamily="34" charset="0"/>
            </a:endParaRPr>
          </a:p>
        </p:txBody>
      </p:sp>
      <p:cxnSp>
        <p:nvCxnSpPr>
          <p:cNvPr id="58" name="Straight Connector 44">
            <a:extLst>
              <a:ext uri="{FF2B5EF4-FFF2-40B4-BE49-F238E27FC236}">
                <a16:creationId xmlns:a16="http://schemas.microsoft.com/office/drawing/2014/main" id="{92B31CB7-7BCB-94A1-56B3-7036D7F958A4}"/>
              </a:ext>
            </a:extLst>
          </p:cNvPr>
          <p:cNvCxnSpPr/>
          <p:nvPr>
            <p:custDataLst>
              <p:tags r:id="rId42"/>
            </p:custDataLst>
          </p:nvPr>
        </p:nvCxnSpPr>
        <p:spPr bwMode="auto">
          <a:xfrm>
            <a:off x="2160588" y="2725738"/>
            <a:ext cx="0" cy="34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25">
            <a:extLst>
              <a:ext uri="{FF2B5EF4-FFF2-40B4-BE49-F238E27FC236}">
                <a16:creationId xmlns:a16="http://schemas.microsoft.com/office/drawing/2014/main" id="{8AD50789-0857-F748-C218-8C1B6B0CF511}"/>
              </a:ext>
            </a:extLst>
          </p:cNvPr>
          <p:cNvCxnSpPr/>
          <p:nvPr>
            <p:custDataLst>
              <p:tags r:id="rId43"/>
            </p:custDataLst>
          </p:nvPr>
        </p:nvCxnSpPr>
        <p:spPr bwMode="auto">
          <a:xfrm>
            <a:off x="2549525" y="3484563"/>
            <a:ext cx="0" cy="34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Text Placeholder 2">
            <a:extLst>
              <a:ext uri="{FF2B5EF4-FFF2-40B4-BE49-F238E27FC236}">
                <a16:creationId xmlns:a16="http://schemas.microsoft.com/office/drawing/2014/main" id="{8A6A5F90-9CBB-338A-5D5F-397F660CEA16}"/>
              </a:ext>
            </a:extLst>
          </p:cNvPr>
          <p:cNvSpPr>
            <a:spLocks noGrp="1"/>
          </p:cNvSpPr>
          <p:nvPr>
            <p:custDataLst>
              <p:tags r:id="rId44"/>
            </p:custDataLst>
          </p:nvPr>
        </p:nvSpPr>
        <p:spPr bwMode="gray">
          <a:xfrm>
            <a:off x="1955800" y="1920875"/>
            <a:ext cx="2889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lnSpc>
                <a:spcPct val="100000"/>
              </a:lnSpc>
              <a:spcBef>
                <a:spcPct val="0"/>
              </a:spcBef>
              <a:spcAft>
                <a:spcPct val="0"/>
              </a:spcAft>
              <a:buNone/>
            </a:pPr>
            <a:fld id="{45CDE08A-8D9C-4D5D-9492-FC3548300592}" type="datetime'''''1''''''2''''''2''''''''.''''''''''''''''''7'''''''''''''">
              <a:rPr lang="en-US" altLang="en-US" sz="600" b="1" smtClean="0">
                <a:effectLst/>
                <a:latin typeface="Arial" panose="020B0604020202020204" pitchFamily="34" charset="0"/>
                <a:cs typeface="Arial" panose="020B0604020202020204" pitchFamily="34" charset="0"/>
                <a:sym typeface="Arial" panose="020B0604020202020204" pitchFamily="34" charset="0"/>
              </a:rPr>
              <a:pPr marL="0" lvl="0" indent="0" algn="ctr">
                <a:lnSpc>
                  <a:spcPct val="100000"/>
                </a:lnSpc>
                <a:spcBef>
                  <a:spcPct val="0"/>
                </a:spcBef>
                <a:spcAft>
                  <a:spcPct val="0"/>
                </a:spcAft>
                <a:buNone/>
              </a:pPr>
              <a:t>122.7</a:t>
            </a:fld>
            <a:endParaRPr lang="en-US" sz="600" b="1">
              <a:latin typeface="Arial" panose="020B0604020202020204" pitchFamily="34" charset="0"/>
              <a:cs typeface="Arial" panose="020B0604020202020204" pitchFamily="34" charset="0"/>
              <a:sym typeface="Arial" panose="020B0604020202020204" pitchFamily="34" charset="0"/>
            </a:endParaRPr>
          </a:p>
        </p:txBody>
      </p:sp>
      <p:sp>
        <p:nvSpPr>
          <p:cNvPr id="61" name="Text Placeholder 2">
            <a:extLst>
              <a:ext uri="{FF2B5EF4-FFF2-40B4-BE49-F238E27FC236}">
                <a16:creationId xmlns:a16="http://schemas.microsoft.com/office/drawing/2014/main" id="{4FCA48AF-31EF-4B1C-BF92-6F596FBF251E}"/>
              </a:ext>
            </a:extLst>
          </p:cNvPr>
          <p:cNvSpPr>
            <a:spLocks noGrp="1"/>
          </p:cNvSpPr>
          <p:nvPr>
            <p:custDataLst>
              <p:tags r:id="rId45"/>
            </p:custDataLst>
          </p:nvPr>
        </p:nvSpPr>
        <p:spPr bwMode="gray">
          <a:xfrm>
            <a:off x="2044700" y="2603500"/>
            <a:ext cx="231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lnSpc>
                <a:spcPct val="100000"/>
              </a:lnSpc>
              <a:spcBef>
                <a:spcPct val="0"/>
              </a:spcBef>
              <a:spcAft>
                <a:spcPct val="0"/>
              </a:spcAft>
              <a:buNone/>
            </a:pPr>
            <a:fld id="{CE3C6AAC-81D7-41CB-9FA1-51C01B8A6818}" type="datetime'70''''''''.''''''''0'''">
              <a:rPr lang="en-US" altLang="en-US" sz="600" b="1" smtClean="0">
                <a:effectLst/>
                <a:latin typeface="Arial" panose="020B0604020202020204" pitchFamily="34" charset="0"/>
                <a:cs typeface="Arial" panose="020B0604020202020204" pitchFamily="34" charset="0"/>
                <a:sym typeface="Arial" panose="020B0604020202020204" pitchFamily="34" charset="0"/>
              </a:rPr>
              <a:pPr marL="0" lvl="0" indent="0" algn="ctr">
                <a:lnSpc>
                  <a:spcPct val="100000"/>
                </a:lnSpc>
                <a:spcBef>
                  <a:spcPct val="0"/>
                </a:spcBef>
                <a:spcAft>
                  <a:spcPct val="0"/>
                </a:spcAft>
                <a:buNone/>
              </a:pPr>
              <a:t>70.0</a:t>
            </a:fld>
            <a:endParaRPr lang="en-US" sz="600" b="1">
              <a:latin typeface="Arial" panose="020B0604020202020204" pitchFamily="34" charset="0"/>
              <a:cs typeface="Arial" panose="020B0604020202020204" pitchFamily="34" charset="0"/>
              <a:sym typeface="Arial" panose="020B0604020202020204" pitchFamily="34" charset="0"/>
            </a:endParaRPr>
          </a:p>
        </p:txBody>
      </p:sp>
      <p:sp>
        <p:nvSpPr>
          <p:cNvPr id="62" name="Text Placeholder 2">
            <a:extLst>
              <a:ext uri="{FF2B5EF4-FFF2-40B4-BE49-F238E27FC236}">
                <a16:creationId xmlns:a16="http://schemas.microsoft.com/office/drawing/2014/main" id="{467141C6-B789-2D71-3427-150282E8F10C}"/>
              </a:ext>
            </a:extLst>
          </p:cNvPr>
          <p:cNvSpPr>
            <a:spLocks noGrp="1"/>
          </p:cNvSpPr>
          <p:nvPr>
            <p:custDataLst>
              <p:tags r:id="rId46"/>
            </p:custDataLst>
          </p:nvPr>
        </p:nvSpPr>
        <p:spPr bwMode="gray">
          <a:xfrm>
            <a:off x="2433638" y="2295525"/>
            <a:ext cx="231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lnSpc>
                <a:spcPct val="100000"/>
              </a:lnSpc>
              <a:spcBef>
                <a:spcPct val="0"/>
              </a:spcBef>
              <a:spcAft>
                <a:spcPct val="0"/>
              </a:spcAft>
              <a:buNone/>
            </a:pPr>
            <a:fld id="{704BD9E1-C130-477A-AAA5-2AAB59E1546D}" type="datetime'''''''9''''''''''''''''''''''''''''''''''''''3''''''.''7'''''">
              <a:rPr lang="en-US" altLang="en-US" sz="600" b="1" smtClean="0">
                <a:effectLst/>
                <a:latin typeface="Arial" panose="020B0604020202020204" pitchFamily="34" charset="0"/>
                <a:cs typeface="Arial" panose="020B0604020202020204" pitchFamily="34" charset="0"/>
                <a:sym typeface="Arial" panose="020B0604020202020204" pitchFamily="34" charset="0"/>
              </a:rPr>
              <a:pPr marL="0" lvl="0" indent="0" algn="ctr">
                <a:lnSpc>
                  <a:spcPct val="100000"/>
                </a:lnSpc>
                <a:spcBef>
                  <a:spcPct val="0"/>
                </a:spcBef>
                <a:spcAft>
                  <a:spcPct val="0"/>
                </a:spcAft>
                <a:buNone/>
              </a:pPr>
              <a:t>93.7</a:t>
            </a:fld>
            <a:endParaRPr lang="en-US" sz="600" b="1">
              <a:latin typeface="Arial" panose="020B0604020202020204" pitchFamily="34" charset="0"/>
              <a:cs typeface="Arial" panose="020B0604020202020204" pitchFamily="34" charset="0"/>
              <a:sym typeface="Arial" panose="020B0604020202020204" pitchFamily="34" charset="0"/>
            </a:endParaRPr>
          </a:p>
        </p:txBody>
      </p:sp>
      <p:sp>
        <p:nvSpPr>
          <p:cNvPr id="63" name="Text Placeholder 2">
            <a:extLst>
              <a:ext uri="{FF2B5EF4-FFF2-40B4-BE49-F238E27FC236}">
                <a16:creationId xmlns:a16="http://schemas.microsoft.com/office/drawing/2014/main" id="{A4F2BDEE-9BA2-A478-0F40-C8B8E4412CAB}"/>
              </a:ext>
            </a:extLst>
          </p:cNvPr>
          <p:cNvSpPr>
            <a:spLocks noGrp="1"/>
          </p:cNvSpPr>
          <p:nvPr>
            <p:custDataLst>
              <p:tags r:id="rId47"/>
            </p:custDataLst>
          </p:nvPr>
        </p:nvSpPr>
        <p:spPr bwMode="gray">
          <a:xfrm>
            <a:off x="2433638" y="3362325"/>
            <a:ext cx="231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lnSpc>
                <a:spcPct val="100000"/>
              </a:lnSpc>
              <a:spcBef>
                <a:spcPct val="0"/>
              </a:spcBef>
              <a:spcAft>
                <a:spcPct val="0"/>
              </a:spcAft>
              <a:buNone/>
            </a:pPr>
            <a:fld id="{5903155C-879F-4CBA-A1BF-5CA7D8159FA8}" type="datetime'''''''''''''''1''''''''''''1''''''''''.4'''''''''''">
              <a:rPr lang="en-US" altLang="en-US" sz="600" b="1" smtClean="0">
                <a:effectLst/>
                <a:latin typeface="Arial" panose="020B0604020202020204" pitchFamily="34" charset="0"/>
                <a:cs typeface="Arial" panose="020B0604020202020204" pitchFamily="34" charset="0"/>
                <a:sym typeface="Arial" panose="020B0604020202020204" pitchFamily="34" charset="0"/>
              </a:rPr>
              <a:pPr marL="0" lvl="0" indent="0" algn="ctr">
                <a:lnSpc>
                  <a:spcPct val="100000"/>
                </a:lnSpc>
                <a:spcBef>
                  <a:spcPct val="0"/>
                </a:spcBef>
                <a:spcAft>
                  <a:spcPct val="0"/>
                </a:spcAft>
                <a:buNone/>
              </a:pPr>
              <a:t>11.4</a:t>
            </a:fld>
            <a:endParaRPr lang="en-US" sz="600" b="1">
              <a:latin typeface="Arial" panose="020B0604020202020204" pitchFamily="34" charset="0"/>
              <a:cs typeface="Arial" panose="020B0604020202020204" pitchFamily="34" charset="0"/>
              <a:sym typeface="Arial" panose="020B0604020202020204" pitchFamily="34" charset="0"/>
            </a:endParaRPr>
          </a:p>
        </p:txBody>
      </p:sp>
      <p:cxnSp>
        <p:nvCxnSpPr>
          <p:cNvPr id="64" name="Straight Connector 32">
            <a:extLst>
              <a:ext uri="{FF2B5EF4-FFF2-40B4-BE49-F238E27FC236}">
                <a16:creationId xmlns:a16="http://schemas.microsoft.com/office/drawing/2014/main" id="{AE8B9629-E383-3ABA-A0BF-6B58AEC61DB6}"/>
              </a:ext>
            </a:extLst>
          </p:cNvPr>
          <p:cNvCxnSpPr/>
          <p:nvPr>
            <p:custDataLst>
              <p:tags r:id="rId48"/>
            </p:custDataLst>
          </p:nvPr>
        </p:nvCxnSpPr>
        <p:spPr bwMode="gray">
          <a:xfrm>
            <a:off x="303213" y="4060825"/>
            <a:ext cx="68263" cy="0"/>
          </a:xfrm>
          <a:prstGeom prst="line">
            <a:avLst/>
          </a:prstGeom>
          <a:ln w="28575" cap="rnd" cmpd="sng" algn="ctr">
            <a:solidFill>
              <a:schemeClr val="accent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33">
            <a:extLst>
              <a:ext uri="{FF2B5EF4-FFF2-40B4-BE49-F238E27FC236}">
                <a16:creationId xmlns:a16="http://schemas.microsoft.com/office/drawing/2014/main" id="{0B4EF12A-2ADB-C7AB-CC42-29981D83BA6B}"/>
              </a:ext>
            </a:extLst>
          </p:cNvPr>
          <p:cNvCxnSpPr/>
          <p:nvPr>
            <p:custDataLst>
              <p:tags r:id="rId49"/>
            </p:custDataLst>
          </p:nvPr>
        </p:nvCxnSpPr>
        <p:spPr bwMode="gray">
          <a:xfrm>
            <a:off x="303213" y="4217988"/>
            <a:ext cx="68263" cy="0"/>
          </a:xfrm>
          <a:prstGeom prst="line">
            <a:avLst/>
          </a:prstGeom>
          <a:ln w="28575" cap="rnd"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6" name="Text Placeholder">
            <a:extLst>
              <a:ext uri="{FF2B5EF4-FFF2-40B4-BE49-F238E27FC236}">
                <a16:creationId xmlns:a16="http://schemas.microsoft.com/office/drawing/2014/main" id="{383EF178-54AD-03AC-A753-FEBC4F643C6A}"/>
              </a:ext>
            </a:extLst>
          </p:cNvPr>
          <p:cNvSpPr>
            <a:spLocks noGrp="1"/>
          </p:cNvSpPr>
          <p:nvPr>
            <p:custDataLst>
              <p:tags r:id="rId50"/>
            </p:custDataLst>
          </p:nvPr>
        </p:nvSpPr>
        <p:spPr bwMode="auto">
          <a:xfrm>
            <a:off x="436563" y="4011613"/>
            <a:ext cx="104775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86D0A95B-2520-40DE-BF1D-3472C2D29F49}" type="datetime'''E''''''''u''ro''''pe Bren''''''t [USD/B''a''r''''rel]'''''''">
              <a:rPr lang="en-US" altLang="en-US" sz="500">
                <a:latin typeface="Arial" panose="020B0604020202020204" pitchFamily="34" charset="0"/>
                <a:cs typeface="Arial" panose="020B0604020202020204" pitchFamily="34" charset="0"/>
                <a:sym typeface="Arial" panose="020B0604020202020204" pitchFamily="34" charset="0"/>
              </a:rPr>
              <a:pPr defTabSz="685800">
                <a:spcBef>
                  <a:spcPct val="0"/>
                </a:spcBef>
                <a:buSzPct val="100000"/>
                <a:buFont typeface="+mn-lt" pitchFamily="34" charset="0"/>
              </a:pPr>
              <a:t>Europe Brent [USD/Barrel]</a:t>
            </a:fld>
            <a:endParaRPr lang="en-US" sz="500">
              <a:latin typeface="Arial" panose="020B0604020202020204" pitchFamily="34" charset="0"/>
              <a:cs typeface="Arial" panose="020B0604020202020204" pitchFamily="34" charset="0"/>
              <a:sym typeface="Arial" panose="020B0604020202020204" pitchFamily="34" charset="0"/>
            </a:endParaRPr>
          </a:p>
        </p:txBody>
      </p:sp>
      <p:sp>
        <p:nvSpPr>
          <p:cNvPr id="67" name="Text Placeholder">
            <a:extLst>
              <a:ext uri="{FF2B5EF4-FFF2-40B4-BE49-F238E27FC236}">
                <a16:creationId xmlns:a16="http://schemas.microsoft.com/office/drawing/2014/main" id="{3CE7C611-93F0-4367-6663-E0F01B1F2D88}"/>
              </a:ext>
            </a:extLst>
          </p:cNvPr>
          <p:cNvSpPr>
            <a:spLocks noGrp="1"/>
          </p:cNvSpPr>
          <p:nvPr>
            <p:custDataLst>
              <p:tags r:id="rId51"/>
            </p:custDataLst>
          </p:nvPr>
        </p:nvSpPr>
        <p:spPr bwMode="auto">
          <a:xfrm>
            <a:off x="436563" y="4168775"/>
            <a:ext cx="139858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034A97E7-E0F6-47C8-A83C-8B31AB75EE8D}" type="datetime'E''''uro''''pe Natur''a''l'' ''Gas [U''SD''/mm''BT''''U'']'''">
              <a:rPr lang="en-US" altLang="en-US" sz="500">
                <a:latin typeface="Arial" panose="020B0604020202020204" pitchFamily="34" charset="0"/>
                <a:cs typeface="Arial" panose="020B0604020202020204" pitchFamily="34" charset="0"/>
                <a:sym typeface="Arial" panose="020B0604020202020204" pitchFamily="34" charset="0"/>
              </a:rPr>
              <a:pPr defTabSz="685800">
                <a:spcBef>
                  <a:spcPct val="0"/>
                </a:spcBef>
                <a:buSzPct val="100000"/>
                <a:buFont typeface="+mn-lt" pitchFamily="34" charset="0"/>
              </a:pPr>
              <a:t>Europe Natural Gas [USD/mmBTU]</a:t>
            </a:fld>
            <a:endParaRPr lang="en-US" sz="500"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202175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5">
            <a:extLst>
              <a:ext uri="{FF2B5EF4-FFF2-40B4-BE49-F238E27FC236}">
                <a16:creationId xmlns:a16="http://schemas.microsoft.com/office/drawing/2014/main" id="{C57A0B68-948F-CBED-97A5-A01371066D12}"/>
              </a:ext>
            </a:extLst>
          </p:cNvPr>
          <p:cNvSpPr>
            <a:spLocks noGrp="1"/>
          </p:cNvSpPr>
          <p:nvPr>
            <p:ph type="title"/>
          </p:nvPr>
        </p:nvSpPr>
        <p:spPr>
          <a:xfrm>
            <a:off x="250825" y="842963"/>
            <a:ext cx="8642350" cy="1101725"/>
          </a:xfrm>
        </p:spPr>
        <p:txBody>
          <a:bodyPr/>
          <a:lstStyle/>
          <a:p>
            <a:pPr>
              <a:lnSpc>
                <a:spcPct val="100000"/>
              </a:lnSpc>
            </a:pPr>
            <a:r>
              <a:rPr lang="en-US" sz="2800" dirty="0"/>
              <a:t>Recovery is driven primarily by North America and Middle East</a:t>
            </a:r>
            <a:endParaRPr lang="it-IT" sz="6600" dirty="0"/>
          </a:p>
        </p:txBody>
      </p:sp>
      <p:cxnSp>
        <p:nvCxnSpPr>
          <p:cNvPr id="2" name="LeanLine Vertical 635138274914804550">
            <a:extLst>
              <a:ext uri="{FF2B5EF4-FFF2-40B4-BE49-F238E27FC236}">
                <a16:creationId xmlns:a16="http://schemas.microsoft.com/office/drawing/2014/main" id="{73A9B1D6-5F61-097E-B34D-C14DCFCDC613}"/>
              </a:ext>
            </a:extLst>
          </p:cNvPr>
          <p:cNvCxnSpPr>
            <a:cxnSpLocks/>
          </p:cNvCxnSpPr>
          <p:nvPr/>
        </p:nvCxnSpPr>
        <p:spPr>
          <a:xfrm>
            <a:off x="4040882" y="2329943"/>
            <a:ext cx="0" cy="2135861"/>
          </a:xfrm>
          <a:prstGeom prst="line">
            <a:avLst/>
          </a:prstGeom>
          <a:ln w="9525" cmpd="sng">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grpSp>
        <p:nvGrpSpPr>
          <p:cNvPr id="3" name="Group 21">
            <a:extLst>
              <a:ext uri="{FF2B5EF4-FFF2-40B4-BE49-F238E27FC236}">
                <a16:creationId xmlns:a16="http://schemas.microsoft.com/office/drawing/2014/main" id="{8E485E2D-5401-F92C-FB3C-9D80EF4AF37B}"/>
              </a:ext>
            </a:extLst>
          </p:cNvPr>
          <p:cNvGrpSpPr/>
          <p:nvPr/>
        </p:nvGrpSpPr>
        <p:grpSpPr>
          <a:xfrm>
            <a:off x="4107329" y="2072768"/>
            <a:ext cx="2277838" cy="203200"/>
            <a:chOff x="3998348" y="1781758"/>
            <a:chExt cx="2772566" cy="202551"/>
          </a:xfrm>
        </p:grpSpPr>
        <p:cxnSp>
          <p:nvCxnSpPr>
            <p:cNvPr id="4" name="Horizontal Line">
              <a:extLst>
                <a:ext uri="{FF2B5EF4-FFF2-40B4-BE49-F238E27FC236}">
                  <a16:creationId xmlns:a16="http://schemas.microsoft.com/office/drawing/2014/main" id="{3B6B0F15-7335-F31C-1BE6-55B3BAFA3DB9}"/>
                </a:ext>
              </a:extLst>
            </p:cNvPr>
            <p:cNvCxnSpPr>
              <a:cxnSpLocks/>
            </p:cNvCxnSpPr>
            <p:nvPr/>
          </p:nvCxnSpPr>
          <p:spPr>
            <a:xfrm>
              <a:off x="3998348" y="1984309"/>
              <a:ext cx="2772566" cy="0"/>
            </a:xfrm>
            <a:prstGeom prst="line">
              <a:avLst/>
            </a:prstGeom>
            <a:noFill/>
            <a:ln w="15875" cmpd="sng">
              <a:solidFill>
                <a:schemeClr val="tx2"/>
              </a:solidFill>
              <a:tailEnd type="triangle"/>
            </a:ln>
            <a:effectLst/>
          </p:spPr>
          <p:style>
            <a:lnRef idx="2">
              <a:schemeClr val="accent1">
                <a:shade val="50000"/>
              </a:schemeClr>
            </a:lnRef>
            <a:fillRef idx="1">
              <a:schemeClr val="accent1"/>
            </a:fillRef>
            <a:effectRef idx="0">
              <a:schemeClr val="accent1"/>
            </a:effectRef>
            <a:fontRef idx="minor">
              <a:schemeClr val="lt1"/>
            </a:fontRef>
          </p:style>
        </p:cxnSp>
        <p:sp>
          <p:nvSpPr>
            <p:cNvPr id="5" name="ListLeanHorizontalTextTopic0">
              <a:extLst>
                <a:ext uri="{FF2B5EF4-FFF2-40B4-BE49-F238E27FC236}">
                  <a16:creationId xmlns:a16="http://schemas.microsoft.com/office/drawing/2014/main" id="{AECFEB1D-7928-1E7B-7BCE-392246DF4F6B}"/>
                </a:ext>
              </a:extLst>
            </p:cNvPr>
            <p:cNvSpPr txBox="1">
              <a:spLocks/>
            </p:cNvSpPr>
            <p:nvPr/>
          </p:nvSpPr>
          <p:spPr>
            <a:xfrm>
              <a:off x="3998348" y="1781758"/>
              <a:ext cx="610165" cy="202551"/>
            </a:xfrm>
            <a:prstGeom prst="rect">
              <a:avLst/>
            </a:prstGeom>
            <a:noFill/>
            <a:ln w="9525">
              <a:noFill/>
            </a:ln>
          </p:spPr>
          <p:txBody>
            <a:bodyPr vert="horz" wrap="none" lIns="0" tIns="0" rIns="0" bIns="36000" rtlCol="0" anchor="b">
              <a:noAutofit/>
            </a:bodyPr>
            <a:lstStyle/>
            <a:p>
              <a:pPr>
                <a:lnSpc>
                  <a:spcPct val="90000"/>
                </a:lnSpc>
                <a:spcBef>
                  <a:spcPts val="300"/>
                </a:spcBef>
                <a:buSzPct val="100000"/>
              </a:pPr>
              <a:r>
                <a:rPr lang="en-GB" sz="1050">
                  <a:solidFill>
                    <a:schemeClr val="tx2"/>
                  </a:solidFill>
                  <a:latin typeface="Arial" panose="020B0604020202020204" pitchFamily="34" charset="0"/>
                  <a:cs typeface="Arial" panose="020B0604020202020204" pitchFamily="34" charset="0"/>
                </a:rPr>
                <a:t>Forecast</a:t>
              </a:r>
              <a:endParaRPr lang="en-GB" sz="1050" baseline="30000">
                <a:solidFill>
                  <a:schemeClr val="tx2"/>
                </a:solidFill>
                <a:latin typeface="Arial" panose="020B0604020202020204" pitchFamily="34" charset="0"/>
                <a:cs typeface="Arial" panose="020B0604020202020204" pitchFamily="34" charset="0"/>
              </a:endParaRPr>
            </a:p>
          </p:txBody>
        </p:sp>
      </p:grpSp>
      <p:grpSp>
        <p:nvGrpSpPr>
          <p:cNvPr id="7" name="Group 22">
            <a:extLst>
              <a:ext uri="{FF2B5EF4-FFF2-40B4-BE49-F238E27FC236}">
                <a16:creationId xmlns:a16="http://schemas.microsoft.com/office/drawing/2014/main" id="{1265CEC0-9A17-126C-D247-E7F0776D408C}"/>
              </a:ext>
            </a:extLst>
          </p:cNvPr>
          <p:cNvGrpSpPr/>
          <p:nvPr/>
        </p:nvGrpSpPr>
        <p:grpSpPr>
          <a:xfrm>
            <a:off x="212333" y="2072768"/>
            <a:ext cx="3764914" cy="203200"/>
            <a:chOff x="899887" y="1781758"/>
            <a:chExt cx="2761455" cy="202551"/>
          </a:xfrm>
        </p:grpSpPr>
        <p:cxnSp>
          <p:nvCxnSpPr>
            <p:cNvPr id="8" name="Horizontal Line">
              <a:extLst>
                <a:ext uri="{FF2B5EF4-FFF2-40B4-BE49-F238E27FC236}">
                  <a16:creationId xmlns:a16="http://schemas.microsoft.com/office/drawing/2014/main" id="{8FCED72C-5167-109B-B5C8-44F9EF069261}"/>
                </a:ext>
              </a:extLst>
            </p:cNvPr>
            <p:cNvCxnSpPr>
              <a:cxnSpLocks/>
            </p:cNvCxnSpPr>
            <p:nvPr/>
          </p:nvCxnSpPr>
          <p:spPr>
            <a:xfrm flipH="1">
              <a:off x="899887" y="1984309"/>
              <a:ext cx="2761455" cy="0"/>
            </a:xfrm>
            <a:prstGeom prst="line">
              <a:avLst/>
            </a:prstGeom>
            <a:noFill/>
            <a:ln w="15875" cmpd="sng">
              <a:solidFill>
                <a:schemeClr val="tx2"/>
              </a:solidFill>
              <a:tailEnd type="triangle"/>
            </a:ln>
            <a:effectLst/>
          </p:spPr>
          <p:style>
            <a:lnRef idx="2">
              <a:schemeClr val="accent1">
                <a:shade val="50000"/>
              </a:schemeClr>
            </a:lnRef>
            <a:fillRef idx="1">
              <a:schemeClr val="accent1"/>
            </a:fillRef>
            <a:effectRef idx="0">
              <a:schemeClr val="accent1"/>
            </a:effectRef>
            <a:fontRef idx="minor">
              <a:schemeClr val="lt1"/>
            </a:fontRef>
          </p:style>
        </p:cxnSp>
        <p:sp>
          <p:nvSpPr>
            <p:cNvPr id="68" name="ListLeanHorizontalTextTopic0">
              <a:extLst>
                <a:ext uri="{FF2B5EF4-FFF2-40B4-BE49-F238E27FC236}">
                  <a16:creationId xmlns:a16="http://schemas.microsoft.com/office/drawing/2014/main" id="{C37C4398-B890-336B-8FCD-74C7F52FE518}"/>
                </a:ext>
              </a:extLst>
            </p:cNvPr>
            <p:cNvSpPr txBox="1">
              <a:spLocks/>
            </p:cNvSpPr>
            <p:nvPr/>
          </p:nvSpPr>
          <p:spPr>
            <a:xfrm>
              <a:off x="3062457" y="1781758"/>
              <a:ext cx="598884" cy="202551"/>
            </a:xfrm>
            <a:prstGeom prst="rect">
              <a:avLst/>
            </a:prstGeom>
            <a:noFill/>
            <a:ln w="9525">
              <a:noFill/>
            </a:ln>
          </p:spPr>
          <p:txBody>
            <a:bodyPr vert="horz" wrap="none" lIns="0" tIns="0" rIns="0" bIns="36000" rtlCol="0" anchor="b">
              <a:noAutofit/>
            </a:bodyPr>
            <a:lstStyle/>
            <a:p>
              <a:pPr algn="r">
                <a:lnSpc>
                  <a:spcPct val="90000"/>
                </a:lnSpc>
                <a:spcBef>
                  <a:spcPts val="300"/>
                </a:spcBef>
                <a:buSzPct val="100000"/>
              </a:pPr>
              <a:r>
                <a:rPr lang="en-GB" sz="1050" dirty="0">
                  <a:solidFill>
                    <a:schemeClr val="tx2"/>
                  </a:solidFill>
                  <a:latin typeface="Arial" panose="020B0604020202020204" pitchFamily="34" charset="0"/>
                  <a:cs typeface="Arial" panose="020B0604020202020204" pitchFamily="34" charset="0"/>
                </a:rPr>
                <a:t>Historical</a:t>
              </a:r>
              <a:endParaRPr lang="en-GB" sz="1050" baseline="30000" dirty="0">
                <a:solidFill>
                  <a:schemeClr val="tx2"/>
                </a:solidFill>
                <a:latin typeface="Arial" panose="020B0604020202020204" pitchFamily="34" charset="0"/>
                <a:cs typeface="Arial" panose="020B0604020202020204" pitchFamily="34" charset="0"/>
              </a:endParaRPr>
            </a:p>
          </p:txBody>
        </p:sp>
      </p:grpSp>
      <p:graphicFrame>
        <p:nvGraphicFramePr>
          <p:cNvPr id="69" name="Chart 8">
            <a:extLst>
              <a:ext uri="{FF2B5EF4-FFF2-40B4-BE49-F238E27FC236}">
                <a16:creationId xmlns:a16="http://schemas.microsoft.com/office/drawing/2014/main" id="{772F3C1E-084F-DDD0-5098-145BE51EB3D7}"/>
              </a:ext>
            </a:extLst>
          </p:cNvPr>
          <p:cNvGraphicFramePr/>
          <p:nvPr>
            <p:custDataLst>
              <p:tags r:id="rId1"/>
            </p:custDataLst>
            <p:extLst>
              <p:ext uri="{D42A27DB-BD31-4B8C-83A1-F6EECF244321}">
                <p14:modId xmlns:p14="http://schemas.microsoft.com/office/powerpoint/2010/main" val="2959065732"/>
              </p:ext>
            </p:extLst>
          </p:nvPr>
        </p:nvGraphicFramePr>
        <p:xfrm>
          <a:off x="129782" y="2706182"/>
          <a:ext cx="6538913" cy="1827886"/>
        </p:xfrm>
        <a:graphic>
          <a:graphicData uri="http://schemas.openxmlformats.org/drawingml/2006/chart">
            <c:chart xmlns:c="http://schemas.openxmlformats.org/drawingml/2006/chart" xmlns:r="http://schemas.openxmlformats.org/officeDocument/2006/relationships" r:id="rId62"/>
          </a:graphicData>
        </a:graphic>
      </p:graphicFrame>
      <p:sp useBgFill="1">
        <p:nvSpPr>
          <p:cNvPr id="70" name="Freeform: Shape 4">
            <a:extLst>
              <a:ext uri="{FF2B5EF4-FFF2-40B4-BE49-F238E27FC236}">
                <a16:creationId xmlns:a16="http://schemas.microsoft.com/office/drawing/2014/main" id="{6BD5F59E-CFB9-0386-FBD6-B8A3ECCDFE75}"/>
              </a:ext>
            </a:extLst>
          </p:cNvPr>
          <p:cNvSpPr/>
          <p:nvPr>
            <p:custDataLst>
              <p:tags r:id="rId2"/>
            </p:custDataLst>
          </p:nvPr>
        </p:nvSpPr>
        <p:spPr bwMode="auto">
          <a:xfrm>
            <a:off x="2724050" y="4392779"/>
            <a:ext cx="96839" cy="146051"/>
          </a:xfrm>
          <a:custGeom>
            <a:avLst/>
            <a:gdLst/>
            <a:ahLst/>
            <a:cxnLst/>
            <a:rect l="0" t="0" r="0" b="0"/>
            <a:pathLst>
              <a:path w="96839" h="146051">
                <a:moveTo>
                  <a:pt x="96838" y="0"/>
                </a:moveTo>
                <a:lnTo>
                  <a:pt x="57150" y="146050"/>
                </a:lnTo>
                <a:lnTo>
                  <a:pt x="0" y="146050"/>
                </a:lnTo>
                <a:lnTo>
                  <a:pt x="3968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rial" panose="020B0604020202020204" pitchFamily="34" charset="0"/>
              <a:cs typeface="Arial" panose="020B0604020202020204" pitchFamily="34" charset="0"/>
            </a:endParaRPr>
          </a:p>
        </p:txBody>
      </p:sp>
      <p:sp useBgFill="1">
        <p:nvSpPr>
          <p:cNvPr id="71" name="Freeform: Shape 7">
            <a:extLst>
              <a:ext uri="{FF2B5EF4-FFF2-40B4-BE49-F238E27FC236}">
                <a16:creationId xmlns:a16="http://schemas.microsoft.com/office/drawing/2014/main" id="{67537C65-CC88-FB93-E4DD-DE45024137C9}"/>
              </a:ext>
            </a:extLst>
          </p:cNvPr>
          <p:cNvSpPr/>
          <p:nvPr>
            <p:custDataLst>
              <p:tags r:id="rId3"/>
            </p:custDataLst>
          </p:nvPr>
        </p:nvSpPr>
        <p:spPr bwMode="auto">
          <a:xfrm>
            <a:off x="5263757" y="4857243"/>
            <a:ext cx="96839" cy="146051"/>
          </a:xfrm>
          <a:custGeom>
            <a:avLst/>
            <a:gdLst/>
            <a:ahLst/>
            <a:cxnLst/>
            <a:rect l="0" t="0" r="0" b="0"/>
            <a:pathLst>
              <a:path w="96839" h="146051">
                <a:moveTo>
                  <a:pt x="96838" y="0"/>
                </a:moveTo>
                <a:lnTo>
                  <a:pt x="57150" y="146050"/>
                </a:lnTo>
                <a:lnTo>
                  <a:pt x="0" y="146050"/>
                </a:lnTo>
                <a:lnTo>
                  <a:pt x="3968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rial" panose="020B0604020202020204" pitchFamily="34" charset="0"/>
              <a:cs typeface="Arial" panose="020B0604020202020204" pitchFamily="34" charset="0"/>
            </a:endParaRPr>
          </a:p>
        </p:txBody>
      </p:sp>
      <p:sp>
        <p:nvSpPr>
          <p:cNvPr id="72" name="Freeform: Shape 2">
            <a:extLst>
              <a:ext uri="{FF2B5EF4-FFF2-40B4-BE49-F238E27FC236}">
                <a16:creationId xmlns:a16="http://schemas.microsoft.com/office/drawing/2014/main" id="{E3443ADD-F766-B33E-69C9-470DE9F0FAD5}"/>
              </a:ext>
            </a:extLst>
          </p:cNvPr>
          <p:cNvSpPr/>
          <p:nvPr>
            <p:custDataLst>
              <p:tags r:id="rId4"/>
            </p:custDataLst>
          </p:nvPr>
        </p:nvSpPr>
        <p:spPr bwMode="auto">
          <a:xfrm>
            <a:off x="2724050" y="4392779"/>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Arial" panose="020B0604020202020204" pitchFamily="34" charset="0"/>
              <a:cs typeface="Arial" panose="020B0604020202020204" pitchFamily="34" charset="0"/>
            </a:endParaRPr>
          </a:p>
        </p:txBody>
      </p:sp>
      <p:sp>
        <p:nvSpPr>
          <p:cNvPr id="73" name="Freeform: Shape 3">
            <a:extLst>
              <a:ext uri="{FF2B5EF4-FFF2-40B4-BE49-F238E27FC236}">
                <a16:creationId xmlns:a16="http://schemas.microsoft.com/office/drawing/2014/main" id="{B152F6D0-472D-776C-6E36-9F5087925F34}"/>
              </a:ext>
            </a:extLst>
          </p:cNvPr>
          <p:cNvSpPr/>
          <p:nvPr>
            <p:custDataLst>
              <p:tags r:id="rId5"/>
            </p:custDataLst>
          </p:nvPr>
        </p:nvSpPr>
        <p:spPr bwMode="auto">
          <a:xfrm>
            <a:off x="2781200" y="4392779"/>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Arial" panose="020B0604020202020204" pitchFamily="34" charset="0"/>
              <a:cs typeface="Arial" panose="020B0604020202020204" pitchFamily="34" charset="0"/>
            </a:endParaRPr>
          </a:p>
        </p:txBody>
      </p:sp>
      <p:sp>
        <p:nvSpPr>
          <p:cNvPr id="74" name="Freeform: Shape 5">
            <a:extLst>
              <a:ext uri="{FF2B5EF4-FFF2-40B4-BE49-F238E27FC236}">
                <a16:creationId xmlns:a16="http://schemas.microsoft.com/office/drawing/2014/main" id="{8E96CA85-294E-4600-31D0-00EFA4FC0184}"/>
              </a:ext>
            </a:extLst>
          </p:cNvPr>
          <p:cNvSpPr/>
          <p:nvPr>
            <p:custDataLst>
              <p:tags r:id="rId6"/>
            </p:custDataLst>
          </p:nvPr>
        </p:nvSpPr>
        <p:spPr bwMode="auto">
          <a:xfrm>
            <a:off x="5239505" y="4397542"/>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Arial" panose="020B0604020202020204" pitchFamily="34" charset="0"/>
              <a:cs typeface="Arial" panose="020B0604020202020204" pitchFamily="34" charset="0"/>
            </a:endParaRPr>
          </a:p>
        </p:txBody>
      </p:sp>
      <p:sp>
        <p:nvSpPr>
          <p:cNvPr id="75" name="Freeform: Shape 6">
            <a:extLst>
              <a:ext uri="{FF2B5EF4-FFF2-40B4-BE49-F238E27FC236}">
                <a16:creationId xmlns:a16="http://schemas.microsoft.com/office/drawing/2014/main" id="{8E006453-43A0-8319-1B75-9D63DB2663DA}"/>
              </a:ext>
            </a:extLst>
          </p:cNvPr>
          <p:cNvSpPr/>
          <p:nvPr>
            <p:custDataLst>
              <p:tags r:id="rId7"/>
            </p:custDataLst>
          </p:nvPr>
        </p:nvSpPr>
        <p:spPr bwMode="auto">
          <a:xfrm>
            <a:off x="5307999" y="4392779"/>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Arial" panose="020B0604020202020204" pitchFamily="34" charset="0"/>
              <a:cs typeface="Arial" panose="020B0604020202020204" pitchFamily="34" charset="0"/>
            </a:endParaRPr>
          </a:p>
        </p:txBody>
      </p:sp>
      <p:cxnSp>
        <p:nvCxnSpPr>
          <p:cNvPr id="76" name="Gerader Verbinder 135">
            <a:extLst>
              <a:ext uri="{FF2B5EF4-FFF2-40B4-BE49-F238E27FC236}">
                <a16:creationId xmlns:a16="http://schemas.microsoft.com/office/drawing/2014/main" id="{517532C9-DC99-0921-D2E4-7FAD2C89D737}"/>
              </a:ext>
            </a:extLst>
          </p:cNvPr>
          <p:cNvCxnSpPr/>
          <p:nvPr>
            <p:custDataLst>
              <p:tags r:id="rId8"/>
            </p:custDataLst>
          </p:nvPr>
        </p:nvCxnSpPr>
        <p:spPr bwMode="gray">
          <a:xfrm>
            <a:off x="848920" y="2641094"/>
            <a:ext cx="2549525" cy="17463"/>
          </a:xfrm>
          <a:prstGeom prst="line">
            <a:avLst/>
          </a:prstGeom>
          <a:ln w="6350"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7" name="Gerader Verbinder 136">
            <a:extLst>
              <a:ext uri="{FF2B5EF4-FFF2-40B4-BE49-F238E27FC236}">
                <a16:creationId xmlns:a16="http://schemas.microsoft.com/office/drawing/2014/main" id="{3C996850-2E4E-82F4-F15C-9288A6B7EC6B}"/>
              </a:ext>
            </a:extLst>
          </p:cNvPr>
          <p:cNvCxnSpPr/>
          <p:nvPr>
            <p:custDataLst>
              <p:tags r:id="rId9"/>
            </p:custDataLst>
          </p:nvPr>
        </p:nvCxnSpPr>
        <p:spPr bwMode="gray">
          <a:xfrm flipV="1">
            <a:off x="3398445" y="2606168"/>
            <a:ext cx="1274763" cy="52388"/>
          </a:xfrm>
          <a:prstGeom prst="line">
            <a:avLst/>
          </a:prstGeom>
          <a:ln w="6350"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8" name="Gerader Verbinder 137">
            <a:extLst>
              <a:ext uri="{FF2B5EF4-FFF2-40B4-BE49-F238E27FC236}">
                <a16:creationId xmlns:a16="http://schemas.microsoft.com/office/drawing/2014/main" id="{F47AD7C5-58F2-F0C2-4E09-D53C0C67C4F4}"/>
              </a:ext>
            </a:extLst>
          </p:cNvPr>
          <p:cNvCxnSpPr/>
          <p:nvPr>
            <p:custDataLst>
              <p:tags r:id="rId10"/>
            </p:custDataLst>
          </p:nvPr>
        </p:nvCxnSpPr>
        <p:spPr bwMode="gray">
          <a:xfrm flipV="1">
            <a:off x="4673207" y="2482343"/>
            <a:ext cx="1274763" cy="123825"/>
          </a:xfrm>
          <a:prstGeom prst="line">
            <a:avLst/>
          </a:prstGeom>
          <a:ln w="6350"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9" name="Text Placeholder">
            <a:extLst>
              <a:ext uri="{FF2B5EF4-FFF2-40B4-BE49-F238E27FC236}">
                <a16:creationId xmlns:a16="http://schemas.microsoft.com/office/drawing/2014/main" id="{661AA59E-1EB8-3469-0656-2338DE70B046}"/>
              </a:ext>
            </a:extLst>
          </p:cNvPr>
          <p:cNvSpPr>
            <a:spLocks noGrp="1"/>
          </p:cNvSpPr>
          <p:nvPr>
            <p:custDataLst>
              <p:tags r:id="rId11"/>
            </p:custDataLst>
          </p:nvPr>
        </p:nvSpPr>
        <p:spPr bwMode="gray">
          <a:xfrm>
            <a:off x="1979220" y="3765043"/>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F19F51D6-5E89-4AE3-B912-D13787421419}" type="datetime'''''''''''''''''''''''''''''''''''''''1''''6''''''''''''%'">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6%</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80" name="Text Placeholder">
            <a:extLst>
              <a:ext uri="{FF2B5EF4-FFF2-40B4-BE49-F238E27FC236}">
                <a16:creationId xmlns:a16="http://schemas.microsoft.com/office/drawing/2014/main" id="{2704D5C4-D1C4-E7A9-276A-54E37F635613}"/>
              </a:ext>
            </a:extLst>
          </p:cNvPr>
          <p:cNvSpPr>
            <a:spLocks noGrp="1"/>
          </p:cNvSpPr>
          <p:nvPr>
            <p:custDataLst>
              <p:tags r:id="rId12"/>
            </p:custDataLst>
          </p:nvPr>
        </p:nvSpPr>
        <p:spPr bwMode="gray">
          <a:xfrm>
            <a:off x="1791895" y="3561843"/>
            <a:ext cx="290513" cy="152400"/>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3D65D5F-65FC-49A2-A1B1-C4F8D966C279}" type="datetime'''''''''''''''1''''2''''''''''''''''''''''''%'''''''">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2%</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81" name="Text Placeholder">
            <a:extLst>
              <a:ext uri="{FF2B5EF4-FFF2-40B4-BE49-F238E27FC236}">
                <a16:creationId xmlns:a16="http://schemas.microsoft.com/office/drawing/2014/main" id="{D74A99B3-AA9A-D24D-7872-ACC556D0BFFE}"/>
              </a:ext>
            </a:extLst>
          </p:cNvPr>
          <p:cNvSpPr>
            <a:spLocks noGrp="1"/>
          </p:cNvSpPr>
          <p:nvPr>
            <p:custDataLst>
              <p:tags r:id="rId13"/>
            </p:custDataLst>
          </p:nvPr>
        </p:nvSpPr>
        <p:spPr bwMode="gray">
          <a:xfrm>
            <a:off x="2203057" y="3438018"/>
            <a:ext cx="220663" cy="152400"/>
          </a:xfrm>
          <a:prstGeom prst="rect">
            <a:avLst/>
          </a:prstGeom>
          <a:solidFill>
            <a:schemeClr val="tx2"/>
          </a:solidFill>
          <a:ln>
            <a:noFill/>
          </a:ln>
          <a:effec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C335C1AE-A5C6-4856-9125-5CC68FF9E8C1}" type="datetime'''5''''''%'''''''''''''''''''''''">
              <a:rPr lang="en-US" altLang="en-US" sz="800" smtClean="0">
                <a:solidFill>
                  <a:schemeClr val="bg1"/>
                </a:solidFill>
                <a:effectLst/>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5%</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2" name="Text Placeholder">
            <a:extLst>
              <a:ext uri="{FF2B5EF4-FFF2-40B4-BE49-F238E27FC236}">
                <a16:creationId xmlns:a16="http://schemas.microsoft.com/office/drawing/2014/main" id="{F5DE0F83-A5B4-E410-9979-F72AA5A00487}"/>
              </a:ext>
            </a:extLst>
          </p:cNvPr>
          <p:cNvSpPr>
            <a:spLocks noGrp="1"/>
          </p:cNvSpPr>
          <p:nvPr>
            <p:custDataLst>
              <p:tags r:id="rId14"/>
            </p:custDataLst>
          </p:nvPr>
        </p:nvSpPr>
        <p:spPr bwMode="auto">
          <a:xfrm>
            <a:off x="1996976" y="451343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7E33E85E-6B71-4B31-8F80-7AE8BB342B7E}" type="datetime'2''''''''''''0''''''''''''''''''''''20'''''''''''">
              <a:rPr lang="en-GB"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0</a:t>
            </a:fld>
            <a:endParaRPr lang="de-DE" sz="800" dirty="0">
              <a:latin typeface="Arial" panose="020B0604020202020204" pitchFamily="34" charset="0"/>
              <a:cs typeface="Arial" panose="020B0604020202020204" pitchFamily="34" charset="0"/>
              <a:sym typeface="Arial" panose="020B0604020202020204" pitchFamily="34" charset="0"/>
            </a:endParaRPr>
          </a:p>
        </p:txBody>
      </p:sp>
      <p:sp>
        <p:nvSpPr>
          <p:cNvPr id="83" name="Text Placeholder">
            <a:extLst>
              <a:ext uri="{FF2B5EF4-FFF2-40B4-BE49-F238E27FC236}">
                <a16:creationId xmlns:a16="http://schemas.microsoft.com/office/drawing/2014/main" id="{C440A11D-53C7-FBB9-FB20-6391B2FB9496}"/>
              </a:ext>
            </a:extLst>
          </p:cNvPr>
          <p:cNvSpPr>
            <a:spLocks noGrp="1"/>
          </p:cNvSpPr>
          <p:nvPr>
            <p:custDataLst>
              <p:tags r:id="rId15"/>
            </p:custDataLst>
          </p:nvPr>
        </p:nvSpPr>
        <p:spPr bwMode="gray">
          <a:xfrm>
            <a:off x="3253982" y="4606418"/>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19836820-5FF2-465D-9ADC-DC60E71695C8}" type="datetime'''''''''''''''2''''''''''''''''''''5''''''''''''%'''''''''''">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5%</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4" name="Text Placeholder">
            <a:extLst>
              <a:ext uri="{FF2B5EF4-FFF2-40B4-BE49-F238E27FC236}">
                <a16:creationId xmlns:a16="http://schemas.microsoft.com/office/drawing/2014/main" id="{303F8A35-28BA-8387-4732-D1A99FB66338}"/>
              </a:ext>
            </a:extLst>
          </p:cNvPr>
          <p:cNvSpPr>
            <a:spLocks noGrp="1"/>
          </p:cNvSpPr>
          <p:nvPr>
            <p:custDataLst>
              <p:tags r:id="rId16"/>
            </p:custDataLst>
          </p:nvPr>
        </p:nvSpPr>
        <p:spPr bwMode="gray">
          <a:xfrm>
            <a:off x="3253982" y="4128581"/>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F3345F59-12AA-4A5E-9E35-8649039807CA}" type="datetime'''''''''''2''''''3''''''''''''''''''''''''''''''''''''''''%'''">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3%</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5" name="Text Placeholder">
            <a:extLst>
              <a:ext uri="{FF2B5EF4-FFF2-40B4-BE49-F238E27FC236}">
                <a16:creationId xmlns:a16="http://schemas.microsoft.com/office/drawing/2014/main" id="{8AC13146-9E53-A1D1-6EF0-45470E930093}"/>
              </a:ext>
            </a:extLst>
          </p:cNvPr>
          <p:cNvSpPr>
            <a:spLocks noGrp="1"/>
          </p:cNvSpPr>
          <p:nvPr>
            <p:custDataLst>
              <p:tags r:id="rId17"/>
            </p:custDataLst>
          </p:nvPr>
        </p:nvSpPr>
        <p:spPr bwMode="gray">
          <a:xfrm>
            <a:off x="3253982" y="3720593"/>
            <a:ext cx="290513"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D98ED80F-00FB-4FED-88B4-7B674BCAF5F5}" type="datetime'''''''''''''''1''''''''''''''''8''''''%'''''''''">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8%</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6" name="Text Placeholder">
            <a:extLst>
              <a:ext uri="{FF2B5EF4-FFF2-40B4-BE49-F238E27FC236}">
                <a16:creationId xmlns:a16="http://schemas.microsoft.com/office/drawing/2014/main" id="{02FCE08D-A05C-7220-A47D-735CBC9468A7}"/>
              </a:ext>
            </a:extLst>
          </p:cNvPr>
          <p:cNvSpPr>
            <a:spLocks noGrp="1"/>
          </p:cNvSpPr>
          <p:nvPr>
            <p:custDataLst>
              <p:tags r:id="rId18"/>
            </p:custDataLst>
          </p:nvPr>
        </p:nvSpPr>
        <p:spPr bwMode="gray">
          <a:xfrm>
            <a:off x="3253982" y="3384043"/>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183165D-97BA-4840-BBF8-FC14B0E6F15C}" type="datetime'''''1''6''''''''''''''''''''''''''%'''''''''''">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6%</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87" name="Text Placeholder">
            <a:extLst>
              <a:ext uri="{FF2B5EF4-FFF2-40B4-BE49-F238E27FC236}">
                <a16:creationId xmlns:a16="http://schemas.microsoft.com/office/drawing/2014/main" id="{DDC212D9-F6BB-9D71-499E-C6D9581C5A8D}"/>
              </a:ext>
            </a:extLst>
          </p:cNvPr>
          <p:cNvSpPr>
            <a:spLocks noGrp="1"/>
          </p:cNvSpPr>
          <p:nvPr>
            <p:custDataLst>
              <p:tags r:id="rId19"/>
            </p:custDataLst>
          </p:nvPr>
        </p:nvSpPr>
        <p:spPr bwMode="gray">
          <a:xfrm>
            <a:off x="3253982" y="3128456"/>
            <a:ext cx="290513" cy="152400"/>
          </a:xfrm>
          <a:prstGeom prst="rect">
            <a:avLst/>
          </a:prstGeom>
          <a:noFill/>
          <a:ln>
            <a:noFill/>
          </a:ln>
          <a:effectLst/>
          <a:extLst>
            <a:ext uri="{909E8E84-426E-40DD-AFC4-6F175D3DCCD1}">
              <a14:hiddenFill xmlns:a14="http://schemas.microsoft.com/office/drawing/2010/main">
                <a:solidFill>
                  <a:schemeClr val="bg2"/>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8BCB9B07-65B0-4C86-BE49-383DA347E3D8}" type="datetime'''''''1''''''''''''''0''''''''''''%'''">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0%</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88" name="Text Placeholder">
            <a:extLst>
              <a:ext uri="{FF2B5EF4-FFF2-40B4-BE49-F238E27FC236}">
                <a16:creationId xmlns:a16="http://schemas.microsoft.com/office/drawing/2014/main" id="{2D3C7A65-1158-FB40-F6A8-CA12110CE26D}"/>
              </a:ext>
            </a:extLst>
          </p:cNvPr>
          <p:cNvSpPr>
            <a:spLocks noGrp="1"/>
          </p:cNvSpPr>
          <p:nvPr>
            <p:custDataLst>
              <p:tags r:id="rId20"/>
            </p:custDataLst>
          </p:nvPr>
        </p:nvSpPr>
        <p:spPr bwMode="gray">
          <a:xfrm>
            <a:off x="3288907" y="2960181"/>
            <a:ext cx="220663" cy="152400"/>
          </a:xfrm>
          <a:prstGeom prst="rect">
            <a:avLst/>
          </a:prstGeom>
          <a:noFill/>
          <a:ln>
            <a:noFill/>
          </a:ln>
          <a:effectLst/>
          <a:extLst>
            <a:ext uri="{909E8E84-426E-40DD-AFC4-6F175D3DCCD1}">
              <a14:hiddenFill xmlns:a14="http://schemas.microsoft.com/office/drawing/2010/main">
                <a:solidFill>
                  <a:schemeClr val="bg2"/>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2C4A017E-7634-4108-834B-34CF6D395D3D}" type="datetime'''''''''''''''''''''7''''%'''''''''''">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7%</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9" name="Text Placeholder">
            <a:extLst>
              <a:ext uri="{FF2B5EF4-FFF2-40B4-BE49-F238E27FC236}">
                <a16:creationId xmlns:a16="http://schemas.microsoft.com/office/drawing/2014/main" id="{F9DEBC54-678C-9126-C44F-F28F7946E491}"/>
              </a:ext>
            </a:extLst>
          </p:cNvPr>
          <p:cNvSpPr>
            <a:spLocks noGrp="1"/>
          </p:cNvSpPr>
          <p:nvPr>
            <p:custDataLst>
              <p:tags r:id="rId21"/>
            </p:custDataLst>
          </p:nvPr>
        </p:nvSpPr>
        <p:spPr bwMode="auto">
          <a:xfrm>
            <a:off x="3252395" y="4522281"/>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73DB3C21-C2C0-483D-85AA-F7CDE11365ED}" type="datetime'20''''''''''''''''''''''''''2''''''''''2'''">
              <a:rPr lang="en-GB"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2</a:t>
            </a:fld>
            <a:endParaRPr lang="de-DE" sz="800" dirty="0">
              <a:latin typeface="Arial" panose="020B0604020202020204" pitchFamily="34" charset="0"/>
              <a:cs typeface="Arial" panose="020B0604020202020204" pitchFamily="34" charset="0"/>
              <a:sym typeface="Arial" panose="020B0604020202020204" pitchFamily="34" charset="0"/>
            </a:endParaRPr>
          </a:p>
        </p:txBody>
      </p:sp>
      <p:sp>
        <p:nvSpPr>
          <p:cNvPr id="90" name="Text Placeholder">
            <a:extLst>
              <a:ext uri="{FF2B5EF4-FFF2-40B4-BE49-F238E27FC236}">
                <a16:creationId xmlns:a16="http://schemas.microsoft.com/office/drawing/2014/main" id="{7A387F57-8094-A28A-CD4D-B1C1A64698A7}"/>
              </a:ext>
            </a:extLst>
          </p:cNvPr>
          <p:cNvSpPr>
            <a:spLocks noGrp="1"/>
          </p:cNvSpPr>
          <p:nvPr>
            <p:custDataLst>
              <p:tags r:id="rId22"/>
            </p:custDataLst>
          </p:nvPr>
        </p:nvSpPr>
        <p:spPr bwMode="gray">
          <a:xfrm>
            <a:off x="4528745" y="4596893"/>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36940B56-AEF5-4507-AC72-31BC81A4ADFD}" type="datetime'''''''''''''''''''''''2''''''''''5''''''''''''''''''''''''%'''">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5%</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91" name="Text Placeholder">
            <a:extLst>
              <a:ext uri="{FF2B5EF4-FFF2-40B4-BE49-F238E27FC236}">
                <a16:creationId xmlns:a16="http://schemas.microsoft.com/office/drawing/2014/main" id="{44F6D030-A7AB-F789-A55E-6455CAD121E6}"/>
              </a:ext>
            </a:extLst>
          </p:cNvPr>
          <p:cNvSpPr>
            <a:spLocks noGrp="1"/>
          </p:cNvSpPr>
          <p:nvPr>
            <p:custDataLst>
              <p:tags r:id="rId23"/>
            </p:custDataLst>
          </p:nvPr>
        </p:nvSpPr>
        <p:spPr bwMode="gray">
          <a:xfrm>
            <a:off x="4528745" y="4101593"/>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098C798-8B7A-4EF4-830A-8E92A9191FAB}" type="datetime'''''''''''''''''''2''''''''''''''''''''''''''''''''4''''''''%'">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4%</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92" name="Text Placeholder">
            <a:extLst>
              <a:ext uri="{FF2B5EF4-FFF2-40B4-BE49-F238E27FC236}">
                <a16:creationId xmlns:a16="http://schemas.microsoft.com/office/drawing/2014/main" id="{2545D39C-67E1-99A0-4D49-69462FE47C74}"/>
              </a:ext>
            </a:extLst>
          </p:cNvPr>
          <p:cNvSpPr>
            <a:spLocks noGrp="1"/>
          </p:cNvSpPr>
          <p:nvPr>
            <p:custDataLst>
              <p:tags r:id="rId24"/>
            </p:custDataLst>
          </p:nvPr>
        </p:nvSpPr>
        <p:spPr bwMode="gray">
          <a:xfrm>
            <a:off x="4528745" y="3685668"/>
            <a:ext cx="290513"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B6416D84-6F25-4189-B90F-399838C09F45}" type="datetime'''''''''''''''1''''''''''''''8''''''''''%'''''''''''''''">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8%</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93" name="Text Placeholder">
            <a:extLst>
              <a:ext uri="{FF2B5EF4-FFF2-40B4-BE49-F238E27FC236}">
                <a16:creationId xmlns:a16="http://schemas.microsoft.com/office/drawing/2014/main" id="{16FCF179-7441-905F-AEB4-BE792AE54A1E}"/>
              </a:ext>
            </a:extLst>
          </p:cNvPr>
          <p:cNvSpPr>
            <a:spLocks noGrp="1"/>
          </p:cNvSpPr>
          <p:nvPr>
            <p:custDataLst>
              <p:tags r:id="rId25"/>
            </p:custDataLst>
          </p:nvPr>
        </p:nvSpPr>
        <p:spPr bwMode="gray">
          <a:xfrm>
            <a:off x="4528745" y="3341181"/>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867B53C0-9D36-4BE7-A691-F4FF8BA5BB15}" type="datetime'''1''''7''''''''''''''''''''''''''''''''''''''%'''''''''''''">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7%</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94" name="Text Placeholder">
            <a:extLst>
              <a:ext uri="{FF2B5EF4-FFF2-40B4-BE49-F238E27FC236}">
                <a16:creationId xmlns:a16="http://schemas.microsoft.com/office/drawing/2014/main" id="{984543EB-7B07-D773-6BF2-B5C50B475A05}"/>
              </a:ext>
            </a:extLst>
          </p:cNvPr>
          <p:cNvSpPr>
            <a:spLocks noGrp="1"/>
          </p:cNvSpPr>
          <p:nvPr>
            <p:custDataLst>
              <p:tags r:id="rId26"/>
            </p:custDataLst>
          </p:nvPr>
        </p:nvSpPr>
        <p:spPr bwMode="gray">
          <a:xfrm>
            <a:off x="4528745" y="3074481"/>
            <a:ext cx="290513" cy="152400"/>
          </a:xfrm>
          <a:prstGeom prst="rect">
            <a:avLst/>
          </a:prstGeom>
          <a:noFill/>
          <a:ln>
            <a:noFill/>
          </a:ln>
          <a:effectLst/>
          <a:extLst>
            <a:ext uri="{909E8E84-426E-40DD-AFC4-6F175D3DCCD1}">
              <a14:hiddenFill xmlns:a14="http://schemas.microsoft.com/office/drawing/2010/main">
                <a:solidFill>
                  <a:schemeClr val="bg2"/>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36A5717E-ABA4-42FF-95EA-037BFEB96BD2}" type="datetime'''''1''''0''''''''%'''''''''''''''''''''''''''''''''''''''">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0%</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95" name="Text Placeholder">
            <a:extLst>
              <a:ext uri="{FF2B5EF4-FFF2-40B4-BE49-F238E27FC236}">
                <a16:creationId xmlns:a16="http://schemas.microsoft.com/office/drawing/2014/main" id="{7244C238-E3DD-50EC-3354-5E50C429BFC6}"/>
              </a:ext>
            </a:extLst>
          </p:cNvPr>
          <p:cNvSpPr>
            <a:spLocks noGrp="1"/>
          </p:cNvSpPr>
          <p:nvPr>
            <p:custDataLst>
              <p:tags r:id="rId27"/>
            </p:custDataLst>
          </p:nvPr>
        </p:nvSpPr>
        <p:spPr bwMode="gray">
          <a:xfrm>
            <a:off x="4563670" y="2906206"/>
            <a:ext cx="220663" cy="152400"/>
          </a:xfrm>
          <a:prstGeom prst="rect">
            <a:avLst/>
          </a:prstGeom>
          <a:noFill/>
          <a:ln>
            <a:noFill/>
          </a:ln>
          <a:effectLst/>
          <a:extLst>
            <a:ext uri="{909E8E84-426E-40DD-AFC4-6F175D3DCCD1}">
              <a14:hiddenFill xmlns:a14="http://schemas.microsoft.com/office/drawing/2010/main">
                <a:solidFill>
                  <a:schemeClr val="bg2"/>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539AAA89-6D57-4CB9-B7D2-5DF8C7A4678D}" type="datetime'7''''''''''''''''''''''''%'''''''''''''''''''''''''''''''">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7%</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96" name="Text Placeholder">
            <a:extLst>
              <a:ext uri="{FF2B5EF4-FFF2-40B4-BE49-F238E27FC236}">
                <a16:creationId xmlns:a16="http://schemas.microsoft.com/office/drawing/2014/main" id="{87FC2AD6-F868-7C66-CEDC-3A471ADABD1B}"/>
              </a:ext>
            </a:extLst>
          </p:cNvPr>
          <p:cNvSpPr>
            <a:spLocks noGrp="1"/>
          </p:cNvSpPr>
          <p:nvPr>
            <p:custDataLst>
              <p:tags r:id="rId28"/>
            </p:custDataLst>
          </p:nvPr>
        </p:nvSpPr>
        <p:spPr bwMode="auto">
          <a:xfrm>
            <a:off x="4544077" y="4522281"/>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E09F5A20-D384-43AF-BC50-20A017C4B5F2}" type="datetime'''20''''2''''''''''''''''''''''''''''''3'''''''''''">
              <a:rPr lang="en-GB"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3</a:t>
            </a:fld>
            <a:endParaRPr lang="de-DE" sz="800" dirty="0">
              <a:latin typeface="Arial" panose="020B0604020202020204" pitchFamily="34" charset="0"/>
              <a:cs typeface="Arial" panose="020B0604020202020204" pitchFamily="34" charset="0"/>
              <a:sym typeface="Arial" panose="020B0604020202020204" pitchFamily="34" charset="0"/>
            </a:endParaRPr>
          </a:p>
        </p:txBody>
      </p:sp>
      <p:sp>
        <p:nvSpPr>
          <p:cNvPr id="97" name="Text Placeholder">
            <a:extLst>
              <a:ext uri="{FF2B5EF4-FFF2-40B4-BE49-F238E27FC236}">
                <a16:creationId xmlns:a16="http://schemas.microsoft.com/office/drawing/2014/main" id="{FAC2D2BD-3B47-6031-69A0-4419E2B00B79}"/>
              </a:ext>
            </a:extLst>
          </p:cNvPr>
          <p:cNvSpPr>
            <a:spLocks noGrp="1"/>
          </p:cNvSpPr>
          <p:nvPr>
            <p:custDataLst>
              <p:tags r:id="rId29"/>
            </p:custDataLst>
          </p:nvPr>
        </p:nvSpPr>
        <p:spPr bwMode="gray">
          <a:xfrm>
            <a:off x="5803507" y="4588956"/>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2606D20B-06AD-4F2A-9F2E-AF427601DDA8}" type="datetime'''''''2''''''''''''''''''''''''''''''5''''%'''''''''''''">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5%</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98" name="Text Placeholder">
            <a:extLst>
              <a:ext uri="{FF2B5EF4-FFF2-40B4-BE49-F238E27FC236}">
                <a16:creationId xmlns:a16="http://schemas.microsoft.com/office/drawing/2014/main" id="{243C51C4-FE2B-FFF7-638E-B1CC3910C134}"/>
              </a:ext>
            </a:extLst>
          </p:cNvPr>
          <p:cNvSpPr>
            <a:spLocks noGrp="1"/>
          </p:cNvSpPr>
          <p:nvPr>
            <p:custDataLst>
              <p:tags r:id="rId30"/>
            </p:custDataLst>
          </p:nvPr>
        </p:nvSpPr>
        <p:spPr bwMode="gray">
          <a:xfrm>
            <a:off x="1979220" y="4685793"/>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202642DA-AE6D-4069-8223-81A0B0E2FD05}" type="datetime'''''''''''''23''''''''''''''''''''''''''''''''''''''''''%'''">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3%</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99" name="Text Placeholder">
            <a:extLst>
              <a:ext uri="{FF2B5EF4-FFF2-40B4-BE49-F238E27FC236}">
                <a16:creationId xmlns:a16="http://schemas.microsoft.com/office/drawing/2014/main" id="{23605A6E-7454-74BD-DA74-3D725D16263F}"/>
              </a:ext>
            </a:extLst>
          </p:cNvPr>
          <p:cNvSpPr>
            <a:spLocks noGrp="1"/>
          </p:cNvSpPr>
          <p:nvPr>
            <p:custDataLst>
              <p:tags r:id="rId31"/>
            </p:custDataLst>
          </p:nvPr>
        </p:nvSpPr>
        <p:spPr bwMode="gray">
          <a:xfrm>
            <a:off x="5803507" y="3579306"/>
            <a:ext cx="290513"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5F2D8A7B-5F30-4B11-BAD1-AD89F848FFA7}" type="datetime'''''1''''''''''''''''''''''''''''''''''''''8''%'''''">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8%</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00" name="Text Placeholder">
            <a:extLst>
              <a:ext uri="{FF2B5EF4-FFF2-40B4-BE49-F238E27FC236}">
                <a16:creationId xmlns:a16="http://schemas.microsoft.com/office/drawing/2014/main" id="{A06D0554-4CC5-D5AB-554A-7275E448038D}"/>
              </a:ext>
            </a:extLst>
          </p:cNvPr>
          <p:cNvSpPr>
            <a:spLocks noGrp="1"/>
          </p:cNvSpPr>
          <p:nvPr>
            <p:custDataLst>
              <p:tags r:id="rId32"/>
            </p:custDataLst>
          </p:nvPr>
        </p:nvSpPr>
        <p:spPr bwMode="gray">
          <a:xfrm>
            <a:off x="5803507" y="3234818"/>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925A7E4D-E97A-4B42-8546-3480D8A43E7F}" type="datetime'''''''1''''''''''''''''''''''''4''''''''''''''''%'">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4%</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01" name="Text Placeholder">
            <a:extLst>
              <a:ext uri="{FF2B5EF4-FFF2-40B4-BE49-F238E27FC236}">
                <a16:creationId xmlns:a16="http://schemas.microsoft.com/office/drawing/2014/main" id="{69D7980A-E6A5-560C-86D7-74B12A38973B}"/>
              </a:ext>
            </a:extLst>
          </p:cNvPr>
          <p:cNvSpPr>
            <a:spLocks noGrp="1"/>
          </p:cNvSpPr>
          <p:nvPr>
            <p:custDataLst>
              <p:tags r:id="rId33"/>
            </p:custDataLst>
          </p:nvPr>
        </p:nvSpPr>
        <p:spPr bwMode="gray">
          <a:xfrm>
            <a:off x="5803507" y="2968118"/>
            <a:ext cx="290513" cy="152400"/>
          </a:xfrm>
          <a:prstGeom prst="rect">
            <a:avLst/>
          </a:prstGeom>
          <a:noFill/>
          <a:ln>
            <a:noFill/>
          </a:ln>
          <a:effectLst/>
          <a:extLst>
            <a:ext uri="{909E8E84-426E-40DD-AFC4-6F175D3DCCD1}">
              <a14:hiddenFill xmlns:a14="http://schemas.microsoft.com/office/drawing/2010/main">
                <a:solidFill>
                  <a:schemeClr val="bg2"/>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97963519-C90C-4E61-8EB8-132FB13F7C15}" type="datetime'''''1''''''''''''''''1''''''''''''%'''''''''''''">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1%</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02" name="Text Placeholder">
            <a:extLst>
              <a:ext uri="{FF2B5EF4-FFF2-40B4-BE49-F238E27FC236}">
                <a16:creationId xmlns:a16="http://schemas.microsoft.com/office/drawing/2014/main" id="{464FDAB2-3653-DAFF-330D-455D898D86DB}"/>
              </a:ext>
            </a:extLst>
          </p:cNvPr>
          <p:cNvSpPr>
            <a:spLocks noGrp="1"/>
          </p:cNvSpPr>
          <p:nvPr>
            <p:custDataLst>
              <p:tags r:id="rId34"/>
            </p:custDataLst>
          </p:nvPr>
        </p:nvSpPr>
        <p:spPr bwMode="gray">
          <a:xfrm>
            <a:off x="5838432" y="2782381"/>
            <a:ext cx="220663" cy="152400"/>
          </a:xfrm>
          <a:prstGeom prst="rect">
            <a:avLst/>
          </a:prstGeom>
          <a:noFill/>
          <a:ln>
            <a:noFill/>
          </a:ln>
          <a:effectLst/>
          <a:extLst>
            <a:ext uri="{909E8E84-426E-40DD-AFC4-6F175D3DCCD1}">
              <a14:hiddenFill xmlns:a14="http://schemas.microsoft.com/office/drawing/2010/main">
                <a:solidFill>
                  <a:schemeClr val="bg2"/>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7C38829E-451A-4B3C-AE89-33E0E239575C}" type="datetime'7''''''''''''''''''''''''''''''''''''''''''%'''''''">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7%</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03" name="Text Placeholder">
            <a:extLst>
              <a:ext uri="{FF2B5EF4-FFF2-40B4-BE49-F238E27FC236}">
                <a16:creationId xmlns:a16="http://schemas.microsoft.com/office/drawing/2014/main" id="{BFE57FCC-4326-7BCA-75D2-C3EB69FF7734}"/>
              </a:ext>
            </a:extLst>
          </p:cNvPr>
          <p:cNvSpPr>
            <a:spLocks noGrp="1"/>
          </p:cNvSpPr>
          <p:nvPr>
            <p:custDataLst>
              <p:tags r:id="rId35"/>
            </p:custDataLst>
          </p:nvPr>
        </p:nvSpPr>
        <p:spPr bwMode="auto">
          <a:xfrm>
            <a:off x="5834018" y="4522281"/>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240F8529-8064-4336-9129-CE4729C44BE0}" type="datetime'''''''''''''''''''''2''''''''''''''''''''0''26'">
              <a:rPr lang="en-GB"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6</a:t>
            </a:fld>
            <a:endParaRPr lang="de-DE" sz="800" dirty="0">
              <a:latin typeface="Arial" panose="020B0604020202020204" pitchFamily="34" charset="0"/>
              <a:cs typeface="Arial" panose="020B0604020202020204" pitchFamily="34" charset="0"/>
              <a:sym typeface="Arial" panose="020B0604020202020204" pitchFamily="34" charset="0"/>
            </a:endParaRPr>
          </a:p>
        </p:txBody>
      </p:sp>
      <p:sp>
        <p:nvSpPr>
          <p:cNvPr id="104" name="Text Placeholder">
            <a:extLst>
              <a:ext uri="{FF2B5EF4-FFF2-40B4-BE49-F238E27FC236}">
                <a16:creationId xmlns:a16="http://schemas.microsoft.com/office/drawing/2014/main" id="{2642624B-920B-1DDC-19DE-1128BA113A3A}"/>
              </a:ext>
            </a:extLst>
          </p:cNvPr>
          <p:cNvSpPr>
            <a:spLocks noGrp="1"/>
          </p:cNvSpPr>
          <p:nvPr>
            <p:custDataLst>
              <p:tags r:id="rId36"/>
            </p:custDataLst>
          </p:nvPr>
        </p:nvSpPr>
        <p:spPr bwMode="auto">
          <a:xfrm>
            <a:off x="6446445" y="4483268"/>
            <a:ext cx="344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212D8059-F627-4CE7-AD71-2F30DD258D61}" type="datetime'''''''''A''''''''''''P''''''''''''''''AC'''''''''''''''''''''">
              <a:rPr lang="en-US" altLang="en-US" sz="800" smtClean="0">
                <a:latin typeface="Arial" panose="020B0604020202020204" pitchFamily="34" charset="0"/>
                <a:cs typeface="Arial" panose="020B0604020202020204" pitchFamily="34" charset="0"/>
                <a:sym typeface="Arial" panose="020B0604020202020204" pitchFamily="34" charset="0"/>
              </a:rPr>
              <a:pPr defTabSz="685800">
                <a:spcBef>
                  <a:spcPct val="0"/>
                </a:spcBef>
                <a:buSzPct val="100000"/>
                <a:buFont typeface="+mn-lt" pitchFamily="34" charset="0"/>
              </a:pPr>
              <a:t>APAC</a:t>
            </a:fld>
            <a:endParaRPr lang="en-US" sz="800" dirty="0">
              <a:latin typeface="Arial" panose="020B0604020202020204" pitchFamily="34" charset="0"/>
              <a:cs typeface="Arial" panose="020B0604020202020204" pitchFamily="34" charset="0"/>
              <a:sym typeface="Arial" panose="020B0604020202020204" pitchFamily="34" charset="0"/>
            </a:endParaRPr>
          </a:p>
        </p:txBody>
      </p:sp>
      <p:sp>
        <p:nvSpPr>
          <p:cNvPr id="105" name="Text Placeholder">
            <a:extLst>
              <a:ext uri="{FF2B5EF4-FFF2-40B4-BE49-F238E27FC236}">
                <a16:creationId xmlns:a16="http://schemas.microsoft.com/office/drawing/2014/main" id="{EB1E1E04-EBBD-C5CB-58DD-8956FFEAE5FB}"/>
              </a:ext>
            </a:extLst>
          </p:cNvPr>
          <p:cNvSpPr>
            <a:spLocks noGrp="1"/>
          </p:cNvSpPr>
          <p:nvPr>
            <p:custDataLst>
              <p:tags r:id="rId37"/>
            </p:custDataLst>
          </p:nvPr>
        </p:nvSpPr>
        <p:spPr bwMode="auto">
          <a:xfrm>
            <a:off x="6446445" y="4049206"/>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1007156B-39BE-46BF-B44E-D33D31BC99F3}" type="datetime'M''''''i''''d''''''d''''''le'' ''''''E''''''a''st'">
              <a:rPr lang="en-US" altLang="en-US" sz="800" smtClean="0">
                <a:latin typeface="Arial" panose="020B0604020202020204" pitchFamily="34" charset="0"/>
                <a:cs typeface="Arial" panose="020B0604020202020204" pitchFamily="34" charset="0"/>
              </a:rPr>
              <a:pPr defTabSz="685800">
                <a:spcBef>
                  <a:spcPct val="0"/>
                </a:spcBef>
                <a:buSzPct val="100000"/>
                <a:buFont typeface="+mn-lt" pitchFamily="34" charset="0"/>
              </a:pPr>
              <a:t>Middle East</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06" name="Text Placeholder">
            <a:extLst>
              <a:ext uri="{FF2B5EF4-FFF2-40B4-BE49-F238E27FC236}">
                <a16:creationId xmlns:a16="http://schemas.microsoft.com/office/drawing/2014/main" id="{8E1B3036-9BB1-C529-9523-679256503BCB}"/>
              </a:ext>
            </a:extLst>
          </p:cNvPr>
          <p:cNvSpPr>
            <a:spLocks noGrp="1"/>
          </p:cNvSpPr>
          <p:nvPr>
            <p:custDataLst>
              <p:tags r:id="rId38"/>
            </p:custDataLst>
          </p:nvPr>
        </p:nvSpPr>
        <p:spPr bwMode="auto">
          <a:xfrm>
            <a:off x="6446445" y="3579306"/>
            <a:ext cx="647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9E054A6A-32B4-472E-B580-9E2BDD7283CE}" type="datetime'''''''Oil'''''' ''M''''a''''''''''''jo''r''''s'''''''''">
              <a:rPr lang="en-US" altLang="en-US" sz="800" smtClean="0">
                <a:latin typeface="Arial" panose="020B0604020202020204" pitchFamily="34" charset="0"/>
                <a:cs typeface="Arial" panose="020B0604020202020204" pitchFamily="34" charset="0"/>
              </a:rPr>
              <a:pPr defTabSz="685800">
                <a:spcBef>
                  <a:spcPct val="0"/>
                </a:spcBef>
                <a:buSzPct val="100000"/>
                <a:buFont typeface="+mn-lt" pitchFamily="34" charset="0"/>
              </a:pPr>
              <a:t>Oil Majors</a:t>
            </a:fld>
            <a:r>
              <a:rPr lang="en-US" altLang="en-US" sz="800" baseline="30000">
                <a:latin typeface="Arial" panose="020B0604020202020204" pitchFamily="34" charset="0"/>
                <a:cs typeface="Arial" panose="020B0604020202020204" pitchFamily="34" charset="0"/>
              </a:rPr>
              <a:t>1)</a:t>
            </a:r>
            <a:endParaRPr lang="en-US" sz="800" baseline="30000">
              <a:latin typeface="Arial" panose="020B0604020202020204" pitchFamily="34" charset="0"/>
              <a:cs typeface="Arial" panose="020B0604020202020204" pitchFamily="34" charset="0"/>
              <a:sym typeface="Arial" panose="020B0604020202020204" pitchFamily="34" charset="0"/>
            </a:endParaRPr>
          </a:p>
        </p:txBody>
      </p:sp>
      <p:sp>
        <p:nvSpPr>
          <p:cNvPr id="107" name="Text Placeholder">
            <a:extLst>
              <a:ext uri="{FF2B5EF4-FFF2-40B4-BE49-F238E27FC236}">
                <a16:creationId xmlns:a16="http://schemas.microsoft.com/office/drawing/2014/main" id="{FD69B96E-178A-8350-A2CF-706C350AAA5E}"/>
              </a:ext>
            </a:extLst>
          </p:cNvPr>
          <p:cNvSpPr>
            <a:spLocks noGrp="1"/>
          </p:cNvSpPr>
          <p:nvPr>
            <p:custDataLst>
              <p:tags r:id="rId39"/>
            </p:custDataLst>
          </p:nvPr>
        </p:nvSpPr>
        <p:spPr bwMode="auto">
          <a:xfrm>
            <a:off x="6446445" y="3234818"/>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27343262-CAEC-4882-825B-D02B1BF6BCCD}" type="datetime'''''E''''''''''''''''''u''''''''''''''r''''''''''''''o''pe'">
              <a:rPr lang="en-US" altLang="en-US" sz="800" smtClean="0">
                <a:latin typeface="Arial" panose="020B0604020202020204" pitchFamily="34" charset="0"/>
                <a:cs typeface="Arial" panose="020B0604020202020204" pitchFamily="34" charset="0"/>
                <a:sym typeface="Arial" panose="020B0604020202020204" pitchFamily="34" charset="0"/>
              </a:rPr>
              <a:pPr defTabSz="685800">
                <a:spcBef>
                  <a:spcPct val="0"/>
                </a:spcBef>
                <a:buSzPct val="100000"/>
                <a:buFont typeface="+mn-lt" pitchFamily="34" charset="0"/>
              </a:pPr>
              <a:t>Europe</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08" name="Text Placeholder">
            <a:extLst>
              <a:ext uri="{FF2B5EF4-FFF2-40B4-BE49-F238E27FC236}">
                <a16:creationId xmlns:a16="http://schemas.microsoft.com/office/drawing/2014/main" id="{06EF152F-8242-0930-020E-3332E271B710}"/>
              </a:ext>
            </a:extLst>
          </p:cNvPr>
          <p:cNvSpPr>
            <a:spLocks noGrp="1"/>
          </p:cNvSpPr>
          <p:nvPr>
            <p:custDataLst>
              <p:tags r:id="rId40"/>
            </p:custDataLst>
          </p:nvPr>
        </p:nvSpPr>
        <p:spPr bwMode="auto">
          <a:xfrm>
            <a:off x="6446445" y="2991931"/>
            <a:ext cx="809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277B0522-20CE-47CA-9BEA-6327E9FD4E56}" type="datetime'''No''''''''''''r''''''t''h'''''' ''''''Ame''''''rica'''">
              <a:rPr lang="en-US" altLang="en-US" sz="800" smtClean="0">
                <a:latin typeface="Arial" panose="020B0604020202020204" pitchFamily="34" charset="0"/>
                <a:cs typeface="Arial" panose="020B0604020202020204" pitchFamily="34" charset="0"/>
              </a:rPr>
              <a:pPr defTabSz="685800">
                <a:spcBef>
                  <a:spcPct val="0"/>
                </a:spcBef>
                <a:buSzPct val="100000"/>
                <a:buFont typeface="+mn-lt" pitchFamily="34" charset="0"/>
              </a:pPr>
              <a:t>North America</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09" name="Text Placeholder">
            <a:extLst>
              <a:ext uri="{FF2B5EF4-FFF2-40B4-BE49-F238E27FC236}">
                <a16:creationId xmlns:a16="http://schemas.microsoft.com/office/drawing/2014/main" id="{913F936E-E7EE-2C74-5AA4-C369F432B041}"/>
              </a:ext>
            </a:extLst>
          </p:cNvPr>
          <p:cNvSpPr>
            <a:spLocks noGrp="1"/>
          </p:cNvSpPr>
          <p:nvPr>
            <p:custDataLst>
              <p:tags r:id="rId41"/>
            </p:custDataLst>
          </p:nvPr>
        </p:nvSpPr>
        <p:spPr bwMode="auto">
          <a:xfrm>
            <a:off x="6446445" y="2788731"/>
            <a:ext cx="828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BC63F42A-50FF-4956-B840-922FEAF581EE}" type="datetime'''S''o''''u''''''''''''''t''''''h'''''''' Am''''''e''''ri''ca'">
              <a:rPr lang="en-US" altLang="en-US" sz="800" smtClean="0">
                <a:latin typeface="Arial" panose="020B0604020202020204" pitchFamily="34" charset="0"/>
                <a:cs typeface="Arial" panose="020B0604020202020204" pitchFamily="34" charset="0"/>
              </a:rPr>
              <a:pPr defTabSz="685800">
                <a:spcBef>
                  <a:spcPct val="0"/>
                </a:spcBef>
                <a:buSzPct val="100000"/>
                <a:buFont typeface="+mn-lt" pitchFamily="34" charset="0"/>
              </a:pPr>
              <a:t>South America</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10" name="Text Placeholder">
            <a:extLst>
              <a:ext uri="{FF2B5EF4-FFF2-40B4-BE49-F238E27FC236}">
                <a16:creationId xmlns:a16="http://schemas.microsoft.com/office/drawing/2014/main" id="{08346151-89C2-CBAA-16C0-B194F4A20B75}"/>
              </a:ext>
            </a:extLst>
          </p:cNvPr>
          <p:cNvSpPr>
            <a:spLocks noGrp="1"/>
          </p:cNvSpPr>
          <p:nvPr>
            <p:custDataLst>
              <p:tags r:id="rId42"/>
            </p:custDataLst>
          </p:nvPr>
        </p:nvSpPr>
        <p:spPr bwMode="gray">
          <a:xfrm>
            <a:off x="704457" y="4658806"/>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E1CCF078-1B27-4A34-961E-6677C6CE44F0}" type="datetime'''''''''''''2''''''''0%'''''''''''''''''''''''">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11" name="Text Placeholder">
            <a:extLst>
              <a:ext uri="{FF2B5EF4-FFF2-40B4-BE49-F238E27FC236}">
                <a16:creationId xmlns:a16="http://schemas.microsoft.com/office/drawing/2014/main" id="{539D5B72-E961-7774-ABE7-E638E4B4FC19}"/>
              </a:ext>
            </a:extLst>
          </p:cNvPr>
          <p:cNvSpPr>
            <a:spLocks noGrp="1"/>
          </p:cNvSpPr>
          <p:nvPr>
            <p:custDataLst>
              <p:tags r:id="rId43"/>
            </p:custDataLst>
          </p:nvPr>
        </p:nvSpPr>
        <p:spPr bwMode="gray">
          <a:xfrm>
            <a:off x="704457" y="4269868"/>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83E25244-243A-408F-A0D0-2160AE53F2BB}" type="datetime'''''2''''''''''''''0%'''''''''''''''''''''''''''''''">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12" name="Text Placeholder">
            <a:extLst>
              <a:ext uri="{FF2B5EF4-FFF2-40B4-BE49-F238E27FC236}">
                <a16:creationId xmlns:a16="http://schemas.microsoft.com/office/drawing/2014/main" id="{98220359-24CD-732B-7E7D-FF596F301B7F}"/>
              </a:ext>
            </a:extLst>
          </p:cNvPr>
          <p:cNvSpPr>
            <a:spLocks noGrp="1"/>
          </p:cNvSpPr>
          <p:nvPr>
            <p:custDataLst>
              <p:tags r:id="rId44"/>
            </p:custDataLst>
          </p:nvPr>
        </p:nvSpPr>
        <p:spPr bwMode="gray">
          <a:xfrm>
            <a:off x="704457" y="3844418"/>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75522723-8C7B-4469-A35C-F827E322982E}" type="datetime'''''''2''''''''''''''3''''''''''''''''%'''''">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3%</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13" name="Text Placeholder">
            <a:extLst>
              <a:ext uri="{FF2B5EF4-FFF2-40B4-BE49-F238E27FC236}">
                <a16:creationId xmlns:a16="http://schemas.microsoft.com/office/drawing/2014/main" id="{FA10CB28-F143-A655-A633-E309DB54B51F}"/>
              </a:ext>
            </a:extLst>
          </p:cNvPr>
          <p:cNvSpPr>
            <a:spLocks noGrp="1"/>
          </p:cNvSpPr>
          <p:nvPr>
            <p:custDataLst>
              <p:tags r:id="rId45"/>
            </p:custDataLst>
          </p:nvPr>
        </p:nvSpPr>
        <p:spPr bwMode="gray">
          <a:xfrm>
            <a:off x="699695" y="2756981"/>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EB62D4F0-738A-4ADB-9A97-04A41D295B4D}" type="datetime'''''''''''''5''6''''''''''''''''''0'''''''''''">
              <a:rPr lang="en-GB" altLang="en-US" sz="1050" b="1" smtClean="0">
                <a:latin typeface="Arial" panose="020B0604020202020204" pitchFamily="34" charset="0"/>
                <a:cs typeface="Arial" panose="020B0604020202020204" pitchFamily="34" charset="0"/>
                <a:sym typeface="Arial" panose="020B0604020202020204" pitchFamily="34" charset="0"/>
              </a:rPr>
              <a:pPr algn="ctr" defTabSz="685800">
                <a:lnSpc>
                  <a:spcPct val="90000"/>
                </a:lnSpc>
                <a:spcBef>
                  <a:spcPct val="0"/>
                </a:spcBef>
                <a:buSzPct val="100000"/>
                <a:buFont typeface="+mn-lt" pitchFamily="34" charset="0"/>
              </a:pPr>
              <a:t>560</a:t>
            </a:fld>
            <a:endParaRPr lang="en-US" sz="1050" b="1">
              <a:latin typeface="Arial" panose="020B0604020202020204" pitchFamily="34" charset="0"/>
              <a:cs typeface="Arial" panose="020B0604020202020204" pitchFamily="34" charset="0"/>
              <a:sym typeface="Arial" panose="020B0604020202020204" pitchFamily="34" charset="0"/>
            </a:endParaRPr>
          </a:p>
        </p:txBody>
      </p:sp>
      <p:sp>
        <p:nvSpPr>
          <p:cNvPr id="114" name="Text Placeholder">
            <a:extLst>
              <a:ext uri="{FF2B5EF4-FFF2-40B4-BE49-F238E27FC236}">
                <a16:creationId xmlns:a16="http://schemas.microsoft.com/office/drawing/2014/main" id="{27097B21-BF0B-D4DE-CBE2-A3E227E9396F}"/>
              </a:ext>
            </a:extLst>
          </p:cNvPr>
          <p:cNvSpPr>
            <a:spLocks noGrp="1"/>
          </p:cNvSpPr>
          <p:nvPr>
            <p:custDataLst>
              <p:tags r:id="rId46"/>
            </p:custDataLst>
          </p:nvPr>
        </p:nvSpPr>
        <p:spPr bwMode="gray">
          <a:xfrm>
            <a:off x="1973958" y="3148587"/>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EF0B7E9A-06B6-4706-97AD-A85CF76B5CF0}" type="datetime'''4''''''1''''''''''''''''''''''''''''''0'''''''''''''''">
              <a:rPr lang="en-GB" altLang="en-US" sz="1050" b="1" smtClean="0">
                <a:latin typeface="Arial" panose="020B0604020202020204" pitchFamily="34" charset="0"/>
                <a:cs typeface="Arial" panose="020B0604020202020204" pitchFamily="34" charset="0"/>
                <a:sym typeface="Arial" panose="020B0604020202020204" pitchFamily="34" charset="0"/>
              </a:rPr>
              <a:pPr algn="ctr" defTabSz="685800">
                <a:lnSpc>
                  <a:spcPct val="90000"/>
                </a:lnSpc>
                <a:spcBef>
                  <a:spcPct val="0"/>
                </a:spcBef>
                <a:buSzPct val="100000"/>
                <a:buFont typeface="+mn-lt" pitchFamily="34" charset="0"/>
              </a:pPr>
              <a:t>410</a:t>
            </a:fld>
            <a:endParaRPr lang="en-US" sz="1050" b="1" dirty="0">
              <a:latin typeface="Arial" panose="020B0604020202020204" pitchFamily="34" charset="0"/>
              <a:cs typeface="Arial" panose="020B0604020202020204" pitchFamily="34" charset="0"/>
              <a:sym typeface="Arial" panose="020B0604020202020204" pitchFamily="34" charset="0"/>
            </a:endParaRPr>
          </a:p>
        </p:txBody>
      </p:sp>
      <p:sp>
        <p:nvSpPr>
          <p:cNvPr id="115" name="Text Placeholder">
            <a:extLst>
              <a:ext uri="{FF2B5EF4-FFF2-40B4-BE49-F238E27FC236}">
                <a16:creationId xmlns:a16="http://schemas.microsoft.com/office/drawing/2014/main" id="{2052C038-6232-7923-19D6-E1672DC30D2D}"/>
              </a:ext>
            </a:extLst>
          </p:cNvPr>
          <p:cNvSpPr>
            <a:spLocks noGrp="1"/>
          </p:cNvSpPr>
          <p:nvPr>
            <p:custDataLst>
              <p:tags r:id="rId47"/>
            </p:custDataLst>
          </p:nvPr>
        </p:nvSpPr>
        <p:spPr bwMode="gray">
          <a:xfrm>
            <a:off x="3249220" y="2774443"/>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35C1C39E-040A-443C-9CEB-0FD39745D59C}" type="datetime'''''''5''''''''''''''''''''''''''5''''''''''5'''''''''''''">
              <a:rPr lang="en-GB" altLang="en-US" sz="1050" b="1" smtClean="0">
                <a:latin typeface="Arial" panose="020B0604020202020204" pitchFamily="34" charset="0"/>
                <a:cs typeface="Arial" panose="020B0604020202020204" pitchFamily="34" charset="0"/>
                <a:sym typeface="Arial" panose="020B0604020202020204" pitchFamily="34" charset="0"/>
              </a:rPr>
              <a:pPr algn="ctr" defTabSz="685800">
                <a:lnSpc>
                  <a:spcPct val="90000"/>
                </a:lnSpc>
                <a:spcBef>
                  <a:spcPct val="0"/>
                </a:spcBef>
                <a:buSzPct val="100000"/>
                <a:buFont typeface="+mn-lt" pitchFamily="34" charset="0"/>
              </a:pPr>
              <a:t>555</a:t>
            </a:fld>
            <a:endParaRPr lang="en-US" sz="1050" b="1">
              <a:latin typeface="Arial" panose="020B0604020202020204" pitchFamily="34" charset="0"/>
              <a:cs typeface="Arial" panose="020B0604020202020204" pitchFamily="34" charset="0"/>
              <a:sym typeface="Arial" panose="020B0604020202020204" pitchFamily="34" charset="0"/>
            </a:endParaRPr>
          </a:p>
        </p:txBody>
      </p:sp>
      <p:sp>
        <p:nvSpPr>
          <p:cNvPr id="116" name="Text Placeholder">
            <a:extLst>
              <a:ext uri="{FF2B5EF4-FFF2-40B4-BE49-F238E27FC236}">
                <a16:creationId xmlns:a16="http://schemas.microsoft.com/office/drawing/2014/main" id="{B7265067-1D71-829D-A7FF-D8A41E4B54BD}"/>
              </a:ext>
            </a:extLst>
          </p:cNvPr>
          <p:cNvSpPr>
            <a:spLocks noGrp="1"/>
          </p:cNvSpPr>
          <p:nvPr>
            <p:custDataLst>
              <p:tags r:id="rId48"/>
            </p:custDataLst>
          </p:nvPr>
        </p:nvSpPr>
        <p:spPr bwMode="gray">
          <a:xfrm>
            <a:off x="4523982" y="2722056"/>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370EAE55-9517-4B37-A06C-5366344D2084}" type="datetime'''''''5''''''''''''''''''7''''''''''''''''''''''''''''0'''''''">
              <a:rPr lang="en-GB" altLang="en-US" sz="1050" b="1" smtClean="0">
                <a:latin typeface="Arial" panose="020B0604020202020204" pitchFamily="34" charset="0"/>
                <a:cs typeface="Arial" panose="020B0604020202020204" pitchFamily="34" charset="0"/>
                <a:sym typeface="Arial" panose="020B0604020202020204" pitchFamily="34" charset="0"/>
              </a:rPr>
              <a:pPr algn="ctr" defTabSz="685800">
                <a:lnSpc>
                  <a:spcPct val="90000"/>
                </a:lnSpc>
                <a:spcBef>
                  <a:spcPct val="0"/>
                </a:spcBef>
                <a:buSzPct val="100000"/>
                <a:buFont typeface="+mn-lt" pitchFamily="34" charset="0"/>
              </a:pPr>
              <a:t>570</a:t>
            </a:fld>
            <a:endParaRPr lang="en-US" sz="1050" b="1">
              <a:latin typeface="Arial" panose="020B0604020202020204" pitchFamily="34" charset="0"/>
              <a:cs typeface="Arial" panose="020B0604020202020204" pitchFamily="34" charset="0"/>
              <a:sym typeface="Arial" panose="020B0604020202020204" pitchFamily="34" charset="0"/>
            </a:endParaRPr>
          </a:p>
        </p:txBody>
      </p:sp>
      <p:sp>
        <p:nvSpPr>
          <p:cNvPr id="117" name="Text Placeholder">
            <a:extLst>
              <a:ext uri="{FF2B5EF4-FFF2-40B4-BE49-F238E27FC236}">
                <a16:creationId xmlns:a16="http://schemas.microsoft.com/office/drawing/2014/main" id="{F52E36DC-B5A4-988F-484A-D3A385B62E7F}"/>
              </a:ext>
            </a:extLst>
          </p:cNvPr>
          <p:cNvSpPr>
            <a:spLocks noGrp="1"/>
          </p:cNvSpPr>
          <p:nvPr>
            <p:custDataLst>
              <p:tags r:id="rId49"/>
            </p:custDataLst>
          </p:nvPr>
        </p:nvSpPr>
        <p:spPr bwMode="gray">
          <a:xfrm>
            <a:off x="5803507" y="4049206"/>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028BCF60-9774-4C3D-81FA-E15928F53B6A}" type="datetime'''2''''''''''''''''''''''6''''''''''''''%'''''''''''''''">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6%</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18" name="Text Placeholder">
            <a:extLst>
              <a:ext uri="{FF2B5EF4-FFF2-40B4-BE49-F238E27FC236}">
                <a16:creationId xmlns:a16="http://schemas.microsoft.com/office/drawing/2014/main" id="{B8A57697-83B3-AF3D-5390-B4AC8BEE447B}"/>
              </a:ext>
            </a:extLst>
          </p:cNvPr>
          <p:cNvSpPr>
            <a:spLocks noGrp="1"/>
          </p:cNvSpPr>
          <p:nvPr>
            <p:custDataLst>
              <p:tags r:id="rId50"/>
            </p:custDataLst>
          </p:nvPr>
        </p:nvSpPr>
        <p:spPr bwMode="gray">
          <a:xfrm>
            <a:off x="704457" y="3428493"/>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6DC7248-9F09-4F21-816E-8B2FF652C681}" type="datetime'''''''1''''''''''''''''''''''''''9%'''''''''''''''">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9%</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19" name="Text Placeholder">
            <a:extLst>
              <a:ext uri="{FF2B5EF4-FFF2-40B4-BE49-F238E27FC236}">
                <a16:creationId xmlns:a16="http://schemas.microsoft.com/office/drawing/2014/main" id="{BD676BDF-1FE3-F4B3-1592-59CA30257A60}"/>
              </a:ext>
            </a:extLst>
          </p:cNvPr>
          <p:cNvSpPr>
            <a:spLocks noGrp="1"/>
          </p:cNvSpPr>
          <p:nvPr>
            <p:custDataLst>
              <p:tags r:id="rId51"/>
            </p:custDataLst>
          </p:nvPr>
        </p:nvSpPr>
        <p:spPr bwMode="gray">
          <a:xfrm>
            <a:off x="704457" y="3109406"/>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DD19458-CD89-48A7-9F3F-D4225B150CF0}" type="datetime'''''''''''1''''3''''''%'''''''''''''''''''''">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3%</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20" name="Text Placeholder">
            <a:extLst>
              <a:ext uri="{FF2B5EF4-FFF2-40B4-BE49-F238E27FC236}">
                <a16:creationId xmlns:a16="http://schemas.microsoft.com/office/drawing/2014/main" id="{585F91FC-57BF-27EC-FD03-AA7FB34B5F73}"/>
              </a:ext>
            </a:extLst>
          </p:cNvPr>
          <p:cNvSpPr>
            <a:spLocks noGrp="1"/>
          </p:cNvSpPr>
          <p:nvPr>
            <p:custDataLst>
              <p:tags r:id="rId52"/>
            </p:custDataLst>
          </p:nvPr>
        </p:nvSpPr>
        <p:spPr bwMode="gray">
          <a:xfrm>
            <a:off x="739382" y="2923668"/>
            <a:ext cx="220663" cy="152400"/>
          </a:xfrm>
          <a:prstGeom prst="rect">
            <a:avLst/>
          </a:prstGeom>
          <a:solidFill>
            <a:schemeClr val="tx2"/>
          </a:solidFill>
          <a:ln>
            <a:noFill/>
          </a:ln>
          <a:effec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B93FB06B-A83D-4BF9-BE2E-29DEDF1E4018}" type="datetime'''5''''''''''''''''''''''''''''''%'''''''''''''''''''''''">
              <a:rPr lang="en-US" altLang="en-US" sz="800" smtClean="0">
                <a:solidFill>
                  <a:schemeClr val="bg1"/>
                </a:solidFill>
                <a:effectLst/>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5%</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21" name="Text Placeholder">
            <a:extLst>
              <a:ext uri="{FF2B5EF4-FFF2-40B4-BE49-F238E27FC236}">
                <a16:creationId xmlns:a16="http://schemas.microsoft.com/office/drawing/2014/main" id="{C7E22F8D-5072-DB78-1884-83DCC74E4146}"/>
              </a:ext>
            </a:extLst>
          </p:cNvPr>
          <p:cNvSpPr>
            <a:spLocks noGrp="1"/>
          </p:cNvSpPr>
          <p:nvPr>
            <p:custDataLst>
              <p:tags r:id="rId53"/>
            </p:custDataLst>
          </p:nvPr>
        </p:nvSpPr>
        <p:spPr bwMode="auto">
          <a:xfrm>
            <a:off x="670772" y="453923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025E16F5-C833-43CD-AFC6-080D9F4E4C07}" type="datetime'''20''''''''1''''''''''9'''''''''''''''''''''''''">
              <a:rPr lang="en-GB"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19</a:t>
            </a:fld>
            <a:endParaRPr lang="de-DE" sz="800" dirty="0">
              <a:latin typeface="Arial" panose="020B0604020202020204" pitchFamily="34" charset="0"/>
              <a:cs typeface="Arial" panose="020B0604020202020204" pitchFamily="34" charset="0"/>
              <a:sym typeface="Arial" panose="020B0604020202020204" pitchFamily="34" charset="0"/>
            </a:endParaRPr>
          </a:p>
        </p:txBody>
      </p:sp>
      <p:sp>
        <p:nvSpPr>
          <p:cNvPr id="122" name="Text Placeholder">
            <a:extLst>
              <a:ext uri="{FF2B5EF4-FFF2-40B4-BE49-F238E27FC236}">
                <a16:creationId xmlns:a16="http://schemas.microsoft.com/office/drawing/2014/main" id="{D9E853CB-93EB-2CCD-C578-3F4E53B9892A}"/>
              </a:ext>
            </a:extLst>
          </p:cNvPr>
          <p:cNvSpPr>
            <a:spLocks noGrp="1"/>
          </p:cNvSpPr>
          <p:nvPr>
            <p:custDataLst>
              <p:tags r:id="rId54"/>
            </p:custDataLst>
          </p:nvPr>
        </p:nvSpPr>
        <p:spPr bwMode="gray">
          <a:xfrm>
            <a:off x="1979220" y="4349243"/>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C49C5B65-C056-4EE3-BED8-76A6A2F683AE}" type="datetime'''23%'''">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3%</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23" name="Text Placeholder">
            <a:extLst>
              <a:ext uri="{FF2B5EF4-FFF2-40B4-BE49-F238E27FC236}">
                <a16:creationId xmlns:a16="http://schemas.microsoft.com/office/drawing/2014/main" id="{09133BCD-EB24-196E-D2A5-286C20B43B04}"/>
              </a:ext>
            </a:extLst>
          </p:cNvPr>
          <p:cNvSpPr>
            <a:spLocks noGrp="1"/>
          </p:cNvSpPr>
          <p:nvPr>
            <p:custDataLst>
              <p:tags r:id="rId55"/>
            </p:custDataLst>
          </p:nvPr>
        </p:nvSpPr>
        <p:spPr bwMode="gray">
          <a:xfrm>
            <a:off x="1979220" y="4030156"/>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318D48D1-66D5-45EC-8764-EF41488AADEA}" type="datetime'''''2''''''''''''''''''''''''''1%'''''''''''''''''''''''">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1%</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24" name="Text Placeholder">
            <a:extLst>
              <a:ext uri="{FF2B5EF4-FFF2-40B4-BE49-F238E27FC236}">
                <a16:creationId xmlns:a16="http://schemas.microsoft.com/office/drawing/2014/main" id="{FF7CEED2-4271-327A-B384-C10C6E8B89CC}"/>
              </a:ext>
            </a:extLst>
          </p:cNvPr>
          <p:cNvSpPr>
            <a:spLocks noGrp="1"/>
          </p:cNvSpPr>
          <p:nvPr>
            <p:custDataLst>
              <p:tags r:id="rId56"/>
            </p:custDataLst>
          </p:nvPr>
        </p:nvSpPr>
        <p:spPr bwMode="gray">
          <a:xfrm>
            <a:off x="5798745" y="2598231"/>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E1E51115-1674-490D-BA2B-EAF6E939ECA2}" type="datetime'''60''''''''''''''''''''''''''''''''''''''5'''''''''''''''''">
              <a:rPr lang="en-GB" altLang="en-US" sz="1050" b="1" smtClean="0">
                <a:latin typeface="Arial" panose="020B0604020202020204" pitchFamily="34" charset="0"/>
                <a:cs typeface="Arial" panose="020B0604020202020204" pitchFamily="34" charset="0"/>
                <a:sym typeface="Arial" panose="020B0604020202020204" pitchFamily="34" charset="0"/>
              </a:rPr>
              <a:pPr algn="ctr" defTabSz="685800">
                <a:lnSpc>
                  <a:spcPct val="90000"/>
                </a:lnSpc>
                <a:spcBef>
                  <a:spcPct val="0"/>
                </a:spcBef>
                <a:buSzPct val="100000"/>
                <a:buFont typeface="+mn-lt" pitchFamily="34" charset="0"/>
              </a:pPr>
              <a:t>605</a:t>
            </a:fld>
            <a:endParaRPr lang="en-US" sz="1050" b="1">
              <a:latin typeface="Arial" panose="020B0604020202020204" pitchFamily="34" charset="0"/>
              <a:cs typeface="Arial" panose="020B0604020202020204" pitchFamily="34" charset="0"/>
              <a:sym typeface="Arial" panose="020B0604020202020204" pitchFamily="34" charset="0"/>
            </a:endParaRPr>
          </a:p>
        </p:txBody>
      </p:sp>
      <p:sp>
        <p:nvSpPr>
          <p:cNvPr id="125" name="Text Placeholder">
            <a:extLst>
              <a:ext uri="{FF2B5EF4-FFF2-40B4-BE49-F238E27FC236}">
                <a16:creationId xmlns:a16="http://schemas.microsoft.com/office/drawing/2014/main" id="{D6318B62-2F14-093D-AA21-2415127C730C}"/>
              </a:ext>
            </a:extLst>
          </p:cNvPr>
          <p:cNvSpPr>
            <a:spLocks noGrp="1"/>
          </p:cNvSpPr>
          <p:nvPr>
            <p:custDataLst>
              <p:tags r:id="rId57"/>
            </p:custDataLst>
          </p:nvPr>
        </p:nvSpPr>
        <p:spPr bwMode="auto">
          <a:xfrm>
            <a:off x="1988745" y="2541081"/>
            <a:ext cx="271463" cy="215900"/>
          </a:xfrm>
          <a:prstGeom prst="roundRect">
            <a:avLst>
              <a:gd name="adj" fmla="val 50000"/>
            </a:avLst>
          </a:prstGeom>
          <a:solidFill>
            <a:schemeClr val="bg1"/>
          </a:solidFill>
          <a:ln w="6350" cmpd="sng" algn="ctr">
            <a:solidFill>
              <a:schemeClr val="tx2"/>
            </a:solidFill>
          </a:ln>
          <a:effectLst/>
        </p:spPr>
        <p:txBody>
          <a:bodyPr vert="horz" wrap="none" lIns="12700" tIns="0" rIns="1270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BBE1A910-E503-4A70-AA27-E89C740533BD}" type="datetime'''''''''''''''''''''''''''''''''''''''''0''''''''''%'">
              <a:rPr lang="en-US" altLang="en-US" sz="800" smtClean="0">
                <a:effectLst/>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0%</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26" name="Text Placeholder">
            <a:extLst>
              <a:ext uri="{FF2B5EF4-FFF2-40B4-BE49-F238E27FC236}">
                <a16:creationId xmlns:a16="http://schemas.microsoft.com/office/drawing/2014/main" id="{CA9C09C0-0998-4423-C2AA-A3F3B00DD98B}"/>
              </a:ext>
            </a:extLst>
          </p:cNvPr>
          <p:cNvSpPr>
            <a:spLocks noGrp="1"/>
          </p:cNvSpPr>
          <p:nvPr>
            <p:custDataLst>
              <p:tags r:id="rId58"/>
            </p:custDataLst>
          </p:nvPr>
        </p:nvSpPr>
        <p:spPr bwMode="auto">
          <a:xfrm>
            <a:off x="3861995" y="2523618"/>
            <a:ext cx="346075" cy="215900"/>
          </a:xfrm>
          <a:prstGeom prst="roundRect">
            <a:avLst>
              <a:gd name="adj" fmla="val 50000"/>
            </a:avLst>
          </a:prstGeom>
          <a:solidFill>
            <a:schemeClr val="bg1"/>
          </a:solidFill>
          <a:ln w="6350" cmpd="sng" algn="ctr">
            <a:solidFill>
              <a:schemeClr val="tx2"/>
            </a:solidFill>
          </a:ln>
          <a:effectLst/>
        </p:spPr>
        <p:txBody>
          <a:bodyPr vert="horz" wrap="none" lIns="12700" tIns="0" rIns="1270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52396F77-8CC9-408F-B089-31F652749D0B}" type="datetime'''''''''''''''''''''+3''''''%'''''''''''''''''''''''''">
              <a:rPr lang="en-US" altLang="en-US" sz="800" smtClean="0">
                <a:effectLst/>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3%</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27" name="Text Placeholder">
            <a:extLst>
              <a:ext uri="{FF2B5EF4-FFF2-40B4-BE49-F238E27FC236}">
                <a16:creationId xmlns:a16="http://schemas.microsoft.com/office/drawing/2014/main" id="{0A696FCC-3B3E-36FF-5DD8-A91F03BBFA8E}"/>
              </a:ext>
            </a:extLst>
          </p:cNvPr>
          <p:cNvSpPr>
            <a:spLocks noGrp="1"/>
          </p:cNvSpPr>
          <p:nvPr>
            <p:custDataLst>
              <p:tags r:id="rId59"/>
            </p:custDataLst>
          </p:nvPr>
        </p:nvSpPr>
        <p:spPr bwMode="auto">
          <a:xfrm>
            <a:off x="5136757" y="2436306"/>
            <a:ext cx="346075" cy="215900"/>
          </a:xfrm>
          <a:prstGeom prst="roundRect">
            <a:avLst>
              <a:gd name="adj" fmla="val 50000"/>
            </a:avLst>
          </a:prstGeom>
          <a:solidFill>
            <a:schemeClr val="bg1"/>
          </a:solidFill>
          <a:ln w="6350" cmpd="sng" algn="ctr">
            <a:solidFill>
              <a:schemeClr val="tx2"/>
            </a:solidFill>
          </a:ln>
          <a:effectLst/>
        </p:spPr>
        <p:txBody>
          <a:bodyPr vert="horz" wrap="none" lIns="12700" tIns="0" rIns="1270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C00DD298-D9B6-4E8F-8889-FAB8E393B18D}" type="datetime'''''''''''+''''''''''''''''''2''''%'''''''''''''''''''''''''">
              <a:rPr lang="en-US" altLang="en-US" sz="800" smtClean="0">
                <a:effectLst/>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2%</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28" name="TextBox 237">
            <a:extLst>
              <a:ext uri="{FF2B5EF4-FFF2-40B4-BE49-F238E27FC236}">
                <a16:creationId xmlns:a16="http://schemas.microsoft.com/office/drawing/2014/main" id="{E64F2DE5-FC0B-C1FE-E440-B2F131730122}"/>
              </a:ext>
            </a:extLst>
          </p:cNvPr>
          <p:cNvSpPr txBox="1">
            <a:spLocks/>
          </p:cNvSpPr>
          <p:nvPr/>
        </p:nvSpPr>
        <p:spPr>
          <a:xfrm>
            <a:off x="7607602" y="1648398"/>
            <a:ext cx="534356" cy="215444"/>
          </a:xfrm>
          <a:prstGeom prst="rect">
            <a:avLst/>
          </a:prstGeom>
          <a:noFill/>
          <a:ln w="9525">
            <a:noFill/>
          </a:ln>
        </p:spPr>
        <p:txBody>
          <a:bodyPr vert="horz" wrap="square" lIns="0" tIns="0" rIns="0" bIns="0" rtlCol="0">
            <a:spAutoFit/>
          </a:bodyPr>
          <a:lstStyle/>
          <a:p>
            <a:pPr algn="ctr" fontAlgn="base">
              <a:spcBef>
                <a:spcPts val="300"/>
              </a:spcBef>
              <a:spcAft>
                <a:spcPct val="0"/>
              </a:spcAft>
              <a:buSzPct val="100000"/>
            </a:pPr>
            <a:r>
              <a:rPr lang="en-US" sz="700" b="1" dirty="0">
                <a:latin typeface="Arial" panose="020B0604020202020204" pitchFamily="34" charset="0"/>
                <a:cs typeface="Arial" panose="020B0604020202020204" pitchFamily="34" charset="0"/>
                <a:sym typeface="+mn-lt"/>
              </a:rPr>
              <a:t>CAGR 2019-'22</a:t>
            </a:r>
          </a:p>
        </p:txBody>
      </p:sp>
      <p:sp>
        <p:nvSpPr>
          <p:cNvPr id="129" name="TextBox 245">
            <a:extLst>
              <a:ext uri="{FF2B5EF4-FFF2-40B4-BE49-F238E27FC236}">
                <a16:creationId xmlns:a16="http://schemas.microsoft.com/office/drawing/2014/main" id="{978D0458-50AE-4D3B-5B97-25E1BE4494CF}"/>
              </a:ext>
            </a:extLst>
          </p:cNvPr>
          <p:cNvSpPr txBox="1">
            <a:spLocks/>
          </p:cNvSpPr>
          <p:nvPr/>
        </p:nvSpPr>
        <p:spPr>
          <a:xfrm>
            <a:off x="8246058" y="1648398"/>
            <a:ext cx="534356" cy="215444"/>
          </a:xfrm>
          <a:prstGeom prst="rect">
            <a:avLst/>
          </a:prstGeom>
          <a:noFill/>
          <a:ln w="9525">
            <a:noFill/>
          </a:ln>
        </p:spPr>
        <p:txBody>
          <a:bodyPr vert="horz" wrap="square" lIns="0" tIns="0" rIns="0" bIns="0" rtlCol="0">
            <a:spAutoFit/>
          </a:bodyPr>
          <a:lstStyle/>
          <a:p>
            <a:pPr algn="ctr" fontAlgn="base">
              <a:spcBef>
                <a:spcPts val="300"/>
              </a:spcBef>
              <a:spcAft>
                <a:spcPct val="0"/>
              </a:spcAft>
              <a:buSzPct val="100000"/>
            </a:pPr>
            <a:r>
              <a:rPr lang="en-US" sz="700" b="1">
                <a:latin typeface="Arial" panose="020B0604020202020204" pitchFamily="34" charset="0"/>
                <a:cs typeface="Arial" panose="020B0604020202020204" pitchFamily="34" charset="0"/>
                <a:sym typeface="+mn-lt"/>
              </a:rPr>
              <a:t>CAGR 2023-'26</a:t>
            </a:r>
          </a:p>
        </p:txBody>
      </p:sp>
      <p:sp>
        <p:nvSpPr>
          <p:cNvPr id="130" name="Rectangle: Rounded Corners 238">
            <a:extLst>
              <a:ext uri="{FF2B5EF4-FFF2-40B4-BE49-F238E27FC236}">
                <a16:creationId xmlns:a16="http://schemas.microsoft.com/office/drawing/2014/main" id="{BE99ACBF-3467-59B2-FFC5-FAFE2090B8DD}"/>
              </a:ext>
            </a:extLst>
          </p:cNvPr>
          <p:cNvSpPr>
            <a:spLocks/>
          </p:cNvSpPr>
          <p:nvPr/>
        </p:nvSpPr>
        <p:spPr>
          <a:xfrm>
            <a:off x="7655476" y="2292923"/>
            <a:ext cx="438608" cy="215900"/>
          </a:xfrm>
          <a:prstGeom prst="roundRect">
            <a:avLst>
              <a:gd name="adj" fmla="val 50000"/>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bg1"/>
                </a:solidFill>
                <a:latin typeface="Arial" panose="020B0604020202020204" pitchFamily="34" charset="0"/>
                <a:cs typeface="Arial" panose="020B0604020202020204" pitchFamily="34" charset="0"/>
                <a:sym typeface="+mn-lt"/>
              </a:rPr>
              <a:t>10%</a:t>
            </a:r>
            <a:endParaRPr lang="en-US" sz="800" err="1">
              <a:solidFill>
                <a:schemeClr val="bg1"/>
              </a:solidFill>
              <a:latin typeface="Arial" panose="020B0604020202020204" pitchFamily="34" charset="0"/>
              <a:cs typeface="Arial" panose="020B0604020202020204" pitchFamily="34" charset="0"/>
              <a:sym typeface="+mn-lt"/>
            </a:endParaRPr>
          </a:p>
        </p:txBody>
      </p:sp>
      <p:sp>
        <p:nvSpPr>
          <p:cNvPr id="131" name="Rectangle: Rounded Corners 246">
            <a:extLst>
              <a:ext uri="{FF2B5EF4-FFF2-40B4-BE49-F238E27FC236}">
                <a16:creationId xmlns:a16="http://schemas.microsoft.com/office/drawing/2014/main" id="{6563F450-810D-B7A3-21DF-51E0D5D384AB}"/>
              </a:ext>
            </a:extLst>
          </p:cNvPr>
          <p:cNvSpPr>
            <a:spLocks/>
          </p:cNvSpPr>
          <p:nvPr/>
        </p:nvSpPr>
        <p:spPr>
          <a:xfrm>
            <a:off x="8293932" y="2292923"/>
            <a:ext cx="438608" cy="215900"/>
          </a:xfrm>
          <a:prstGeom prst="roundRect">
            <a:avLst>
              <a:gd name="adj" fmla="val 50000"/>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bg1"/>
                </a:solidFill>
                <a:latin typeface="Arial" panose="020B0604020202020204" pitchFamily="34" charset="0"/>
                <a:cs typeface="Arial" panose="020B0604020202020204" pitchFamily="34" charset="0"/>
                <a:sym typeface="+mn-lt"/>
              </a:rPr>
              <a:t>0%</a:t>
            </a:r>
            <a:endParaRPr lang="en-US" sz="800" err="1">
              <a:solidFill>
                <a:schemeClr val="bg1"/>
              </a:solidFill>
              <a:latin typeface="Arial" panose="020B0604020202020204" pitchFamily="34" charset="0"/>
              <a:cs typeface="Arial" panose="020B0604020202020204" pitchFamily="34" charset="0"/>
              <a:sym typeface="+mn-lt"/>
            </a:endParaRPr>
          </a:p>
        </p:txBody>
      </p:sp>
      <p:sp>
        <p:nvSpPr>
          <p:cNvPr id="132" name="Rectangle: Rounded Corners 239">
            <a:extLst>
              <a:ext uri="{FF2B5EF4-FFF2-40B4-BE49-F238E27FC236}">
                <a16:creationId xmlns:a16="http://schemas.microsoft.com/office/drawing/2014/main" id="{77590468-62C5-4AF2-75EC-CF732DB49A0F}"/>
              </a:ext>
            </a:extLst>
          </p:cNvPr>
          <p:cNvSpPr>
            <a:spLocks/>
          </p:cNvSpPr>
          <p:nvPr/>
        </p:nvSpPr>
        <p:spPr>
          <a:xfrm>
            <a:off x="7655476" y="2529461"/>
            <a:ext cx="438608" cy="215900"/>
          </a:xfrm>
          <a:prstGeom prst="roundRect">
            <a:avLst>
              <a:gd name="adj" fmla="val 50000"/>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dirty="0">
                <a:solidFill>
                  <a:schemeClr val="tx1"/>
                </a:solidFill>
                <a:latin typeface="Arial" panose="020B0604020202020204" pitchFamily="34" charset="0"/>
                <a:cs typeface="Arial" panose="020B0604020202020204" pitchFamily="34" charset="0"/>
                <a:sym typeface="+mn-lt"/>
              </a:rPr>
              <a:t>-10%</a:t>
            </a:r>
          </a:p>
        </p:txBody>
      </p:sp>
      <p:sp>
        <p:nvSpPr>
          <p:cNvPr id="133" name="Rectangle: Rounded Corners 247">
            <a:extLst>
              <a:ext uri="{FF2B5EF4-FFF2-40B4-BE49-F238E27FC236}">
                <a16:creationId xmlns:a16="http://schemas.microsoft.com/office/drawing/2014/main" id="{374CD6A9-04A7-3CA0-9EF0-9B56E436D048}"/>
              </a:ext>
            </a:extLst>
          </p:cNvPr>
          <p:cNvSpPr>
            <a:spLocks/>
          </p:cNvSpPr>
          <p:nvPr/>
        </p:nvSpPr>
        <p:spPr>
          <a:xfrm>
            <a:off x="8293932" y="2529461"/>
            <a:ext cx="438608" cy="215900"/>
          </a:xfrm>
          <a:prstGeom prst="roundRect">
            <a:avLst>
              <a:gd name="adj" fmla="val 50000"/>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tx1"/>
                </a:solidFill>
                <a:latin typeface="Arial" panose="020B0604020202020204" pitchFamily="34" charset="0"/>
                <a:cs typeface="Arial" panose="020B0604020202020204" pitchFamily="34" charset="0"/>
                <a:sym typeface="+mn-lt"/>
              </a:rPr>
              <a:t>6%</a:t>
            </a:r>
          </a:p>
        </p:txBody>
      </p:sp>
      <p:sp>
        <p:nvSpPr>
          <p:cNvPr id="134" name="Rectangle: Rounded Corners 240">
            <a:extLst>
              <a:ext uri="{FF2B5EF4-FFF2-40B4-BE49-F238E27FC236}">
                <a16:creationId xmlns:a16="http://schemas.microsoft.com/office/drawing/2014/main" id="{996EF8AD-BDB5-3A8E-8DC3-724C678F2267}"/>
              </a:ext>
            </a:extLst>
          </p:cNvPr>
          <p:cNvSpPr>
            <a:spLocks/>
          </p:cNvSpPr>
          <p:nvPr/>
        </p:nvSpPr>
        <p:spPr>
          <a:xfrm>
            <a:off x="7655476" y="2789811"/>
            <a:ext cx="438608" cy="215900"/>
          </a:xfrm>
          <a:prstGeom prst="roundRect">
            <a:avLst>
              <a:gd name="adj" fmla="val 50000"/>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tx1"/>
                </a:solidFill>
                <a:latin typeface="Arial" panose="020B0604020202020204" pitchFamily="34" charset="0"/>
                <a:cs typeface="Arial" panose="020B0604020202020204" pitchFamily="34" charset="0"/>
                <a:sym typeface="+mn-lt"/>
              </a:rPr>
              <a:t>-5%</a:t>
            </a:r>
            <a:endParaRPr lang="en-US" sz="800" err="1">
              <a:solidFill>
                <a:schemeClr val="tx1"/>
              </a:solidFill>
              <a:latin typeface="Arial" panose="020B0604020202020204" pitchFamily="34" charset="0"/>
              <a:cs typeface="Arial" panose="020B0604020202020204" pitchFamily="34" charset="0"/>
              <a:sym typeface="+mn-lt"/>
            </a:endParaRPr>
          </a:p>
        </p:txBody>
      </p:sp>
      <p:sp>
        <p:nvSpPr>
          <p:cNvPr id="135" name="Rectangle: Rounded Corners 248">
            <a:extLst>
              <a:ext uri="{FF2B5EF4-FFF2-40B4-BE49-F238E27FC236}">
                <a16:creationId xmlns:a16="http://schemas.microsoft.com/office/drawing/2014/main" id="{88166F77-903A-8AC4-561D-D595E73DC7C1}"/>
              </a:ext>
            </a:extLst>
          </p:cNvPr>
          <p:cNvSpPr>
            <a:spLocks/>
          </p:cNvSpPr>
          <p:nvPr/>
        </p:nvSpPr>
        <p:spPr>
          <a:xfrm>
            <a:off x="8293932" y="2789811"/>
            <a:ext cx="438608" cy="215900"/>
          </a:xfrm>
          <a:prstGeom prst="roundRect">
            <a:avLst>
              <a:gd name="adj" fmla="val 50000"/>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tx1"/>
                </a:solidFill>
                <a:latin typeface="Arial" panose="020B0604020202020204" pitchFamily="34" charset="0"/>
                <a:cs typeface="Arial" panose="020B0604020202020204" pitchFamily="34" charset="0"/>
                <a:sym typeface="+mn-lt"/>
              </a:rPr>
              <a:t>-4%</a:t>
            </a:r>
          </a:p>
        </p:txBody>
      </p:sp>
      <p:sp>
        <p:nvSpPr>
          <p:cNvPr id="136" name="Rectangle: Rounded Corners 241">
            <a:extLst>
              <a:ext uri="{FF2B5EF4-FFF2-40B4-BE49-F238E27FC236}">
                <a16:creationId xmlns:a16="http://schemas.microsoft.com/office/drawing/2014/main" id="{FB83EE3A-1545-2339-E5D2-94AE20577DDC}"/>
              </a:ext>
            </a:extLst>
          </p:cNvPr>
          <p:cNvSpPr>
            <a:spLocks/>
          </p:cNvSpPr>
          <p:nvPr/>
        </p:nvSpPr>
        <p:spPr>
          <a:xfrm>
            <a:off x="7655476" y="3183511"/>
            <a:ext cx="438608" cy="215900"/>
          </a:xfrm>
          <a:prstGeom prst="roundRect">
            <a:avLst>
              <a:gd name="adj" fmla="val 50000"/>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bg1"/>
                </a:solidFill>
                <a:latin typeface="Arial" panose="020B0604020202020204" pitchFamily="34" charset="0"/>
                <a:cs typeface="Arial" panose="020B0604020202020204" pitchFamily="34" charset="0"/>
                <a:sym typeface="+mn-lt"/>
              </a:rPr>
              <a:t>-8%</a:t>
            </a:r>
            <a:endParaRPr lang="en-US" sz="800" err="1">
              <a:solidFill>
                <a:schemeClr val="bg1"/>
              </a:solidFill>
              <a:latin typeface="Arial" panose="020B0604020202020204" pitchFamily="34" charset="0"/>
              <a:cs typeface="Arial" panose="020B0604020202020204" pitchFamily="34" charset="0"/>
              <a:sym typeface="+mn-lt"/>
            </a:endParaRPr>
          </a:p>
        </p:txBody>
      </p:sp>
      <p:sp>
        <p:nvSpPr>
          <p:cNvPr id="137" name="Rectangle: Rounded Corners 249">
            <a:extLst>
              <a:ext uri="{FF2B5EF4-FFF2-40B4-BE49-F238E27FC236}">
                <a16:creationId xmlns:a16="http://schemas.microsoft.com/office/drawing/2014/main" id="{78280F6D-A3F3-35D3-77AD-36F3450FE269}"/>
              </a:ext>
            </a:extLst>
          </p:cNvPr>
          <p:cNvSpPr>
            <a:spLocks/>
          </p:cNvSpPr>
          <p:nvPr/>
        </p:nvSpPr>
        <p:spPr>
          <a:xfrm>
            <a:off x="8293932" y="3183511"/>
            <a:ext cx="438608" cy="215900"/>
          </a:xfrm>
          <a:prstGeom prst="roundRect">
            <a:avLst>
              <a:gd name="adj" fmla="val 50000"/>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bg1"/>
                </a:solidFill>
                <a:latin typeface="Arial" panose="020B0604020202020204" pitchFamily="34" charset="0"/>
                <a:cs typeface="Arial" panose="020B0604020202020204" pitchFamily="34" charset="0"/>
                <a:sym typeface="+mn-lt"/>
              </a:rPr>
              <a:t>3%</a:t>
            </a:r>
            <a:endParaRPr lang="en-US" sz="800" err="1">
              <a:solidFill>
                <a:schemeClr val="bg1"/>
              </a:solidFill>
              <a:latin typeface="Arial" panose="020B0604020202020204" pitchFamily="34" charset="0"/>
              <a:cs typeface="Arial" panose="020B0604020202020204" pitchFamily="34" charset="0"/>
              <a:sym typeface="+mn-lt"/>
            </a:endParaRPr>
          </a:p>
        </p:txBody>
      </p:sp>
      <p:sp>
        <p:nvSpPr>
          <p:cNvPr id="138" name="Rectangle: Rounded Corners 242">
            <a:extLst>
              <a:ext uri="{FF2B5EF4-FFF2-40B4-BE49-F238E27FC236}">
                <a16:creationId xmlns:a16="http://schemas.microsoft.com/office/drawing/2014/main" id="{1DA25D33-B6C8-05D2-A81C-B8B04C1C44E1}"/>
              </a:ext>
            </a:extLst>
          </p:cNvPr>
          <p:cNvSpPr>
            <a:spLocks/>
          </p:cNvSpPr>
          <p:nvPr/>
        </p:nvSpPr>
        <p:spPr>
          <a:xfrm>
            <a:off x="7655476" y="3667698"/>
            <a:ext cx="438608" cy="215900"/>
          </a:xfrm>
          <a:prstGeom prst="roundRect">
            <a:avLst>
              <a:gd name="adj" fmla="val 50000"/>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bg1"/>
                </a:solidFill>
                <a:latin typeface="Arial" panose="020B0604020202020204" pitchFamily="34" charset="0"/>
                <a:cs typeface="Arial" panose="020B0604020202020204" pitchFamily="34" charset="0"/>
                <a:sym typeface="+mn-lt"/>
              </a:rPr>
              <a:t>6%</a:t>
            </a:r>
            <a:endParaRPr lang="en-US" sz="800" err="1">
              <a:solidFill>
                <a:schemeClr val="bg1"/>
              </a:solidFill>
              <a:latin typeface="Arial" panose="020B0604020202020204" pitchFamily="34" charset="0"/>
              <a:cs typeface="Arial" panose="020B0604020202020204" pitchFamily="34" charset="0"/>
              <a:sym typeface="+mn-lt"/>
            </a:endParaRPr>
          </a:p>
        </p:txBody>
      </p:sp>
      <p:sp>
        <p:nvSpPr>
          <p:cNvPr id="139" name="Rectangle: Rounded Corners 250">
            <a:extLst>
              <a:ext uri="{FF2B5EF4-FFF2-40B4-BE49-F238E27FC236}">
                <a16:creationId xmlns:a16="http://schemas.microsoft.com/office/drawing/2014/main" id="{9009F60F-4026-02DB-BDDB-D9650BD07124}"/>
              </a:ext>
            </a:extLst>
          </p:cNvPr>
          <p:cNvSpPr>
            <a:spLocks/>
          </p:cNvSpPr>
          <p:nvPr/>
        </p:nvSpPr>
        <p:spPr>
          <a:xfrm>
            <a:off x="8293932" y="3667698"/>
            <a:ext cx="438608" cy="215900"/>
          </a:xfrm>
          <a:prstGeom prst="roundRect">
            <a:avLst>
              <a:gd name="adj" fmla="val 50000"/>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bg1"/>
                </a:solidFill>
                <a:latin typeface="Arial" panose="020B0604020202020204" pitchFamily="34" charset="0"/>
                <a:cs typeface="Arial" panose="020B0604020202020204" pitchFamily="34" charset="0"/>
                <a:sym typeface="+mn-lt"/>
              </a:rPr>
              <a:t>5%</a:t>
            </a:r>
            <a:endParaRPr lang="en-US" sz="800" err="1">
              <a:solidFill>
                <a:schemeClr val="bg1"/>
              </a:solidFill>
              <a:latin typeface="Arial" panose="020B0604020202020204" pitchFamily="34" charset="0"/>
              <a:cs typeface="Arial" panose="020B0604020202020204" pitchFamily="34" charset="0"/>
              <a:sym typeface="+mn-lt"/>
            </a:endParaRPr>
          </a:p>
        </p:txBody>
      </p:sp>
      <p:sp>
        <p:nvSpPr>
          <p:cNvPr id="140" name="Rectangle: Rounded Corners 243">
            <a:extLst>
              <a:ext uri="{FF2B5EF4-FFF2-40B4-BE49-F238E27FC236}">
                <a16:creationId xmlns:a16="http://schemas.microsoft.com/office/drawing/2014/main" id="{FA3E797E-B27A-3DDB-9447-E39F1F6896BB}"/>
              </a:ext>
            </a:extLst>
          </p:cNvPr>
          <p:cNvSpPr>
            <a:spLocks/>
          </p:cNvSpPr>
          <p:nvPr/>
        </p:nvSpPr>
        <p:spPr>
          <a:xfrm>
            <a:off x="7655476" y="4212211"/>
            <a:ext cx="438608" cy="215900"/>
          </a:xfrm>
          <a:prstGeom prst="roundRect">
            <a:avLst>
              <a:gd name="adj" fmla="val 50000"/>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bg1"/>
                </a:solidFill>
                <a:latin typeface="Arial" panose="020B0604020202020204" pitchFamily="34" charset="0"/>
                <a:cs typeface="Arial" panose="020B0604020202020204" pitchFamily="34" charset="0"/>
                <a:sym typeface="+mn-lt"/>
              </a:rPr>
              <a:t>8%</a:t>
            </a:r>
            <a:endParaRPr lang="en-US" sz="800" err="1">
              <a:solidFill>
                <a:schemeClr val="bg1"/>
              </a:solidFill>
              <a:latin typeface="Arial" panose="020B0604020202020204" pitchFamily="34" charset="0"/>
              <a:cs typeface="Arial" panose="020B0604020202020204" pitchFamily="34" charset="0"/>
              <a:sym typeface="+mn-lt"/>
            </a:endParaRPr>
          </a:p>
        </p:txBody>
      </p:sp>
      <p:sp>
        <p:nvSpPr>
          <p:cNvPr id="141" name="Rectangle: Rounded Corners 251">
            <a:extLst>
              <a:ext uri="{FF2B5EF4-FFF2-40B4-BE49-F238E27FC236}">
                <a16:creationId xmlns:a16="http://schemas.microsoft.com/office/drawing/2014/main" id="{9EE3C44A-742E-F6D7-5ED4-8FD6A8F1DD56}"/>
              </a:ext>
            </a:extLst>
          </p:cNvPr>
          <p:cNvSpPr>
            <a:spLocks/>
          </p:cNvSpPr>
          <p:nvPr/>
        </p:nvSpPr>
        <p:spPr>
          <a:xfrm>
            <a:off x="8293932" y="4212211"/>
            <a:ext cx="438608" cy="215900"/>
          </a:xfrm>
          <a:prstGeom prst="roundRect">
            <a:avLst>
              <a:gd name="adj" fmla="val 50000"/>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bg1"/>
                </a:solidFill>
                <a:latin typeface="Arial" panose="020B0604020202020204" pitchFamily="34" charset="0"/>
                <a:cs typeface="Arial" panose="020B0604020202020204" pitchFamily="34" charset="0"/>
                <a:sym typeface="+mn-lt"/>
              </a:rPr>
              <a:t>1%</a:t>
            </a:r>
            <a:endParaRPr lang="en-US" sz="800" err="1">
              <a:solidFill>
                <a:schemeClr val="bg1"/>
              </a:solidFill>
              <a:latin typeface="Arial" panose="020B0604020202020204" pitchFamily="34" charset="0"/>
              <a:cs typeface="Arial" panose="020B0604020202020204" pitchFamily="34" charset="0"/>
              <a:sym typeface="+mn-lt"/>
            </a:endParaRPr>
          </a:p>
        </p:txBody>
      </p:sp>
      <p:sp>
        <p:nvSpPr>
          <p:cNvPr id="142" name="Source">
            <a:extLst>
              <a:ext uri="{FF2B5EF4-FFF2-40B4-BE49-F238E27FC236}">
                <a16:creationId xmlns:a16="http://schemas.microsoft.com/office/drawing/2014/main" id="{F8A660DA-8E2B-6F4F-292F-00248DB28F3B}"/>
              </a:ext>
            </a:extLst>
          </p:cNvPr>
          <p:cNvSpPr txBox="1"/>
          <p:nvPr/>
        </p:nvSpPr>
        <p:spPr>
          <a:xfrm>
            <a:off x="223036" y="5328765"/>
            <a:ext cx="666849" cy="554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400">
                <a:latin typeface="Arial" panose="020B0604020202020204" pitchFamily="34" charset="0"/>
                <a:cs typeface="Arial" panose="020B0604020202020204" pitchFamily="34" charset="0"/>
                <a:sym typeface="+mn-lt"/>
              </a:rPr>
              <a:t>Source: Fitch, Roland Berger</a:t>
            </a:r>
          </a:p>
        </p:txBody>
      </p:sp>
      <p:sp>
        <p:nvSpPr>
          <p:cNvPr id="143" name="TextBox 13">
            <a:extLst>
              <a:ext uri="{FF2B5EF4-FFF2-40B4-BE49-F238E27FC236}">
                <a16:creationId xmlns:a16="http://schemas.microsoft.com/office/drawing/2014/main" id="{6688572B-9042-CA01-8558-A4BC4F6E90CA}"/>
              </a:ext>
            </a:extLst>
          </p:cNvPr>
          <p:cNvSpPr txBox="1"/>
          <p:nvPr/>
        </p:nvSpPr>
        <p:spPr>
          <a:xfrm>
            <a:off x="129782" y="1667689"/>
            <a:ext cx="7579731" cy="246221"/>
          </a:xfrm>
          <a:prstGeom prst="rect">
            <a:avLst/>
          </a:prstGeom>
          <a:noFill/>
        </p:spPr>
        <p:txBody>
          <a:bodyPr wrap="square">
            <a:spAutoFit/>
          </a:bodyPr>
          <a:lstStyle/>
          <a:p>
            <a:r>
              <a:rPr lang="en-US" sz="1000" dirty="0">
                <a:solidFill>
                  <a:schemeClr val="tx2"/>
                </a:solidFill>
                <a:latin typeface="Arial" panose="020B0604020202020204" pitchFamily="34" charset="0"/>
                <a:cs typeface="Arial" panose="020B0604020202020204" pitchFamily="34" charset="0"/>
                <a:sym typeface="+mn-lt"/>
              </a:rPr>
              <a:t>Capex of worldwide top 100 Oil &amp; Gas companies </a:t>
            </a:r>
            <a:r>
              <a:rPr lang="en-US" sz="1000" b="0" dirty="0">
                <a:solidFill>
                  <a:schemeClr val="tx2"/>
                </a:solidFill>
                <a:latin typeface="Arial" panose="020B0604020202020204" pitchFamily="34" charset="0"/>
                <a:cs typeface="Arial" panose="020B0604020202020204" pitchFamily="34" charset="0"/>
                <a:sym typeface="+mn-lt"/>
              </a:rPr>
              <a:t>[USD bn]</a:t>
            </a:r>
            <a:endParaRPr lang="en-GB" sz="1000" dirty="0">
              <a:solidFill>
                <a:schemeClr val="tx2"/>
              </a:solidFill>
              <a:latin typeface="Arial" panose="020B0604020202020204" pitchFamily="34" charset="0"/>
              <a:cs typeface="Arial" panose="020B0604020202020204" pitchFamily="34" charset="0"/>
            </a:endParaRPr>
          </a:p>
        </p:txBody>
      </p:sp>
      <p:sp>
        <p:nvSpPr>
          <p:cNvPr id="144" name="Notes">
            <a:extLst>
              <a:ext uri="{FF2B5EF4-FFF2-40B4-BE49-F238E27FC236}">
                <a16:creationId xmlns:a16="http://schemas.microsoft.com/office/drawing/2014/main" id="{ADAB3386-61AF-1FCC-BA4F-513218E8F08E}"/>
              </a:ext>
            </a:extLst>
          </p:cNvPr>
          <p:cNvSpPr txBox="1"/>
          <p:nvPr/>
        </p:nvSpPr>
        <p:spPr>
          <a:xfrm>
            <a:off x="220997" y="5182006"/>
            <a:ext cx="1518044" cy="61555"/>
          </a:xfrm>
          <a:prstGeom prst="rect">
            <a:avLst/>
          </a:prstGeom>
          <a:noFill/>
          <a:ln w="9525">
            <a:noFill/>
          </a:ln>
        </p:spPr>
        <p:txBody>
          <a:bodyPr vert="horz" wrap="none" lIns="0" tIns="0" rIns="0" bIns="0" rtlCol="0" anchor="b" anchorCtr="0">
            <a:spAutoFit/>
          </a:bodyPr>
          <a:lstStyle>
            <a:defPPr>
              <a:defRPr lang="en-EN"/>
            </a:defPPr>
            <a:lvl1pPr lvl="0">
              <a:lnSpc>
                <a:spcPct val="100000"/>
              </a:lnSpc>
              <a:spcBef>
                <a:spcPts val="0"/>
              </a:spcBef>
              <a:spcAft>
                <a:spcPts val="0"/>
              </a:spcAft>
              <a:buSzPct val="100000"/>
              <a:defRPr sz="800" b="0">
                <a:solidFill>
                  <a:schemeClr val="tx2"/>
                </a:solidFill>
                <a:latin typeface="+mn-lt"/>
              </a:defRPr>
            </a:lvl1pPr>
          </a:lstStyle>
          <a:p>
            <a:r>
              <a:rPr lang="en-US" sz="400">
                <a:latin typeface="Arial" panose="020B0604020202020204" pitchFamily="34" charset="0"/>
                <a:cs typeface="Arial" panose="020B0604020202020204" pitchFamily="34" charset="0"/>
                <a:sym typeface="+mn-lt"/>
              </a:rPr>
              <a:t>1) Includes: ENI, </a:t>
            </a:r>
            <a:r>
              <a:rPr lang="en-US" sz="400" err="1">
                <a:latin typeface="Arial" panose="020B0604020202020204" pitchFamily="34" charset="0"/>
                <a:cs typeface="Arial" panose="020B0604020202020204" pitchFamily="34" charset="0"/>
                <a:sym typeface="+mn-lt"/>
              </a:rPr>
              <a:t>Statolil</a:t>
            </a:r>
            <a:r>
              <a:rPr lang="en-US" sz="400">
                <a:latin typeface="Arial" panose="020B0604020202020204" pitchFamily="34" charset="0"/>
                <a:cs typeface="Arial" panose="020B0604020202020204" pitchFamily="34" charset="0"/>
                <a:sym typeface="+mn-lt"/>
              </a:rPr>
              <a:t>, TOTAL, Chevron, BP, Shell, ExxonMobil </a:t>
            </a:r>
          </a:p>
        </p:txBody>
      </p:sp>
    </p:spTree>
    <p:extLst>
      <p:ext uri="{BB962C8B-B14F-4D97-AF65-F5344CB8AC3E}">
        <p14:creationId xmlns:p14="http://schemas.microsoft.com/office/powerpoint/2010/main" val="7023439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5">
            <a:extLst>
              <a:ext uri="{FF2B5EF4-FFF2-40B4-BE49-F238E27FC236}">
                <a16:creationId xmlns:a16="http://schemas.microsoft.com/office/drawing/2014/main" id="{C57A0B68-948F-CBED-97A5-A01371066D12}"/>
              </a:ext>
            </a:extLst>
          </p:cNvPr>
          <p:cNvSpPr>
            <a:spLocks noGrp="1"/>
          </p:cNvSpPr>
          <p:nvPr>
            <p:ph type="title"/>
          </p:nvPr>
        </p:nvSpPr>
        <p:spPr>
          <a:xfrm>
            <a:off x="250825" y="842963"/>
            <a:ext cx="8642350" cy="1101725"/>
          </a:xfrm>
        </p:spPr>
        <p:txBody>
          <a:bodyPr/>
          <a:lstStyle/>
          <a:p>
            <a:pPr>
              <a:lnSpc>
                <a:spcPct val="100000"/>
              </a:lnSpc>
            </a:pPr>
            <a:r>
              <a:rPr lang="en-US" sz="2800" dirty="0"/>
              <a:t>Recovery is driven primarily by North America and Middle East</a:t>
            </a:r>
            <a:endParaRPr lang="it-IT" sz="6600" dirty="0"/>
          </a:p>
        </p:txBody>
      </p:sp>
      <p:cxnSp>
        <p:nvCxnSpPr>
          <p:cNvPr id="2" name="LeanLine Vertical 635138274914804550">
            <a:extLst>
              <a:ext uri="{FF2B5EF4-FFF2-40B4-BE49-F238E27FC236}">
                <a16:creationId xmlns:a16="http://schemas.microsoft.com/office/drawing/2014/main" id="{73A9B1D6-5F61-097E-B34D-C14DCFCDC613}"/>
              </a:ext>
            </a:extLst>
          </p:cNvPr>
          <p:cNvCxnSpPr>
            <a:cxnSpLocks/>
          </p:cNvCxnSpPr>
          <p:nvPr/>
        </p:nvCxnSpPr>
        <p:spPr>
          <a:xfrm>
            <a:off x="4040882" y="2329943"/>
            <a:ext cx="0" cy="2135861"/>
          </a:xfrm>
          <a:prstGeom prst="line">
            <a:avLst/>
          </a:prstGeom>
          <a:ln w="9525" cmpd="sng">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grpSp>
        <p:nvGrpSpPr>
          <p:cNvPr id="3" name="Group 21">
            <a:extLst>
              <a:ext uri="{FF2B5EF4-FFF2-40B4-BE49-F238E27FC236}">
                <a16:creationId xmlns:a16="http://schemas.microsoft.com/office/drawing/2014/main" id="{8E485E2D-5401-F92C-FB3C-9D80EF4AF37B}"/>
              </a:ext>
            </a:extLst>
          </p:cNvPr>
          <p:cNvGrpSpPr/>
          <p:nvPr/>
        </p:nvGrpSpPr>
        <p:grpSpPr>
          <a:xfrm>
            <a:off x="4107329" y="2072768"/>
            <a:ext cx="2277838" cy="203200"/>
            <a:chOff x="3998348" y="1781758"/>
            <a:chExt cx="2772566" cy="202551"/>
          </a:xfrm>
        </p:grpSpPr>
        <p:cxnSp>
          <p:nvCxnSpPr>
            <p:cNvPr id="4" name="Horizontal Line">
              <a:extLst>
                <a:ext uri="{FF2B5EF4-FFF2-40B4-BE49-F238E27FC236}">
                  <a16:creationId xmlns:a16="http://schemas.microsoft.com/office/drawing/2014/main" id="{3B6B0F15-7335-F31C-1BE6-55B3BAFA3DB9}"/>
                </a:ext>
              </a:extLst>
            </p:cNvPr>
            <p:cNvCxnSpPr>
              <a:cxnSpLocks/>
            </p:cNvCxnSpPr>
            <p:nvPr/>
          </p:nvCxnSpPr>
          <p:spPr>
            <a:xfrm>
              <a:off x="3998348" y="1984309"/>
              <a:ext cx="2772566" cy="0"/>
            </a:xfrm>
            <a:prstGeom prst="line">
              <a:avLst/>
            </a:prstGeom>
            <a:noFill/>
            <a:ln w="15875" cmpd="sng">
              <a:solidFill>
                <a:schemeClr val="tx2"/>
              </a:solidFill>
              <a:tailEnd type="triangle"/>
            </a:ln>
            <a:effectLst/>
          </p:spPr>
          <p:style>
            <a:lnRef idx="2">
              <a:schemeClr val="accent1">
                <a:shade val="50000"/>
              </a:schemeClr>
            </a:lnRef>
            <a:fillRef idx="1">
              <a:schemeClr val="accent1"/>
            </a:fillRef>
            <a:effectRef idx="0">
              <a:schemeClr val="accent1"/>
            </a:effectRef>
            <a:fontRef idx="minor">
              <a:schemeClr val="lt1"/>
            </a:fontRef>
          </p:style>
        </p:cxnSp>
        <p:sp>
          <p:nvSpPr>
            <p:cNvPr id="5" name="ListLeanHorizontalTextTopic0">
              <a:extLst>
                <a:ext uri="{FF2B5EF4-FFF2-40B4-BE49-F238E27FC236}">
                  <a16:creationId xmlns:a16="http://schemas.microsoft.com/office/drawing/2014/main" id="{AECFEB1D-7928-1E7B-7BCE-392246DF4F6B}"/>
                </a:ext>
              </a:extLst>
            </p:cNvPr>
            <p:cNvSpPr txBox="1">
              <a:spLocks/>
            </p:cNvSpPr>
            <p:nvPr/>
          </p:nvSpPr>
          <p:spPr>
            <a:xfrm>
              <a:off x="3998348" y="1781758"/>
              <a:ext cx="610165" cy="202551"/>
            </a:xfrm>
            <a:prstGeom prst="rect">
              <a:avLst/>
            </a:prstGeom>
            <a:noFill/>
            <a:ln w="9525">
              <a:noFill/>
            </a:ln>
          </p:spPr>
          <p:txBody>
            <a:bodyPr vert="horz" wrap="none" lIns="0" tIns="0" rIns="0" bIns="36000" rtlCol="0" anchor="b">
              <a:noAutofit/>
            </a:bodyPr>
            <a:lstStyle/>
            <a:p>
              <a:pPr>
                <a:lnSpc>
                  <a:spcPct val="90000"/>
                </a:lnSpc>
                <a:spcBef>
                  <a:spcPts val="300"/>
                </a:spcBef>
                <a:buSzPct val="100000"/>
              </a:pPr>
              <a:r>
                <a:rPr lang="en-GB" sz="1050">
                  <a:solidFill>
                    <a:schemeClr val="tx2"/>
                  </a:solidFill>
                  <a:latin typeface="Arial" panose="020B0604020202020204" pitchFamily="34" charset="0"/>
                  <a:cs typeface="Arial" panose="020B0604020202020204" pitchFamily="34" charset="0"/>
                </a:rPr>
                <a:t>Forecast</a:t>
              </a:r>
              <a:endParaRPr lang="en-GB" sz="1050" baseline="30000">
                <a:solidFill>
                  <a:schemeClr val="tx2"/>
                </a:solidFill>
                <a:latin typeface="Arial" panose="020B0604020202020204" pitchFamily="34" charset="0"/>
                <a:cs typeface="Arial" panose="020B0604020202020204" pitchFamily="34" charset="0"/>
              </a:endParaRPr>
            </a:p>
          </p:txBody>
        </p:sp>
      </p:grpSp>
      <p:grpSp>
        <p:nvGrpSpPr>
          <p:cNvPr id="7" name="Group 22">
            <a:extLst>
              <a:ext uri="{FF2B5EF4-FFF2-40B4-BE49-F238E27FC236}">
                <a16:creationId xmlns:a16="http://schemas.microsoft.com/office/drawing/2014/main" id="{1265CEC0-9A17-126C-D247-E7F0776D408C}"/>
              </a:ext>
            </a:extLst>
          </p:cNvPr>
          <p:cNvGrpSpPr/>
          <p:nvPr/>
        </p:nvGrpSpPr>
        <p:grpSpPr>
          <a:xfrm>
            <a:off x="212333" y="2072768"/>
            <a:ext cx="3764914" cy="203200"/>
            <a:chOff x="899887" y="1781758"/>
            <a:chExt cx="2761455" cy="202551"/>
          </a:xfrm>
        </p:grpSpPr>
        <p:cxnSp>
          <p:nvCxnSpPr>
            <p:cNvPr id="8" name="Horizontal Line">
              <a:extLst>
                <a:ext uri="{FF2B5EF4-FFF2-40B4-BE49-F238E27FC236}">
                  <a16:creationId xmlns:a16="http://schemas.microsoft.com/office/drawing/2014/main" id="{8FCED72C-5167-109B-B5C8-44F9EF069261}"/>
                </a:ext>
              </a:extLst>
            </p:cNvPr>
            <p:cNvCxnSpPr>
              <a:cxnSpLocks/>
            </p:cNvCxnSpPr>
            <p:nvPr/>
          </p:nvCxnSpPr>
          <p:spPr>
            <a:xfrm flipH="1">
              <a:off x="899887" y="1984309"/>
              <a:ext cx="2761455" cy="0"/>
            </a:xfrm>
            <a:prstGeom prst="line">
              <a:avLst/>
            </a:prstGeom>
            <a:noFill/>
            <a:ln w="15875" cmpd="sng">
              <a:solidFill>
                <a:schemeClr val="tx2"/>
              </a:solidFill>
              <a:tailEnd type="triangle"/>
            </a:ln>
            <a:effectLst/>
          </p:spPr>
          <p:style>
            <a:lnRef idx="2">
              <a:schemeClr val="accent1">
                <a:shade val="50000"/>
              </a:schemeClr>
            </a:lnRef>
            <a:fillRef idx="1">
              <a:schemeClr val="accent1"/>
            </a:fillRef>
            <a:effectRef idx="0">
              <a:schemeClr val="accent1"/>
            </a:effectRef>
            <a:fontRef idx="minor">
              <a:schemeClr val="lt1"/>
            </a:fontRef>
          </p:style>
        </p:cxnSp>
        <p:sp>
          <p:nvSpPr>
            <p:cNvPr id="68" name="ListLeanHorizontalTextTopic0">
              <a:extLst>
                <a:ext uri="{FF2B5EF4-FFF2-40B4-BE49-F238E27FC236}">
                  <a16:creationId xmlns:a16="http://schemas.microsoft.com/office/drawing/2014/main" id="{C37C4398-B890-336B-8FCD-74C7F52FE518}"/>
                </a:ext>
              </a:extLst>
            </p:cNvPr>
            <p:cNvSpPr txBox="1">
              <a:spLocks/>
            </p:cNvSpPr>
            <p:nvPr/>
          </p:nvSpPr>
          <p:spPr>
            <a:xfrm>
              <a:off x="3062457" y="1781758"/>
              <a:ext cx="598884" cy="202551"/>
            </a:xfrm>
            <a:prstGeom prst="rect">
              <a:avLst/>
            </a:prstGeom>
            <a:noFill/>
            <a:ln w="9525">
              <a:noFill/>
            </a:ln>
          </p:spPr>
          <p:txBody>
            <a:bodyPr vert="horz" wrap="none" lIns="0" tIns="0" rIns="0" bIns="36000" rtlCol="0" anchor="b">
              <a:noAutofit/>
            </a:bodyPr>
            <a:lstStyle/>
            <a:p>
              <a:pPr algn="r">
                <a:lnSpc>
                  <a:spcPct val="90000"/>
                </a:lnSpc>
                <a:spcBef>
                  <a:spcPts val="300"/>
                </a:spcBef>
                <a:buSzPct val="100000"/>
              </a:pPr>
              <a:r>
                <a:rPr lang="en-GB" sz="1050" dirty="0">
                  <a:solidFill>
                    <a:schemeClr val="tx2"/>
                  </a:solidFill>
                  <a:latin typeface="Arial" panose="020B0604020202020204" pitchFamily="34" charset="0"/>
                  <a:cs typeface="Arial" panose="020B0604020202020204" pitchFamily="34" charset="0"/>
                </a:rPr>
                <a:t>Historical</a:t>
              </a:r>
              <a:endParaRPr lang="en-GB" sz="1050" baseline="30000" dirty="0">
                <a:solidFill>
                  <a:schemeClr val="tx2"/>
                </a:solidFill>
                <a:latin typeface="Arial" panose="020B0604020202020204" pitchFamily="34" charset="0"/>
                <a:cs typeface="Arial" panose="020B0604020202020204" pitchFamily="34" charset="0"/>
              </a:endParaRPr>
            </a:p>
          </p:txBody>
        </p:sp>
      </p:grpSp>
      <p:graphicFrame>
        <p:nvGraphicFramePr>
          <p:cNvPr id="69" name="Chart 8">
            <a:extLst>
              <a:ext uri="{FF2B5EF4-FFF2-40B4-BE49-F238E27FC236}">
                <a16:creationId xmlns:a16="http://schemas.microsoft.com/office/drawing/2014/main" id="{772F3C1E-084F-DDD0-5098-145BE51EB3D7}"/>
              </a:ext>
            </a:extLst>
          </p:cNvPr>
          <p:cNvGraphicFramePr/>
          <p:nvPr>
            <p:custDataLst>
              <p:tags r:id="rId1"/>
            </p:custDataLst>
          </p:nvPr>
        </p:nvGraphicFramePr>
        <p:xfrm>
          <a:off x="129782" y="2706182"/>
          <a:ext cx="6538913" cy="1827886"/>
        </p:xfrm>
        <a:graphic>
          <a:graphicData uri="http://schemas.openxmlformats.org/drawingml/2006/chart">
            <c:chart xmlns:c="http://schemas.openxmlformats.org/drawingml/2006/chart" xmlns:r="http://schemas.openxmlformats.org/officeDocument/2006/relationships" r:id="rId64"/>
          </a:graphicData>
        </a:graphic>
      </p:graphicFrame>
      <p:sp useBgFill="1">
        <p:nvSpPr>
          <p:cNvPr id="70" name="Freeform: Shape 4">
            <a:extLst>
              <a:ext uri="{FF2B5EF4-FFF2-40B4-BE49-F238E27FC236}">
                <a16:creationId xmlns:a16="http://schemas.microsoft.com/office/drawing/2014/main" id="{6BD5F59E-CFB9-0386-FBD6-B8A3ECCDFE75}"/>
              </a:ext>
            </a:extLst>
          </p:cNvPr>
          <p:cNvSpPr/>
          <p:nvPr>
            <p:custDataLst>
              <p:tags r:id="rId2"/>
            </p:custDataLst>
          </p:nvPr>
        </p:nvSpPr>
        <p:spPr bwMode="auto">
          <a:xfrm>
            <a:off x="2724050" y="4392779"/>
            <a:ext cx="96839" cy="146051"/>
          </a:xfrm>
          <a:custGeom>
            <a:avLst/>
            <a:gdLst/>
            <a:ahLst/>
            <a:cxnLst/>
            <a:rect l="0" t="0" r="0" b="0"/>
            <a:pathLst>
              <a:path w="96839" h="146051">
                <a:moveTo>
                  <a:pt x="96838" y="0"/>
                </a:moveTo>
                <a:lnTo>
                  <a:pt x="57150" y="146050"/>
                </a:lnTo>
                <a:lnTo>
                  <a:pt x="0" y="146050"/>
                </a:lnTo>
                <a:lnTo>
                  <a:pt x="3968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Arial" panose="020B0604020202020204" pitchFamily="34" charset="0"/>
              <a:cs typeface="Arial" panose="020B0604020202020204" pitchFamily="34" charset="0"/>
            </a:endParaRPr>
          </a:p>
        </p:txBody>
      </p:sp>
      <p:sp>
        <p:nvSpPr>
          <p:cNvPr id="72" name="Freeform: Shape 2">
            <a:extLst>
              <a:ext uri="{FF2B5EF4-FFF2-40B4-BE49-F238E27FC236}">
                <a16:creationId xmlns:a16="http://schemas.microsoft.com/office/drawing/2014/main" id="{E3443ADD-F766-B33E-69C9-470DE9F0FAD5}"/>
              </a:ext>
            </a:extLst>
          </p:cNvPr>
          <p:cNvSpPr/>
          <p:nvPr>
            <p:custDataLst>
              <p:tags r:id="rId3"/>
            </p:custDataLst>
          </p:nvPr>
        </p:nvSpPr>
        <p:spPr bwMode="auto">
          <a:xfrm>
            <a:off x="2724050" y="4392779"/>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Arial" panose="020B0604020202020204" pitchFamily="34" charset="0"/>
              <a:cs typeface="Arial" panose="020B0604020202020204" pitchFamily="34" charset="0"/>
            </a:endParaRPr>
          </a:p>
        </p:txBody>
      </p:sp>
      <p:sp>
        <p:nvSpPr>
          <p:cNvPr id="73" name="Freeform: Shape 3">
            <a:extLst>
              <a:ext uri="{FF2B5EF4-FFF2-40B4-BE49-F238E27FC236}">
                <a16:creationId xmlns:a16="http://schemas.microsoft.com/office/drawing/2014/main" id="{B152F6D0-472D-776C-6E36-9F5087925F34}"/>
              </a:ext>
            </a:extLst>
          </p:cNvPr>
          <p:cNvSpPr/>
          <p:nvPr>
            <p:custDataLst>
              <p:tags r:id="rId4"/>
            </p:custDataLst>
          </p:nvPr>
        </p:nvSpPr>
        <p:spPr bwMode="auto">
          <a:xfrm>
            <a:off x="2781200" y="4392779"/>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Arial" panose="020B0604020202020204" pitchFamily="34" charset="0"/>
              <a:cs typeface="Arial" panose="020B0604020202020204" pitchFamily="34" charset="0"/>
            </a:endParaRPr>
          </a:p>
        </p:txBody>
      </p:sp>
      <p:sp>
        <p:nvSpPr>
          <p:cNvPr id="74" name="Freeform: Shape 5">
            <a:extLst>
              <a:ext uri="{FF2B5EF4-FFF2-40B4-BE49-F238E27FC236}">
                <a16:creationId xmlns:a16="http://schemas.microsoft.com/office/drawing/2014/main" id="{8E96CA85-294E-4600-31D0-00EFA4FC0184}"/>
              </a:ext>
            </a:extLst>
          </p:cNvPr>
          <p:cNvSpPr/>
          <p:nvPr>
            <p:custDataLst>
              <p:tags r:id="rId5"/>
            </p:custDataLst>
          </p:nvPr>
        </p:nvSpPr>
        <p:spPr bwMode="auto">
          <a:xfrm>
            <a:off x="5239505" y="4397542"/>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Arial" panose="020B0604020202020204" pitchFamily="34" charset="0"/>
              <a:cs typeface="Arial" panose="020B0604020202020204" pitchFamily="34" charset="0"/>
            </a:endParaRPr>
          </a:p>
        </p:txBody>
      </p:sp>
      <p:sp>
        <p:nvSpPr>
          <p:cNvPr id="75" name="Freeform: Shape 6">
            <a:extLst>
              <a:ext uri="{FF2B5EF4-FFF2-40B4-BE49-F238E27FC236}">
                <a16:creationId xmlns:a16="http://schemas.microsoft.com/office/drawing/2014/main" id="{8E006453-43A0-8319-1B75-9D63DB2663DA}"/>
              </a:ext>
            </a:extLst>
          </p:cNvPr>
          <p:cNvSpPr/>
          <p:nvPr>
            <p:custDataLst>
              <p:tags r:id="rId6"/>
            </p:custDataLst>
          </p:nvPr>
        </p:nvSpPr>
        <p:spPr bwMode="auto">
          <a:xfrm>
            <a:off x="5307999" y="4392779"/>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Arial" panose="020B0604020202020204" pitchFamily="34" charset="0"/>
              <a:cs typeface="Arial" panose="020B0604020202020204" pitchFamily="34" charset="0"/>
            </a:endParaRPr>
          </a:p>
        </p:txBody>
      </p:sp>
      <p:cxnSp>
        <p:nvCxnSpPr>
          <p:cNvPr id="76" name="Gerader Verbinder 135">
            <a:extLst>
              <a:ext uri="{FF2B5EF4-FFF2-40B4-BE49-F238E27FC236}">
                <a16:creationId xmlns:a16="http://schemas.microsoft.com/office/drawing/2014/main" id="{517532C9-DC99-0921-D2E4-7FAD2C89D737}"/>
              </a:ext>
            </a:extLst>
          </p:cNvPr>
          <p:cNvCxnSpPr/>
          <p:nvPr>
            <p:custDataLst>
              <p:tags r:id="rId7"/>
            </p:custDataLst>
          </p:nvPr>
        </p:nvCxnSpPr>
        <p:spPr bwMode="gray">
          <a:xfrm>
            <a:off x="848920" y="2641094"/>
            <a:ext cx="2549525" cy="17463"/>
          </a:xfrm>
          <a:prstGeom prst="line">
            <a:avLst/>
          </a:prstGeom>
          <a:ln w="6350"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7" name="Gerader Verbinder 136">
            <a:extLst>
              <a:ext uri="{FF2B5EF4-FFF2-40B4-BE49-F238E27FC236}">
                <a16:creationId xmlns:a16="http://schemas.microsoft.com/office/drawing/2014/main" id="{3C996850-2E4E-82F4-F15C-9288A6B7EC6B}"/>
              </a:ext>
            </a:extLst>
          </p:cNvPr>
          <p:cNvCxnSpPr/>
          <p:nvPr>
            <p:custDataLst>
              <p:tags r:id="rId8"/>
            </p:custDataLst>
          </p:nvPr>
        </p:nvCxnSpPr>
        <p:spPr bwMode="gray">
          <a:xfrm flipV="1">
            <a:off x="3398445" y="2606168"/>
            <a:ext cx="1274763" cy="52388"/>
          </a:xfrm>
          <a:prstGeom prst="line">
            <a:avLst/>
          </a:prstGeom>
          <a:ln w="6350"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8" name="Gerader Verbinder 137">
            <a:extLst>
              <a:ext uri="{FF2B5EF4-FFF2-40B4-BE49-F238E27FC236}">
                <a16:creationId xmlns:a16="http://schemas.microsoft.com/office/drawing/2014/main" id="{F47AD7C5-58F2-F0C2-4E09-D53C0C67C4F4}"/>
              </a:ext>
            </a:extLst>
          </p:cNvPr>
          <p:cNvCxnSpPr/>
          <p:nvPr>
            <p:custDataLst>
              <p:tags r:id="rId9"/>
            </p:custDataLst>
          </p:nvPr>
        </p:nvCxnSpPr>
        <p:spPr bwMode="gray">
          <a:xfrm flipV="1">
            <a:off x="4673207" y="2482343"/>
            <a:ext cx="1274763" cy="123825"/>
          </a:xfrm>
          <a:prstGeom prst="line">
            <a:avLst/>
          </a:prstGeom>
          <a:ln w="6350" cap="flat" cmpd="sng" algn="ctr">
            <a:solidFill>
              <a:schemeClr val="tx2"/>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9" name="Text Placeholder">
            <a:extLst>
              <a:ext uri="{FF2B5EF4-FFF2-40B4-BE49-F238E27FC236}">
                <a16:creationId xmlns:a16="http://schemas.microsoft.com/office/drawing/2014/main" id="{661AA59E-1EB8-3469-0656-2338DE70B046}"/>
              </a:ext>
            </a:extLst>
          </p:cNvPr>
          <p:cNvSpPr>
            <a:spLocks noGrp="1"/>
          </p:cNvSpPr>
          <p:nvPr>
            <p:custDataLst>
              <p:tags r:id="rId10"/>
            </p:custDataLst>
          </p:nvPr>
        </p:nvSpPr>
        <p:spPr bwMode="gray">
          <a:xfrm>
            <a:off x="1988351" y="3526839"/>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F19F51D6-5E89-4AE3-B912-D13787421419}" type="datetime'''''''''''''''''''''''''''''''''''''''1''''6''''''''''''%'">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6%</a:t>
            </a:fld>
            <a:endParaRPr lang="en-US" sz="800" dirty="0">
              <a:latin typeface="Arial" panose="020B0604020202020204" pitchFamily="34" charset="0"/>
              <a:cs typeface="Arial" panose="020B0604020202020204" pitchFamily="34" charset="0"/>
              <a:sym typeface="Arial" panose="020B0604020202020204" pitchFamily="34" charset="0"/>
            </a:endParaRPr>
          </a:p>
        </p:txBody>
      </p:sp>
      <p:sp>
        <p:nvSpPr>
          <p:cNvPr id="80" name="Text Placeholder">
            <a:extLst>
              <a:ext uri="{FF2B5EF4-FFF2-40B4-BE49-F238E27FC236}">
                <a16:creationId xmlns:a16="http://schemas.microsoft.com/office/drawing/2014/main" id="{2704D5C4-D1C4-E7A9-276A-54E37F635613}"/>
              </a:ext>
            </a:extLst>
          </p:cNvPr>
          <p:cNvSpPr>
            <a:spLocks noGrp="1"/>
          </p:cNvSpPr>
          <p:nvPr>
            <p:custDataLst>
              <p:tags r:id="rId11"/>
            </p:custDataLst>
          </p:nvPr>
        </p:nvSpPr>
        <p:spPr bwMode="gray">
          <a:xfrm>
            <a:off x="1986866" y="3376672"/>
            <a:ext cx="290513" cy="152400"/>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3D65D5F-65FC-49A2-A1B1-C4F8D966C279}" type="datetime'''''''''''''''1''''2''''''''''''''''''''''''%'''''''">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2%</a:t>
            </a:fld>
            <a:endParaRPr lang="en-US" sz="800" dirty="0">
              <a:latin typeface="Arial" panose="020B0604020202020204" pitchFamily="34" charset="0"/>
              <a:cs typeface="Arial" panose="020B0604020202020204" pitchFamily="34" charset="0"/>
              <a:sym typeface="Arial" panose="020B0604020202020204" pitchFamily="34" charset="0"/>
            </a:endParaRPr>
          </a:p>
        </p:txBody>
      </p:sp>
      <p:sp>
        <p:nvSpPr>
          <p:cNvPr id="81" name="Text Placeholder">
            <a:extLst>
              <a:ext uri="{FF2B5EF4-FFF2-40B4-BE49-F238E27FC236}">
                <a16:creationId xmlns:a16="http://schemas.microsoft.com/office/drawing/2014/main" id="{D74A99B3-AA9A-D24D-7872-ACC556D0BFFE}"/>
              </a:ext>
            </a:extLst>
          </p:cNvPr>
          <p:cNvSpPr>
            <a:spLocks noGrp="1"/>
          </p:cNvSpPr>
          <p:nvPr>
            <p:custDataLst>
              <p:tags r:id="rId12"/>
            </p:custDataLst>
          </p:nvPr>
        </p:nvSpPr>
        <p:spPr bwMode="gray">
          <a:xfrm>
            <a:off x="2013350" y="3242925"/>
            <a:ext cx="220663" cy="152400"/>
          </a:xfrm>
          <a:prstGeom prst="rect">
            <a:avLst/>
          </a:prstGeom>
          <a:solidFill>
            <a:schemeClr val="tx2"/>
          </a:solidFill>
          <a:ln>
            <a:noFill/>
          </a:ln>
          <a:effec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C335C1AE-A5C6-4856-9125-5CC68FF9E8C1}" type="datetime'''5''''''%'''''''''''''''''''''''">
              <a:rPr lang="en-US" altLang="en-US" sz="800" smtClean="0">
                <a:solidFill>
                  <a:schemeClr val="bg1"/>
                </a:solidFill>
                <a:effectLst/>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5%</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2" name="Text Placeholder">
            <a:extLst>
              <a:ext uri="{FF2B5EF4-FFF2-40B4-BE49-F238E27FC236}">
                <a16:creationId xmlns:a16="http://schemas.microsoft.com/office/drawing/2014/main" id="{F5DE0F83-A5B4-E410-9979-F72AA5A00487}"/>
              </a:ext>
            </a:extLst>
          </p:cNvPr>
          <p:cNvSpPr>
            <a:spLocks noGrp="1"/>
          </p:cNvSpPr>
          <p:nvPr>
            <p:custDataLst>
              <p:tags r:id="rId13"/>
            </p:custDataLst>
          </p:nvPr>
        </p:nvSpPr>
        <p:spPr bwMode="auto">
          <a:xfrm>
            <a:off x="1996976" y="451343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7E33E85E-6B71-4B31-8F80-7AE8BB342B7E}" type="datetime'2''''''''''''0''''''''''''''''''''''20'''''''''''">
              <a:rPr lang="en-GB"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0</a:t>
            </a:fld>
            <a:endParaRPr lang="de-DE" sz="800" dirty="0">
              <a:latin typeface="Arial" panose="020B0604020202020204" pitchFamily="34" charset="0"/>
              <a:cs typeface="Arial" panose="020B0604020202020204" pitchFamily="34" charset="0"/>
              <a:sym typeface="Arial" panose="020B0604020202020204" pitchFamily="34" charset="0"/>
            </a:endParaRPr>
          </a:p>
        </p:txBody>
      </p:sp>
      <p:sp>
        <p:nvSpPr>
          <p:cNvPr id="83" name="Text Placeholder">
            <a:extLst>
              <a:ext uri="{FF2B5EF4-FFF2-40B4-BE49-F238E27FC236}">
                <a16:creationId xmlns:a16="http://schemas.microsoft.com/office/drawing/2014/main" id="{C440A11D-53C7-FBB9-FB20-6391B2FB9496}"/>
              </a:ext>
            </a:extLst>
          </p:cNvPr>
          <p:cNvSpPr>
            <a:spLocks noGrp="1"/>
          </p:cNvSpPr>
          <p:nvPr>
            <p:custDataLst>
              <p:tags r:id="rId14"/>
            </p:custDataLst>
          </p:nvPr>
        </p:nvSpPr>
        <p:spPr bwMode="gray">
          <a:xfrm>
            <a:off x="3253982" y="4606418"/>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19836820-5FF2-465D-9ADC-DC60E71695C8}" type="datetime'''''''''''''''2''''''''''''''''''''5''''''''''''%'''''''''''">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5%</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4" name="Text Placeholder">
            <a:extLst>
              <a:ext uri="{FF2B5EF4-FFF2-40B4-BE49-F238E27FC236}">
                <a16:creationId xmlns:a16="http://schemas.microsoft.com/office/drawing/2014/main" id="{303F8A35-28BA-8387-4732-D1A99FB66338}"/>
              </a:ext>
            </a:extLst>
          </p:cNvPr>
          <p:cNvSpPr>
            <a:spLocks noGrp="1"/>
          </p:cNvSpPr>
          <p:nvPr>
            <p:custDataLst>
              <p:tags r:id="rId15"/>
            </p:custDataLst>
          </p:nvPr>
        </p:nvSpPr>
        <p:spPr bwMode="gray">
          <a:xfrm>
            <a:off x="3261181" y="3821796"/>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F3345F59-12AA-4A5E-9E35-8649039807CA}" type="datetime'''''''''''2''''''3''''''''''''''''''''''''''''''''''''''''%'''">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3%</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5" name="Text Placeholder">
            <a:extLst>
              <a:ext uri="{FF2B5EF4-FFF2-40B4-BE49-F238E27FC236}">
                <a16:creationId xmlns:a16="http://schemas.microsoft.com/office/drawing/2014/main" id="{8AC13146-9E53-A1D1-6EF0-45470E930093}"/>
              </a:ext>
            </a:extLst>
          </p:cNvPr>
          <p:cNvSpPr>
            <a:spLocks noGrp="1"/>
          </p:cNvSpPr>
          <p:nvPr>
            <p:custDataLst>
              <p:tags r:id="rId16"/>
            </p:custDataLst>
          </p:nvPr>
        </p:nvSpPr>
        <p:spPr bwMode="gray">
          <a:xfrm>
            <a:off x="3249219" y="3513205"/>
            <a:ext cx="290513"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D98ED80F-00FB-4FED-88B4-7B674BCAF5F5}" type="datetime'''''''''''''''1''''''''''''''''8''''''%'''''''''">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8%</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6" name="Text Placeholder">
            <a:extLst>
              <a:ext uri="{FF2B5EF4-FFF2-40B4-BE49-F238E27FC236}">
                <a16:creationId xmlns:a16="http://schemas.microsoft.com/office/drawing/2014/main" id="{02FCE08D-A05C-7220-A47D-735CBC9468A7}"/>
              </a:ext>
            </a:extLst>
          </p:cNvPr>
          <p:cNvSpPr>
            <a:spLocks noGrp="1"/>
          </p:cNvSpPr>
          <p:nvPr>
            <p:custDataLst>
              <p:tags r:id="rId17"/>
            </p:custDataLst>
          </p:nvPr>
        </p:nvSpPr>
        <p:spPr bwMode="gray">
          <a:xfrm>
            <a:off x="3263201" y="3231644"/>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183165D-97BA-4840-BBF8-FC14B0E6F15C}" type="datetime'''''1''6''''''''''''''''''''''''''%'''''''''''">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6%</a:t>
            </a:fld>
            <a:endParaRPr lang="en-US" sz="800" dirty="0">
              <a:latin typeface="Arial" panose="020B0604020202020204" pitchFamily="34" charset="0"/>
              <a:cs typeface="Arial" panose="020B0604020202020204" pitchFamily="34" charset="0"/>
              <a:sym typeface="Arial" panose="020B0604020202020204" pitchFamily="34" charset="0"/>
            </a:endParaRPr>
          </a:p>
        </p:txBody>
      </p:sp>
      <p:sp>
        <p:nvSpPr>
          <p:cNvPr id="87" name="Text Placeholder">
            <a:extLst>
              <a:ext uri="{FF2B5EF4-FFF2-40B4-BE49-F238E27FC236}">
                <a16:creationId xmlns:a16="http://schemas.microsoft.com/office/drawing/2014/main" id="{DDC212D9-F6BB-9D71-499E-C6D9581C5A8D}"/>
              </a:ext>
            </a:extLst>
          </p:cNvPr>
          <p:cNvSpPr>
            <a:spLocks noGrp="1"/>
          </p:cNvSpPr>
          <p:nvPr>
            <p:custDataLst>
              <p:tags r:id="rId18"/>
            </p:custDataLst>
          </p:nvPr>
        </p:nvSpPr>
        <p:spPr bwMode="gray">
          <a:xfrm>
            <a:off x="3249219" y="3023681"/>
            <a:ext cx="290513" cy="152400"/>
          </a:xfrm>
          <a:prstGeom prst="rect">
            <a:avLst/>
          </a:prstGeom>
          <a:noFill/>
          <a:ln>
            <a:noFill/>
          </a:ln>
          <a:effectLst/>
          <a:extLst>
            <a:ext uri="{909E8E84-426E-40DD-AFC4-6F175D3DCCD1}">
              <a14:hiddenFill xmlns:a14="http://schemas.microsoft.com/office/drawing/2010/main">
                <a:solidFill>
                  <a:schemeClr val="bg2"/>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8BCB9B07-65B0-4C86-BE49-383DA347E3D8}" type="datetime'''''''1''''''''''''''0''''''''''''%'''">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0%</a:t>
            </a:fld>
            <a:endParaRPr lang="en-US" sz="800" dirty="0">
              <a:latin typeface="Arial" panose="020B0604020202020204" pitchFamily="34" charset="0"/>
              <a:cs typeface="Arial" panose="020B0604020202020204" pitchFamily="34" charset="0"/>
              <a:sym typeface="Arial" panose="020B0604020202020204" pitchFamily="34" charset="0"/>
            </a:endParaRPr>
          </a:p>
        </p:txBody>
      </p:sp>
      <p:sp>
        <p:nvSpPr>
          <p:cNvPr id="88" name="Text Placeholder">
            <a:extLst>
              <a:ext uri="{FF2B5EF4-FFF2-40B4-BE49-F238E27FC236}">
                <a16:creationId xmlns:a16="http://schemas.microsoft.com/office/drawing/2014/main" id="{2D3C7A65-1158-FB40-F6A8-CA12110CE26D}"/>
              </a:ext>
            </a:extLst>
          </p:cNvPr>
          <p:cNvSpPr>
            <a:spLocks noGrp="1"/>
          </p:cNvSpPr>
          <p:nvPr>
            <p:custDataLst>
              <p:tags r:id="rId19"/>
            </p:custDataLst>
          </p:nvPr>
        </p:nvSpPr>
        <p:spPr bwMode="gray">
          <a:xfrm>
            <a:off x="3284145" y="2888238"/>
            <a:ext cx="220663" cy="152400"/>
          </a:xfrm>
          <a:prstGeom prst="rect">
            <a:avLst/>
          </a:prstGeom>
          <a:noFill/>
          <a:ln>
            <a:noFill/>
          </a:ln>
          <a:effectLst/>
          <a:extLst>
            <a:ext uri="{909E8E84-426E-40DD-AFC4-6F175D3DCCD1}">
              <a14:hiddenFill xmlns:a14="http://schemas.microsoft.com/office/drawing/2010/main">
                <a:solidFill>
                  <a:schemeClr val="bg2"/>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2C4A017E-7634-4108-834B-34CF6D395D3D}" type="datetime'''''''''''''''''''''7''''%'''''''''''">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7%</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9" name="Text Placeholder">
            <a:extLst>
              <a:ext uri="{FF2B5EF4-FFF2-40B4-BE49-F238E27FC236}">
                <a16:creationId xmlns:a16="http://schemas.microsoft.com/office/drawing/2014/main" id="{F9DEBC54-678C-9126-C44F-F28F7946E491}"/>
              </a:ext>
            </a:extLst>
          </p:cNvPr>
          <p:cNvSpPr>
            <a:spLocks noGrp="1"/>
          </p:cNvSpPr>
          <p:nvPr>
            <p:custDataLst>
              <p:tags r:id="rId20"/>
            </p:custDataLst>
          </p:nvPr>
        </p:nvSpPr>
        <p:spPr bwMode="auto">
          <a:xfrm>
            <a:off x="3252395" y="4522281"/>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73DB3C21-C2C0-483D-85AA-F7CDE11365ED}" type="datetime'20''''''''''''''''''''''''''2''''''''''2'''">
              <a:rPr lang="en-GB"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2</a:t>
            </a:fld>
            <a:endParaRPr lang="de-DE" sz="800" dirty="0">
              <a:latin typeface="Arial" panose="020B0604020202020204" pitchFamily="34" charset="0"/>
              <a:cs typeface="Arial" panose="020B0604020202020204" pitchFamily="34" charset="0"/>
              <a:sym typeface="Arial" panose="020B0604020202020204" pitchFamily="34" charset="0"/>
            </a:endParaRPr>
          </a:p>
        </p:txBody>
      </p:sp>
      <p:sp>
        <p:nvSpPr>
          <p:cNvPr id="90" name="Text Placeholder">
            <a:extLst>
              <a:ext uri="{FF2B5EF4-FFF2-40B4-BE49-F238E27FC236}">
                <a16:creationId xmlns:a16="http://schemas.microsoft.com/office/drawing/2014/main" id="{7A387F57-8094-A28A-CD4D-B1C1A64698A7}"/>
              </a:ext>
            </a:extLst>
          </p:cNvPr>
          <p:cNvSpPr>
            <a:spLocks noGrp="1"/>
          </p:cNvSpPr>
          <p:nvPr>
            <p:custDataLst>
              <p:tags r:id="rId21"/>
            </p:custDataLst>
          </p:nvPr>
        </p:nvSpPr>
        <p:spPr bwMode="gray">
          <a:xfrm>
            <a:off x="4528745" y="4596893"/>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36940B56-AEF5-4507-AC72-31BC81A4ADFD}" type="datetime'''''''''''''''''''''''2''''''''''5''''''''''''''''''''''''%'''">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5%</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91" name="Text Placeholder">
            <a:extLst>
              <a:ext uri="{FF2B5EF4-FFF2-40B4-BE49-F238E27FC236}">
                <a16:creationId xmlns:a16="http://schemas.microsoft.com/office/drawing/2014/main" id="{44F6D030-A7AB-F789-A55E-6455CAD121E6}"/>
              </a:ext>
            </a:extLst>
          </p:cNvPr>
          <p:cNvSpPr>
            <a:spLocks noGrp="1"/>
          </p:cNvSpPr>
          <p:nvPr>
            <p:custDataLst>
              <p:tags r:id="rId22"/>
            </p:custDataLst>
          </p:nvPr>
        </p:nvSpPr>
        <p:spPr bwMode="gray">
          <a:xfrm>
            <a:off x="4527950" y="3801727"/>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098C798-8B7A-4EF4-830A-8E92A9191FAB}" type="datetime'''''''''''''''''''2''''''''''''''''''''''''''''''''4''''''''%'">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4%</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92" name="Text Placeholder">
            <a:extLst>
              <a:ext uri="{FF2B5EF4-FFF2-40B4-BE49-F238E27FC236}">
                <a16:creationId xmlns:a16="http://schemas.microsoft.com/office/drawing/2014/main" id="{2545D39C-67E1-99A0-4D49-69462FE47C74}"/>
              </a:ext>
            </a:extLst>
          </p:cNvPr>
          <p:cNvSpPr>
            <a:spLocks noGrp="1"/>
          </p:cNvSpPr>
          <p:nvPr>
            <p:custDataLst>
              <p:tags r:id="rId23"/>
            </p:custDataLst>
          </p:nvPr>
        </p:nvSpPr>
        <p:spPr bwMode="gray">
          <a:xfrm>
            <a:off x="4527950" y="3442637"/>
            <a:ext cx="290513"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B6416D84-6F25-4189-B90F-399838C09F45}" type="datetime'''''''''''''''1''''''''''''''8''''''''''%'''''''''''''''">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8%</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93" name="Text Placeholder">
            <a:extLst>
              <a:ext uri="{FF2B5EF4-FFF2-40B4-BE49-F238E27FC236}">
                <a16:creationId xmlns:a16="http://schemas.microsoft.com/office/drawing/2014/main" id="{16FCF179-7441-905F-AEB4-BE792AE54A1E}"/>
              </a:ext>
            </a:extLst>
          </p:cNvPr>
          <p:cNvSpPr>
            <a:spLocks noGrp="1"/>
          </p:cNvSpPr>
          <p:nvPr>
            <p:custDataLst>
              <p:tags r:id="rId24"/>
            </p:custDataLst>
          </p:nvPr>
        </p:nvSpPr>
        <p:spPr bwMode="gray">
          <a:xfrm>
            <a:off x="4538812" y="3179320"/>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867B53C0-9D36-4BE7-A691-F4FF8BA5BB15}" type="datetime'''1''''7''''''''''''''''''''''''''''''''''''''%'''''''''''''">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7%</a:t>
            </a:fld>
            <a:endParaRPr lang="en-US" sz="800" dirty="0">
              <a:latin typeface="Arial" panose="020B0604020202020204" pitchFamily="34" charset="0"/>
              <a:cs typeface="Arial" panose="020B0604020202020204" pitchFamily="34" charset="0"/>
              <a:sym typeface="Arial" panose="020B0604020202020204" pitchFamily="34" charset="0"/>
            </a:endParaRPr>
          </a:p>
        </p:txBody>
      </p:sp>
      <p:sp>
        <p:nvSpPr>
          <p:cNvPr id="94" name="Text Placeholder">
            <a:extLst>
              <a:ext uri="{FF2B5EF4-FFF2-40B4-BE49-F238E27FC236}">
                <a16:creationId xmlns:a16="http://schemas.microsoft.com/office/drawing/2014/main" id="{984543EB-7B07-D773-6BF2-B5C50B475A05}"/>
              </a:ext>
            </a:extLst>
          </p:cNvPr>
          <p:cNvSpPr>
            <a:spLocks noGrp="1"/>
          </p:cNvSpPr>
          <p:nvPr>
            <p:custDataLst>
              <p:tags r:id="rId25"/>
            </p:custDataLst>
          </p:nvPr>
        </p:nvSpPr>
        <p:spPr bwMode="gray">
          <a:xfrm>
            <a:off x="4529048" y="2982534"/>
            <a:ext cx="290513" cy="152400"/>
          </a:xfrm>
          <a:prstGeom prst="rect">
            <a:avLst/>
          </a:prstGeom>
          <a:noFill/>
          <a:ln>
            <a:noFill/>
          </a:ln>
          <a:effectLst/>
          <a:extLst>
            <a:ext uri="{909E8E84-426E-40DD-AFC4-6F175D3DCCD1}">
              <a14:hiddenFill xmlns:a14="http://schemas.microsoft.com/office/drawing/2010/main">
                <a:solidFill>
                  <a:schemeClr val="bg2"/>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36A5717E-ABA4-42FF-95EA-037BFEB96BD2}" type="datetime'''''1''''0''''''''%'''''''''''''''''''''''''''''''''''''''">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0%</a:t>
            </a:fld>
            <a:endParaRPr lang="en-US" sz="800" dirty="0">
              <a:latin typeface="Arial" panose="020B0604020202020204" pitchFamily="34" charset="0"/>
              <a:cs typeface="Arial" panose="020B0604020202020204" pitchFamily="34" charset="0"/>
              <a:sym typeface="Arial" panose="020B0604020202020204" pitchFamily="34" charset="0"/>
            </a:endParaRPr>
          </a:p>
        </p:txBody>
      </p:sp>
      <p:sp>
        <p:nvSpPr>
          <p:cNvPr id="95" name="Text Placeholder">
            <a:extLst>
              <a:ext uri="{FF2B5EF4-FFF2-40B4-BE49-F238E27FC236}">
                <a16:creationId xmlns:a16="http://schemas.microsoft.com/office/drawing/2014/main" id="{7244C238-E3DD-50EC-3354-5E50C429BFC6}"/>
              </a:ext>
            </a:extLst>
          </p:cNvPr>
          <p:cNvSpPr>
            <a:spLocks noGrp="1"/>
          </p:cNvSpPr>
          <p:nvPr>
            <p:custDataLst>
              <p:tags r:id="rId26"/>
            </p:custDataLst>
          </p:nvPr>
        </p:nvSpPr>
        <p:spPr bwMode="gray">
          <a:xfrm>
            <a:off x="4573738" y="2833470"/>
            <a:ext cx="220663" cy="152400"/>
          </a:xfrm>
          <a:prstGeom prst="rect">
            <a:avLst/>
          </a:prstGeom>
          <a:noFill/>
          <a:ln>
            <a:noFill/>
          </a:ln>
          <a:effectLst/>
          <a:extLst>
            <a:ext uri="{909E8E84-426E-40DD-AFC4-6F175D3DCCD1}">
              <a14:hiddenFill xmlns:a14="http://schemas.microsoft.com/office/drawing/2010/main">
                <a:solidFill>
                  <a:schemeClr val="bg2"/>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539AAA89-6D57-4CB9-B7D2-5DF8C7A4678D}" type="datetime'7''''''''''''''''''''''''%'''''''''''''''''''''''''''''''">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7%</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96" name="Text Placeholder">
            <a:extLst>
              <a:ext uri="{FF2B5EF4-FFF2-40B4-BE49-F238E27FC236}">
                <a16:creationId xmlns:a16="http://schemas.microsoft.com/office/drawing/2014/main" id="{87FC2AD6-F868-7C66-CEDC-3A471ADABD1B}"/>
              </a:ext>
            </a:extLst>
          </p:cNvPr>
          <p:cNvSpPr>
            <a:spLocks noGrp="1"/>
          </p:cNvSpPr>
          <p:nvPr>
            <p:custDataLst>
              <p:tags r:id="rId27"/>
            </p:custDataLst>
          </p:nvPr>
        </p:nvSpPr>
        <p:spPr bwMode="auto">
          <a:xfrm>
            <a:off x="4544077" y="4522281"/>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E09F5A20-D384-43AF-BC50-20A017C4B5F2}" type="datetime'''20''''2''''''''''''''''''''''''''''''3'''''''''''">
              <a:rPr lang="en-GB"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3</a:t>
            </a:fld>
            <a:endParaRPr lang="de-DE" sz="800" dirty="0">
              <a:latin typeface="Arial" panose="020B0604020202020204" pitchFamily="34" charset="0"/>
              <a:cs typeface="Arial" panose="020B0604020202020204" pitchFamily="34" charset="0"/>
              <a:sym typeface="Arial" panose="020B0604020202020204" pitchFamily="34" charset="0"/>
            </a:endParaRPr>
          </a:p>
        </p:txBody>
      </p:sp>
      <p:sp>
        <p:nvSpPr>
          <p:cNvPr id="97" name="Text Placeholder">
            <a:extLst>
              <a:ext uri="{FF2B5EF4-FFF2-40B4-BE49-F238E27FC236}">
                <a16:creationId xmlns:a16="http://schemas.microsoft.com/office/drawing/2014/main" id="{FAC2D2BD-3B47-6031-69A0-4419E2B00B79}"/>
              </a:ext>
            </a:extLst>
          </p:cNvPr>
          <p:cNvSpPr>
            <a:spLocks noGrp="1"/>
          </p:cNvSpPr>
          <p:nvPr>
            <p:custDataLst>
              <p:tags r:id="rId28"/>
            </p:custDataLst>
          </p:nvPr>
        </p:nvSpPr>
        <p:spPr bwMode="gray">
          <a:xfrm>
            <a:off x="5803507" y="4588956"/>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2606D20B-06AD-4F2A-9F2E-AF427601DDA8}" type="datetime'''''''2''''''''''''''''''''''''''''''5''''%'''''''''''''">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5%</a:t>
            </a:fld>
            <a:endParaRPr lang="en-US" sz="8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99" name="Text Placeholder">
            <a:extLst>
              <a:ext uri="{FF2B5EF4-FFF2-40B4-BE49-F238E27FC236}">
                <a16:creationId xmlns:a16="http://schemas.microsoft.com/office/drawing/2014/main" id="{23605A6E-7454-74BD-DA74-3D725D16263F}"/>
              </a:ext>
            </a:extLst>
          </p:cNvPr>
          <p:cNvSpPr>
            <a:spLocks noGrp="1"/>
          </p:cNvSpPr>
          <p:nvPr>
            <p:custDataLst>
              <p:tags r:id="rId29"/>
            </p:custDataLst>
          </p:nvPr>
        </p:nvSpPr>
        <p:spPr bwMode="gray">
          <a:xfrm>
            <a:off x="5796506" y="3360805"/>
            <a:ext cx="290513"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5F2D8A7B-5F30-4B11-BAD1-AD89F848FFA7}" type="datetime'''''1''''''''''''''''''''''''''''''''''''''8''%'''''">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8%</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00" name="Text Placeholder">
            <a:extLst>
              <a:ext uri="{FF2B5EF4-FFF2-40B4-BE49-F238E27FC236}">
                <a16:creationId xmlns:a16="http://schemas.microsoft.com/office/drawing/2014/main" id="{A06D0554-4CC5-D5AB-554A-7275E448038D}"/>
              </a:ext>
            </a:extLst>
          </p:cNvPr>
          <p:cNvSpPr>
            <a:spLocks noGrp="1"/>
          </p:cNvSpPr>
          <p:nvPr>
            <p:custDataLst>
              <p:tags r:id="rId30"/>
            </p:custDataLst>
          </p:nvPr>
        </p:nvSpPr>
        <p:spPr bwMode="gray">
          <a:xfrm>
            <a:off x="5807874" y="3103120"/>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925A7E4D-E97A-4B42-8546-3480D8A43E7F}" type="datetime'''''''1''''''''''''''''''''''''4''''''''''''''''%'">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4%</a:t>
            </a:fld>
            <a:endParaRPr lang="en-US" sz="800" dirty="0">
              <a:latin typeface="Arial" panose="020B0604020202020204" pitchFamily="34" charset="0"/>
              <a:cs typeface="Arial" panose="020B0604020202020204" pitchFamily="34" charset="0"/>
              <a:sym typeface="Arial" panose="020B0604020202020204" pitchFamily="34" charset="0"/>
            </a:endParaRPr>
          </a:p>
        </p:txBody>
      </p:sp>
      <p:sp>
        <p:nvSpPr>
          <p:cNvPr id="101" name="Text Placeholder">
            <a:extLst>
              <a:ext uri="{FF2B5EF4-FFF2-40B4-BE49-F238E27FC236}">
                <a16:creationId xmlns:a16="http://schemas.microsoft.com/office/drawing/2014/main" id="{69D7980A-E6A5-560C-86D7-74B12A38973B}"/>
              </a:ext>
            </a:extLst>
          </p:cNvPr>
          <p:cNvSpPr>
            <a:spLocks noGrp="1"/>
          </p:cNvSpPr>
          <p:nvPr>
            <p:custDataLst>
              <p:tags r:id="rId31"/>
            </p:custDataLst>
          </p:nvPr>
        </p:nvSpPr>
        <p:spPr bwMode="gray">
          <a:xfrm>
            <a:off x="5807875" y="2894300"/>
            <a:ext cx="290513" cy="152400"/>
          </a:xfrm>
          <a:prstGeom prst="rect">
            <a:avLst/>
          </a:prstGeom>
          <a:noFill/>
          <a:ln>
            <a:noFill/>
          </a:ln>
          <a:effectLst/>
          <a:extLst>
            <a:ext uri="{909E8E84-426E-40DD-AFC4-6F175D3DCCD1}">
              <a14:hiddenFill xmlns:a14="http://schemas.microsoft.com/office/drawing/2010/main">
                <a:solidFill>
                  <a:schemeClr val="bg2"/>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97963519-C90C-4E61-8EB8-132FB13F7C15}" type="datetime'''''1''''''''''''''''1''''''''''''%'''''''''''''">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1%</a:t>
            </a:fld>
            <a:endParaRPr lang="en-US" sz="800" dirty="0">
              <a:latin typeface="Arial" panose="020B0604020202020204" pitchFamily="34" charset="0"/>
              <a:cs typeface="Arial" panose="020B0604020202020204" pitchFamily="34" charset="0"/>
              <a:sym typeface="Arial" panose="020B0604020202020204" pitchFamily="34" charset="0"/>
            </a:endParaRPr>
          </a:p>
        </p:txBody>
      </p:sp>
      <p:sp>
        <p:nvSpPr>
          <p:cNvPr id="102" name="Text Placeholder">
            <a:extLst>
              <a:ext uri="{FF2B5EF4-FFF2-40B4-BE49-F238E27FC236}">
                <a16:creationId xmlns:a16="http://schemas.microsoft.com/office/drawing/2014/main" id="{464FDAB2-3653-DAFF-330D-455D898D86DB}"/>
              </a:ext>
            </a:extLst>
          </p:cNvPr>
          <p:cNvSpPr>
            <a:spLocks noGrp="1"/>
          </p:cNvSpPr>
          <p:nvPr>
            <p:custDataLst>
              <p:tags r:id="rId32"/>
            </p:custDataLst>
          </p:nvPr>
        </p:nvSpPr>
        <p:spPr bwMode="gray">
          <a:xfrm>
            <a:off x="5834018" y="2748148"/>
            <a:ext cx="220663" cy="152400"/>
          </a:xfrm>
          <a:prstGeom prst="rect">
            <a:avLst/>
          </a:prstGeom>
          <a:noFill/>
          <a:ln>
            <a:noFill/>
          </a:ln>
          <a:effectLst/>
          <a:extLst>
            <a:ext uri="{909E8E84-426E-40DD-AFC4-6F175D3DCCD1}">
              <a14:hiddenFill xmlns:a14="http://schemas.microsoft.com/office/drawing/2010/main">
                <a:solidFill>
                  <a:schemeClr val="bg2"/>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7C38829E-451A-4B3C-AE89-33E0E239575C}" type="datetime'7''''''''''''''''''''''''''''''''''''''''''%'''''''">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7%</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03" name="Text Placeholder">
            <a:extLst>
              <a:ext uri="{FF2B5EF4-FFF2-40B4-BE49-F238E27FC236}">
                <a16:creationId xmlns:a16="http://schemas.microsoft.com/office/drawing/2014/main" id="{BFE57FCC-4326-7BCA-75D2-C3EB69FF7734}"/>
              </a:ext>
            </a:extLst>
          </p:cNvPr>
          <p:cNvSpPr>
            <a:spLocks noGrp="1"/>
          </p:cNvSpPr>
          <p:nvPr>
            <p:custDataLst>
              <p:tags r:id="rId33"/>
            </p:custDataLst>
          </p:nvPr>
        </p:nvSpPr>
        <p:spPr bwMode="auto">
          <a:xfrm>
            <a:off x="5834018" y="4522281"/>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240F8529-8064-4336-9129-CE4729C44BE0}" type="datetime'''''''''''''''''''''2''''''''''''''''''''0''26'">
              <a:rPr lang="en-GB"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6</a:t>
            </a:fld>
            <a:endParaRPr lang="de-DE" sz="800" dirty="0">
              <a:latin typeface="Arial" panose="020B0604020202020204" pitchFamily="34" charset="0"/>
              <a:cs typeface="Arial" panose="020B0604020202020204" pitchFamily="34" charset="0"/>
              <a:sym typeface="Arial" panose="020B0604020202020204" pitchFamily="34" charset="0"/>
            </a:endParaRPr>
          </a:p>
        </p:txBody>
      </p:sp>
      <p:sp>
        <p:nvSpPr>
          <p:cNvPr id="104" name="Text Placeholder">
            <a:extLst>
              <a:ext uri="{FF2B5EF4-FFF2-40B4-BE49-F238E27FC236}">
                <a16:creationId xmlns:a16="http://schemas.microsoft.com/office/drawing/2014/main" id="{2642624B-920B-1DDC-19DE-1128BA113A3A}"/>
              </a:ext>
            </a:extLst>
          </p:cNvPr>
          <p:cNvSpPr>
            <a:spLocks noGrp="1"/>
          </p:cNvSpPr>
          <p:nvPr>
            <p:custDataLst>
              <p:tags r:id="rId34"/>
            </p:custDataLst>
          </p:nvPr>
        </p:nvSpPr>
        <p:spPr bwMode="auto">
          <a:xfrm>
            <a:off x="6446445" y="4483268"/>
            <a:ext cx="344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212D8059-F627-4CE7-AD71-2F30DD258D61}" type="datetime'''''''''A''''''''''''P''''''''''''''''AC'''''''''''''''''''''">
              <a:rPr lang="en-US" altLang="en-US" sz="800" smtClean="0">
                <a:latin typeface="Arial" panose="020B0604020202020204" pitchFamily="34" charset="0"/>
                <a:cs typeface="Arial" panose="020B0604020202020204" pitchFamily="34" charset="0"/>
                <a:sym typeface="Arial" panose="020B0604020202020204" pitchFamily="34" charset="0"/>
              </a:rPr>
              <a:pPr defTabSz="685800">
                <a:spcBef>
                  <a:spcPct val="0"/>
                </a:spcBef>
                <a:buSzPct val="100000"/>
                <a:buFont typeface="+mn-lt" pitchFamily="34" charset="0"/>
              </a:pPr>
              <a:t>APAC</a:t>
            </a:fld>
            <a:endParaRPr lang="en-US" sz="800" dirty="0">
              <a:latin typeface="Arial" panose="020B0604020202020204" pitchFamily="34" charset="0"/>
              <a:cs typeface="Arial" panose="020B0604020202020204" pitchFamily="34" charset="0"/>
              <a:sym typeface="Arial" panose="020B0604020202020204" pitchFamily="34" charset="0"/>
            </a:endParaRPr>
          </a:p>
        </p:txBody>
      </p:sp>
      <p:sp>
        <p:nvSpPr>
          <p:cNvPr id="105" name="Text Placeholder">
            <a:extLst>
              <a:ext uri="{FF2B5EF4-FFF2-40B4-BE49-F238E27FC236}">
                <a16:creationId xmlns:a16="http://schemas.microsoft.com/office/drawing/2014/main" id="{EB1E1E04-EBBD-C5CB-58DD-8956FFEAE5FB}"/>
              </a:ext>
            </a:extLst>
          </p:cNvPr>
          <p:cNvSpPr>
            <a:spLocks noGrp="1"/>
          </p:cNvSpPr>
          <p:nvPr>
            <p:custDataLst>
              <p:tags r:id="rId35"/>
            </p:custDataLst>
          </p:nvPr>
        </p:nvSpPr>
        <p:spPr bwMode="auto">
          <a:xfrm>
            <a:off x="6446445" y="4049206"/>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1007156B-39BE-46BF-B44E-D33D31BC99F3}" type="datetime'M''''''i''''d''''''d''''''le'' ''''''E''''''a''st'">
              <a:rPr lang="en-US" altLang="en-US" sz="800" smtClean="0">
                <a:latin typeface="Arial" panose="020B0604020202020204" pitchFamily="34" charset="0"/>
                <a:cs typeface="Arial" panose="020B0604020202020204" pitchFamily="34" charset="0"/>
              </a:rPr>
              <a:pPr defTabSz="685800">
                <a:spcBef>
                  <a:spcPct val="0"/>
                </a:spcBef>
                <a:buSzPct val="100000"/>
                <a:buFont typeface="+mn-lt" pitchFamily="34" charset="0"/>
              </a:pPr>
              <a:t>Middle East</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06" name="Text Placeholder">
            <a:extLst>
              <a:ext uri="{FF2B5EF4-FFF2-40B4-BE49-F238E27FC236}">
                <a16:creationId xmlns:a16="http://schemas.microsoft.com/office/drawing/2014/main" id="{8E1B3036-9BB1-C529-9523-679256503BCB}"/>
              </a:ext>
            </a:extLst>
          </p:cNvPr>
          <p:cNvSpPr>
            <a:spLocks noGrp="1"/>
          </p:cNvSpPr>
          <p:nvPr>
            <p:custDataLst>
              <p:tags r:id="rId36"/>
            </p:custDataLst>
          </p:nvPr>
        </p:nvSpPr>
        <p:spPr bwMode="auto">
          <a:xfrm>
            <a:off x="6446445" y="3579306"/>
            <a:ext cx="647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9E054A6A-32B4-472E-B580-9E2BDD7283CE}" type="datetime'''''''Oil'''''' ''M''''a''''''''''''jo''r''''s'''''''''">
              <a:rPr lang="en-US" altLang="en-US" sz="800" smtClean="0">
                <a:latin typeface="Arial" panose="020B0604020202020204" pitchFamily="34" charset="0"/>
                <a:cs typeface="Arial" panose="020B0604020202020204" pitchFamily="34" charset="0"/>
              </a:rPr>
              <a:pPr defTabSz="685800">
                <a:spcBef>
                  <a:spcPct val="0"/>
                </a:spcBef>
                <a:buSzPct val="100000"/>
                <a:buFont typeface="+mn-lt" pitchFamily="34" charset="0"/>
              </a:pPr>
              <a:t>Oil Majors</a:t>
            </a:fld>
            <a:r>
              <a:rPr lang="en-US" altLang="en-US" sz="800" baseline="30000">
                <a:latin typeface="Arial" panose="020B0604020202020204" pitchFamily="34" charset="0"/>
                <a:cs typeface="Arial" panose="020B0604020202020204" pitchFamily="34" charset="0"/>
              </a:rPr>
              <a:t>1)</a:t>
            </a:r>
            <a:endParaRPr lang="en-US" sz="800" baseline="30000">
              <a:latin typeface="Arial" panose="020B0604020202020204" pitchFamily="34" charset="0"/>
              <a:cs typeface="Arial" panose="020B0604020202020204" pitchFamily="34" charset="0"/>
              <a:sym typeface="Arial" panose="020B0604020202020204" pitchFamily="34" charset="0"/>
            </a:endParaRPr>
          </a:p>
        </p:txBody>
      </p:sp>
      <p:sp>
        <p:nvSpPr>
          <p:cNvPr id="107" name="Text Placeholder">
            <a:extLst>
              <a:ext uri="{FF2B5EF4-FFF2-40B4-BE49-F238E27FC236}">
                <a16:creationId xmlns:a16="http://schemas.microsoft.com/office/drawing/2014/main" id="{FD69B96E-178A-8350-A2CF-706C350AAA5E}"/>
              </a:ext>
            </a:extLst>
          </p:cNvPr>
          <p:cNvSpPr>
            <a:spLocks noGrp="1"/>
          </p:cNvSpPr>
          <p:nvPr>
            <p:custDataLst>
              <p:tags r:id="rId37"/>
            </p:custDataLst>
          </p:nvPr>
        </p:nvSpPr>
        <p:spPr bwMode="auto">
          <a:xfrm>
            <a:off x="6446445" y="3234818"/>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27343262-CAEC-4882-825B-D02B1BF6BCCD}" type="datetime'''''E''''''''''''''''''u''''''''''''''r''''''''''''''o''pe'">
              <a:rPr lang="en-US" altLang="en-US" sz="800" smtClean="0">
                <a:latin typeface="Arial" panose="020B0604020202020204" pitchFamily="34" charset="0"/>
                <a:cs typeface="Arial" panose="020B0604020202020204" pitchFamily="34" charset="0"/>
                <a:sym typeface="Arial" panose="020B0604020202020204" pitchFamily="34" charset="0"/>
              </a:rPr>
              <a:pPr defTabSz="685800">
                <a:spcBef>
                  <a:spcPct val="0"/>
                </a:spcBef>
                <a:buSzPct val="100000"/>
                <a:buFont typeface="+mn-lt" pitchFamily="34" charset="0"/>
              </a:pPr>
              <a:t>Europe</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08" name="Text Placeholder">
            <a:extLst>
              <a:ext uri="{FF2B5EF4-FFF2-40B4-BE49-F238E27FC236}">
                <a16:creationId xmlns:a16="http://schemas.microsoft.com/office/drawing/2014/main" id="{06EF152F-8242-0930-020E-3332E271B710}"/>
              </a:ext>
            </a:extLst>
          </p:cNvPr>
          <p:cNvSpPr>
            <a:spLocks noGrp="1"/>
          </p:cNvSpPr>
          <p:nvPr>
            <p:custDataLst>
              <p:tags r:id="rId38"/>
            </p:custDataLst>
          </p:nvPr>
        </p:nvSpPr>
        <p:spPr bwMode="auto">
          <a:xfrm>
            <a:off x="6446445" y="2991931"/>
            <a:ext cx="809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277B0522-20CE-47CA-9BEA-6327E9FD4E56}" type="datetime'''No''''''''''''r''''''t''h'''''' ''''''Ame''''''rica'''">
              <a:rPr lang="en-US" altLang="en-US" sz="800" smtClean="0">
                <a:latin typeface="Arial" panose="020B0604020202020204" pitchFamily="34" charset="0"/>
                <a:cs typeface="Arial" panose="020B0604020202020204" pitchFamily="34" charset="0"/>
              </a:rPr>
              <a:pPr defTabSz="685800">
                <a:spcBef>
                  <a:spcPct val="0"/>
                </a:spcBef>
                <a:buSzPct val="100000"/>
                <a:buFont typeface="+mn-lt" pitchFamily="34" charset="0"/>
              </a:pPr>
              <a:t>North America</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09" name="Text Placeholder">
            <a:extLst>
              <a:ext uri="{FF2B5EF4-FFF2-40B4-BE49-F238E27FC236}">
                <a16:creationId xmlns:a16="http://schemas.microsoft.com/office/drawing/2014/main" id="{913F936E-E7EE-2C74-5AA4-C369F432B041}"/>
              </a:ext>
            </a:extLst>
          </p:cNvPr>
          <p:cNvSpPr>
            <a:spLocks noGrp="1"/>
          </p:cNvSpPr>
          <p:nvPr>
            <p:custDataLst>
              <p:tags r:id="rId39"/>
            </p:custDataLst>
          </p:nvPr>
        </p:nvSpPr>
        <p:spPr bwMode="auto">
          <a:xfrm>
            <a:off x="6446445" y="2788731"/>
            <a:ext cx="828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BC63F42A-50FF-4956-B840-922FEAF581EE}" type="datetime'''S''o''''u''''''''''''''t''''''h'''''''' Am''''''e''''ri''ca'">
              <a:rPr lang="en-US" altLang="en-US" sz="800" smtClean="0">
                <a:latin typeface="Arial" panose="020B0604020202020204" pitchFamily="34" charset="0"/>
                <a:cs typeface="Arial" panose="020B0604020202020204" pitchFamily="34" charset="0"/>
              </a:rPr>
              <a:pPr defTabSz="685800">
                <a:spcBef>
                  <a:spcPct val="0"/>
                </a:spcBef>
                <a:buSzPct val="100000"/>
                <a:buFont typeface="+mn-lt" pitchFamily="34" charset="0"/>
              </a:pPr>
              <a:t>South America</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11" name="Text Placeholder">
            <a:extLst>
              <a:ext uri="{FF2B5EF4-FFF2-40B4-BE49-F238E27FC236}">
                <a16:creationId xmlns:a16="http://schemas.microsoft.com/office/drawing/2014/main" id="{539D5B72-E961-7774-ABE7-E638E4B4FC19}"/>
              </a:ext>
            </a:extLst>
          </p:cNvPr>
          <p:cNvSpPr>
            <a:spLocks noGrp="1"/>
          </p:cNvSpPr>
          <p:nvPr>
            <p:custDataLst>
              <p:tags r:id="rId40"/>
            </p:custDataLst>
          </p:nvPr>
        </p:nvSpPr>
        <p:spPr bwMode="gray">
          <a:xfrm>
            <a:off x="704458" y="3932714"/>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83E25244-243A-408F-A0D0-2160AE53F2BB}" type="datetime'''''2''''''''''''''0%'''''''''''''''''''''''''''''''">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12" name="Text Placeholder">
            <a:extLst>
              <a:ext uri="{FF2B5EF4-FFF2-40B4-BE49-F238E27FC236}">
                <a16:creationId xmlns:a16="http://schemas.microsoft.com/office/drawing/2014/main" id="{98220359-24CD-732B-7E7D-FF596F301B7F}"/>
              </a:ext>
            </a:extLst>
          </p:cNvPr>
          <p:cNvSpPr>
            <a:spLocks noGrp="1"/>
          </p:cNvSpPr>
          <p:nvPr>
            <p:custDataLst>
              <p:tags r:id="rId41"/>
            </p:custDataLst>
          </p:nvPr>
        </p:nvSpPr>
        <p:spPr bwMode="gray">
          <a:xfrm>
            <a:off x="713589" y="3589405"/>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75522723-8C7B-4469-A35C-F827E322982E}" type="datetime'''''''2''''''''''''''3''''''''''''''''%'''''">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3%</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13" name="Text Placeholder">
            <a:extLst>
              <a:ext uri="{FF2B5EF4-FFF2-40B4-BE49-F238E27FC236}">
                <a16:creationId xmlns:a16="http://schemas.microsoft.com/office/drawing/2014/main" id="{FA10CB28-F143-A655-A633-E309DB54B51F}"/>
              </a:ext>
            </a:extLst>
          </p:cNvPr>
          <p:cNvSpPr>
            <a:spLocks noGrp="1"/>
          </p:cNvSpPr>
          <p:nvPr>
            <p:custDataLst>
              <p:tags r:id="rId42"/>
            </p:custDataLst>
          </p:nvPr>
        </p:nvSpPr>
        <p:spPr bwMode="gray">
          <a:xfrm>
            <a:off x="700489" y="2662812"/>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EB62D4F0-738A-4ADB-9A97-04A41D295B4D}" type="datetime'''''''''''''5''6''''''''''''''''''0'''''''''''">
              <a:rPr lang="en-GB" altLang="en-US" sz="1050" b="1" smtClean="0">
                <a:latin typeface="Arial" panose="020B0604020202020204" pitchFamily="34" charset="0"/>
                <a:cs typeface="Arial" panose="020B0604020202020204" pitchFamily="34" charset="0"/>
                <a:sym typeface="Arial" panose="020B0604020202020204" pitchFamily="34" charset="0"/>
              </a:rPr>
              <a:pPr algn="ctr" defTabSz="685800">
                <a:lnSpc>
                  <a:spcPct val="90000"/>
                </a:lnSpc>
                <a:spcBef>
                  <a:spcPct val="0"/>
                </a:spcBef>
                <a:buSzPct val="100000"/>
                <a:buFont typeface="+mn-lt" pitchFamily="34" charset="0"/>
              </a:pPr>
              <a:t>560</a:t>
            </a:fld>
            <a:endParaRPr lang="en-US" sz="1050" b="1" dirty="0">
              <a:latin typeface="Arial" panose="020B0604020202020204" pitchFamily="34" charset="0"/>
              <a:cs typeface="Arial" panose="020B0604020202020204" pitchFamily="34" charset="0"/>
              <a:sym typeface="Arial" panose="020B0604020202020204" pitchFamily="34" charset="0"/>
            </a:endParaRPr>
          </a:p>
        </p:txBody>
      </p:sp>
      <p:sp>
        <p:nvSpPr>
          <p:cNvPr id="114" name="Text Placeholder">
            <a:extLst>
              <a:ext uri="{FF2B5EF4-FFF2-40B4-BE49-F238E27FC236}">
                <a16:creationId xmlns:a16="http://schemas.microsoft.com/office/drawing/2014/main" id="{27097B21-BF0B-D4DE-CBE2-A3E227E9396F}"/>
              </a:ext>
            </a:extLst>
          </p:cNvPr>
          <p:cNvSpPr>
            <a:spLocks noGrp="1"/>
          </p:cNvSpPr>
          <p:nvPr>
            <p:custDataLst>
              <p:tags r:id="rId43"/>
            </p:custDataLst>
          </p:nvPr>
        </p:nvSpPr>
        <p:spPr bwMode="gray">
          <a:xfrm>
            <a:off x="1973663" y="2973516"/>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EF0B7E9A-06B6-4706-97AD-A85CF76B5CF0}" type="datetime'''4''''''1''''''''''''''''''''''''''''''0'''''''''''''''">
              <a:rPr lang="en-GB" altLang="en-US" sz="1050" b="1" smtClean="0">
                <a:latin typeface="Arial" panose="020B0604020202020204" pitchFamily="34" charset="0"/>
                <a:cs typeface="Arial" panose="020B0604020202020204" pitchFamily="34" charset="0"/>
                <a:sym typeface="Arial" panose="020B0604020202020204" pitchFamily="34" charset="0"/>
              </a:rPr>
              <a:pPr algn="ctr" defTabSz="685800">
                <a:lnSpc>
                  <a:spcPct val="90000"/>
                </a:lnSpc>
                <a:spcBef>
                  <a:spcPct val="0"/>
                </a:spcBef>
                <a:buSzPct val="100000"/>
                <a:buFont typeface="+mn-lt" pitchFamily="34" charset="0"/>
              </a:pPr>
              <a:t>410</a:t>
            </a:fld>
            <a:endParaRPr lang="en-US" sz="1050" b="1" dirty="0">
              <a:latin typeface="Arial" panose="020B0604020202020204" pitchFamily="34" charset="0"/>
              <a:cs typeface="Arial" panose="020B0604020202020204" pitchFamily="34" charset="0"/>
              <a:sym typeface="Arial" panose="020B0604020202020204" pitchFamily="34" charset="0"/>
            </a:endParaRPr>
          </a:p>
        </p:txBody>
      </p:sp>
      <p:sp>
        <p:nvSpPr>
          <p:cNvPr id="115" name="Text Placeholder">
            <a:extLst>
              <a:ext uri="{FF2B5EF4-FFF2-40B4-BE49-F238E27FC236}">
                <a16:creationId xmlns:a16="http://schemas.microsoft.com/office/drawing/2014/main" id="{2052C038-6232-7923-19D6-E1672DC30D2D}"/>
              </a:ext>
            </a:extLst>
          </p:cNvPr>
          <p:cNvSpPr>
            <a:spLocks noGrp="1"/>
          </p:cNvSpPr>
          <p:nvPr>
            <p:custDataLst>
              <p:tags r:id="rId44"/>
            </p:custDataLst>
          </p:nvPr>
        </p:nvSpPr>
        <p:spPr bwMode="gray">
          <a:xfrm>
            <a:off x="3253982" y="2693481"/>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35C1C39E-040A-443C-9CEB-0FD39745D59C}" type="datetime'''''''5''''''''''''''''''''''''''5''''''''''5'''''''''''''">
              <a:rPr lang="en-GB" altLang="en-US" sz="1050" b="1" smtClean="0">
                <a:latin typeface="Arial" panose="020B0604020202020204" pitchFamily="34" charset="0"/>
                <a:cs typeface="Arial" panose="020B0604020202020204" pitchFamily="34" charset="0"/>
                <a:sym typeface="Arial" panose="020B0604020202020204" pitchFamily="34" charset="0"/>
              </a:rPr>
              <a:pPr algn="ctr" defTabSz="685800">
                <a:lnSpc>
                  <a:spcPct val="90000"/>
                </a:lnSpc>
                <a:spcBef>
                  <a:spcPct val="0"/>
                </a:spcBef>
                <a:buSzPct val="100000"/>
                <a:buFont typeface="+mn-lt" pitchFamily="34" charset="0"/>
              </a:pPr>
              <a:t>555</a:t>
            </a:fld>
            <a:endParaRPr lang="en-US" sz="1050" b="1" dirty="0">
              <a:latin typeface="Arial" panose="020B0604020202020204" pitchFamily="34" charset="0"/>
              <a:cs typeface="Arial" panose="020B0604020202020204" pitchFamily="34" charset="0"/>
              <a:sym typeface="Arial" panose="020B0604020202020204" pitchFamily="34" charset="0"/>
            </a:endParaRPr>
          </a:p>
        </p:txBody>
      </p:sp>
      <p:sp>
        <p:nvSpPr>
          <p:cNvPr id="116" name="Text Placeholder">
            <a:extLst>
              <a:ext uri="{FF2B5EF4-FFF2-40B4-BE49-F238E27FC236}">
                <a16:creationId xmlns:a16="http://schemas.microsoft.com/office/drawing/2014/main" id="{B7265067-1D71-829D-A7FF-D8A41E4B54BD}"/>
              </a:ext>
            </a:extLst>
          </p:cNvPr>
          <p:cNvSpPr>
            <a:spLocks noGrp="1"/>
          </p:cNvSpPr>
          <p:nvPr>
            <p:custDataLst>
              <p:tags r:id="rId45"/>
            </p:custDataLst>
          </p:nvPr>
        </p:nvSpPr>
        <p:spPr bwMode="gray">
          <a:xfrm>
            <a:off x="4534622" y="2636619"/>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370EAE55-9517-4B37-A06C-5366344D2084}" type="datetime'''''''5''''''''''''''''''7''''''''''''''''''''''''''''0'''''''">
              <a:rPr lang="en-GB" altLang="en-US" sz="1050" b="1" smtClean="0">
                <a:latin typeface="Arial" panose="020B0604020202020204" pitchFamily="34" charset="0"/>
                <a:cs typeface="Arial" panose="020B0604020202020204" pitchFamily="34" charset="0"/>
                <a:sym typeface="Arial" panose="020B0604020202020204" pitchFamily="34" charset="0"/>
              </a:rPr>
              <a:pPr algn="ctr" defTabSz="685800">
                <a:lnSpc>
                  <a:spcPct val="90000"/>
                </a:lnSpc>
                <a:spcBef>
                  <a:spcPct val="0"/>
                </a:spcBef>
                <a:buSzPct val="100000"/>
                <a:buFont typeface="+mn-lt" pitchFamily="34" charset="0"/>
              </a:pPr>
              <a:t>570</a:t>
            </a:fld>
            <a:endParaRPr lang="en-US" sz="1050" b="1" dirty="0">
              <a:latin typeface="Arial" panose="020B0604020202020204" pitchFamily="34" charset="0"/>
              <a:cs typeface="Arial" panose="020B0604020202020204" pitchFamily="34" charset="0"/>
              <a:sym typeface="Arial" panose="020B0604020202020204" pitchFamily="34" charset="0"/>
            </a:endParaRPr>
          </a:p>
        </p:txBody>
      </p:sp>
      <p:sp>
        <p:nvSpPr>
          <p:cNvPr id="117" name="Text Placeholder">
            <a:extLst>
              <a:ext uri="{FF2B5EF4-FFF2-40B4-BE49-F238E27FC236}">
                <a16:creationId xmlns:a16="http://schemas.microsoft.com/office/drawing/2014/main" id="{F52E36DC-B5A4-988F-484A-D3A385B62E7F}"/>
              </a:ext>
            </a:extLst>
          </p:cNvPr>
          <p:cNvSpPr>
            <a:spLocks noGrp="1"/>
          </p:cNvSpPr>
          <p:nvPr>
            <p:custDataLst>
              <p:tags r:id="rId46"/>
            </p:custDataLst>
          </p:nvPr>
        </p:nvSpPr>
        <p:spPr bwMode="gray">
          <a:xfrm>
            <a:off x="5812638" y="3729210"/>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028BCF60-9774-4C3D-81FA-E15928F53B6A}" type="datetime'''2''''''''''''''''''''''6''''''''''''''%'''''''''''''''">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6%</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18" name="Text Placeholder">
            <a:extLst>
              <a:ext uri="{FF2B5EF4-FFF2-40B4-BE49-F238E27FC236}">
                <a16:creationId xmlns:a16="http://schemas.microsoft.com/office/drawing/2014/main" id="{B8A57697-83B3-AF3D-5390-B4AC8BEE447B}"/>
              </a:ext>
            </a:extLst>
          </p:cNvPr>
          <p:cNvSpPr>
            <a:spLocks noGrp="1"/>
          </p:cNvSpPr>
          <p:nvPr>
            <p:custDataLst>
              <p:tags r:id="rId47"/>
            </p:custDataLst>
          </p:nvPr>
        </p:nvSpPr>
        <p:spPr bwMode="gray">
          <a:xfrm>
            <a:off x="697212" y="3264981"/>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6DC7248-9F09-4F21-816E-8B2FF652C681}" type="datetime'''''''1''''''''''''''''''''''''''9%'''''''''''''''">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9%</a:t>
            </a:fld>
            <a:endParaRPr lang="en-US" sz="800" dirty="0">
              <a:latin typeface="Arial" panose="020B0604020202020204" pitchFamily="34" charset="0"/>
              <a:cs typeface="Arial" panose="020B0604020202020204" pitchFamily="34" charset="0"/>
              <a:sym typeface="Arial" panose="020B0604020202020204" pitchFamily="34" charset="0"/>
            </a:endParaRPr>
          </a:p>
        </p:txBody>
      </p:sp>
      <p:sp>
        <p:nvSpPr>
          <p:cNvPr id="119" name="Text Placeholder">
            <a:extLst>
              <a:ext uri="{FF2B5EF4-FFF2-40B4-BE49-F238E27FC236}">
                <a16:creationId xmlns:a16="http://schemas.microsoft.com/office/drawing/2014/main" id="{BD676BDF-1FE3-F4B3-1592-59CA30257A60}"/>
              </a:ext>
            </a:extLst>
          </p:cNvPr>
          <p:cNvSpPr>
            <a:spLocks noGrp="1"/>
          </p:cNvSpPr>
          <p:nvPr>
            <p:custDataLst>
              <p:tags r:id="rId48"/>
            </p:custDataLst>
          </p:nvPr>
        </p:nvSpPr>
        <p:spPr bwMode="gray">
          <a:xfrm>
            <a:off x="700489" y="3018821"/>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DD19458-CD89-48A7-9F3F-D4225B150CF0}" type="datetime'''''''''''1''''3''''''%'''''''''''''''''''''">
              <a:rPr lang="en-US"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3%</a:t>
            </a:fld>
            <a:endParaRPr lang="en-US" sz="800" dirty="0">
              <a:latin typeface="Arial" panose="020B0604020202020204" pitchFamily="34" charset="0"/>
              <a:cs typeface="Arial" panose="020B0604020202020204" pitchFamily="34" charset="0"/>
              <a:sym typeface="Arial" panose="020B0604020202020204" pitchFamily="34" charset="0"/>
            </a:endParaRPr>
          </a:p>
        </p:txBody>
      </p:sp>
      <p:sp>
        <p:nvSpPr>
          <p:cNvPr id="120" name="Text Placeholder">
            <a:extLst>
              <a:ext uri="{FF2B5EF4-FFF2-40B4-BE49-F238E27FC236}">
                <a16:creationId xmlns:a16="http://schemas.microsoft.com/office/drawing/2014/main" id="{585F91FC-57BF-27EC-FD03-AA7FB34B5F73}"/>
              </a:ext>
            </a:extLst>
          </p:cNvPr>
          <p:cNvSpPr>
            <a:spLocks noGrp="1"/>
          </p:cNvSpPr>
          <p:nvPr>
            <p:custDataLst>
              <p:tags r:id="rId49"/>
            </p:custDataLst>
          </p:nvPr>
        </p:nvSpPr>
        <p:spPr bwMode="gray">
          <a:xfrm>
            <a:off x="742209" y="2848956"/>
            <a:ext cx="220663" cy="152400"/>
          </a:xfrm>
          <a:prstGeom prst="rect">
            <a:avLst/>
          </a:prstGeom>
          <a:solidFill>
            <a:schemeClr val="tx2"/>
          </a:solidFill>
          <a:ln>
            <a:noFill/>
          </a:ln>
          <a:effec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B93FB06B-A83D-4BF9-BE2E-29DEDF1E4018}" type="datetime'''5''''''''''''''''''''''''''''''%'''''''''''''''''''''''">
              <a:rPr lang="en-US" altLang="en-US" sz="800" smtClean="0">
                <a:solidFill>
                  <a:schemeClr val="bg1"/>
                </a:solidFill>
                <a:effectLst/>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5%</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21" name="Text Placeholder">
            <a:extLst>
              <a:ext uri="{FF2B5EF4-FFF2-40B4-BE49-F238E27FC236}">
                <a16:creationId xmlns:a16="http://schemas.microsoft.com/office/drawing/2014/main" id="{C7E22F8D-5072-DB78-1884-83DCC74E4146}"/>
              </a:ext>
            </a:extLst>
          </p:cNvPr>
          <p:cNvSpPr>
            <a:spLocks noGrp="1"/>
          </p:cNvSpPr>
          <p:nvPr>
            <p:custDataLst>
              <p:tags r:id="rId50"/>
            </p:custDataLst>
          </p:nvPr>
        </p:nvSpPr>
        <p:spPr bwMode="auto">
          <a:xfrm>
            <a:off x="670772" y="4539236"/>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025E16F5-C833-43CD-AFC6-080D9F4E4C07}" type="datetime'''20''''''''1''''''''''9'''''''''''''''''''''''''">
              <a:rPr lang="en-GB" altLang="en-US" sz="8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19</a:t>
            </a:fld>
            <a:endParaRPr lang="de-DE" sz="800" dirty="0">
              <a:latin typeface="Arial" panose="020B0604020202020204" pitchFamily="34" charset="0"/>
              <a:cs typeface="Arial" panose="020B0604020202020204" pitchFamily="34" charset="0"/>
              <a:sym typeface="Arial" panose="020B0604020202020204" pitchFamily="34" charset="0"/>
            </a:endParaRPr>
          </a:p>
        </p:txBody>
      </p:sp>
      <p:sp>
        <p:nvSpPr>
          <p:cNvPr id="122" name="Text Placeholder">
            <a:extLst>
              <a:ext uri="{FF2B5EF4-FFF2-40B4-BE49-F238E27FC236}">
                <a16:creationId xmlns:a16="http://schemas.microsoft.com/office/drawing/2014/main" id="{D9E853CB-93EB-2CCD-C578-3F4E53B9892A}"/>
              </a:ext>
            </a:extLst>
          </p:cNvPr>
          <p:cNvSpPr>
            <a:spLocks noGrp="1"/>
          </p:cNvSpPr>
          <p:nvPr>
            <p:custDataLst>
              <p:tags r:id="rId51"/>
            </p:custDataLst>
          </p:nvPr>
        </p:nvSpPr>
        <p:spPr bwMode="gray">
          <a:xfrm>
            <a:off x="1973663" y="4016938"/>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C49C5B65-C056-4EE3-BED8-76A6A2F683AE}" type="datetime'''23%'''">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3%</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23" name="Text Placeholder">
            <a:extLst>
              <a:ext uri="{FF2B5EF4-FFF2-40B4-BE49-F238E27FC236}">
                <a16:creationId xmlns:a16="http://schemas.microsoft.com/office/drawing/2014/main" id="{09133BCD-EB24-196E-D2A5-286C20B43B04}"/>
              </a:ext>
            </a:extLst>
          </p:cNvPr>
          <p:cNvSpPr>
            <a:spLocks noGrp="1"/>
          </p:cNvSpPr>
          <p:nvPr>
            <p:custDataLst>
              <p:tags r:id="rId52"/>
            </p:custDataLst>
          </p:nvPr>
        </p:nvSpPr>
        <p:spPr bwMode="gray">
          <a:xfrm>
            <a:off x="1984038" y="3729210"/>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318D48D1-66D5-45EC-8764-EF41488AADEA}" type="datetime'''''2''''''''''''''''''''''''''1%'''''''''''''''''''''''">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1%</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24" name="Text Placeholder">
            <a:extLst>
              <a:ext uri="{FF2B5EF4-FFF2-40B4-BE49-F238E27FC236}">
                <a16:creationId xmlns:a16="http://schemas.microsoft.com/office/drawing/2014/main" id="{FF7CEED2-4271-327A-B384-C10C6E8B89CC}"/>
              </a:ext>
            </a:extLst>
          </p:cNvPr>
          <p:cNvSpPr>
            <a:spLocks noGrp="1"/>
          </p:cNvSpPr>
          <p:nvPr>
            <p:custDataLst>
              <p:tags r:id="rId53"/>
            </p:custDataLst>
          </p:nvPr>
        </p:nvSpPr>
        <p:spPr bwMode="gray">
          <a:xfrm>
            <a:off x="5803113" y="2522317"/>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E1E51115-1674-490D-BA2B-EAF6E939ECA2}" type="datetime'''60''''''''''''''''''''''''''''''''''''''5'''''''''''''''''">
              <a:rPr lang="en-GB" altLang="en-US" sz="1050" b="1" smtClean="0">
                <a:latin typeface="Arial" panose="020B0604020202020204" pitchFamily="34" charset="0"/>
                <a:cs typeface="Arial" panose="020B0604020202020204" pitchFamily="34" charset="0"/>
                <a:sym typeface="Arial" panose="020B0604020202020204" pitchFamily="34" charset="0"/>
              </a:rPr>
              <a:pPr algn="ctr" defTabSz="685800">
                <a:lnSpc>
                  <a:spcPct val="90000"/>
                </a:lnSpc>
                <a:spcBef>
                  <a:spcPct val="0"/>
                </a:spcBef>
                <a:buSzPct val="100000"/>
                <a:buFont typeface="+mn-lt" pitchFamily="34" charset="0"/>
              </a:pPr>
              <a:t>605</a:t>
            </a:fld>
            <a:endParaRPr lang="en-US" sz="1050" b="1">
              <a:latin typeface="Arial" panose="020B0604020202020204" pitchFamily="34" charset="0"/>
              <a:cs typeface="Arial" panose="020B0604020202020204" pitchFamily="34" charset="0"/>
              <a:sym typeface="Arial" panose="020B0604020202020204" pitchFamily="34" charset="0"/>
            </a:endParaRPr>
          </a:p>
        </p:txBody>
      </p:sp>
      <p:sp>
        <p:nvSpPr>
          <p:cNvPr id="125" name="Text Placeholder">
            <a:extLst>
              <a:ext uri="{FF2B5EF4-FFF2-40B4-BE49-F238E27FC236}">
                <a16:creationId xmlns:a16="http://schemas.microsoft.com/office/drawing/2014/main" id="{D6318B62-2F14-093D-AA21-2415127C730C}"/>
              </a:ext>
            </a:extLst>
          </p:cNvPr>
          <p:cNvSpPr>
            <a:spLocks noGrp="1"/>
          </p:cNvSpPr>
          <p:nvPr>
            <p:custDataLst>
              <p:tags r:id="rId54"/>
            </p:custDataLst>
          </p:nvPr>
        </p:nvSpPr>
        <p:spPr bwMode="auto">
          <a:xfrm>
            <a:off x="1988745" y="2541081"/>
            <a:ext cx="271463" cy="215900"/>
          </a:xfrm>
          <a:prstGeom prst="roundRect">
            <a:avLst>
              <a:gd name="adj" fmla="val 50000"/>
            </a:avLst>
          </a:prstGeom>
          <a:solidFill>
            <a:schemeClr val="bg1"/>
          </a:solidFill>
          <a:ln w="6350" cmpd="sng" algn="ctr">
            <a:solidFill>
              <a:schemeClr val="tx2"/>
            </a:solidFill>
          </a:ln>
          <a:effectLst/>
        </p:spPr>
        <p:txBody>
          <a:bodyPr vert="horz" wrap="none" lIns="12700" tIns="0" rIns="1270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BBE1A910-E503-4A70-AA27-E89C740533BD}" type="datetime'''''''''''''''''''''''''''''''''''''''''0''''''''''%'">
              <a:rPr lang="en-US" altLang="en-US" sz="800" smtClean="0">
                <a:effectLst/>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0%</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26" name="Text Placeholder">
            <a:extLst>
              <a:ext uri="{FF2B5EF4-FFF2-40B4-BE49-F238E27FC236}">
                <a16:creationId xmlns:a16="http://schemas.microsoft.com/office/drawing/2014/main" id="{CA9C09C0-0998-4423-C2AA-A3F3B00DD98B}"/>
              </a:ext>
            </a:extLst>
          </p:cNvPr>
          <p:cNvSpPr>
            <a:spLocks noGrp="1"/>
          </p:cNvSpPr>
          <p:nvPr>
            <p:custDataLst>
              <p:tags r:id="rId55"/>
            </p:custDataLst>
          </p:nvPr>
        </p:nvSpPr>
        <p:spPr bwMode="auto">
          <a:xfrm>
            <a:off x="3861995" y="2523618"/>
            <a:ext cx="346075" cy="215900"/>
          </a:xfrm>
          <a:prstGeom prst="roundRect">
            <a:avLst>
              <a:gd name="adj" fmla="val 50000"/>
            </a:avLst>
          </a:prstGeom>
          <a:solidFill>
            <a:schemeClr val="bg1"/>
          </a:solidFill>
          <a:ln w="6350" cmpd="sng" algn="ctr">
            <a:solidFill>
              <a:schemeClr val="tx2"/>
            </a:solidFill>
          </a:ln>
          <a:effectLst/>
        </p:spPr>
        <p:txBody>
          <a:bodyPr vert="horz" wrap="none" lIns="12700" tIns="0" rIns="1270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52396F77-8CC9-408F-B089-31F652749D0B}" type="datetime'''''''''''''''''''''+3''''''%'''''''''''''''''''''''''">
              <a:rPr lang="en-US" altLang="en-US" sz="800" smtClean="0">
                <a:effectLst/>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3%</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27" name="Text Placeholder">
            <a:extLst>
              <a:ext uri="{FF2B5EF4-FFF2-40B4-BE49-F238E27FC236}">
                <a16:creationId xmlns:a16="http://schemas.microsoft.com/office/drawing/2014/main" id="{0A696FCC-3B3E-36FF-5DD8-A91F03BBFA8E}"/>
              </a:ext>
            </a:extLst>
          </p:cNvPr>
          <p:cNvSpPr>
            <a:spLocks noGrp="1"/>
          </p:cNvSpPr>
          <p:nvPr>
            <p:custDataLst>
              <p:tags r:id="rId56"/>
            </p:custDataLst>
          </p:nvPr>
        </p:nvSpPr>
        <p:spPr bwMode="auto">
          <a:xfrm>
            <a:off x="5136757" y="2436306"/>
            <a:ext cx="346075" cy="215900"/>
          </a:xfrm>
          <a:prstGeom prst="roundRect">
            <a:avLst>
              <a:gd name="adj" fmla="val 50000"/>
            </a:avLst>
          </a:prstGeom>
          <a:solidFill>
            <a:schemeClr val="bg1"/>
          </a:solidFill>
          <a:ln w="6350" cmpd="sng" algn="ctr">
            <a:solidFill>
              <a:schemeClr val="tx2"/>
            </a:solidFill>
          </a:ln>
          <a:effectLst/>
        </p:spPr>
        <p:txBody>
          <a:bodyPr vert="horz" wrap="none" lIns="12700" tIns="0" rIns="1270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C00DD298-D9B6-4E8F-8889-FAB8E393B18D}" type="datetime'''''''''''+''''''''''''''''''2''''%'''''''''''''''''''''''''">
              <a:rPr lang="en-US" altLang="en-US" sz="800" smtClean="0">
                <a:effectLst/>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2%</a:t>
            </a:fld>
            <a:endParaRPr lang="en-US" sz="800">
              <a:latin typeface="Arial" panose="020B0604020202020204" pitchFamily="34" charset="0"/>
              <a:cs typeface="Arial" panose="020B0604020202020204" pitchFamily="34" charset="0"/>
              <a:sym typeface="Arial" panose="020B0604020202020204" pitchFamily="34" charset="0"/>
            </a:endParaRPr>
          </a:p>
        </p:txBody>
      </p:sp>
      <p:sp>
        <p:nvSpPr>
          <p:cNvPr id="128" name="TextBox 237">
            <a:extLst>
              <a:ext uri="{FF2B5EF4-FFF2-40B4-BE49-F238E27FC236}">
                <a16:creationId xmlns:a16="http://schemas.microsoft.com/office/drawing/2014/main" id="{E64F2DE5-FC0B-C1FE-E440-B2F131730122}"/>
              </a:ext>
            </a:extLst>
          </p:cNvPr>
          <p:cNvSpPr txBox="1">
            <a:spLocks/>
          </p:cNvSpPr>
          <p:nvPr/>
        </p:nvSpPr>
        <p:spPr>
          <a:xfrm>
            <a:off x="7607602" y="1648398"/>
            <a:ext cx="534356" cy="215444"/>
          </a:xfrm>
          <a:prstGeom prst="rect">
            <a:avLst/>
          </a:prstGeom>
          <a:noFill/>
          <a:ln w="9525">
            <a:noFill/>
          </a:ln>
        </p:spPr>
        <p:txBody>
          <a:bodyPr vert="horz" wrap="square" lIns="0" tIns="0" rIns="0" bIns="0" rtlCol="0">
            <a:spAutoFit/>
          </a:bodyPr>
          <a:lstStyle/>
          <a:p>
            <a:pPr algn="ctr" fontAlgn="base">
              <a:spcBef>
                <a:spcPts val="300"/>
              </a:spcBef>
              <a:spcAft>
                <a:spcPct val="0"/>
              </a:spcAft>
              <a:buSzPct val="100000"/>
            </a:pPr>
            <a:r>
              <a:rPr lang="en-US" sz="700" b="1" dirty="0">
                <a:latin typeface="Arial" panose="020B0604020202020204" pitchFamily="34" charset="0"/>
                <a:cs typeface="Arial" panose="020B0604020202020204" pitchFamily="34" charset="0"/>
                <a:sym typeface="+mn-lt"/>
              </a:rPr>
              <a:t>CAGR 2019-'22</a:t>
            </a:r>
          </a:p>
        </p:txBody>
      </p:sp>
      <p:sp>
        <p:nvSpPr>
          <p:cNvPr id="129" name="TextBox 245">
            <a:extLst>
              <a:ext uri="{FF2B5EF4-FFF2-40B4-BE49-F238E27FC236}">
                <a16:creationId xmlns:a16="http://schemas.microsoft.com/office/drawing/2014/main" id="{978D0458-50AE-4D3B-5B97-25E1BE4494CF}"/>
              </a:ext>
            </a:extLst>
          </p:cNvPr>
          <p:cNvSpPr txBox="1">
            <a:spLocks/>
          </p:cNvSpPr>
          <p:nvPr/>
        </p:nvSpPr>
        <p:spPr>
          <a:xfrm>
            <a:off x="8246058" y="1648398"/>
            <a:ext cx="534356" cy="215444"/>
          </a:xfrm>
          <a:prstGeom prst="rect">
            <a:avLst/>
          </a:prstGeom>
          <a:noFill/>
          <a:ln w="9525">
            <a:noFill/>
          </a:ln>
        </p:spPr>
        <p:txBody>
          <a:bodyPr vert="horz" wrap="square" lIns="0" tIns="0" rIns="0" bIns="0" rtlCol="0">
            <a:spAutoFit/>
          </a:bodyPr>
          <a:lstStyle/>
          <a:p>
            <a:pPr algn="ctr" fontAlgn="base">
              <a:spcBef>
                <a:spcPts val="300"/>
              </a:spcBef>
              <a:spcAft>
                <a:spcPct val="0"/>
              </a:spcAft>
              <a:buSzPct val="100000"/>
            </a:pPr>
            <a:r>
              <a:rPr lang="en-US" sz="700" b="1">
                <a:latin typeface="Arial" panose="020B0604020202020204" pitchFamily="34" charset="0"/>
                <a:cs typeface="Arial" panose="020B0604020202020204" pitchFamily="34" charset="0"/>
                <a:sym typeface="+mn-lt"/>
              </a:rPr>
              <a:t>CAGR 2023-'26</a:t>
            </a:r>
          </a:p>
        </p:txBody>
      </p:sp>
      <p:sp>
        <p:nvSpPr>
          <p:cNvPr id="130" name="Rectangle: Rounded Corners 238">
            <a:extLst>
              <a:ext uri="{FF2B5EF4-FFF2-40B4-BE49-F238E27FC236}">
                <a16:creationId xmlns:a16="http://schemas.microsoft.com/office/drawing/2014/main" id="{BE99ACBF-3467-59B2-FFC5-FAFE2090B8DD}"/>
              </a:ext>
            </a:extLst>
          </p:cNvPr>
          <p:cNvSpPr>
            <a:spLocks/>
          </p:cNvSpPr>
          <p:nvPr/>
        </p:nvSpPr>
        <p:spPr>
          <a:xfrm>
            <a:off x="7655476" y="2292923"/>
            <a:ext cx="438608" cy="215900"/>
          </a:xfrm>
          <a:prstGeom prst="roundRect">
            <a:avLst>
              <a:gd name="adj" fmla="val 50000"/>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bg1"/>
                </a:solidFill>
                <a:latin typeface="Arial" panose="020B0604020202020204" pitchFamily="34" charset="0"/>
                <a:cs typeface="Arial" panose="020B0604020202020204" pitchFamily="34" charset="0"/>
                <a:sym typeface="+mn-lt"/>
              </a:rPr>
              <a:t>10%</a:t>
            </a:r>
            <a:endParaRPr lang="en-US" sz="800" err="1">
              <a:solidFill>
                <a:schemeClr val="bg1"/>
              </a:solidFill>
              <a:latin typeface="Arial" panose="020B0604020202020204" pitchFamily="34" charset="0"/>
              <a:cs typeface="Arial" panose="020B0604020202020204" pitchFamily="34" charset="0"/>
              <a:sym typeface="+mn-lt"/>
            </a:endParaRPr>
          </a:p>
        </p:txBody>
      </p:sp>
      <p:sp>
        <p:nvSpPr>
          <p:cNvPr id="131" name="Rectangle: Rounded Corners 246">
            <a:extLst>
              <a:ext uri="{FF2B5EF4-FFF2-40B4-BE49-F238E27FC236}">
                <a16:creationId xmlns:a16="http://schemas.microsoft.com/office/drawing/2014/main" id="{6563F450-810D-B7A3-21DF-51E0D5D384AB}"/>
              </a:ext>
            </a:extLst>
          </p:cNvPr>
          <p:cNvSpPr>
            <a:spLocks/>
          </p:cNvSpPr>
          <p:nvPr/>
        </p:nvSpPr>
        <p:spPr>
          <a:xfrm>
            <a:off x="8293932" y="2292923"/>
            <a:ext cx="438608" cy="215900"/>
          </a:xfrm>
          <a:prstGeom prst="roundRect">
            <a:avLst>
              <a:gd name="adj" fmla="val 50000"/>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bg1"/>
                </a:solidFill>
                <a:latin typeface="Arial" panose="020B0604020202020204" pitchFamily="34" charset="0"/>
                <a:cs typeface="Arial" panose="020B0604020202020204" pitchFamily="34" charset="0"/>
                <a:sym typeface="+mn-lt"/>
              </a:rPr>
              <a:t>0%</a:t>
            </a:r>
            <a:endParaRPr lang="en-US" sz="800" err="1">
              <a:solidFill>
                <a:schemeClr val="bg1"/>
              </a:solidFill>
              <a:latin typeface="Arial" panose="020B0604020202020204" pitchFamily="34" charset="0"/>
              <a:cs typeface="Arial" panose="020B0604020202020204" pitchFamily="34" charset="0"/>
              <a:sym typeface="+mn-lt"/>
            </a:endParaRPr>
          </a:p>
        </p:txBody>
      </p:sp>
      <p:sp>
        <p:nvSpPr>
          <p:cNvPr id="132" name="Rectangle: Rounded Corners 239">
            <a:extLst>
              <a:ext uri="{FF2B5EF4-FFF2-40B4-BE49-F238E27FC236}">
                <a16:creationId xmlns:a16="http://schemas.microsoft.com/office/drawing/2014/main" id="{77590468-62C5-4AF2-75EC-CF732DB49A0F}"/>
              </a:ext>
            </a:extLst>
          </p:cNvPr>
          <p:cNvSpPr>
            <a:spLocks/>
          </p:cNvSpPr>
          <p:nvPr/>
        </p:nvSpPr>
        <p:spPr>
          <a:xfrm>
            <a:off x="7655476" y="2529461"/>
            <a:ext cx="438608" cy="215900"/>
          </a:xfrm>
          <a:prstGeom prst="roundRect">
            <a:avLst>
              <a:gd name="adj" fmla="val 50000"/>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dirty="0">
                <a:solidFill>
                  <a:schemeClr val="tx1"/>
                </a:solidFill>
                <a:latin typeface="Arial" panose="020B0604020202020204" pitchFamily="34" charset="0"/>
                <a:cs typeface="Arial" panose="020B0604020202020204" pitchFamily="34" charset="0"/>
                <a:sym typeface="+mn-lt"/>
              </a:rPr>
              <a:t>-10%</a:t>
            </a:r>
          </a:p>
        </p:txBody>
      </p:sp>
      <p:sp>
        <p:nvSpPr>
          <p:cNvPr id="133" name="Rectangle: Rounded Corners 247">
            <a:extLst>
              <a:ext uri="{FF2B5EF4-FFF2-40B4-BE49-F238E27FC236}">
                <a16:creationId xmlns:a16="http://schemas.microsoft.com/office/drawing/2014/main" id="{374CD6A9-04A7-3CA0-9EF0-9B56E436D048}"/>
              </a:ext>
            </a:extLst>
          </p:cNvPr>
          <p:cNvSpPr>
            <a:spLocks/>
          </p:cNvSpPr>
          <p:nvPr/>
        </p:nvSpPr>
        <p:spPr>
          <a:xfrm>
            <a:off x="8293932" y="2529461"/>
            <a:ext cx="438608" cy="215900"/>
          </a:xfrm>
          <a:prstGeom prst="roundRect">
            <a:avLst>
              <a:gd name="adj" fmla="val 50000"/>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tx1"/>
                </a:solidFill>
                <a:latin typeface="Arial" panose="020B0604020202020204" pitchFamily="34" charset="0"/>
                <a:cs typeface="Arial" panose="020B0604020202020204" pitchFamily="34" charset="0"/>
                <a:sym typeface="+mn-lt"/>
              </a:rPr>
              <a:t>6%</a:t>
            </a:r>
          </a:p>
        </p:txBody>
      </p:sp>
      <p:sp>
        <p:nvSpPr>
          <p:cNvPr id="134" name="Rectangle: Rounded Corners 240">
            <a:extLst>
              <a:ext uri="{FF2B5EF4-FFF2-40B4-BE49-F238E27FC236}">
                <a16:creationId xmlns:a16="http://schemas.microsoft.com/office/drawing/2014/main" id="{996EF8AD-BDB5-3A8E-8DC3-724C678F2267}"/>
              </a:ext>
            </a:extLst>
          </p:cNvPr>
          <p:cNvSpPr>
            <a:spLocks/>
          </p:cNvSpPr>
          <p:nvPr/>
        </p:nvSpPr>
        <p:spPr>
          <a:xfrm>
            <a:off x="7655476" y="2789811"/>
            <a:ext cx="438608" cy="215900"/>
          </a:xfrm>
          <a:prstGeom prst="roundRect">
            <a:avLst>
              <a:gd name="adj" fmla="val 50000"/>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tx1"/>
                </a:solidFill>
                <a:latin typeface="Arial" panose="020B0604020202020204" pitchFamily="34" charset="0"/>
                <a:cs typeface="Arial" panose="020B0604020202020204" pitchFamily="34" charset="0"/>
                <a:sym typeface="+mn-lt"/>
              </a:rPr>
              <a:t>-5%</a:t>
            </a:r>
            <a:endParaRPr lang="en-US" sz="800" err="1">
              <a:solidFill>
                <a:schemeClr val="tx1"/>
              </a:solidFill>
              <a:latin typeface="Arial" panose="020B0604020202020204" pitchFamily="34" charset="0"/>
              <a:cs typeface="Arial" panose="020B0604020202020204" pitchFamily="34" charset="0"/>
              <a:sym typeface="+mn-lt"/>
            </a:endParaRPr>
          </a:p>
        </p:txBody>
      </p:sp>
      <p:sp>
        <p:nvSpPr>
          <p:cNvPr id="135" name="Rectangle: Rounded Corners 248">
            <a:extLst>
              <a:ext uri="{FF2B5EF4-FFF2-40B4-BE49-F238E27FC236}">
                <a16:creationId xmlns:a16="http://schemas.microsoft.com/office/drawing/2014/main" id="{88166F77-903A-8AC4-561D-D595E73DC7C1}"/>
              </a:ext>
            </a:extLst>
          </p:cNvPr>
          <p:cNvSpPr>
            <a:spLocks/>
          </p:cNvSpPr>
          <p:nvPr/>
        </p:nvSpPr>
        <p:spPr>
          <a:xfrm>
            <a:off x="8293932" y="2789811"/>
            <a:ext cx="438608" cy="215900"/>
          </a:xfrm>
          <a:prstGeom prst="roundRect">
            <a:avLst>
              <a:gd name="adj" fmla="val 50000"/>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tx1"/>
                </a:solidFill>
                <a:latin typeface="Arial" panose="020B0604020202020204" pitchFamily="34" charset="0"/>
                <a:cs typeface="Arial" panose="020B0604020202020204" pitchFamily="34" charset="0"/>
                <a:sym typeface="+mn-lt"/>
              </a:rPr>
              <a:t>-4%</a:t>
            </a:r>
          </a:p>
        </p:txBody>
      </p:sp>
      <p:sp>
        <p:nvSpPr>
          <p:cNvPr id="136" name="Rectangle: Rounded Corners 241">
            <a:extLst>
              <a:ext uri="{FF2B5EF4-FFF2-40B4-BE49-F238E27FC236}">
                <a16:creationId xmlns:a16="http://schemas.microsoft.com/office/drawing/2014/main" id="{FB83EE3A-1545-2339-E5D2-94AE20577DDC}"/>
              </a:ext>
            </a:extLst>
          </p:cNvPr>
          <p:cNvSpPr>
            <a:spLocks/>
          </p:cNvSpPr>
          <p:nvPr/>
        </p:nvSpPr>
        <p:spPr>
          <a:xfrm>
            <a:off x="7655476" y="3183511"/>
            <a:ext cx="438608" cy="215900"/>
          </a:xfrm>
          <a:prstGeom prst="roundRect">
            <a:avLst>
              <a:gd name="adj" fmla="val 50000"/>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bg1"/>
                </a:solidFill>
                <a:latin typeface="Arial" panose="020B0604020202020204" pitchFamily="34" charset="0"/>
                <a:cs typeface="Arial" panose="020B0604020202020204" pitchFamily="34" charset="0"/>
                <a:sym typeface="+mn-lt"/>
              </a:rPr>
              <a:t>-8%</a:t>
            </a:r>
            <a:endParaRPr lang="en-US" sz="800" err="1">
              <a:solidFill>
                <a:schemeClr val="bg1"/>
              </a:solidFill>
              <a:latin typeface="Arial" panose="020B0604020202020204" pitchFamily="34" charset="0"/>
              <a:cs typeface="Arial" panose="020B0604020202020204" pitchFamily="34" charset="0"/>
              <a:sym typeface="+mn-lt"/>
            </a:endParaRPr>
          </a:p>
        </p:txBody>
      </p:sp>
      <p:sp>
        <p:nvSpPr>
          <p:cNvPr id="137" name="Rectangle: Rounded Corners 249">
            <a:extLst>
              <a:ext uri="{FF2B5EF4-FFF2-40B4-BE49-F238E27FC236}">
                <a16:creationId xmlns:a16="http://schemas.microsoft.com/office/drawing/2014/main" id="{78280F6D-A3F3-35D3-77AD-36F3450FE269}"/>
              </a:ext>
            </a:extLst>
          </p:cNvPr>
          <p:cNvSpPr>
            <a:spLocks/>
          </p:cNvSpPr>
          <p:nvPr/>
        </p:nvSpPr>
        <p:spPr>
          <a:xfrm>
            <a:off x="8293932" y="3183511"/>
            <a:ext cx="438608" cy="215900"/>
          </a:xfrm>
          <a:prstGeom prst="roundRect">
            <a:avLst>
              <a:gd name="adj" fmla="val 50000"/>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bg1"/>
                </a:solidFill>
                <a:latin typeface="Arial" panose="020B0604020202020204" pitchFamily="34" charset="0"/>
                <a:cs typeface="Arial" panose="020B0604020202020204" pitchFamily="34" charset="0"/>
                <a:sym typeface="+mn-lt"/>
              </a:rPr>
              <a:t>3%</a:t>
            </a:r>
            <a:endParaRPr lang="en-US" sz="800" err="1">
              <a:solidFill>
                <a:schemeClr val="bg1"/>
              </a:solidFill>
              <a:latin typeface="Arial" panose="020B0604020202020204" pitchFamily="34" charset="0"/>
              <a:cs typeface="Arial" panose="020B0604020202020204" pitchFamily="34" charset="0"/>
              <a:sym typeface="+mn-lt"/>
            </a:endParaRPr>
          </a:p>
        </p:txBody>
      </p:sp>
      <p:sp>
        <p:nvSpPr>
          <p:cNvPr id="138" name="Rectangle: Rounded Corners 242">
            <a:extLst>
              <a:ext uri="{FF2B5EF4-FFF2-40B4-BE49-F238E27FC236}">
                <a16:creationId xmlns:a16="http://schemas.microsoft.com/office/drawing/2014/main" id="{1DA25D33-B6C8-05D2-A81C-B8B04C1C44E1}"/>
              </a:ext>
            </a:extLst>
          </p:cNvPr>
          <p:cNvSpPr>
            <a:spLocks/>
          </p:cNvSpPr>
          <p:nvPr/>
        </p:nvSpPr>
        <p:spPr>
          <a:xfrm>
            <a:off x="7655476" y="3667698"/>
            <a:ext cx="438608" cy="215900"/>
          </a:xfrm>
          <a:prstGeom prst="roundRect">
            <a:avLst>
              <a:gd name="adj" fmla="val 50000"/>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bg1"/>
                </a:solidFill>
                <a:latin typeface="Arial" panose="020B0604020202020204" pitchFamily="34" charset="0"/>
                <a:cs typeface="Arial" panose="020B0604020202020204" pitchFamily="34" charset="0"/>
                <a:sym typeface="+mn-lt"/>
              </a:rPr>
              <a:t>6%</a:t>
            </a:r>
            <a:endParaRPr lang="en-US" sz="800" err="1">
              <a:solidFill>
                <a:schemeClr val="bg1"/>
              </a:solidFill>
              <a:latin typeface="Arial" panose="020B0604020202020204" pitchFamily="34" charset="0"/>
              <a:cs typeface="Arial" panose="020B0604020202020204" pitchFamily="34" charset="0"/>
              <a:sym typeface="+mn-lt"/>
            </a:endParaRPr>
          </a:p>
        </p:txBody>
      </p:sp>
      <p:sp>
        <p:nvSpPr>
          <p:cNvPr id="139" name="Rectangle: Rounded Corners 250">
            <a:extLst>
              <a:ext uri="{FF2B5EF4-FFF2-40B4-BE49-F238E27FC236}">
                <a16:creationId xmlns:a16="http://schemas.microsoft.com/office/drawing/2014/main" id="{9009F60F-4026-02DB-BDDB-D9650BD07124}"/>
              </a:ext>
            </a:extLst>
          </p:cNvPr>
          <p:cNvSpPr>
            <a:spLocks/>
          </p:cNvSpPr>
          <p:nvPr/>
        </p:nvSpPr>
        <p:spPr>
          <a:xfrm>
            <a:off x="8293932" y="3667698"/>
            <a:ext cx="438608" cy="215900"/>
          </a:xfrm>
          <a:prstGeom prst="roundRect">
            <a:avLst>
              <a:gd name="adj" fmla="val 50000"/>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bg1"/>
                </a:solidFill>
                <a:latin typeface="Arial" panose="020B0604020202020204" pitchFamily="34" charset="0"/>
                <a:cs typeface="Arial" panose="020B0604020202020204" pitchFamily="34" charset="0"/>
                <a:sym typeface="+mn-lt"/>
              </a:rPr>
              <a:t>5%</a:t>
            </a:r>
            <a:endParaRPr lang="en-US" sz="800" err="1">
              <a:solidFill>
                <a:schemeClr val="bg1"/>
              </a:solidFill>
              <a:latin typeface="Arial" panose="020B0604020202020204" pitchFamily="34" charset="0"/>
              <a:cs typeface="Arial" panose="020B0604020202020204" pitchFamily="34" charset="0"/>
              <a:sym typeface="+mn-lt"/>
            </a:endParaRPr>
          </a:p>
        </p:txBody>
      </p:sp>
      <p:sp>
        <p:nvSpPr>
          <p:cNvPr id="140" name="Rectangle: Rounded Corners 243">
            <a:extLst>
              <a:ext uri="{FF2B5EF4-FFF2-40B4-BE49-F238E27FC236}">
                <a16:creationId xmlns:a16="http://schemas.microsoft.com/office/drawing/2014/main" id="{FA3E797E-B27A-3DDB-9447-E39F1F6896BB}"/>
              </a:ext>
            </a:extLst>
          </p:cNvPr>
          <p:cNvSpPr>
            <a:spLocks/>
          </p:cNvSpPr>
          <p:nvPr/>
        </p:nvSpPr>
        <p:spPr>
          <a:xfrm>
            <a:off x="7655476" y="4212211"/>
            <a:ext cx="438608" cy="215900"/>
          </a:xfrm>
          <a:prstGeom prst="roundRect">
            <a:avLst>
              <a:gd name="adj" fmla="val 50000"/>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bg1"/>
                </a:solidFill>
                <a:latin typeface="Arial" panose="020B0604020202020204" pitchFamily="34" charset="0"/>
                <a:cs typeface="Arial" panose="020B0604020202020204" pitchFamily="34" charset="0"/>
                <a:sym typeface="+mn-lt"/>
              </a:rPr>
              <a:t>8%</a:t>
            </a:r>
            <a:endParaRPr lang="en-US" sz="800" err="1">
              <a:solidFill>
                <a:schemeClr val="bg1"/>
              </a:solidFill>
              <a:latin typeface="Arial" panose="020B0604020202020204" pitchFamily="34" charset="0"/>
              <a:cs typeface="Arial" panose="020B0604020202020204" pitchFamily="34" charset="0"/>
              <a:sym typeface="+mn-lt"/>
            </a:endParaRPr>
          </a:p>
        </p:txBody>
      </p:sp>
      <p:sp>
        <p:nvSpPr>
          <p:cNvPr id="141" name="Rectangle: Rounded Corners 251">
            <a:extLst>
              <a:ext uri="{FF2B5EF4-FFF2-40B4-BE49-F238E27FC236}">
                <a16:creationId xmlns:a16="http://schemas.microsoft.com/office/drawing/2014/main" id="{9EE3C44A-742E-F6D7-5ED4-8FD6A8F1DD56}"/>
              </a:ext>
            </a:extLst>
          </p:cNvPr>
          <p:cNvSpPr>
            <a:spLocks/>
          </p:cNvSpPr>
          <p:nvPr/>
        </p:nvSpPr>
        <p:spPr>
          <a:xfrm>
            <a:off x="8293932" y="4212211"/>
            <a:ext cx="438608" cy="215900"/>
          </a:xfrm>
          <a:prstGeom prst="roundRect">
            <a:avLst>
              <a:gd name="adj" fmla="val 50000"/>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800">
                <a:solidFill>
                  <a:schemeClr val="bg1"/>
                </a:solidFill>
                <a:latin typeface="Arial" panose="020B0604020202020204" pitchFamily="34" charset="0"/>
                <a:cs typeface="Arial" panose="020B0604020202020204" pitchFamily="34" charset="0"/>
                <a:sym typeface="+mn-lt"/>
              </a:rPr>
              <a:t>1%</a:t>
            </a:r>
            <a:endParaRPr lang="en-US" sz="800" err="1">
              <a:solidFill>
                <a:schemeClr val="bg1"/>
              </a:solidFill>
              <a:latin typeface="Arial" panose="020B0604020202020204" pitchFamily="34" charset="0"/>
              <a:cs typeface="Arial" panose="020B0604020202020204" pitchFamily="34" charset="0"/>
              <a:sym typeface="+mn-lt"/>
            </a:endParaRPr>
          </a:p>
        </p:txBody>
      </p:sp>
      <p:sp>
        <p:nvSpPr>
          <p:cNvPr id="142" name="Source">
            <a:extLst>
              <a:ext uri="{FF2B5EF4-FFF2-40B4-BE49-F238E27FC236}">
                <a16:creationId xmlns:a16="http://schemas.microsoft.com/office/drawing/2014/main" id="{F8A660DA-8E2B-6F4F-292F-00248DB28F3B}"/>
              </a:ext>
            </a:extLst>
          </p:cNvPr>
          <p:cNvSpPr txBox="1"/>
          <p:nvPr/>
        </p:nvSpPr>
        <p:spPr>
          <a:xfrm>
            <a:off x="6921368" y="4560175"/>
            <a:ext cx="666849" cy="5540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400">
                <a:latin typeface="Arial" panose="020B0604020202020204" pitchFamily="34" charset="0"/>
                <a:cs typeface="Arial" panose="020B0604020202020204" pitchFamily="34" charset="0"/>
                <a:sym typeface="+mn-lt"/>
              </a:rPr>
              <a:t>Source: Fitch, Roland Berger</a:t>
            </a:r>
          </a:p>
        </p:txBody>
      </p:sp>
      <p:sp>
        <p:nvSpPr>
          <p:cNvPr id="143" name="TextBox 13">
            <a:extLst>
              <a:ext uri="{FF2B5EF4-FFF2-40B4-BE49-F238E27FC236}">
                <a16:creationId xmlns:a16="http://schemas.microsoft.com/office/drawing/2014/main" id="{6688572B-9042-CA01-8558-A4BC4F6E90CA}"/>
              </a:ext>
            </a:extLst>
          </p:cNvPr>
          <p:cNvSpPr txBox="1"/>
          <p:nvPr/>
        </p:nvSpPr>
        <p:spPr>
          <a:xfrm>
            <a:off x="129782" y="1667689"/>
            <a:ext cx="7579731" cy="246221"/>
          </a:xfrm>
          <a:prstGeom prst="rect">
            <a:avLst/>
          </a:prstGeom>
          <a:noFill/>
        </p:spPr>
        <p:txBody>
          <a:bodyPr wrap="square">
            <a:spAutoFit/>
          </a:bodyPr>
          <a:lstStyle/>
          <a:p>
            <a:r>
              <a:rPr lang="en-US" sz="1000" dirty="0">
                <a:solidFill>
                  <a:schemeClr val="tx2"/>
                </a:solidFill>
                <a:latin typeface="Arial" panose="020B0604020202020204" pitchFamily="34" charset="0"/>
                <a:cs typeface="Arial" panose="020B0604020202020204" pitchFamily="34" charset="0"/>
                <a:sym typeface="+mn-lt"/>
              </a:rPr>
              <a:t>Capex of worldwide top 100 Oil &amp; Gas companies </a:t>
            </a:r>
            <a:r>
              <a:rPr lang="en-US" sz="1000" b="0" dirty="0">
                <a:solidFill>
                  <a:schemeClr val="tx2"/>
                </a:solidFill>
                <a:latin typeface="Arial" panose="020B0604020202020204" pitchFamily="34" charset="0"/>
                <a:cs typeface="Arial" panose="020B0604020202020204" pitchFamily="34" charset="0"/>
                <a:sym typeface="+mn-lt"/>
              </a:rPr>
              <a:t>[USD bn]</a:t>
            </a:r>
            <a:endParaRPr lang="en-GB" sz="1000" dirty="0">
              <a:solidFill>
                <a:schemeClr val="tx2"/>
              </a:solidFill>
              <a:latin typeface="Arial" panose="020B0604020202020204" pitchFamily="34" charset="0"/>
              <a:cs typeface="Arial" panose="020B0604020202020204" pitchFamily="34" charset="0"/>
            </a:endParaRPr>
          </a:p>
        </p:txBody>
      </p:sp>
      <p:sp>
        <p:nvSpPr>
          <p:cNvPr id="144" name="Notes">
            <a:extLst>
              <a:ext uri="{FF2B5EF4-FFF2-40B4-BE49-F238E27FC236}">
                <a16:creationId xmlns:a16="http://schemas.microsoft.com/office/drawing/2014/main" id="{ADAB3386-61AF-1FCC-BA4F-513218E8F08E}"/>
              </a:ext>
            </a:extLst>
          </p:cNvPr>
          <p:cNvSpPr txBox="1"/>
          <p:nvPr/>
        </p:nvSpPr>
        <p:spPr>
          <a:xfrm>
            <a:off x="6906819" y="4470865"/>
            <a:ext cx="1518044" cy="61555"/>
          </a:xfrm>
          <a:prstGeom prst="rect">
            <a:avLst/>
          </a:prstGeom>
          <a:noFill/>
          <a:ln w="9525">
            <a:noFill/>
          </a:ln>
        </p:spPr>
        <p:txBody>
          <a:bodyPr vert="horz" wrap="none" lIns="0" tIns="0" rIns="0" bIns="0" rtlCol="0" anchor="b" anchorCtr="0">
            <a:spAutoFit/>
          </a:bodyPr>
          <a:lstStyle>
            <a:defPPr>
              <a:defRPr lang="en-EN"/>
            </a:defPPr>
            <a:lvl1pPr lvl="0">
              <a:lnSpc>
                <a:spcPct val="100000"/>
              </a:lnSpc>
              <a:spcBef>
                <a:spcPts val="0"/>
              </a:spcBef>
              <a:spcAft>
                <a:spcPts val="0"/>
              </a:spcAft>
              <a:buSzPct val="100000"/>
              <a:defRPr sz="800" b="0">
                <a:solidFill>
                  <a:schemeClr val="tx2"/>
                </a:solidFill>
                <a:latin typeface="+mn-lt"/>
              </a:defRPr>
            </a:lvl1pPr>
          </a:lstStyle>
          <a:p>
            <a:r>
              <a:rPr lang="en-US" sz="400" dirty="0">
                <a:latin typeface="Arial" panose="020B0604020202020204" pitchFamily="34" charset="0"/>
                <a:cs typeface="Arial" panose="020B0604020202020204" pitchFamily="34" charset="0"/>
                <a:sym typeface="+mn-lt"/>
              </a:rPr>
              <a:t>1) Includes: ENI, </a:t>
            </a:r>
            <a:r>
              <a:rPr lang="en-US" sz="400" dirty="0" err="1">
                <a:latin typeface="Arial" panose="020B0604020202020204" pitchFamily="34" charset="0"/>
                <a:cs typeface="Arial" panose="020B0604020202020204" pitchFamily="34" charset="0"/>
                <a:sym typeface="+mn-lt"/>
              </a:rPr>
              <a:t>Statolil</a:t>
            </a:r>
            <a:r>
              <a:rPr lang="en-US" sz="400" dirty="0">
                <a:latin typeface="Arial" panose="020B0604020202020204" pitchFamily="34" charset="0"/>
                <a:cs typeface="Arial" panose="020B0604020202020204" pitchFamily="34" charset="0"/>
                <a:sym typeface="+mn-lt"/>
              </a:rPr>
              <a:t>, TOTAL, Chevron, BP, Shell, ExxonMobil </a:t>
            </a:r>
          </a:p>
        </p:txBody>
      </p:sp>
      <p:sp>
        <p:nvSpPr>
          <p:cNvPr id="9" name="Text Placeholder">
            <a:extLst>
              <a:ext uri="{FF2B5EF4-FFF2-40B4-BE49-F238E27FC236}">
                <a16:creationId xmlns:a16="http://schemas.microsoft.com/office/drawing/2014/main" id="{6FD72A8E-BAAD-22CD-E825-747DBC9F325A}"/>
              </a:ext>
            </a:extLst>
          </p:cNvPr>
          <p:cNvSpPr>
            <a:spLocks noGrp="1"/>
          </p:cNvSpPr>
          <p:nvPr>
            <p:custDataLst>
              <p:tags r:id="rId57"/>
            </p:custDataLst>
          </p:nvPr>
        </p:nvSpPr>
        <p:spPr bwMode="gray">
          <a:xfrm>
            <a:off x="694821" y="4222661"/>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83E25244-243A-408F-A0D0-2160AE53F2BB}" type="datetime'''''2''''''''''''''0%'''''''''''''''''''''''''''''''">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0" name="Text Placeholder">
            <a:extLst>
              <a:ext uri="{FF2B5EF4-FFF2-40B4-BE49-F238E27FC236}">
                <a16:creationId xmlns:a16="http://schemas.microsoft.com/office/drawing/2014/main" id="{8A274638-6F40-268F-E504-690C73CE09CB}"/>
              </a:ext>
            </a:extLst>
          </p:cNvPr>
          <p:cNvSpPr>
            <a:spLocks noGrp="1"/>
          </p:cNvSpPr>
          <p:nvPr>
            <p:custDataLst>
              <p:tags r:id="rId58"/>
            </p:custDataLst>
          </p:nvPr>
        </p:nvSpPr>
        <p:spPr bwMode="gray">
          <a:xfrm>
            <a:off x="1961001" y="4263145"/>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C49C5B65-C056-4EE3-BED8-76A6A2F683AE}" type="datetime'''23%'''">
              <a:rPr lang="en-US" altLang="en-US" sz="800" smtClean="0">
                <a:solidFill>
                  <a:schemeClr val="bg1"/>
                </a:solidFill>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3%</a:t>
            </a:fld>
            <a:endParaRPr lang="en-US" sz="8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1" name="Text Placeholder">
            <a:extLst>
              <a:ext uri="{FF2B5EF4-FFF2-40B4-BE49-F238E27FC236}">
                <a16:creationId xmlns:a16="http://schemas.microsoft.com/office/drawing/2014/main" id="{E4C2BE34-54E0-1B60-D2C0-ECDEB8295CDE}"/>
              </a:ext>
            </a:extLst>
          </p:cNvPr>
          <p:cNvSpPr>
            <a:spLocks noGrp="1"/>
          </p:cNvSpPr>
          <p:nvPr>
            <p:custDataLst>
              <p:tags r:id="rId59"/>
            </p:custDataLst>
          </p:nvPr>
        </p:nvSpPr>
        <p:spPr bwMode="gray">
          <a:xfrm>
            <a:off x="3278479" y="4222661"/>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r>
              <a:rPr lang="en-US" sz="800" dirty="0">
                <a:solidFill>
                  <a:schemeClr val="bg1"/>
                </a:solidFill>
                <a:latin typeface="Arial" panose="020B0604020202020204" pitchFamily="34" charset="0"/>
                <a:cs typeface="Arial" panose="020B0604020202020204" pitchFamily="34" charset="0"/>
                <a:sym typeface="Arial" panose="020B0604020202020204" pitchFamily="34" charset="0"/>
              </a:rPr>
              <a:t>25%</a:t>
            </a:r>
          </a:p>
        </p:txBody>
      </p:sp>
      <p:sp>
        <p:nvSpPr>
          <p:cNvPr id="12" name="Text Placeholder">
            <a:extLst>
              <a:ext uri="{FF2B5EF4-FFF2-40B4-BE49-F238E27FC236}">
                <a16:creationId xmlns:a16="http://schemas.microsoft.com/office/drawing/2014/main" id="{7ABC9E67-80B7-8CBB-285D-59A202C2F8E7}"/>
              </a:ext>
            </a:extLst>
          </p:cNvPr>
          <p:cNvSpPr>
            <a:spLocks noGrp="1"/>
          </p:cNvSpPr>
          <p:nvPr>
            <p:custDataLst>
              <p:tags r:id="rId60"/>
            </p:custDataLst>
          </p:nvPr>
        </p:nvSpPr>
        <p:spPr bwMode="gray">
          <a:xfrm>
            <a:off x="4526213" y="4154775"/>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r>
              <a:rPr lang="en-US" sz="800" dirty="0">
                <a:solidFill>
                  <a:schemeClr val="bg1"/>
                </a:solidFill>
                <a:latin typeface="Arial" panose="020B0604020202020204" pitchFamily="34" charset="0"/>
                <a:cs typeface="Arial" panose="020B0604020202020204" pitchFamily="34" charset="0"/>
                <a:sym typeface="Arial" panose="020B0604020202020204" pitchFamily="34" charset="0"/>
              </a:rPr>
              <a:t>25%</a:t>
            </a:r>
          </a:p>
        </p:txBody>
      </p:sp>
      <p:sp>
        <p:nvSpPr>
          <p:cNvPr id="13" name="Text Placeholder">
            <a:extLst>
              <a:ext uri="{FF2B5EF4-FFF2-40B4-BE49-F238E27FC236}">
                <a16:creationId xmlns:a16="http://schemas.microsoft.com/office/drawing/2014/main" id="{CB82D07C-CC22-8E47-6910-8A1AD1B51131}"/>
              </a:ext>
            </a:extLst>
          </p:cNvPr>
          <p:cNvSpPr>
            <a:spLocks noGrp="1"/>
          </p:cNvSpPr>
          <p:nvPr>
            <p:custDataLst>
              <p:tags r:id="rId61"/>
            </p:custDataLst>
          </p:nvPr>
        </p:nvSpPr>
        <p:spPr bwMode="gray">
          <a:xfrm>
            <a:off x="5812637" y="4167761"/>
            <a:ext cx="290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r>
              <a:rPr lang="en-US" sz="800" dirty="0">
                <a:solidFill>
                  <a:schemeClr val="bg1"/>
                </a:solidFill>
                <a:latin typeface="Arial" panose="020B0604020202020204" pitchFamily="34" charset="0"/>
                <a:cs typeface="Arial" panose="020B0604020202020204" pitchFamily="34" charset="0"/>
                <a:sym typeface="Arial" panose="020B0604020202020204" pitchFamily="34" charset="0"/>
              </a:rPr>
              <a:t>25%</a:t>
            </a:r>
          </a:p>
        </p:txBody>
      </p:sp>
    </p:spTree>
    <p:extLst>
      <p:ext uri="{BB962C8B-B14F-4D97-AF65-F5344CB8AC3E}">
        <p14:creationId xmlns:p14="http://schemas.microsoft.com/office/powerpoint/2010/main" val="928384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5">
            <a:extLst>
              <a:ext uri="{FF2B5EF4-FFF2-40B4-BE49-F238E27FC236}">
                <a16:creationId xmlns:a16="http://schemas.microsoft.com/office/drawing/2014/main" id="{C57A0B68-948F-CBED-97A5-A01371066D12}"/>
              </a:ext>
            </a:extLst>
          </p:cNvPr>
          <p:cNvSpPr>
            <a:spLocks noGrp="1"/>
          </p:cNvSpPr>
          <p:nvPr>
            <p:ph type="title"/>
          </p:nvPr>
        </p:nvSpPr>
        <p:spPr>
          <a:xfrm>
            <a:off x="250825" y="842963"/>
            <a:ext cx="8642350" cy="1101725"/>
          </a:xfrm>
        </p:spPr>
        <p:txBody>
          <a:bodyPr/>
          <a:lstStyle/>
          <a:p>
            <a:pPr>
              <a:lnSpc>
                <a:spcPct val="100000"/>
              </a:lnSpc>
            </a:pPr>
            <a:r>
              <a:rPr lang="en-US" sz="2000" dirty="0"/>
              <a:t>In the upstream segment, Off-shore is outperforming On-shore – Middle East and South America key investment regions</a:t>
            </a:r>
            <a:endParaRPr lang="it-IT" sz="13800" dirty="0"/>
          </a:p>
        </p:txBody>
      </p:sp>
      <p:cxnSp>
        <p:nvCxnSpPr>
          <p:cNvPr id="59" name="LeanLine Vertical 635138274914804550">
            <a:extLst>
              <a:ext uri="{FF2B5EF4-FFF2-40B4-BE49-F238E27FC236}">
                <a16:creationId xmlns:a16="http://schemas.microsoft.com/office/drawing/2014/main" id="{B6EE7B30-C1AB-E965-97A3-2CCF199987D4}"/>
              </a:ext>
            </a:extLst>
          </p:cNvPr>
          <p:cNvCxnSpPr>
            <a:cxnSpLocks/>
          </p:cNvCxnSpPr>
          <p:nvPr/>
        </p:nvCxnSpPr>
        <p:spPr>
          <a:xfrm>
            <a:off x="3268340" y="2247781"/>
            <a:ext cx="0" cy="2196000"/>
          </a:xfrm>
          <a:prstGeom prst="line">
            <a:avLst/>
          </a:prstGeom>
          <a:ln w="9525" cmpd="sng">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graphicFrame>
        <p:nvGraphicFramePr>
          <p:cNvPr id="60" name="Chart 12">
            <a:extLst>
              <a:ext uri="{FF2B5EF4-FFF2-40B4-BE49-F238E27FC236}">
                <a16:creationId xmlns:a16="http://schemas.microsoft.com/office/drawing/2014/main" id="{2C54CC89-6A85-5108-31B3-75D3DA66FA81}"/>
              </a:ext>
            </a:extLst>
          </p:cNvPr>
          <p:cNvGraphicFramePr/>
          <p:nvPr>
            <p:custDataLst>
              <p:tags r:id="rId1"/>
            </p:custDataLst>
            <p:extLst>
              <p:ext uri="{D42A27DB-BD31-4B8C-83A1-F6EECF244321}">
                <p14:modId xmlns:p14="http://schemas.microsoft.com/office/powerpoint/2010/main" val="4126747538"/>
              </p:ext>
            </p:extLst>
          </p:nvPr>
        </p:nvGraphicFramePr>
        <p:xfrm>
          <a:off x="5924551" y="1979493"/>
          <a:ext cx="2422525" cy="2422525"/>
        </p:xfrm>
        <a:graphic>
          <a:graphicData uri="http://schemas.openxmlformats.org/drawingml/2006/chart">
            <c:chart xmlns:c="http://schemas.openxmlformats.org/drawingml/2006/chart" xmlns:r="http://schemas.openxmlformats.org/officeDocument/2006/relationships" r:id="rId31"/>
          </a:graphicData>
        </a:graphic>
      </p:graphicFrame>
      <p:sp>
        <p:nvSpPr>
          <p:cNvPr id="61" name="Text Placeholder">
            <a:extLst>
              <a:ext uri="{FF2B5EF4-FFF2-40B4-BE49-F238E27FC236}">
                <a16:creationId xmlns:a16="http://schemas.microsoft.com/office/drawing/2014/main" id="{5E4F376E-30A9-C176-179C-B212864A1990}"/>
              </a:ext>
            </a:extLst>
          </p:cNvPr>
          <p:cNvSpPr>
            <a:spLocks noGrp="1"/>
          </p:cNvSpPr>
          <p:nvPr>
            <p:custDataLst>
              <p:tags r:id="rId2"/>
            </p:custDataLst>
          </p:nvPr>
        </p:nvSpPr>
        <p:spPr bwMode="auto">
          <a:xfrm>
            <a:off x="7807326" y="2095381"/>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094129B8-99EC-485F-8C31-E68137D5A7D1}" type="datetime'''''''''''''''''Mi''''''''dd''''l''''''e ''''E''''a''s''''t'">
              <a:rPr lang="en-US" altLang="en-US" sz="900" smtClean="0">
                <a:latin typeface="Arial" panose="020B0604020202020204" pitchFamily="34" charset="0"/>
                <a:cs typeface="Arial" panose="020B0604020202020204" pitchFamily="34" charset="0"/>
                <a:sym typeface="Arial" panose="020B0604020202020204" pitchFamily="34" charset="0"/>
              </a:rPr>
              <a:pPr defTabSz="685800">
                <a:spcBef>
                  <a:spcPct val="0"/>
                </a:spcBef>
                <a:buSzPct val="100000"/>
                <a:buFont typeface="+mn-lt" pitchFamily="34" charset="0"/>
              </a:pPr>
              <a:t>Middle East</a:t>
            </a:fld>
            <a:endParaRPr lang="en-US" sz="900">
              <a:latin typeface="Arial" panose="020B0604020202020204" pitchFamily="34" charset="0"/>
              <a:cs typeface="Arial" panose="020B0604020202020204" pitchFamily="34" charset="0"/>
              <a:sym typeface="Arial" panose="020B0604020202020204" pitchFamily="34" charset="0"/>
            </a:endParaRPr>
          </a:p>
        </p:txBody>
      </p:sp>
      <p:sp>
        <p:nvSpPr>
          <p:cNvPr id="62" name="Text Placeholder">
            <a:extLst>
              <a:ext uri="{FF2B5EF4-FFF2-40B4-BE49-F238E27FC236}">
                <a16:creationId xmlns:a16="http://schemas.microsoft.com/office/drawing/2014/main" id="{5BD80D94-F996-54E9-1094-C7133FE64FC9}"/>
              </a:ext>
            </a:extLst>
          </p:cNvPr>
          <p:cNvSpPr>
            <a:spLocks noGrp="1"/>
          </p:cNvSpPr>
          <p:nvPr>
            <p:custDataLst>
              <p:tags r:id="rId3"/>
            </p:custDataLst>
          </p:nvPr>
        </p:nvSpPr>
        <p:spPr bwMode="auto">
          <a:xfrm>
            <a:off x="8305800" y="3297117"/>
            <a:ext cx="4651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45A212B5-D3F6-42C1-87D0-A2C00E536A08}" type="datetime'''''''S''''''ou''''th''''&#10;Ame''''''''''''''''''r''i''c''a'''">
              <a:rPr lang="en-US" altLang="en-US" sz="900" smtClean="0">
                <a:latin typeface="Arial" panose="020B0604020202020204" pitchFamily="34" charset="0"/>
                <a:cs typeface="Arial" panose="020B0604020202020204" pitchFamily="34" charset="0"/>
                <a:sym typeface="Arial" panose="020B0604020202020204" pitchFamily="34" charset="0"/>
              </a:rPr>
              <a:pPr defTabSz="685800">
                <a:spcBef>
                  <a:spcPct val="0"/>
                </a:spcBef>
                <a:buSzPct val="100000"/>
                <a:buFont typeface="+mn-lt" pitchFamily="34" charset="0"/>
              </a:pPr>
              <a:t>South
America</a:t>
            </a:fld>
            <a:endParaRPr lang="en-US" sz="900">
              <a:latin typeface="Arial" panose="020B0604020202020204" pitchFamily="34" charset="0"/>
              <a:cs typeface="Arial" panose="020B0604020202020204" pitchFamily="34" charset="0"/>
              <a:sym typeface="Arial" panose="020B0604020202020204" pitchFamily="34" charset="0"/>
            </a:endParaRPr>
          </a:p>
        </p:txBody>
      </p:sp>
      <p:sp>
        <p:nvSpPr>
          <p:cNvPr id="63" name="Text Placeholder">
            <a:extLst>
              <a:ext uri="{FF2B5EF4-FFF2-40B4-BE49-F238E27FC236}">
                <a16:creationId xmlns:a16="http://schemas.microsoft.com/office/drawing/2014/main" id="{C78AF091-8E2F-1696-F529-7CBB59B7F62F}"/>
              </a:ext>
            </a:extLst>
          </p:cNvPr>
          <p:cNvSpPr>
            <a:spLocks noGrp="1"/>
          </p:cNvSpPr>
          <p:nvPr>
            <p:custDataLst>
              <p:tags r:id="rId4"/>
            </p:custDataLst>
          </p:nvPr>
        </p:nvSpPr>
        <p:spPr bwMode="auto">
          <a:xfrm>
            <a:off x="7510463" y="4286130"/>
            <a:ext cx="4714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4970EF3F-C9AE-42BD-A722-B47DCEE9A2AD}" type="datetime'We''''''st''''e''''r''n&#10;Eu''r''''''''''''op''e'">
              <a:rPr lang="en-US" altLang="en-US" sz="900" smtClean="0">
                <a:latin typeface="Arial" panose="020B0604020202020204" pitchFamily="34" charset="0"/>
                <a:cs typeface="Arial" panose="020B0604020202020204" pitchFamily="34" charset="0"/>
                <a:sym typeface="Arial" panose="020B0604020202020204" pitchFamily="34" charset="0"/>
              </a:rPr>
              <a:pPr defTabSz="685800">
                <a:spcBef>
                  <a:spcPct val="0"/>
                </a:spcBef>
                <a:buSzPct val="100000"/>
                <a:buFont typeface="+mn-lt" pitchFamily="34" charset="0"/>
              </a:pPr>
              <a:t>Western
Europe</a:t>
            </a:fld>
            <a:endParaRPr lang="en-US" sz="900">
              <a:latin typeface="Arial" panose="020B0604020202020204" pitchFamily="34" charset="0"/>
              <a:cs typeface="Arial" panose="020B0604020202020204" pitchFamily="34" charset="0"/>
              <a:sym typeface="Arial" panose="020B0604020202020204" pitchFamily="34" charset="0"/>
            </a:endParaRPr>
          </a:p>
        </p:txBody>
      </p:sp>
      <p:sp>
        <p:nvSpPr>
          <p:cNvPr id="64" name="Text Placeholder">
            <a:extLst>
              <a:ext uri="{FF2B5EF4-FFF2-40B4-BE49-F238E27FC236}">
                <a16:creationId xmlns:a16="http://schemas.microsoft.com/office/drawing/2014/main" id="{5D44A0DD-966C-EC74-D63D-465E3F50BBDB}"/>
              </a:ext>
            </a:extLst>
          </p:cNvPr>
          <p:cNvSpPr>
            <a:spLocks noGrp="1"/>
          </p:cNvSpPr>
          <p:nvPr>
            <p:custDataLst>
              <p:tags r:id="rId5"/>
            </p:custDataLst>
          </p:nvPr>
        </p:nvSpPr>
        <p:spPr bwMode="auto">
          <a:xfrm>
            <a:off x="6159500" y="4228980"/>
            <a:ext cx="4651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A942C5F6-6A8E-414C-9454-9F4BEC4264A9}" type="datetime'''Nor''''''''''''th''''''&#10;''''A''''''m''''''er''''''''''ica'">
              <a:rPr lang="en-US" altLang="en-US" sz="900" smtClean="0">
                <a:latin typeface="Arial" panose="020B0604020202020204" pitchFamily="34" charset="0"/>
                <a:cs typeface="Arial" panose="020B0604020202020204" pitchFamily="34" charset="0"/>
                <a:sym typeface="Arial" panose="020B0604020202020204" pitchFamily="34" charset="0"/>
              </a:rPr>
              <a:pPr defTabSz="685800">
                <a:spcBef>
                  <a:spcPct val="0"/>
                </a:spcBef>
                <a:buSzPct val="100000"/>
                <a:buFont typeface="+mn-lt" pitchFamily="34" charset="0"/>
              </a:pPr>
              <a:t>North
America</a:t>
            </a:fld>
            <a:endParaRPr lang="en-US" sz="900">
              <a:latin typeface="Arial" panose="020B0604020202020204" pitchFamily="34" charset="0"/>
              <a:cs typeface="Arial" panose="020B0604020202020204" pitchFamily="34" charset="0"/>
              <a:sym typeface="Arial" panose="020B0604020202020204" pitchFamily="34" charset="0"/>
            </a:endParaRPr>
          </a:p>
        </p:txBody>
      </p:sp>
      <p:sp>
        <p:nvSpPr>
          <p:cNvPr id="65" name="Text Placeholder">
            <a:extLst>
              <a:ext uri="{FF2B5EF4-FFF2-40B4-BE49-F238E27FC236}">
                <a16:creationId xmlns:a16="http://schemas.microsoft.com/office/drawing/2014/main" id="{534F691E-9ED0-2053-E32B-1460856080F5}"/>
              </a:ext>
            </a:extLst>
          </p:cNvPr>
          <p:cNvSpPr>
            <a:spLocks noGrp="1"/>
          </p:cNvSpPr>
          <p:nvPr>
            <p:custDataLst>
              <p:tags r:id="rId6"/>
            </p:custDataLst>
          </p:nvPr>
        </p:nvSpPr>
        <p:spPr bwMode="auto">
          <a:xfrm>
            <a:off x="5692776" y="2543056"/>
            <a:ext cx="379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76E83A61-3A5A-43A9-8F56-E36CA9081472}" type="datetime'O''''t''''''''''''h''''''''''''''''e''''''''rs'''''''''''''''">
              <a:rPr lang="en-US" altLang="en-US" sz="900" smtClean="0">
                <a:latin typeface="Arial" panose="020B0604020202020204" pitchFamily="34" charset="0"/>
                <a:cs typeface="Arial" panose="020B0604020202020204" pitchFamily="34" charset="0"/>
                <a:sym typeface="Arial" panose="020B0604020202020204" pitchFamily="34" charset="0"/>
              </a:rPr>
              <a:pPr defTabSz="685800">
                <a:spcBef>
                  <a:spcPct val="0"/>
                </a:spcBef>
                <a:buSzPct val="100000"/>
                <a:buFont typeface="+mn-lt" pitchFamily="34" charset="0"/>
              </a:pPr>
              <a:t>Others</a:t>
            </a:fld>
            <a:endParaRPr lang="en-US" sz="900">
              <a:latin typeface="Arial" panose="020B0604020202020204" pitchFamily="34" charset="0"/>
              <a:cs typeface="Arial" panose="020B0604020202020204" pitchFamily="34" charset="0"/>
              <a:sym typeface="Arial" panose="020B0604020202020204" pitchFamily="34" charset="0"/>
            </a:endParaRPr>
          </a:p>
        </p:txBody>
      </p:sp>
      <p:sp>
        <p:nvSpPr>
          <p:cNvPr id="66" name="Text Placeholder 2">
            <a:extLst>
              <a:ext uri="{FF2B5EF4-FFF2-40B4-BE49-F238E27FC236}">
                <a16:creationId xmlns:a16="http://schemas.microsoft.com/office/drawing/2014/main" id="{BC28B971-8EE4-A291-C561-B7DCD135A793}"/>
              </a:ext>
            </a:extLst>
          </p:cNvPr>
          <p:cNvSpPr>
            <a:spLocks noGrp="1"/>
          </p:cNvSpPr>
          <p:nvPr>
            <p:custDataLst>
              <p:tags r:id="rId7"/>
            </p:custDataLst>
          </p:nvPr>
        </p:nvSpPr>
        <p:spPr bwMode="gray">
          <a:xfrm>
            <a:off x="7496176" y="2355731"/>
            <a:ext cx="395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lnSpc>
                <a:spcPct val="100000"/>
              </a:lnSpc>
              <a:spcBef>
                <a:spcPct val="0"/>
              </a:spcBef>
              <a:spcAft>
                <a:spcPct val="0"/>
              </a:spcAft>
              <a:buNone/>
            </a:pPr>
            <a:fld id="{41FECBD2-AA0F-4ACA-990D-A60F208DF76C}" type="datetime'''''''2''''''''''''''''''0''''''''''.''''''''''''2''''''''%'''">
              <a:rPr lang="en-US" altLang="en-US" sz="900" smtClean="0">
                <a:solidFill>
                  <a:schemeClr val="bg1"/>
                </a:solidFill>
                <a:effectLst/>
                <a:latin typeface="Arial" panose="020B0604020202020204" pitchFamily="34" charset="0"/>
                <a:cs typeface="Arial" panose="020B0604020202020204" pitchFamily="34" charset="0"/>
                <a:sym typeface="Arial" panose="020B0604020202020204" pitchFamily="34" charset="0"/>
              </a:rPr>
              <a:pPr marL="0" lvl="0" indent="0" algn="ctr">
                <a:lnSpc>
                  <a:spcPct val="100000"/>
                </a:lnSpc>
                <a:spcBef>
                  <a:spcPct val="0"/>
                </a:spcBef>
                <a:spcAft>
                  <a:spcPct val="0"/>
                </a:spcAft>
                <a:buNone/>
              </a:pPr>
              <a:t>20.2%</a:t>
            </a:fld>
            <a:endParaRPr lang="en-US" sz="9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7" name="Text Placeholder 2">
            <a:extLst>
              <a:ext uri="{FF2B5EF4-FFF2-40B4-BE49-F238E27FC236}">
                <a16:creationId xmlns:a16="http://schemas.microsoft.com/office/drawing/2014/main" id="{24BCBED2-9E13-CB6C-8503-3A42B17BA5D4}"/>
              </a:ext>
            </a:extLst>
          </p:cNvPr>
          <p:cNvSpPr>
            <a:spLocks noGrp="1"/>
          </p:cNvSpPr>
          <p:nvPr>
            <p:custDataLst>
              <p:tags r:id="rId8"/>
            </p:custDataLst>
          </p:nvPr>
        </p:nvSpPr>
        <p:spPr bwMode="gray">
          <a:xfrm>
            <a:off x="7842251" y="3293943"/>
            <a:ext cx="395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lnSpc>
                <a:spcPct val="100000"/>
              </a:lnSpc>
              <a:spcBef>
                <a:spcPct val="0"/>
              </a:spcBef>
              <a:spcAft>
                <a:spcPct val="0"/>
              </a:spcAft>
              <a:buNone/>
            </a:pPr>
            <a:fld id="{C2E7C6B5-443C-41CA-A50D-0DDA448F011C}" type="datetime'''''''''''''''''''''1''''''''''''5''.''''''9''''''''''''''%'">
              <a:rPr lang="en-US" altLang="en-US" sz="900" smtClean="0">
                <a:solidFill>
                  <a:schemeClr val="bg1"/>
                </a:solidFill>
                <a:effectLst/>
                <a:latin typeface="Arial" panose="020B0604020202020204" pitchFamily="34" charset="0"/>
                <a:cs typeface="Arial" panose="020B0604020202020204" pitchFamily="34" charset="0"/>
                <a:sym typeface="Arial" panose="020B0604020202020204" pitchFamily="34" charset="0"/>
              </a:rPr>
              <a:pPr marL="0" lvl="0" indent="0" algn="ctr">
                <a:lnSpc>
                  <a:spcPct val="100000"/>
                </a:lnSpc>
                <a:spcBef>
                  <a:spcPct val="0"/>
                </a:spcBef>
                <a:spcAft>
                  <a:spcPct val="0"/>
                </a:spcAft>
                <a:buNone/>
              </a:pPr>
              <a:t>15.9%</a:t>
            </a:fld>
            <a:endParaRPr lang="en-US" sz="9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1" name="Text Placeholder 2">
            <a:extLst>
              <a:ext uri="{FF2B5EF4-FFF2-40B4-BE49-F238E27FC236}">
                <a16:creationId xmlns:a16="http://schemas.microsoft.com/office/drawing/2014/main" id="{35B18F6B-2710-DA7A-7910-FBE8798D1FF4}"/>
              </a:ext>
            </a:extLst>
          </p:cNvPr>
          <p:cNvSpPr>
            <a:spLocks noGrp="1"/>
          </p:cNvSpPr>
          <p:nvPr>
            <p:custDataLst>
              <p:tags r:id="rId9"/>
            </p:custDataLst>
          </p:nvPr>
        </p:nvSpPr>
        <p:spPr bwMode="gray">
          <a:xfrm>
            <a:off x="7315201" y="4003556"/>
            <a:ext cx="395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lnSpc>
                <a:spcPct val="100000"/>
              </a:lnSpc>
              <a:spcBef>
                <a:spcPct val="0"/>
              </a:spcBef>
              <a:spcAft>
                <a:spcPct val="0"/>
              </a:spcAft>
              <a:buNone/>
            </a:pPr>
            <a:fld id="{AE217116-14CF-4FB5-9560-0FA926B77E1C}" type="datetime'''''''''''''''''''''15''''''.''''1''''''''''''''''%'''''''''''">
              <a:rPr lang="en-US" altLang="en-US" sz="900" smtClean="0">
                <a:solidFill>
                  <a:schemeClr val="bg1"/>
                </a:solidFill>
                <a:effectLst/>
                <a:latin typeface="Arial" panose="020B0604020202020204" pitchFamily="34" charset="0"/>
                <a:cs typeface="Arial" panose="020B0604020202020204" pitchFamily="34" charset="0"/>
                <a:sym typeface="Arial" panose="020B0604020202020204" pitchFamily="34" charset="0"/>
              </a:rPr>
              <a:pPr marL="0" lvl="0" indent="0" algn="ctr">
                <a:lnSpc>
                  <a:spcPct val="100000"/>
                </a:lnSpc>
                <a:spcBef>
                  <a:spcPct val="0"/>
                </a:spcBef>
                <a:spcAft>
                  <a:spcPct val="0"/>
                </a:spcAft>
                <a:buNone/>
              </a:pPr>
              <a:t>15.1%</a:t>
            </a:fld>
            <a:endParaRPr lang="en-US" sz="9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98" name="Text Placeholder 2">
            <a:extLst>
              <a:ext uri="{FF2B5EF4-FFF2-40B4-BE49-F238E27FC236}">
                <a16:creationId xmlns:a16="http://schemas.microsoft.com/office/drawing/2014/main" id="{D0F46EB8-4F35-1258-92FF-FB5BC06991F7}"/>
              </a:ext>
            </a:extLst>
          </p:cNvPr>
          <p:cNvSpPr>
            <a:spLocks noGrp="1"/>
          </p:cNvSpPr>
          <p:nvPr>
            <p:custDataLst>
              <p:tags r:id="rId10"/>
            </p:custDataLst>
          </p:nvPr>
        </p:nvSpPr>
        <p:spPr bwMode="gray">
          <a:xfrm>
            <a:off x="6475414" y="3947993"/>
            <a:ext cx="395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lnSpc>
                <a:spcPct val="100000"/>
              </a:lnSpc>
              <a:spcBef>
                <a:spcPct val="0"/>
              </a:spcBef>
              <a:spcAft>
                <a:spcPct val="0"/>
              </a:spcAft>
              <a:buNone/>
            </a:pPr>
            <a:fld id="{F06EF784-7E4D-4CF7-9A0B-DA058D379C56}" type="datetime'1''''''3''''''''''''''''''.''''''''''''''''8''%'">
              <a:rPr lang="en-US" altLang="en-US" sz="900" smtClean="0">
                <a:effectLst/>
                <a:latin typeface="Arial" panose="020B0604020202020204" pitchFamily="34" charset="0"/>
                <a:cs typeface="Arial" panose="020B0604020202020204" pitchFamily="34" charset="0"/>
                <a:sym typeface="Arial" panose="020B0604020202020204" pitchFamily="34" charset="0"/>
              </a:rPr>
              <a:pPr marL="0" lvl="0" indent="0" algn="ctr">
                <a:lnSpc>
                  <a:spcPct val="100000"/>
                </a:lnSpc>
                <a:spcBef>
                  <a:spcPct val="0"/>
                </a:spcBef>
                <a:spcAft>
                  <a:spcPct val="0"/>
                </a:spcAft>
                <a:buNone/>
              </a:pPr>
              <a:t>13.8%</a:t>
            </a:fld>
            <a:endParaRPr lang="en-US" sz="900">
              <a:latin typeface="Arial" panose="020B0604020202020204" pitchFamily="34" charset="0"/>
              <a:cs typeface="Arial" panose="020B0604020202020204" pitchFamily="34" charset="0"/>
              <a:sym typeface="Arial" panose="020B0604020202020204" pitchFamily="34" charset="0"/>
            </a:endParaRPr>
          </a:p>
        </p:txBody>
      </p:sp>
      <p:sp>
        <p:nvSpPr>
          <p:cNvPr id="110" name="Text Placeholder 2">
            <a:extLst>
              <a:ext uri="{FF2B5EF4-FFF2-40B4-BE49-F238E27FC236}">
                <a16:creationId xmlns:a16="http://schemas.microsoft.com/office/drawing/2014/main" id="{4E761429-970F-1C61-A72D-AF6C42FEBB6C}"/>
              </a:ext>
            </a:extLst>
          </p:cNvPr>
          <p:cNvSpPr>
            <a:spLocks noGrp="1"/>
          </p:cNvSpPr>
          <p:nvPr>
            <p:custDataLst>
              <p:tags r:id="rId11"/>
            </p:custDataLst>
          </p:nvPr>
        </p:nvSpPr>
        <p:spPr bwMode="gray">
          <a:xfrm>
            <a:off x="6119814" y="2697043"/>
            <a:ext cx="395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lnSpc>
                <a:spcPct val="100000"/>
              </a:lnSpc>
              <a:spcBef>
                <a:spcPct val="0"/>
              </a:spcBef>
              <a:spcAft>
                <a:spcPct val="0"/>
              </a:spcAft>
              <a:buNone/>
            </a:pPr>
            <a:fld id="{3DD601BB-3309-4E1E-BB78-1BDBC264362F}" type="datetime'''3''''5.''''''''''''0''''''''''''''''%'''''''''''''''">
              <a:rPr lang="en-US" altLang="en-US" sz="900" smtClean="0">
                <a:effectLst/>
                <a:latin typeface="Arial" panose="020B0604020202020204" pitchFamily="34" charset="0"/>
                <a:cs typeface="Arial" panose="020B0604020202020204" pitchFamily="34" charset="0"/>
                <a:sym typeface="Arial" panose="020B0604020202020204" pitchFamily="34" charset="0"/>
              </a:rPr>
              <a:pPr marL="0" lvl="0" indent="0" algn="ctr">
                <a:lnSpc>
                  <a:spcPct val="100000"/>
                </a:lnSpc>
                <a:spcBef>
                  <a:spcPct val="0"/>
                </a:spcBef>
                <a:spcAft>
                  <a:spcPct val="0"/>
                </a:spcAft>
                <a:buNone/>
              </a:pPr>
              <a:t>35.0%</a:t>
            </a:fld>
            <a:endParaRPr lang="en-US" sz="900">
              <a:latin typeface="Arial" panose="020B0604020202020204" pitchFamily="34" charset="0"/>
              <a:cs typeface="Arial" panose="020B0604020202020204" pitchFamily="34" charset="0"/>
              <a:sym typeface="Arial" panose="020B0604020202020204" pitchFamily="34" charset="0"/>
            </a:endParaRPr>
          </a:p>
        </p:txBody>
      </p:sp>
      <p:graphicFrame>
        <p:nvGraphicFramePr>
          <p:cNvPr id="145" name="Chart 13">
            <a:extLst>
              <a:ext uri="{FF2B5EF4-FFF2-40B4-BE49-F238E27FC236}">
                <a16:creationId xmlns:a16="http://schemas.microsoft.com/office/drawing/2014/main" id="{DB1AB7B4-1FCC-E4C6-F7FF-6F0E0418C880}"/>
              </a:ext>
            </a:extLst>
          </p:cNvPr>
          <p:cNvGraphicFramePr/>
          <p:nvPr>
            <p:custDataLst>
              <p:tags r:id="rId12"/>
            </p:custDataLst>
            <p:extLst>
              <p:ext uri="{D42A27DB-BD31-4B8C-83A1-F6EECF244321}">
                <p14:modId xmlns:p14="http://schemas.microsoft.com/office/powerpoint/2010/main" val="1344468976"/>
              </p:ext>
            </p:extLst>
          </p:nvPr>
        </p:nvGraphicFramePr>
        <p:xfrm>
          <a:off x="260027" y="2389190"/>
          <a:ext cx="3825875" cy="2293938"/>
        </p:xfrm>
        <a:graphic>
          <a:graphicData uri="http://schemas.openxmlformats.org/drawingml/2006/chart">
            <c:chart xmlns:c="http://schemas.openxmlformats.org/drawingml/2006/chart" xmlns:r="http://schemas.openxmlformats.org/officeDocument/2006/relationships" r:id="rId32"/>
          </a:graphicData>
        </a:graphic>
      </p:graphicFrame>
      <p:cxnSp>
        <p:nvCxnSpPr>
          <p:cNvPr id="146" name="Straight Connector 97">
            <a:extLst>
              <a:ext uri="{FF2B5EF4-FFF2-40B4-BE49-F238E27FC236}">
                <a16:creationId xmlns:a16="http://schemas.microsoft.com/office/drawing/2014/main" id="{40E94966-EC22-5CB9-955C-CE02A464485F}"/>
              </a:ext>
            </a:extLst>
          </p:cNvPr>
          <p:cNvCxnSpPr/>
          <p:nvPr>
            <p:custDataLst>
              <p:tags r:id="rId13"/>
            </p:custDataLst>
          </p:nvPr>
        </p:nvCxnSpPr>
        <p:spPr bwMode="gray">
          <a:xfrm>
            <a:off x="707702" y="2257428"/>
            <a:ext cx="2197100" cy="387350"/>
          </a:xfrm>
          <a:prstGeom prst="line">
            <a:avLst/>
          </a:prstGeom>
          <a:ln w="6350" cap="flat" cmpd="sng" algn="ctr">
            <a:solidFill>
              <a:schemeClr val="tx2"/>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7" name="Straight Connector 98">
            <a:extLst>
              <a:ext uri="{FF2B5EF4-FFF2-40B4-BE49-F238E27FC236}">
                <a16:creationId xmlns:a16="http://schemas.microsoft.com/office/drawing/2014/main" id="{BF0AA87F-4D1F-ADB7-D82F-31DC1825BF58}"/>
              </a:ext>
            </a:extLst>
          </p:cNvPr>
          <p:cNvCxnSpPr/>
          <p:nvPr>
            <p:custDataLst>
              <p:tags r:id="rId14"/>
            </p:custDataLst>
          </p:nvPr>
        </p:nvCxnSpPr>
        <p:spPr bwMode="gray">
          <a:xfrm flipV="1">
            <a:off x="2904801" y="2414590"/>
            <a:ext cx="731838" cy="230188"/>
          </a:xfrm>
          <a:prstGeom prst="line">
            <a:avLst/>
          </a:prstGeom>
          <a:ln w="6350" cap="flat" cmpd="sng" algn="ctr">
            <a:solidFill>
              <a:schemeClr val="tx2"/>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8" name="Text Placeholder">
            <a:extLst>
              <a:ext uri="{FF2B5EF4-FFF2-40B4-BE49-F238E27FC236}">
                <a16:creationId xmlns:a16="http://schemas.microsoft.com/office/drawing/2014/main" id="{DDC28C31-0BD4-E97F-65BA-7E6BC7229322}"/>
              </a:ext>
            </a:extLst>
          </p:cNvPr>
          <p:cNvSpPr>
            <a:spLocks noGrp="1"/>
          </p:cNvSpPr>
          <p:nvPr>
            <p:custDataLst>
              <p:tags r:id="rId15"/>
            </p:custDataLst>
          </p:nvPr>
        </p:nvSpPr>
        <p:spPr bwMode="auto">
          <a:xfrm>
            <a:off x="561652" y="450056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89FBACA1-A64D-4F96-82F2-0EC04E56BE8F}" type="datetime'2''''''''''''''01''''''''''''''''''''''''''''''''''9'''''''''">
              <a:rPr lang="en-US" altLang="en-US" sz="900" smtClean="0">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2019</a:t>
            </a:fld>
            <a:endParaRPr lang="en-US" sz="900">
              <a:latin typeface="Arial" panose="020B0604020202020204" pitchFamily="34" charset="0"/>
              <a:cs typeface="Arial" panose="020B0604020202020204" pitchFamily="34" charset="0"/>
              <a:sym typeface="Arial" panose="020B0604020202020204" pitchFamily="34" charset="0"/>
            </a:endParaRPr>
          </a:p>
        </p:txBody>
      </p:sp>
      <p:sp>
        <p:nvSpPr>
          <p:cNvPr id="149" name="Text Placeholder">
            <a:extLst>
              <a:ext uri="{FF2B5EF4-FFF2-40B4-BE49-F238E27FC236}">
                <a16:creationId xmlns:a16="http://schemas.microsoft.com/office/drawing/2014/main" id="{FCB76876-F595-F032-E2F0-7143DF342E6C}"/>
              </a:ext>
            </a:extLst>
          </p:cNvPr>
          <p:cNvSpPr>
            <a:spLocks noGrp="1"/>
          </p:cNvSpPr>
          <p:nvPr>
            <p:custDataLst>
              <p:tags r:id="rId16"/>
            </p:custDataLst>
          </p:nvPr>
        </p:nvSpPr>
        <p:spPr bwMode="auto">
          <a:xfrm>
            <a:off x="1293490" y="450056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614659E6-A5C7-401F-ABC2-DA86D90DB0BB}" type="datetime'''''20''2''''''''''''''''''''''''''0'''''''''">
              <a:rPr lang="en-US" altLang="en-US" sz="900" smtClean="0">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2020</a:t>
            </a:fld>
            <a:endParaRPr lang="en-US" sz="900">
              <a:latin typeface="Arial" panose="020B0604020202020204" pitchFamily="34" charset="0"/>
              <a:cs typeface="Arial" panose="020B0604020202020204" pitchFamily="34" charset="0"/>
              <a:sym typeface="Arial" panose="020B0604020202020204" pitchFamily="34" charset="0"/>
            </a:endParaRPr>
          </a:p>
        </p:txBody>
      </p:sp>
      <p:sp>
        <p:nvSpPr>
          <p:cNvPr id="150" name="Text Placeholder">
            <a:extLst>
              <a:ext uri="{FF2B5EF4-FFF2-40B4-BE49-F238E27FC236}">
                <a16:creationId xmlns:a16="http://schemas.microsoft.com/office/drawing/2014/main" id="{B58FC4E8-BEE5-6DAF-0007-EB44ABE0C59E}"/>
              </a:ext>
            </a:extLst>
          </p:cNvPr>
          <p:cNvSpPr>
            <a:spLocks noGrp="1"/>
          </p:cNvSpPr>
          <p:nvPr>
            <p:custDataLst>
              <p:tags r:id="rId17"/>
            </p:custDataLst>
          </p:nvPr>
        </p:nvSpPr>
        <p:spPr bwMode="auto">
          <a:xfrm>
            <a:off x="2026915" y="450056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0CD76EAD-0AB3-477C-8774-99793CE188CA}" type="datetime'''''''''''''''''''''''''''2''''''''0''2''''''''1'''''''''''">
              <a:rPr lang="en-US" altLang="en-US" sz="900" smtClean="0">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2021</a:t>
            </a:fld>
            <a:endParaRPr lang="en-US" sz="900">
              <a:latin typeface="Arial" panose="020B0604020202020204" pitchFamily="34" charset="0"/>
              <a:cs typeface="Arial" panose="020B0604020202020204" pitchFamily="34" charset="0"/>
              <a:sym typeface="Arial" panose="020B0604020202020204" pitchFamily="34" charset="0"/>
            </a:endParaRPr>
          </a:p>
        </p:txBody>
      </p:sp>
      <p:sp>
        <p:nvSpPr>
          <p:cNvPr id="151" name="Text Placeholder">
            <a:extLst>
              <a:ext uri="{FF2B5EF4-FFF2-40B4-BE49-F238E27FC236}">
                <a16:creationId xmlns:a16="http://schemas.microsoft.com/office/drawing/2014/main" id="{57B95CA0-E2E4-9BFD-01F3-A1FD33F28FE2}"/>
              </a:ext>
            </a:extLst>
          </p:cNvPr>
          <p:cNvSpPr>
            <a:spLocks noGrp="1"/>
          </p:cNvSpPr>
          <p:nvPr>
            <p:custDataLst>
              <p:tags r:id="rId18"/>
            </p:custDataLst>
          </p:nvPr>
        </p:nvSpPr>
        <p:spPr bwMode="auto">
          <a:xfrm>
            <a:off x="2758752" y="450056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8C0DF8A5-7AB9-41AB-8B02-28D124FCA851}" type="datetime'2''0''''''''''''''''''''''''''''''''2''''2'''">
              <a:rPr lang="en-US" altLang="en-US" sz="900" smtClean="0">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2022</a:t>
            </a:fld>
            <a:endParaRPr lang="en-US" sz="900">
              <a:latin typeface="Arial" panose="020B0604020202020204" pitchFamily="34" charset="0"/>
              <a:cs typeface="Arial" panose="020B0604020202020204" pitchFamily="34" charset="0"/>
              <a:sym typeface="Arial" panose="020B0604020202020204" pitchFamily="34" charset="0"/>
            </a:endParaRPr>
          </a:p>
        </p:txBody>
      </p:sp>
      <p:sp>
        <p:nvSpPr>
          <p:cNvPr id="152" name="Text Placeholder">
            <a:extLst>
              <a:ext uri="{FF2B5EF4-FFF2-40B4-BE49-F238E27FC236}">
                <a16:creationId xmlns:a16="http://schemas.microsoft.com/office/drawing/2014/main" id="{3947C606-E24B-56DB-BD3F-6B0FB657507A}"/>
              </a:ext>
            </a:extLst>
          </p:cNvPr>
          <p:cNvSpPr>
            <a:spLocks noGrp="1"/>
          </p:cNvSpPr>
          <p:nvPr>
            <p:custDataLst>
              <p:tags r:id="rId19"/>
            </p:custDataLst>
          </p:nvPr>
        </p:nvSpPr>
        <p:spPr bwMode="auto">
          <a:xfrm>
            <a:off x="3400102" y="4500565"/>
            <a:ext cx="4746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1F8F1EB6-E3D0-4F08-8209-1ADC000016FD}" type="datetime'''20''2''3''''''''''-''2''''''''''''4&#10;a''''v''g''''''''.'">
              <a:rPr lang="en-US" altLang="en-US" sz="900" smtClean="0">
                <a:latin typeface="Arial" panose="020B0604020202020204" pitchFamily="34" charset="0"/>
                <a:cs typeface="Arial" panose="020B0604020202020204" pitchFamily="34" charset="0"/>
              </a:rPr>
              <a:pPr algn="ctr" defTabSz="685800">
                <a:spcBef>
                  <a:spcPct val="0"/>
                </a:spcBef>
                <a:buSzPct val="100000"/>
                <a:buFont typeface="+mn-lt" pitchFamily="34" charset="0"/>
              </a:pPr>
              <a:t>2023-24
avg.</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153" name="Text Placeholder">
            <a:extLst>
              <a:ext uri="{FF2B5EF4-FFF2-40B4-BE49-F238E27FC236}">
                <a16:creationId xmlns:a16="http://schemas.microsoft.com/office/drawing/2014/main" id="{82E08186-20C2-6762-6B97-B8D5A199D08C}"/>
              </a:ext>
            </a:extLst>
          </p:cNvPr>
          <p:cNvSpPr>
            <a:spLocks noGrp="1"/>
          </p:cNvSpPr>
          <p:nvPr>
            <p:custDataLst>
              <p:tags r:id="rId20"/>
            </p:custDataLst>
          </p:nvPr>
        </p:nvSpPr>
        <p:spPr bwMode="auto">
          <a:xfrm>
            <a:off x="4023990" y="3817940"/>
            <a:ext cx="315913"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734FD9B5-7EDB-4641-B5AE-8F5DA905D3C1}" type="datetime'''''O''f''f-''&#10;''s''''''h''''''''''''''''''o''''''re'">
              <a:rPr lang="en-US" altLang="en-US" sz="900" smtClean="0">
                <a:latin typeface="Arial" panose="020B0604020202020204" pitchFamily="34" charset="0"/>
                <a:cs typeface="Arial" panose="020B0604020202020204" pitchFamily="34" charset="0"/>
              </a:rPr>
              <a:pPr>
                <a:spcBef>
                  <a:spcPct val="0"/>
                </a:spcBef>
              </a:pPr>
              <a:t>Off-
shore</a:t>
            </a:fld>
            <a:endParaRPr lang="en-US" sz="900">
              <a:latin typeface="Arial" panose="020B0604020202020204" pitchFamily="34" charset="0"/>
              <a:cs typeface="Arial" panose="020B0604020202020204" pitchFamily="34" charset="0"/>
              <a:sym typeface="Arial" panose="020B0604020202020204" pitchFamily="34" charset="0"/>
            </a:endParaRPr>
          </a:p>
        </p:txBody>
      </p:sp>
      <p:sp>
        <p:nvSpPr>
          <p:cNvPr id="154" name="Text Placeholder">
            <a:extLst>
              <a:ext uri="{FF2B5EF4-FFF2-40B4-BE49-F238E27FC236}">
                <a16:creationId xmlns:a16="http://schemas.microsoft.com/office/drawing/2014/main" id="{772A9958-1069-A78D-6659-C0CE8E33D5CE}"/>
              </a:ext>
            </a:extLst>
          </p:cNvPr>
          <p:cNvSpPr>
            <a:spLocks noGrp="1"/>
          </p:cNvSpPr>
          <p:nvPr>
            <p:custDataLst>
              <p:tags r:id="rId21"/>
            </p:custDataLst>
          </p:nvPr>
        </p:nvSpPr>
        <p:spPr bwMode="auto">
          <a:xfrm>
            <a:off x="4023990" y="2974978"/>
            <a:ext cx="315913"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E32F36BB-3DC2-4474-AC49-51B0EBB84753}" type="datetime'''O''''''''n''''''-''&#10;''''s''''''''h''o''''r''e'''''''''''''''">
              <a:rPr lang="en-US" altLang="en-US" sz="900" smtClean="0">
                <a:latin typeface="Arial" panose="020B0604020202020204" pitchFamily="34" charset="0"/>
                <a:cs typeface="Arial" panose="020B0604020202020204" pitchFamily="34" charset="0"/>
              </a:rPr>
              <a:pPr>
                <a:spcBef>
                  <a:spcPct val="0"/>
                </a:spcBef>
              </a:pPr>
              <a:t>On-
shore</a:t>
            </a:fld>
            <a:endParaRPr lang="en-US" sz="900">
              <a:latin typeface="Arial" panose="020B0604020202020204" pitchFamily="34" charset="0"/>
              <a:cs typeface="Arial" panose="020B0604020202020204" pitchFamily="34" charset="0"/>
              <a:sym typeface="Arial" panose="020B0604020202020204" pitchFamily="34" charset="0"/>
            </a:endParaRPr>
          </a:p>
        </p:txBody>
      </p:sp>
      <p:sp>
        <p:nvSpPr>
          <p:cNvPr id="155" name="Text Placeholder">
            <a:extLst>
              <a:ext uri="{FF2B5EF4-FFF2-40B4-BE49-F238E27FC236}">
                <a16:creationId xmlns:a16="http://schemas.microsoft.com/office/drawing/2014/main" id="{F85326A8-BD56-C9C5-E569-C3ED48AF4FC8}"/>
              </a:ext>
            </a:extLst>
          </p:cNvPr>
          <p:cNvSpPr>
            <a:spLocks noGrp="1"/>
          </p:cNvSpPr>
          <p:nvPr>
            <p:custDataLst>
              <p:tags r:id="rId22"/>
            </p:custDataLst>
          </p:nvPr>
        </p:nvSpPr>
        <p:spPr bwMode="gray">
          <a:xfrm>
            <a:off x="558477" y="2406653"/>
            <a:ext cx="300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C88C1955-E72D-4BD5-A22F-410B5260CD92}" type="datetime'''''''''''''''''''''''''20''''''''''''''0'''''''''">
              <a:rPr lang="en-US" altLang="en-US" sz="1100" b="1" smtClean="0">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200</a:t>
            </a:fld>
            <a:endParaRPr lang="en-US" sz="1100" b="1">
              <a:latin typeface="Arial" panose="020B0604020202020204" pitchFamily="34" charset="0"/>
              <a:cs typeface="Arial" panose="020B0604020202020204" pitchFamily="34" charset="0"/>
              <a:sym typeface="Arial" panose="020B0604020202020204" pitchFamily="34" charset="0"/>
            </a:endParaRPr>
          </a:p>
        </p:txBody>
      </p:sp>
      <p:sp>
        <p:nvSpPr>
          <p:cNvPr id="156" name="Text Placeholder">
            <a:extLst>
              <a:ext uri="{FF2B5EF4-FFF2-40B4-BE49-F238E27FC236}">
                <a16:creationId xmlns:a16="http://schemas.microsoft.com/office/drawing/2014/main" id="{7CFDE5FD-4F0A-5A8B-1021-AF11B4B959B3}"/>
              </a:ext>
            </a:extLst>
          </p:cNvPr>
          <p:cNvSpPr>
            <a:spLocks noGrp="1"/>
          </p:cNvSpPr>
          <p:nvPr>
            <p:custDataLst>
              <p:tags r:id="rId23"/>
            </p:custDataLst>
          </p:nvPr>
        </p:nvSpPr>
        <p:spPr bwMode="gray">
          <a:xfrm>
            <a:off x="1331590" y="3448053"/>
            <a:ext cx="215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AD947392-9E67-4DFD-8BAF-B1AB3BB2EB85}" type="datetime'''''''''''''''''''''8''''''''''''7'''''''''''''''''''''''''">
              <a:rPr lang="en-US" altLang="en-US" sz="1100" b="1" smtClean="0">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87</a:t>
            </a:fld>
            <a:endParaRPr lang="en-US" sz="1100" b="1">
              <a:latin typeface="Arial" panose="020B0604020202020204" pitchFamily="34" charset="0"/>
              <a:cs typeface="Arial" panose="020B0604020202020204" pitchFamily="34" charset="0"/>
              <a:sym typeface="Arial" panose="020B0604020202020204" pitchFamily="34" charset="0"/>
            </a:endParaRPr>
          </a:p>
        </p:txBody>
      </p:sp>
      <p:sp>
        <p:nvSpPr>
          <p:cNvPr id="157" name="Text Placeholder">
            <a:extLst>
              <a:ext uri="{FF2B5EF4-FFF2-40B4-BE49-F238E27FC236}">
                <a16:creationId xmlns:a16="http://schemas.microsoft.com/office/drawing/2014/main" id="{D3A0B281-5E3E-4121-9D78-6D0FE91C25ED}"/>
              </a:ext>
            </a:extLst>
          </p:cNvPr>
          <p:cNvSpPr>
            <a:spLocks noGrp="1"/>
          </p:cNvSpPr>
          <p:nvPr>
            <p:custDataLst>
              <p:tags r:id="rId24"/>
            </p:custDataLst>
          </p:nvPr>
        </p:nvSpPr>
        <p:spPr bwMode="gray">
          <a:xfrm>
            <a:off x="2023740" y="2820990"/>
            <a:ext cx="300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88F415EC-1C14-4A31-96D2-5E88EB0F08B4}" type="datetime'''1''''''5''''''''''''''''''5'''''''''''''''''''''''''''''''''">
              <a:rPr lang="en-US" altLang="en-US" sz="1100" b="1" smtClean="0">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155</a:t>
            </a:fld>
            <a:endParaRPr lang="en-US" sz="1100" b="1">
              <a:latin typeface="Arial" panose="020B0604020202020204" pitchFamily="34" charset="0"/>
              <a:cs typeface="Arial" panose="020B0604020202020204" pitchFamily="34" charset="0"/>
              <a:sym typeface="Arial" panose="020B0604020202020204" pitchFamily="34" charset="0"/>
            </a:endParaRPr>
          </a:p>
        </p:txBody>
      </p:sp>
      <p:sp>
        <p:nvSpPr>
          <p:cNvPr id="158" name="Text Placeholder">
            <a:extLst>
              <a:ext uri="{FF2B5EF4-FFF2-40B4-BE49-F238E27FC236}">
                <a16:creationId xmlns:a16="http://schemas.microsoft.com/office/drawing/2014/main" id="{C29B9354-BF61-3BA7-899E-F66A79C7485A}"/>
              </a:ext>
            </a:extLst>
          </p:cNvPr>
          <p:cNvSpPr>
            <a:spLocks noGrp="1"/>
          </p:cNvSpPr>
          <p:nvPr>
            <p:custDataLst>
              <p:tags r:id="rId25"/>
            </p:custDataLst>
          </p:nvPr>
        </p:nvSpPr>
        <p:spPr bwMode="gray">
          <a:xfrm>
            <a:off x="2755577" y="2794003"/>
            <a:ext cx="300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CB234722-FD83-4049-89A2-836498731348}" type="datetime'''''''''''''''''1''''''5''''''''''''''''''''''''''''''8'''">
              <a:rPr lang="en-US" altLang="en-US" sz="1100" b="1" smtClean="0">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158</a:t>
            </a:fld>
            <a:endParaRPr lang="en-US" sz="1100" b="1">
              <a:latin typeface="Arial" panose="020B0604020202020204" pitchFamily="34" charset="0"/>
              <a:cs typeface="Arial" panose="020B0604020202020204" pitchFamily="34" charset="0"/>
              <a:sym typeface="Arial" panose="020B0604020202020204" pitchFamily="34" charset="0"/>
            </a:endParaRPr>
          </a:p>
        </p:txBody>
      </p:sp>
      <p:sp>
        <p:nvSpPr>
          <p:cNvPr id="159" name="Text Placeholder">
            <a:extLst>
              <a:ext uri="{FF2B5EF4-FFF2-40B4-BE49-F238E27FC236}">
                <a16:creationId xmlns:a16="http://schemas.microsoft.com/office/drawing/2014/main" id="{66B92A75-C556-24F2-BAF8-C5696BCB32E9}"/>
              </a:ext>
            </a:extLst>
          </p:cNvPr>
          <p:cNvSpPr>
            <a:spLocks noGrp="1"/>
          </p:cNvSpPr>
          <p:nvPr>
            <p:custDataLst>
              <p:tags r:id="rId26"/>
            </p:custDataLst>
          </p:nvPr>
        </p:nvSpPr>
        <p:spPr bwMode="gray">
          <a:xfrm>
            <a:off x="3487415" y="2563815"/>
            <a:ext cx="300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06F45A62-4FB2-4D60-A124-7F7C81598262}" type="datetime'1''''8''''''''''''''''''''''''''''''''''''''''''''''''''''''3'">
              <a:rPr lang="en-US" altLang="en-US" sz="1100" b="1" smtClean="0">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183</a:t>
            </a:fld>
            <a:endParaRPr lang="en-US" sz="1100" b="1">
              <a:latin typeface="Arial" panose="020B0604020202020204" pitchFamily="34" charset="0"/>
              <a:cs typeface="Arial" panose="020B0604020202020204" pitchFamily="34" charset="0"/>
              <a:sym typeface="Arial" panose="020B0604020202020204" pitchFamily="34" charset="0"/>
            </a:endParaRPr>
          </a:p>
        </p:txBody>
      </p:sp>
      <p:sp>
        <p:nvSpPr>
          <p:cNvPr id="160" name="Text Placeholder">
            <a:extLst>
              <a:ext uri="{FF2B5EF4-FFF2-40B4-BE49-F238E27FC236}">
                <a16:creationId xmlns:a16="http://schemas.microsoft.com/office/drawing/2014/main" id="{CF434C74-5AB0-D80F-78D8-A2F7825DBA51}"/>
              </a:ext>
            </a:extLst>
          </p:cNvPr>
          <p:cNvSpPr>
            <a:spLocks noGrp="1"/>
          </p:cNvSpPr>
          <p:nvPr>
            <p:custDataLst>
              <p:tags r:id="rId27"/>
            </p:custDataLst>
          </p:nvPr>
        </p:nvSpPr>
        <p:spPr bwMode="auto">
          <a:xfrm>
            <a:off x="1679252" y="2365378"/>
            <a:ext cx="254000" cy="173038"/>
          </a:xfrm>
          <a:prstGeom prst="roundRect">
            <a:avLst>
              <a:gd name="adj" fmla="val 49541"/>
            </a:avLst>
          </a:prstGeom>
          <a:solidFill>
            <a:schemeClr val="bg1"/>
          </a:solidFill>
          <a:ln w="6350" cmpd="sng" algn="ctr">
            <a:solidFill>
              <a:schemeClr val="tx2"/>
            </a:solidFill>
          </a:ln>
          <a:effectLst/>
        </p:spPr>
        <p:txBody>
          <a:bodyPr vert="horz" wrap="none" lIns="11113" tIns="0" rIns="11113"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C8B67F56-EF67-4BD5-A986-908C099A54B0}" type="datetime'''-''''''''8''''''''''''''''''''''''''''''''''''''%'''''''''">
              <a:rPr lang="en-US" altLang="en-US" sz="700" smtClean="0">
                <a:effectLst/>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8%</a:t>
            </a:fld>
            <a:endParaRPr lang="en-US" sz="700">
              <a:latin typeface="Arial" panose="020B0604020202020204" pitchFamily="34" charset="0"/>
              <a:cs typeface="Arial" panose="020B0604020202020204" pitchFamily="34" charset="0"/>
              <a:sym typeface="Arial" panose="020B0604020202020204" pitchFamily="34" charset="0"/>
            </a:endParaRPr>
          </a:p>
        </p:txBody>
      </p:sp>
      <p:sp>
        <p:nvSpPr>
          <p:cNvPr id="161" name="Text Placeholder">
            <a:extLst>
              <a:ext uri="{FF2B5EF4-FFF2-40B4-BE49-F238E27FC236}">
                <a16:creationId xmlns:a16="http://schemas.microsoft.com/office/drawing/2014/main" id="{2B090E14-D109-66E5-BB1E-9EFCF971CA40}"/>
              </a:ext>
            </a:extLst>
          </p:cNvPr>
          <p:cNvSpPr>
            <a:spLocks noGrp="1"/>
          </p:cNvSpPr>
          <p:nvPr>
            <p:custDataLst>
              <p:tags r:id="rId28"/>
            </p:custDataLst>
          </p:nvPr>
        </p:nvSpPr>
        <p:spPr bwMode="auto">
          <a:xfrm>
            <a:off x="3101652" y="2443165"/>
            <a:ext cx="336550" cy="173038"/>
          </a:xfrm>
          <a:prstGeom prst="roundRect">
            <a:avLst>
              <a:gd name="adj" fmla="val 49541"/>
            </a:avLst>
          </a:prstGeom>
          <a:solidFill>
            <a:schemeClr val="bg1"/>
          </a:solidFill>
          <a:ln w="6350" cmpd="sng" algn="ctr">
            <a:solidFill>
              <a:schemeClr val="tx2"/>
            </a:solidFill>
          </a:ln>
          <a:effectLst/>
        </p:spPr>
        <p:txBody>
          <a:bodyPr vert="horz" wrap="none" lIns="11113" tIns="0" rIns="11113" bIns="0" rtlCol="0" anchor="ctr">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CA94A72F-104A-4F35-B455-F53567C10EC0}" type="datetime'+''''''''''''''''''''''''1''''''''''''''''6''''''''%'''''''''">
              <a:rPr lang="en-US" altLang="en-US" sz="700" smtClean="0">
                <a:effectLst/>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16%</a:t>
            </a:fld>
            <a:endParaRPr lang="en-US" sz="700">
              <a:latin typeface="Arial" panose="020B0604020202020204" pitchFamily="34" charset="0"/>
              <a:cs typeface="Arial" panose="020B0604020202020204" pitchFamily="34" charset="0"/>
              <a:sym typeface="Arial" panose="020B0604020202020204" pitchFamily="34" charset="0"/>
            </a:endParaRPr>
          </a:p>
        </p:txBody>
      </p:sp>
      <p:cxnSp>
        <p:nvCxnSpPr>
          <p:cNvPr id="162" name="HorizontalLine7">
            <a:extLst>
              <a:ext uri="{FF2B5EF4-FFF2-40B4-BE49-F238E27FC236}">
                <a16:creationId xmlns:a16="http://schemas.microsoft.com/office/drawing/2014/main" id="{12CE0E53-4C64-9435-B20E-8D0246370B09}"/>
              </a:ext>
            </a:extLst>
          </p:cNvPr>
          <p:cNvCxnSpPr>
            <a:cxnSpLocks/>
          </p:cNvCxnSpPr>
          <p:nvPr/>
        </p:nvCxnSpPr>
        <p:spPr>
          <a:xfrm>
            <a:off x="250825" y="1885416"/>
            <a:ext cx="4806949"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3" name="Title66">
            <a:extLst>
              <a:ext uri="{FF2B5EF4-FFF2-40B4-BE49-F238E27FC236}">
                <a16:creationId xmlns:a16="http://schemas.microsoft.com/office/drawing/2014/main" id="{2D1A0365-E64C-C556-95E2-AC0C976724BC}"/>
              </a:ext>
            </a:extLst>
          </p:cNvPr>
          <p:cNvSpPr txBox="1">
            <a:spLocks/>
          </p:cNvSpPr>
          <p:nvPr/>
        </p:nvSpPr>
        <p:spPr>
          <a:xfrm>
            <a:off x="250825" y="1662406"/>
            <a:ext cx="4806949" cy="223010"/>
          </a:xfrm>
          <a:prstGeom prst="rect">
            <a:avLst/>
          </a:prstGeom>
          <a:noFill/>
          <a:ln w="9525">
            <a:noFill/>
          </a:ln>
        </p:spPr>
        <p:txBody>
          <a:bodyPr vert="horz" wrap="square" lIns="0" tIns="0" rIns="0" bIns="53213" rtlCol="0" anchor="b">
            <a:spAutoFit/>
          </a:bodyPr>
          <a:lstStyle/>
          <a:p>
            <a:pPr fontAlgn="base">
              <a:buSzPct val="100000"/>
            </a:pPr>
            <a:r>
              <a:rPr lang="en-US" sz="1100" b="1" dirty="0">
                <a:latin typeface="Arial" panose="020B0604020202020204" pitchFamily="34" charset="0"/>
                <a:cs typeface="Arial" panose="020B0604020202020204" pitchFamily="34" charset="0"/>
                <a:sym typeface="+mn-lt"/>
              </a:rPr>
              <a:t>Greenfield investments </a:t>
            </a:r>
            <a:r>
              <a:rPr lang="en-US" sz="1100" dirty="0">
                <a:latin typeface="Arial" panose="020B0604020202020204" pitchFamily="34" charset="0"/>
                <a:cs typeface="Arial" panose="020B0604020202020204" pitchFamily="34" charset="0"/>
                <a:sym typeface="+mn-lt"/>
              </a:rPr>
              <a:t>[USD bn]</a:t>
            </a:r>
          </a:p>
        </p:txBody>
      </p:sp>
      <p:grpSp>
        <p:nvGrpSpPr>
          <p:cNvPr id="164" name="Gruppieren 131">
            <a:extLst>
              <a:ext uri="{FF2B5EF4-FFF2-40B4-BE49-F238E27FC236}">
                <a16:creationId xmlns:a16="http://schemas.microsoft.com/office/drawing/2014/main" id="{686ECF3E-1943-147C-CEA6-B0428CECBC2D}"/>
              </a:ext>
            </a:extLst>
          </p:cNvPr>
          <p:cNvGrpSpPr/>
          <p:nvPr/>
        </p:nvGrpSpPr>
        <p:grpSpPr>
          <a:xfrm>
            <a:off x="5615826" y="1639805"/>
            <a:ext cx="3240837" cy="265893"/>
            <a:chOff x="5652338" y="1189039"/>
            <a:chExt cx="3240837" cy="265893"/>
          </a:xfrm>
        </p:grpSpPr>
        <p:cxnSp>
          <p:nvCxnSpPr>
            <p:cNvPr id="165" name="HorizontalLine7">
              <a:extLst>
                <a:ext uri="{FF2B5EF4-FFF2-40B4-BE49-F238E27FC236}">
                  <a16:creationId xmlns:a16="http://schemas.microsoft.com/office/drawing/2014/main" id="{67CF54E7-893E-E765-A050-8823E33ECB6D}"/>
                </a:ext>
              </a:extLst>
            </p:cNvPr>
            <p:cNvCxnSpPr>
              <a:cxnSpLocks/>
            </p:cNvCxnSpPr>
            <p:nvPr/>
          </p:nvCxnSpPr>
          <p:spPr>
            <a:xfrm>
              <a:off x="5653175" y="1454932"/>
              <a:ext cx="3240000"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6" name="Title66">
              <a:extLst>
                <a:ext uri="{FF2B5EF4-FFF2-40B4-BE49-F238E27FC236}">
                  <a16:creationId xmlns:a16="http://schemas.microsoft.com/office/drawing/2014/main" id="{8E2BBC11-3550-9BA0-2BF7-A31F42240060}"/>
                </a:ext>
              </a:extLst>
            </p:cNvPr>
            <p:cNvSpPr txBox="1">
              <a:spLocks/>
            </p:cNvSpPr>
            <p:nvPr/>
          </p:nvSpPr>
          <p:spPr>
            <a:xfrm>
              <a:off x="5652338" y="1189039"/>
              <a:ext cx="3240000" cy="223010"/>
            </a:xfrm>
            <a:prstGeom prst="rect">
              <a:avLst/>
            </a:prstGeom>
            <a:noFill/>
            <a:ln w="9525">
              <a:noFill/>
            </a:ln>
          </p:spPr>
          <p:txBody>
            <a:bodyPr vert="horz" wrap="square" lIns="0" tIns="0" rIns="0" bIns="53213" rtlCol="0" anchor="b">
              <a:spAutoFit/>
            </a:bodyPr>
            <a:lstStyle/>
            <a:p>
              <a:pPr fontAlgn="base">
                <a:buSzPct val="100000"/>
              </a:pPr>
              <a:r>
                <a:rPr lang="en-US" sz="1100" b="1" dirty="0">
                  <a:latin typeface="Arial" panose="020B0604020202020204" pitchFamily="34" charset="0"/>
                  <a:cs typeface="Arial" panose="020B0604020202020204" pitchFamily="34" charset="0"/>
                  <a:sym typeface="+mn-lt"/>
                </a:rPr>
                <a:t>Offshore investments region, 2023 </a:t>
              </a:r>
              <a:r>
                <a:rPr lang="en-US" sz="1100" dirty="0">
                  <a:latin typeface="Arial" panose="020B0604020202020204" pitchFamily="34" charset="0"/>
                  <a:cs typeface="Arial" panose="020B0604020202020204" pitchFamily="34" charset="0"/>
                  <a:sym typeface="+mn-lt"/>
                </a:rPr>
                <a:t>[%]</a:t>
              </a:r>
            </a:p>
          </p:txBody>
        </p:sp>
      </p:grpSp>
      <p:sp>
        <p:nvSpPr>
          <p:cNvPr id="167" name="TextBox 245">
            <a:extLst>
              <a:ext uri="{FF2B5EF4-FFF2-40B4-BE49-F238E27FC236}">
                <a16:creationId xmlns:a16="http://schemas.microsoft.com/office/drawing/2014/main" id="{7CB1B898-21E9-1C22-9CD1-7DA41CBAE65E}"/>
              </a:ext>
            </a:extLst>
          </p:cNvPr>
          <p:cNvSpPr txBox="1">
            <a:spLocks/>
          </p:cNvSpPr>
          <p:nvPr/>
        </p:nvSpPr>
        <p:spPr>
          <a:xfrm>
            <a:off x="4598665" y="1979221"/>
            <a:ext cx="534356" cy="246221"/>
          </a:xfrm>
          <a:prstGeom prst="rect">
            <a:avLst/>
          </a:prstGeom>
          <a:noFill/>
          <a:ln w="9525">
            <a:noFill/>
          </a:ln>
        </p:spPr>
        <p:txBody>
          <a:bodyPr vert="horz" wrap="square" lIns="0" tIns="0" rIns="0" bIns="0" rtlCol="0">
            <a:spAutoFit/>
          </a:bodyPr>
          <a:lstStyle/>
          <a:p>
            <a:pPr algn="ctr" fontAlgn="base">
              <a:spcBef>
                <a:spcPts val="300"/>
              </a:spcBef>
              <a:spcAft>
                <a:spcPct val="0"/>
              </a:spcAft>
              <a:buSzPct val="100000"/>
            </a:pPr>
            <a:r>
              <a:rPr lang="en-US" sz="800" b="1">
                <a:latin typeface="Arial" panose="020B0604020202020204" pitchFamily="34" charset="0"/>
                <a:cs typeface="Arial" panose="020B0604020202020204" pitchFamily="34" charset="0"/>
                <a:sym typeface="+mn-lt"/>
              </a:rPr>
              <a:t>CAGR 2019-'24</a:t>
            </a:r>
          </a:p>
        </p:txBody>
      </p:sp>
      <p:sp>
        <p:nvSpPr>
          <p:cNvPr id="168" name="Rectangle: Rounded Corners 249">
            <a:extLst>
              <a:ext uri="{FF2B5EF4-FFF2-40B4-BE49-F238E27FC236}">
                <a16:creationId xmlns:a16="http://schemas.microsoft.com/office/drawing/2014/main" id="{E9706AB9-D1D2-74BC-05CA-B0E454464386}"/>
              </a:ext>
            </a:extLst>
          </p:cNvPr>
          <p:cNvSpPr>
            <a:spLocks/>
          </p:cNvSpPr>
          <p:nvPr/>
        </p:nvSpPr>
        <p:spPr>
          <a:xfrm>
            <a:off x="4646539" y="2976417"/>
            <a:ext cx="438608" cy="216000"/>
          </a:xfrm>
          <a:prstGeom prst="roundRect">
            <a:avLst>
              <a:gd name="adj" fmla="val 50000"/>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900">
                <a:solidFill>
                  <a:schemeClr val="bg1"/>
                </a:solidFill>
                <a:latin typeface="Arial" panose="020B0604020202020204" pitchFamily="34" charset="0"/>
                <a:cs typeface="Arial" panose="020B0604020202020204" pitchFamily="34" charset="0"/>
                <a:sym typeface="+mn-lt"/>
              </a:rPr>
              <a:t>-4%</a:t>
            </a:r>
          </a:p>
        </p:txBody>
      </p:sp>
      <p:sp>
        <p:nvSpPr>
          <p:cNvPr id="169" name="Rectangle: Rounded Corners 251">
            <a:extLst>
              <a:ext uri="{FF2B5EF4-FFF2-40B4-BE49-F238E27FC236}">
                <a16:creationId xmlns:a16="http://schemas.microsoft.com/office/drawing/2014/main" id="{FE8A7633-E698-4705-6FD0-8763B336488A}"/>
              </a:ext>
            </a:extLst>
          </p:cNvPr>
          <p:cNvSpPr>
            <a:spLocks/>
          </p:cNvSpPr>
          <p:nvPr/>
        </p:nvSpPr>
        <p:spPr>
          <a:xfrm>
            <a:off x="4646539" y="3805240"/>
            <a:ext cx="438608" cy="216000"/>
          </a:xfrm>
          <a:prstGeom prst="roundRect">
            <a:avLst>
              <a:gd name="adj" fmla="val 50000"/>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lstStyle/>
          <a:p>
            <a:pPr algn="ctr" fontAlgn="base">
              <a:spcBef>
                <a:spcPts val="300"/>
              </a:spcBef>
              <a:spcAft>
                <a:spcPct val="0"/>
              </a:spcAft>
              <a:buSzPct val="100000"/>
            </a:pPr>
            <a:r>
              <a:rPr lang="en-US" sz="900">
                <a:solidFill>
                  <a:schemeClr val="bg1"/>
                </a:solidFill>
                <a:latin typeface="Arial" panose="020B0604020202020204" pitchFamily="34" charset="0"/>
                <a:cs typeface="Arial" panose="020B0604020202020204" pitchFamily="34" charset="0"/>
                <a:sym typeface="+mn-lt"/>
              </a:rPr>
              <a:t>0%</a:t>
            </a:r>
          </a:p>
        </p:txBody>
      </p:sp>
      <p:grpSp>
        <p:nvGrpSpPr>
          <p:cNvPr id="170" name="Group 21">
            <a:extLst>
              <a:ext uri="{FF2B5EF4-FFF2-40B4-BE49-F238E27FC236}">
                <a16:creationId xmlns:a16="http://schemas.microsoft.com/office/drawing/2014/main" id="{42B5FE44-854E-C225-B10C-63A831676E24}"/>
              </a:ext>
            </a:extLst>
          </p:cNvPr>
          <p:cNvGrpSpPr/>
          <p:nvPr/>
        </p:nvGrpSpPr>
        <p:grpSpPr>
          <a:xfrm>
            <a:off x="3334787" y="1997294"/>
            <a:ext cx="689203" cy="188701"/>
            <a:chOff x="3998348" y="1796211"/>
            <a:chExt cx="2772566" cy="188098"/>
          </a:xfrm>
        </p:grpSpPr>
        <p:cxnSp>
          <p:nvCxnSpPr>
            <p:cNvPr id="171" name="Horizontal Line">
              <a:extLst>
                <a:ext uri="{FF2B5EF4-FFF2-40B4-BE49-F238E27FC236}">
                  <a16:creationId xmlns:a16="http://schemas.microsoft.com/office/drawing/2014/main" id="{FDC2988D-7680-E80D-B362-E7C60A176856}"/>
                </a:ext>
              </a:extLst>
            </p:cNvPr>
            <p:cNvCxnSpPr>
              <a:cxnSpLocks/>
            </p:cNvCxnSpPr>
            <p:nvPr/>
          </p:nvCxnSpPr>
          <p:spPr>
            <a:xfrm>
              <a:off x="3998348" y="1984309"/>
              <a:ext cx="2772566" cy="0"/>
            </a:xfrm>
            <a:prstGeom prst="line">
              <a:avLst/>
            </a:prstGeom>
            <a:noFill/>
            <a:ln w="15875" cmpd="sng">
              <a:solidFill>
                <a:schemeClr val="tx2"/>
              </a:solidFill>
              <a:tailEnd type="triangle"/>
            </a:ln>
            <a:effectLst/>
          </p:spPr>
          <p:style>
            <a:lnRef idx="2">
              <a:schemeClr val="accent1">
                <a:shade val="50000"/>
              </a:schemeClr>
            </a:lnRef>
            <a:fillRef idx="1">
              <a:schemeClr val="accent1"/>
            </a:fillRef>
            <a:effectRef idx="0">
              <a:schemeClr val="accent1"/>
            </a:effectRef>
            <a:fontRef idx="minor">
              <a:schemeClr val="lt1"/>
            </a:fontRef>
          </p:style>
        </p:cxnSp>
        <p:sp>
          <p:nvSpPr>
            <p:cNvPr id="172" name="ListLeanHorizontalTextTopic0">
              <a:extLst>
                <a:ext uri="{FF2B5EF4-FFF2-40B4-BE49-F238E27FC236}">
                  <a16:creationId xmlns:a16="http://schemas.microsoft.com/office/drawing/2014/main" id="{603405F4-ECC6-656E-84D4-4D6B89F40260}"/>
                </a:ext>
              </a:extLst>
            </p:cNvPr>
            <p:cNvSpPr txBox="1">
              <a:spLocks/>
            </p:cNvSpPr>
            <p:nvPr/>
          </p:nvSpPr>
          <p:spPr>
            <a:xfrm>
              <a:off x="3998348" y="1796211"/>
              <a:ext cx="2205440" cy="188098"/>
            </a:xfrm>
            <a:prstGeom prst="rect">
              <a:avLst/>
            </a:prstGeom>
            <a:noFill/>
            <a:ln w="9525">
              <a:noFill/>
            </a:ln>
          </p:spPr>
          <p:txBody>
            <a:bodyPr vert="horz" wrap="none" lIns="0" tIns="0" rIns="0" bIns="36000" rtlCol="0" anchor="b">
              <a:spAutoFit/>
            </a:bodyPr>
            <a:lstStyle/>
            <a:p>
              <a:pPr>
                <a:lnSpc>
                  <a:spcPct val="90000"/>
                </a:lnSpc>
                <a:spcBef>
                  <a:spcPts val="300"/>
                </a:spcBef>
                <a:buSzPct val="100000"/>
              </a:pPr>
              <a:r>
                <a:rPr lang="en-GB" sz="1100">
                  <a:solidFill>
                    <a:schemeClr val="tx2"/>
                  </a:solidFill>
                  <a:latin typeface="Arial" panose="020B0604020202020204" pitchFamily="34" charset="0"/>
                  <a:cs typeface="Arial" panose="020B0604020202020204" pitchFamily="34" charset="0"/>
                </a:rPr>
                <a:t>Forecast</a:t>
              </a:r>
              <a:endParaRPr lang="en-GB" sz="1100" baseline="30000">
                <a:solidFill>
                  <a:schemeClr val="tx2"/>
                </a:solidFill>
                <a:latin typeface="Arial" panose="020B0604020202020204" pitchFamily="34" charset="0"/>
                <a:cs typeface="Arial" panose="020B0604020202020204" pitchFamily="34" charset="0"/>
              </a:endParaRPr>
            </a:p>
          </p:txBody>
        </p:sp>
      </p:grpSp>
      <p:grpSp>
        <p:nvGrpSpPr>
          <p:cNvPr id="173" name="Group 22">
            <a:extLst>
              <a:ext uri="{FF2B5EF4-FFF2-40B4-BE49-F238E27FC236}">
                <a16:creationId xmlns:a16="http://schemas.microsoft.com/office/drawing/2014/main" id="{73693298-8916-CEB5-7DBB-33EEBA8666CD}"/>
              </a:ext>
            </a:extLst>
          </p:cNvPr>
          <p:cNvGrpSpPr/>
          <p:nvPr/>
        </p:nvGrpSpPr>
        <p:grpSpPr>
          <a:xfrm>
            <a:off x="358453" y="1997294"/>
            <a:ext cx="2846252" cy="188701"/>
            <a:chOff x="899887" y="1796211"/>
            <a:chExt cx="2761455" cy="188098"/>
          </a:xfrm>
        </p:grpSpPr>
        <p:cxnSp>
          <p:nvCxnSpPr>
            <p:cNvPr id="174" name="Horizontal Line">
              <a:extLst>
                <a:ext uri="{FF2B5EF4-FFF2-40B4-BE49-F238E27FC236}">
                  <a16:creationId xmlns:a16="http://schemas.microsoft.com/office/drawing/2014/main" id="{8812911C-1B63-B852-033D-7AA5DE9D3830}"/>
                </a:ext>
              </a:extLst>
            </p:cNvPr>
            <p:cNvCxnSpPr>
              <a:cxnSpLocks/>
            </p:cNvCxnSpPr>
            <p:nvPr/>
          </p:nvCxnSpPr>
          <p:spPr>
            <a:xfrm flipH="1">
              <a:off x="899887" y="1984309"/>
              <a:ext cx="2761455" cy="0"/>
            </a:xfrm>
            <a:prstGeom prst="line">
              <a:avLst/>
            </a:prstGeom>
            <a:noFill/>
            <a:ln w="15875" cmpd="sng">
              <a:solidFill>
                <a:schemeClr val="tx2"/>
              </a:solidFill>
              <a:tailEnd type="triangle"/>
            </a:ln>
            <a:effectLst/>
          </p:spPr>
          <p:style>
            <a:lnRef idx="2">
              <a:schemeClr val="accent1">
                <a:shade val="50000"/>
              </a:schemeClr>
            </a:lnRef>
            <a:fillRef idx="1">
              <a:schemeClr val="accent1"/>
            </a:fillRef>
            <a:effectRef idx="0">
              <a:schemeClr val="accent1"/>
            </a:effectRef>
            <a:fontRef idx="minor">
              <a:schemeClr val="lt1"/>
            </a:fontRef>
          </p:style>
        </p:cxnSp>
        <p:sp>
          <p:nvSpPr>
            <p:cNvPr id="175" name="ListLeanHorizontalTextTopic0">
              <a:extLst>
                <a:ext uri="{FF2B5EF4-FFF2-40B4-BE49-F238E27FC236}">
                  <a16:creationId xmlns:a16="http://schemas.microsoft.com/office/drawing/2014/main" id="{2CD471FF-D5F4-5B22-7B05-15241A1AF3A8}"/>
                </a:ext>
              </a:extLst>
            </p:cNvPr>
            <p:cNvSpPr txBox="1">
              <a:spLocks/>
            </p:cNvSpPr>
            <p:nvPr/>
          </p:nvSpPr>
          <p:spPr>
            <a:xfrm>
              <a:off x="3096786" y="1796211"/>
              <a:ext cx="564555" cy="188098"/>
            </a:xfrm>
            <a:prstGeom prst="rect">
              <a:avLst/>
            </a:prstGeom>
            <a:noFill/>
            <a:ln w="9525">
              <a:noFill/>
            </a:ln>
          </p:spPr>
          <p:txBody>
            <a:bodyPr vert="horz" wrap="none" lIns="0" tIns="0" rIns="0" bIns="36000" rtlCol="0" anchor="b">
              <a:spAutoFit/>
            </a:bodyPr>
            <a:lstStyle/>
            <a:p>
              <a:pPr algn="r">
                <a:lnSpc>
                  <a:spcPct val="90000"/>
                </a:lnSpc>
                <a:spcBef>
                  <a:spcPts val="300"/>
                </a:spcBef>
                <a:buSzPct val="100000"/>
              </a:pPr>
              <a:r>
                <a:rPr lang="en-GB" sz="1100">
                  <a:solidFill>
                    <a:schemeClr val="tx2"/>
                  </a:solidFill>
                  <a:latin typeface="Arial" panose="020B0604020202020204" pitchFamily="34" charset="0"/>
                  <a:cs typeface="Arial" panose="020B0604020202020204" pitchFamily="34" charset="0"/>
                </a:rPr>
                <a:t>Historical</a:t>
              </a:r>
              <a:endParaRPr lang="en-GB" sz="1100" baseline="30000">
                <a:solidFill>
                  <a:schemeClr val="tx2"/>
                </a:solidFill>
                <a:latin typeface="Arial" panose="020B0604020202020204" pitchFamily="34" charset="0"/>
                <a:cs typeface="Arial" panose="020B0604020202020204" pitchFamily="34" charset="0"/>
              </a:endParaRPr>
            </a:p>
          </p:txBody>
        </p:sp>
      </p:grpSp>
      <p:sp>
        <p:nvSpPr>
          <p:cNvPr id="176" name="Source">
            <a:extLst>
              <a:ext uri="{FF2B5EF4-FFF2-40B4-BE49-F238E27FC236}">
                <a16:creationId xmlns:a16="http://schemas.microsoft.com/office/drawing/2014/main" id="{1628E467-F57B-F97D-087B-75C171AB01F1}"/>
              </a:ext>
            </a:extLst>
          </p:cNvPr>
          <p:cNvSpPr txBox="1"/>
          <p:nvPr/>
        </p:nvSpPr>
        <p:spPr>
          <a:xfrm>
            <a:off x="357592" y="4874543"/>
            <a:ext cx="1101264" cy="6925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500">
                <a:latin typeface="Arial" panose="020B0604020202020204" pitchFamily="34" charset="0"/>
                <a:cs typeface="Arial" panose="020B0604020202020204" pitchFamily="34" charset="0"/>
                <a:sym typeface="+mn-lt"/>
              </a:rPr>
              <a:t>Source: </a:t>
            </a:r>
            <a:r>
              <a:rPr lang="en-US" sz="500" err="1">
                <a:latin typeface="Arial" panose="020B0604020202020204" pitchFamily="34" charset="0"/>
                <a:cs typeface="Arial" panose="020B0604020202020204" pitchFamily="34" charset="0"/>
                <a:sym typeface="+mn-lt"/>
              </a:rPr>
              <a:t>Rystad</a:t>
            </a:r>
            <a:r>
              <a:rPr lang="en-US" sz="500">
                <a:latin typeface="Arial" panose="020B0604020202020204" pitchFamily="34" charset="0"/>
                <a:cs typeface="Arial" panose="020B0604020202020204" pitchFamily="34" charset="0"/>
                <a:sym typeface="+mn-lt"/>
              </a:rPr>
              <a:t> Energy, Roland Berger</a:t>
            </a:r>
          </a:p>
        </p:txBody>
      </p:sp>
      <p:sp>
        <p:nvSpPr>
          <p:cNvPr id="177" name="TextBox 2">
            <a:extLst>
              <a:ext uri="{FF2B5EF4-FFF2-40B4-BE49-F238E27FC236}">
                <a16:creationId xmlns:a16="http://schemas.microsoft.com/office/drawing/2014/main" id="{724E3D85-530E-84EA-F9AA-62C15A0E938C}"/>
              </a:ext>
            </a:extLst>
          </p:cNvPr>
          <p:cNvSpPr txBox="1"/>
          <p:nvPr/>
        </p:nvSpPr>
        <p:spPr>
          <a:xfrm>
            <a:off x="183647" y="1430632"/>
            <a:ext cx="7579731" cy="261610"/>
          </a:xfrm>
          <a:prstGeom prst="rect">
            <a:avLst/>
          </a:prstGeom>
          <a:noFill/>
        </p:spPr>
        <p:txBody>
          <a:bodyPr wrap="square">
            <a:spAutoFit/>
          </a:bodyPr>
          <a:lstStyle/>
          <a:p>
            <a:r>
              <a:rPr lang="en-US" sz="1050" dirty="0">
                <a:solidFill>
                  <a:schemeClr val="tx2"/>
                </a:solidFill>
                <a:latin typeface="Arial" panose="020B0604020202020204" pitchFamily="34" charset="0"/>
                <a:cs typeface="Arial" panose="020B0604020202020204" pitchFamily="34" charset="0"/>
                <a:sym typeface="+mn-lt"/>
              </a:rPr>
              <a:t>Onshore and offshore greenfield investments</a:t>
            </a:r>
            <a:endParaRPr lang="en-GB" sz="105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74573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5">
            <a:extLst>
              <a:ext uri="{FF2B5EF4-FFF2-40B4-BE49-F238E27FC236}">
                <a16:creationId xmlns:a16="http://schemas.microsoft.com/office/drawing/2014/main" id="{C57A0B68-948F-CBED-97A5-A01371066D12}"/>
              </a:ext>
            </a:extLst>
          </p:cNvPr>
          <p:cNvSpPr>
            <a:spLocks noGrp="1"/>
          </p:cNvSpPr>
          <p:nvPr>
            <p:ph type="title"/>
          </p:nvPr>
        </p:nvSpPr>
        <p:spPr>
          <a:xfrm>
            <a:off x="250825" y="842963"/>
            <a:ext cx="8642350" cy="1101725"/>
          </a:xfrm>
        </p:spPr>
        <p:txBody>
          <a:bodyPr/>
          <a:lstStyle/>
          <a:p>
            <a:pPr>
              <a:lnSpc>
                <a:spcPct val="100000"/>
              </a:lnSpc>
            </a:pPr>
            <a:r>
              <a:rPr lang="en-US" sz="2000" dirty="0"/>
              <a:t>FPSOs a steady market over the past years – Positive outlook supported by a lower breakeven level on oil prices</a:t>
            </a:r>
            <a:endParaRPr lang="it-IT" sz="59500" dirty="0"/>
          </a:p>
        </p:txBody>
      </p:sp>
      <p:sp>
        <p:nvSpPr>
          <p:cNvPr id="2" name="Source">
            <a:extLst>
              <a:ext uri="{FF2B5EF4-FFF2-40B4-BE49-F238E27FC236}">
                <a16:creationId xmlns:a16="http://schemas.microsoft.com/office/drawing/2014/main" id="{2730E5BB-30D5-E269-473C-D45C166E1A27}"/>
              </a:ext>
            </a:extLst>
          </p:cNvPr>
          <p:cNvSpPr txBox="1"/>
          <p:nvPr/>
        </p:nvSpPr>
        <p:spPr>
          <a:xfrm>
            <a:off x="342040" y="4490957"/>
            <a:ext cx="658835" cy="41550"/>
          </a:xfrm>
          <a:prstGeom prst="rect">
            <a:avLst/>
          </a:prstGeom>
          <a:noFill/>
          <a:ln w="9525">
            <a:noFill/>
          </a:ln>
        </p:spPr>
        <p:txBody>
          <a:bodyPr vert="horz" wrap="none" lIns="0" tIns="0" rIns="0" bIns="0" rtlCol="0" anchor="b" anchorCtr="0">
            <a:spAutoFit/>
          </a:bodyPr>
          <a:lstStyle>
            <a:defPPr>
              <a:defRPr lang="en-EN"/>
            </a:defPPr>
            <a:lvl1pPr lvl="0" eaLnBrk="0" hangingPunct="0">
              <a:lnSpc>
                <a:spcPct val="90000"/>
              </a:lnSpc>
              <a:spcBef>
                <a:spcPts val="0"/>
              </a:spcBef>
              <a:spcAft>
                <a:spcPts val="0"/>
              </a:spcAft>
              <a:buSzPct val="100000"/>
              <a:tabLst>
                <a:tab pos="4857750" algn="l"/>
              </a:tabLst>
              <a:defRPr kumimoji="1" sz="800" b="0">
                <a:solidFill>
                  <a:schemeClr val="tx2"/>
                </a:solidFill>
                <a:latin typeface="+mn-lt"/>
              </a:defRPr>
            </a:lvl1pPr>
          </a:lstStyle>
          <a:p>
            <a:r>
              <a:rPr lang="en-US" sz="300">
                <a:latin typeface="Arial" panose="020B0604020202020204" pitchFamily="34" charset="0"/>
                <a:cs typeface="Arial" panose="020B0604020202020204" pitchFamily="34" charset="0"/>
                <a:sym typeface="+mn-lt"/>
              </a:rPr>
              <a:t>Source: </a:t>
            </a:r>
            <a:r>
              <a:rPr lang="en-US" sz="300" err="1">
                <a:latin typeface="Arial" panose="020B0604020202020204" pitchFamily="34" charset="0"/>
                <a:cs typeface="Arial" panose="020B0604020202020204" pitchFamily="34" charset="0"/>
                <a:sym typeface="+mn-lt"/>
              </a:rPr>
              <a:t>Rystad</a:t>
            </a:r>
            <a:r>
              <a:rPr lang="en-US" sz="300">
                <a:latin typeface="Arial" panose="020B0604020202020204" pitchFamily="34" charset="0"/>
                <a:cs typeface="Arial" panose="020B0604020202020204" pitchFamily="34" charset="0"/>
                <a:sym typeface="+mn-lt"/>
              </a:rPr>
              <a:t> Energy, Roland Berger</a:t>
            </a:r>
          </a:p>
        </p:txBody>
      </p:sp>
      <p:graphicFrame>
        <p:nvGraphicFramePr>
          <p:cNvPr id="3" name="Chart 13">
            <a:extLst>
              <a:ext uri="{FF2B5EF4-FFF2-40B4-BE49-F238E27FC236}">
                <a16:creationId xmlns:a16="http://schemas.microsoft.com/office/drawing/2014/main" id="{D70ACAA2-BE7B-EEA3-5B12-29BC95E90D95}"/>
              </a:ext>
            </a:extLst>
          </p:cNvPr>
          <p:cNvGraphicFramePr/>
          <p:nvPr>
            <p:custDataLst>
              <p:tags r:id="rId1"/>
            </p:custDataLst>
            <p:extLst>
              <p:ext uri="{D42A27DB-BD31-4B8C-83A1-F6EECF244321}">
                <p14:modId xmlns:p14="http://schemas.microsoft.com/office/powerpoint/2010/main" val="1799868989"/>
              </p:ext>
            </p:extLst>
          </p:nvPr>
        </p:nvGraphicFramePr>
        <p:xfrm>
          <a:off x="258763" y="2193805"/>
          <a:ext cx="2647950" cy="1994318"/>
        </p:xfrm>
        <a:graphic>
          <a:graphicData uri="http://schemas.openxmlformats.org/drawingml/2006/chart">
            <c:chart xmlns:c="http://schemas.openxmlformats.org/drawingml/2006/chart" xmlns:r="http://schemas.openxmlformats.org/officeDocument/2006/relationships" r:id="rId33"/>
          </a:graphicData>
        </a:graphic>
      </p:graphicFrame>
      <p:sp>
        <p:nvSpPr>
          <p:cNvPr id="4" name="Text Placeholder">
            <a:extLst>
              <a:ext uri="{FF2B5EF4-FFF2-40B4-BE49-F238E27FC236}">
                <a16:creationId xmlns:a16="http://schemas.microsoft.com/office/drawing/2014/main" id="{3C6644FB-BC30-8276-5857-52D02E14B24A}"/>
              </a:ext>
            </a:extLst>
          </p:cNvPr>
          <p:cNvSpPr>
            <a:spLocks noGrp="1"/>
          </p:cNvSpPr>
          <p:nvPr>
            <p:custDataLst>
              <p:tags r:id="rId2"/>
            </p:custDataLst>
          </p:nvPr>
        </p:nvSpPr>
        <p:spPr bwMode="auto">
          <a:xfrm>
            <a:off x="442913" y="4084517"/>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51E2B5F4-FB7C-423B-A21F-E75AA26FAE03}" type="datetime'''''''20''''''''''''''''''''''''''''''''''''1''8'">
              <a:rPr lang="en-US" altLang="en-US" sz="700" smtClean="0">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2018</a:t>
            </a:fld>
            <a:endParaRPr lang="de-DE" sz="700">
              <a:latin typeface="Arial" panose="020B0604020202020204" pitchFamily="34" charset="0"/>
              <a:cs typeface="Arial" panose="020B0604020202020204" pitchFamily="34" charset="0"/>
              <a:sym typeface="Arial" panose="020B0604020202020204" pitchFamily="34" charset="0"/>
            </a:endParaRPr>
          </a:p>
        </p:txBody>
      </p:sp>
      <p:sp>
        <p:nvSpPr>
          <p:cNvPr id="5" name="Text Placeholder">
            <a:extLst>
              <a:ext uri="{FF2B5EF4-FFF2-40B4-BE49-F238E27FC236}">
                <a16:creationId xmlns:a16="http://schemas.microsoft.com/office/drawing/2014/main" id="{3DD05443-734A-9CEE-D17C-208C6FB127D7}"/>
              </a:ext>
            </a:extLst>
          </p:cNvPr>
          <p:cNvSpPr>
            <a:spLocks noGrp="1"/>
          </p:cNvSpPr>
          <p:nvPr>
            <p:custDataLst>
              <p:tags r:id="rId3"/>
            </p:custDataLst>
          </p:nvPr>
        </p:nvSpPr>
        <p:spPr bwMode="auto">
          <a:xfrm>
            <a:off x="939800" y="4084517"/>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4D8B2DDA-5879-46E7-A44B-6231257DA6CF}" type="datetime'''''''''2''''''''''0''''''1''''''''''''''''''9'''''''''">
              <a:rPr lang="en-US" altLang="en-US" sz="700" smtClean="0">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2019</a:t>
            </a:fld>
            <a:endParaRPr lang="de-DE" sz="700">
              <a:latin typeface="Arial" panose="020B0604020202020204" pitchFamily="34" charset="0"/>
              <a:cs typeface="Arial" panose="020B0604020202020204" pitchFamily="34" charset="0"/>
              <a:sym typeface="Arial" panose="020B0604020202020204" pitchFamily="34" charset="0"/>
            </a:endParaRPr>
          </a:p>
        </p:txBody>
      </p:sp>
      <p:sp>
        <p:nvSpPr>
          <p:cNvPr id="7" name="Text Placeholder">
            <a:extLst>
              <a:ext uri="{FF2B5EF4-FFF2-40B4-BE49-F238E27FC236}">
                <a16:creationId xmlns:a16="http://schemas.microsoft.com/office/drawing/2014/main" id="{48BDD9D7-B3ED-A89D-8028-9C4C9F4ED8F3}"/>
              </a:ext>
            </a:extLst>
          </p:cNvPr>
          <p:cNvSpPr>
            <a:spLocks noGrp="1"/>
          </p:cNvSpPr>
          <p:nvPr>
            <p:custDataLst>
              <p:tags r:id="rId4"/>
            </p:custDataLst>
          </p:nvPr>
        </p:nvSpPr>
        <p:spPr bwMode="auto">
          <a:xfrm>
            <a:off x="1435100" y="4084517"/>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48E6CB02-503F-498C-A5AD-7BEC2A5E1AD0}" type="datetime'''''''''''''''''2''''0''''''''''''2''''''''''''''''''0'">
              <a:rPr lang="en-US" altLang="en-US" sz="700" smtClean="0">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2020</a:t>
            </a:fld>
            <a:endParaRPr lang="de-DE" sz="700">
              <a:latin typeface="Arial" panose="020B0604020202020204" pitchFamily="34" charset="0"/>
              <a:cs typeface="Arial" panose="020B0604020202020204" pitchFamily="34" charset="0"/>
              <a:sym typeface="Arial" panose="020B0604020202020204" pitchFamily="34" charset="0"/>
            </a:endParaRPr>
          </a:p>
        </p:txBody>
      </p:sp>
      <p:sp>
        <p:nvSpPr>
          <p:cNvPr id="8" name="Text Placeholder">
            <a:extLst>
              <a:ext uri="{FF2B5EF4-FFF2-40B4-BE49-F238E27FC236}">
                <a16:creationId xmlns:a16="http://schemas.microsoft.com/office/drawing/2014/main" id="{BCB8DE11-53A5-8D27-829E-16A88D1F3D53}"/>
              </a:ext>
            </a:extLst>
          </p:cNvPr>
          <p:cNvSpPr>
            <a:spLocks noGrp="1"/>
          </p:cNvSpPr>
          <p:nvPr>
            <p:custDataLst>
              <p:tags r:id="rId5"/>
            </p:custDataLst>
          </p:nvPr>
        </p:nvSpPr>
        <p:spPr bwMode="auto">
          <a:xfrm>
            <a:off x="1931988" y="4084517"/>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DE651BEB-187C-4DA1-A71B-9DCD01F8AF0F}" type="datetime'2''''0''''''''''''''''''''''''2''''''1'''''''''">
              <a:rPr lang="en-US" altLang="en-US" sz="700" smtClean="0">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2021</a:t>
            </a:fld>
            <a:endParaRPr lang="de-DE" sz="700">
              <a:latin typeface="Arial" panose="020B0604020202020204" pitchFamily="34" charset="0"/>
              <a:cs typeface="Arial" panose="020B0604020202020204" pitchFamily="34" charset="0"/>
              <a:sym typeface="Arial" panose="020B0604020202020204" pitchFamily="34" charset="0"/>
            </a:endParaRPr>
          </a:p>
        </p:txBody>
      </p:sp>
      <p:sp>
        <p:nvSpPr>
          <p:cNvPr id="9" name="Text Placeholder">
            <a:extLst>
              <a:ext uri="{FF2B5EF4-FFF2-40B4-BE49-F238E27FC236}">
                <a16:creationId xmlns:a16="http://schemas.microsoft.com/office/drawing/2014/main" id="{E61A2FC6-AB01-B737-ADE0-BF77EA440B46}"/>
              </a:ext>
            </a:extLst>
          </p:cNvPr>
          <p:cNvSpPr>
            <a:spLocks noGrp="1"/>
          </p:cNvSpPr>
          <p:nvPr>
            <p:custDataLst>
              <p:tags r:id="rId6"/>
            </p:custDataLst>
          </p:nvPr>
        </p:nvSpPr>
        <p:spPr bwMode="auto">
          <a:xfrm>
            <a:off x="2428875" y="4084517"/>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spcBef>
                <a:spcPct val="0"/>
              </a:spcBef>
              <a:spcAft>
                <a:spcPct val="0"/>
              </a:spcAft>
              <a:buSzPct val="100000"/>
              <a:buFont typeface="+mn-lt" pitchFamily="34" charset="0"/>
            </a:pPr>
            <a:fld id="{C4844870-6B53-46F1-B440-F2DD205C6530}" type="datetime'''2''''0''''''''''''2''''2'''''''''''''''''''''''">
              <a:rPr lang="en-US" altLang="en-US" sz="700" smtClean="0">
                <a:latin typeface="Arial" panose="020B0604020202020204" pitchFamily="34" charset="0"/>
                <a:cs typeface="Arial" panose="020B0604020202020204" pitchFamily="34" charset="0"/>
                <a:sym typeface="Arial" panose="020B0604020202020204" pitchFamily="34" charset="0"/>
              </a:rPr>
              <a:pPr algn="ctr" defTabSz="685800" fontAlgn="base">
                <a:spcBef>
                  <a:spcPct val="0"/>
                </a:spcBef>
                <a:spcAft>
                  <a:spcPct val="0"/>
                </a:spcAft>
                <a:buSzPct val="100000"/>
                <a:buFont typeface="+mn-lt" pitchFamily="34" charset="0"/>
              </a:pPr>
              <a:t>2022</a:t>
            </a:fld>
            <a:endParaRPr lang="de-DE" sz="700">
              <a:latin typeface="Arial" panose="020B0604020202020204" pitchFamily="34" charset="0"/>
              <a:cs typeface="Arial" panose="020B0604020202020204" pitchFamily="34" charset="0"/>
              <a:sym typeface="Arial" panose="020B0604020202020204" pitchFamily="34" charset="0"/>
            </a:endParaRPr>
          </a:p>
        </p:txBody>
      </p:sp>
      <p:graphicFrame>
        <p:nvGraphicFramePr>
          <p:cNvPr id="10" name="Chart 14">
            <a:extLst>
              <a:ext uri="{FF2B5EF4-FFF2-40B4-BE49-F238E27FC236}">
                <a16:creationId xmlns:a16="http://schemas.microsoft.com/office/drawing/2014/main" id="{15D49648-73FC-8E56-53DC-E1D96D41FCD1}"/>
              </a:ext>
            </a:extLst>
          </p:cNvPr>
          <p:cNvGraphicFramePr/>
          <p:nvPr>
            <p:custDataLst>
              <p:tags r:id="rId7"/>
            </p:custDataLst>
            <p:extLst>
              <p:ext uri="{D42A27DB-BD31-4B8C-83A1-F6EECF244321}">
                <p14:modId xmlns:p14="http://schemas.microsoft.com/office/powerpoint/2010/main" val="4154779065"/>
              </p:ext>
            </p:extLst>
          </p:nvPr>
        </p:nvGraphicFramePr>
        <p:xfrm>
          <a:off x="3554413" y="2366842"/>
          <a:ext cx="2735262" cy="1651923"/>
        </p:xfrm>
        <a:graphic>
          <a:graphicData uri="http://schemas.openxmlformats.org/drawingml/2006/chart">
            <c:chart xmlns:c="http://schemas.openxmlformats.org/drawingml/2006/chart" xmlns:r="http://schemas.openxmlformats.org/officeDocument/2006/relationships" r:id="rId34"/>
          </a:graphicData>
        </a:graphic>
      </p:graphicFrame>
      <p:cxnSp>
        <p:nvCxnSpPr>
          <p:cNvPr id="11" name="Gerader Verbinder 179">
            <a:extLst>
              <a:ext uri="{FF2B5EF4-FFF2-40B4-BE49-F238E27FC236}">
                <a16:creationId xmlns:a16="http://schemas.microsoft.com/office/drawing/2014/main" id="{7000BE67-0CEE-E4B1-0B4A-1331E7E37B80}"/>
              </a:ext>
            </a:extLst>
          </p:cNvPr>
          <p:cNvCxnSpPr/>
          <p:nvPr>
            <p:custDataLst>
              <p:tags r:id="rId8"/>
            </p:custDataLst>
          </p:nvPr>
        </p:nvCxnSpPr>
        <p:spPr bwMode="gray">
          <a:xfrm>
            <a:off x="5838825" y="2977571"/>
            <a:ext cx="306388" cy="0"/>
          </a:xfrm>
          <a:prstGeom prst="line">
            <a:avLst/>
          </a:prstGeom>
          <a:ln w="6350" cap="flat" cmpd="sng" algn="ctr">
            <a:solidFill>
              <a:schemeClr val="accent6"/>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Gerader Verbinder 180">
            <a:extLst>
              <a:ext uri="{FF2B5EF4-FFF2-40B4-BE49-F238E27FC236}">
                <a16:creationId xmlns:a16="http://schemas.microsoft.com/office/drawing/2014/main" id="{F660735A-869D-9B93-022D-371E8E44AFCF}"/>
              </a:ext>
            </a:extLst>
          </p:cNvPr>
          <p:cNvCxnSpPr/>
          <p:nvPr>
            <p:custDataLst>
              <p:tags r:id="rId9"/>
            </p:custDataLst>
          </p:nvPr>
        </p:nvCxnSpPr>
        <p:spPr bwMode="gray">
          <a:xfrm>
            <a:off x="5838825" y="2977571"/>
            <a:ext cx="0" cy="869950"/>
          </a:xfrm>
          <a:prstGeom prst="line">
            <a:avLst/>
          </a:prstGeom>
          <a:ln w="6350" cap="flat" cmpd="sng" algn="ctr">
            <a:solidFill>
              <a:schemeClr val="accent6"/>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Gerader Verbinder 181">
            <a:extLst>
              <a:ext uri="{FF2B5EF4-FFF2-40B4-BE49-F238E27FC236}">
                <a16:creationId xmlns:a16="http://schemas.microsoft.com/office/drawing/2014/main" id="{82CBD055-6972-7AD9-0A51-CF34C42B3934}"/>
              </a:ext>
            </a:extLst>
          </p:cNvPr>
          <p:cNvCxnSpPr/>
          <p:nvPr>
            <p:custDataLst>
              <p:tags r:id="rId10"/>
            </p:custDataLst>
          </p:nvPr>
        </p:nvCxnSpPr>
        <p:spPr bwMode="gray">
          <a:xfrm>
            <a:off x="6145213" y="2977571"/>
            <a:ext cx="0" cy="869950"/>
          </a:xfrm>
          <a:prstGeom prst="line">
            <a:avLst/>
          </a:prstGeom>
          <a:ln w="6350" cap="flat" cmpd="sng" algn="ctr">
            <a:solidFill>
              <a:schemeClr val="accent6"/>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Text Placeholder">
            <a:extLst>
              <a:ext uri="{FF2B5EF4-FFF2-40B4-BE49-F238E27FC236}">
                <a16:creationId xmlns:a16="http://schemas.microsoft.com/office/drawing/2014/main" id="{23E24E26-89C5-47EB-1E19-ECDD43A09091}"/>
              </a:ext>
            </a:extLst>
          </p:cNvPr>
          <p:cNvSpPr>
            <a:spLocks noGrp="1"/>
          </p:cNvSpPr>
          <p:nvPr>
            <p:custDataLst>
              <p:tags r:id="rId11"/>
            </p:custDataLst>
          </p:nvPr>
        </p:nvSpPr>
        <p:spPr bwMode="auto">
          <a:xfrm>
            <a:off x="3703638" y="4122617"/>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B2B936FF-F5DA-4414-BC19-43E75FE38153}" type="datetime'''''''''''''''''''''''''''''''''2''''''''0''''''''''1''8'''''">
              <a:rPr lang="en-US" altLang="en-US" sz="7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18</a:t>
            </a:fld>
            <a:endParaRPr lang="de-DE" sz="700">
              <a:latin typeface="Arial" panose="020B0604020202020204" pitchFamily="34" charset="0"/>
              <a:cs typeface="Arial" panose="020B0604020202020204" pitchFamily="34" charset="0"/>
              <a:sym typeface="Arial" panose="020B0604020202020204" pitchFamily="34" charset="0"/>
            </a:endParaRPr>
          </a:p>
        </p:txBody>
      </p:sp>
      <p:sp>
        <p:nvSpPr>
          <p:cNvPr id="15" name="Text Placeholder">
            <a:extLst>
              <a:ext uri="{FF2B5EF4-FFF2-40B4-BE49-F238E27FC236}">
                <a16:creationId xmlns:a16="http://schemas.microsoft.com/office/drawing/2014/main" id="{ADA3111A-CB58-3303-560C-E7BCD81343A1}"/>
              </a:ext>
            </a:extLst>
          </p:cNvPr>
          <p:cNvSpPr>
            <a:spLocks noGrp="1"/>
          </p:cNvSpPr>
          <p:nvPr>
            <p:custDataLst>
              <p:tags r:id="rId12"/>
            </p:custDataLst>
          </p:nvPr>
        </p:nvSpPr>
        <p:spPr bwMode="auto">
          <a:xfrm>
            <a:off x="4132263" y="4122617"/>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2A756B71-3596-4F2E-B34B-1B9E7DD65E42}" type="datetime'''''''2''''''''''''''''''''''''''0''''1''''''''''''9'''''''''">
              <a:rPr lang="en-US" altLang="en-US" sz="7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19</a:t>
            </a:fld>
            <a:endParaRPr lang="de-DE" sz="700">
              <a:latin typeface="Arial" panose="020B0604020202020204" pitchFamily="34" charset="0"/>
              <a:cs typeface="Arial" panose="020B0604020202020204" pitchFamily="34" charset="0"/>
              <a:sym typeface="Arial" panose="020B0604020202020204" pitchFamily="34" charset="0"/>
            </a:endParaRPr>
          </a:p>
        </p:txBody>
      </p:sp>
      <p:sp>
        <p:nvSpPr>
          <p:cNvPr id="16" name="Text Placeholder">
            <a:extLst>
              <a:ext uri="{FF2B5EF4-FFF2-40B4-BE49-F238E27FC236}">
                <a16:creationId xmlns:a16="http://schemas.microsoft.com/office/drawing/2014/main" id="{107A5CC3-0657-942C-FD00-4054245FB610}"/>
              </a:ext>
            </a:extLst>
          </p:cNvPr>
          <p:cNvSpPr>
            <a:spLocks noGrp="1"/>
          </p:cNvSpPr>
          <p:nvPr>
            <p:custDataLst>
              <p:tags r:id="rId13"/>
            </p:custDataLst>
          </p:nvPr>
        </p:nvSpPr>
        <p:spPr bwMode="auto">
          <a:xfrm>
            <a:off x="4560888" y="4122617"/>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4FB4CF23-B265-46B8-85CB-AE4895D8E678}" type="datetime'''''''2''''''''0''''''''''''2''''''''''''''0'''''''''''''''''">
              <a:rPr lang="en-US" altLang="en-US" sz="7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0</a:t>
            </a:fld>
            <a:endParaRPr lang="de-DE" sz="700">
              <a:latin typeface="Arial" panose="020B0604020202020204" pitchFamily="34" charset="0"/>
              <a:cs typeface="Arial" panose="020B0604020202020204" pitchFamily="34" charset="0"/>
              <a:sym typeface="Arial" panose="020B0604020202020204" pitchFamily="34" charset="0"/>
            </a:endParaRPr>
          </a:p>
        </p:txBody>
      </p:sp>
      <p:sp>
        <p:nvSpPr>
          <p:cNvPr id="17" name="Text Placeholder">
            <a:extLst>
              <a:ext uri="{FF2B5EF4-FFF2-40B4-BE49-F238E27FC236}">
                <a16:creationId xmlns:a16="http://schemas.microsoft.com/office/drawing/2014/main" id="{9F2B2030-D4A4-457F-A1B5-7FF8C7B67893}"/>
              </a:ext>
            </a:extLst>
          </p:cNvPr>
          <p:cNvSpPr>
            <a:spLocks noGrp="1"/>
          </p:cNvSpPr>
          <p:nvPr>
            <p:custDataLst>
              <p:tags r:id="rId14"/>
            </p:custDataLst>
          </p:nvPr>
        </p:nvSpPr>
        <p:spPr bwMode="auto">
          <a:xfrm>
            <a:off x="4989513" y="4122617"/>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847FD328-2F90-445B-A828-7A3764E4C8B7}" type="datetime'2''''''''''''''''''''''''0''2''''''''''''1'''''''''''''">
              <a:rPr lang="en-US" altLang="en-US" sz="7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1</a:t>
            </a:fld>
            <a:endParaRPr lang="de-DE" sz="700">
              <a:latin typeface="Arial" panose="020B0604020202020204" pitchFamily="34" charset="0"/>
              <a:cs typeface="Arial" panose="020B0604020202020204" pitchFamily="34" charset="0"/>
              <a:sym typeface="Arial" panose="020B0604020202020204" pitchFamily="34" charset="0"/>
            </a:endParaRPr>
          </a:p>
        </p:txBody>
      </p:sp>
      <p:sp>
        <p:nvSpPr>
          <p:cNvPr id="18" name="Text Placeholder">
            <a:extLst>
              <a:ext uri="{FF2B5EF4-FFF2-40B4-BE49-F238E27FC236}">
                <a16:creationId xmlns:a16="http://schemas.microsoft.com/office/drawing/2014/main" id="{35FCA979-FDB6-7EB9-C99F-A8452BBAEB18}"/>
              </a:ext>
            </a:extLst>
          </p:cNvPr>
          <p:cNvSpPr>
            <a:spLocks noGrp="1"/>
          </p:cNvSpPr>
          <p:nvPr>
            <p:custDataLst>
              <p:tags r:id="rId15"/>
            </p:custDataLst>
          </p:nvPr>
        </p:nvSpPr>
        <p:spPr bwMode="auto">
          <a:xfrm>
            <a:off x="5416550" y="4103567"/>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6E426BEC-8E07-41C2-AD36-2104E17DF164}" type="datetime'''2''0''''''''''''''2''''2'''''''''''''''''''''''''''''">
              <a:rPr lang="en-US" altLang="en-US" sz="7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2</a:t>
            </a:fld>
            <a:endParaRPr lang="de-DE" sz="700">
              <a:latin typeface="Arial" panose="020B0604020202020204" pitchFamily="34" charset="0"/>
              <a:cs typeface="Arial" panose="020B0604020202020204" pitchFamily="34" charset="0"/>
              <a:sym typeface="Arial" panose="020B0604020202020204" pitchFamily="34" charset="0"/>
            </a:endParaRPr>
          </a:p>
        </p:txBody>
      </p:sp>
      <p:sp>
        <p:nvSpPr>
          <p:cNvPr id="19" name="Text Placeholder">
            <a:extLst>
              <a:ext uri="{FF2B5EF4-FFF2-40B4-BE49-F238E27FC236}">
                <a16:creationId xmlns:a16="http://schemas.microsoft.com/office/drawing/2014/main" id="{DC37F07C-A1E1-E3CA-1EDC-8B61790B86F7}"/>
              </a:ext>
            </a:extLst>
          </p:cNvPr>
          <p:cNvSpPr>
            <a:spLocks noGrp="1"/>
          </p:cNvSpPr>
          <p:nvPr>
            <p:custDataLst>
              <p:tags r:id="rId16"/>
            </p:custDataLst>
          </p:nvPr>
        </p:nvSpPr>
        <p:spPr bwMode="auto">
          <a:xfrm>
            <a:off x="5761038" y="4103567"/>
            <a:ext cx="4619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4A7CAC60-DA71-4370-B5CB-FEF48BE2DE04}" type="datetime'''''2''''''''0''23''''''+''&#10;fo''''''r''e''ca''''''''''st'''">
              <a:rPr lang="de-DE" altLang="en-US" sz="7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23+
forecast</a:t>
            </a:fld>
            <a:endParaRPr lang="de-DE" sz="700">
              <a:latin typeface="Arial" panose="020B0604020202020204" pitchFamily="34" charset="0"/>
              <a:cs typeface="Arial" panose="020B0604020202020204" pitchFamily="34" charset="0"/>
              <a:sym typeface="Arial" panose="020B0604020202020204" pitchFamily="34" charset="0"/>
            </a:endParaRPr>
          </a:p>
        </p:txBody>
      </p:sp>
      <p:sp>
        <p:nvSpPr>
          <p:cNvPr id="20" name="Text Placeholder">
            <a:extLst>
              <a:ext uri="{FF2B5EF4-FFF2-40B4-BE49-F238E27FC236}">
                <a16:creationId xmlns:a16="http://schemas.microsoft.com/office/drawing/2014/main" id="{1217E862-E621-49D5-D5E8-2574DE48EEE8}"/>
              </a:ext>
            </a:extLst>
          </p:cNvPr>
          <p:cNvSpPr>
            <a:spLocks noGrp="1"/>
          </p:cNvSpPr>
          <p:nvPr>
            <p:custDataLst>
              <p:tags r:id="rId17"/>
            </p:custDataLst>
          </p:nvPr>
        </p:nvSpPr>
        <p:spPr bwMode="auto">
          <a:xfrm>
            <a:off x="3092450" y="3308610"/>
            <a:ext cx="4826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A405FD48-F9E8-4B93-881E-A250CF29D925}" type="datetime'''''''R''''''''''''''''''e''d''''eplo''''''''''y'''''''''''">
              <a:rPr lang="de-DE" altLang="en-US" sz="600" smtClean="0">
                <a:latin typeface="Arial" panose="020B0604020202020204" pitchFamily="34" charset="0"/>
                <a:cs typeface="Arial" panose="020B0604020202020204" pitchFamily="34" charset="0"/>
                <a:sym typeface="Arial" panose="020B0604020202020204" pitchFamily="34" charset="0"/>
              </a:rPr>
              <a:pPr defTabSz="685800">
                <a:spcBef>
                  <a:spcPct val="0"/>
                </a:spcBef>
                <a:buSzPct val="100000"/>
                <a:buFont typeface="+mn-lt" pitchFamily="34" charset="0"/>
              </a:pPr>
              <a:t>Redeploy</a:t>
            </a:fld>
            <a:endParaRPr lang="de-DE" sz="600" dirty="0">
              <a:latin typeface="Arial" panose="020B0604020202020204" pitchFamily="34" charset="0"/>
              <a:cs typeface="Arial" panose="020B0604020202020204" pitchFamily="34" charset="0"/>
              <a:sym typeface="Arial" panose="020B0604020202020204" pitchFamily="34" charset="0"/>
            </a:endParaRPr>
          </a:p>
        </p:txBody>
      </p:sp>
      <p:sp>
        <p:nvSpPr>
          <p:cNvPr id="21" name="Text Placeholder">
            <a:extLst>
              <a:ext uri="{FF2B5EF4-FFF2-40B4-BE49-F238E27FC236}">
                <a16:creationId xmlns:a16="http://schemas.microsoft.com/office/drawing/2014/main" id="{D195E5AF-A001-D7CE-AF62-A73F584EA8CF}"/>
              </a:ext>
            </a:extLst>
          </p:cNvPr>
          <p:cNvSpPr>
            <a:spLocks noGrp="1"/>
          </p:cNvSpPr>
          <p:nvPr>
            <p:custDataLst>
              <p:tags r:id="rId18"/>
            </p:custDataLst>
          </p:nvPr>
        </p:nvSpPr>
        <p:spPr bwMode="auto">
          <a:xfrm>
            <a:off x="3092450" y="3525717"/>
            <a:ext cx="4699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C44781BC-C10A-4B5E-8270-9B731AF860ED}" type="datetime'''F''''''''''''ir''s''''t ''''''''t''''''i''''m''e'">
              <a:rPr lang="de-DE" altLang="en-US" sz="600" smtClean="0">
                <a:latin typeface="Arial" panose="020B0604020202020204" pitchFamily="34" charset="0"/>
                <a:cs typeface="Arial" panose="020B0604020202020204" pitchFamily="34" charset="0"/>
                <a:sym typeface="Arial" panose="020B0604020202020204" pitchFamily="34" charset="0"/>
              </a:rPr>
              <a:pPr defTabSz="685800">
                <a:spcBef>
                  <a:spcPct val="0"/>
                </a:spcBef>
                <a:buSzPct val="100000"/>
                <a:buFont typeface="+mn-lt" pitchFamily="34" charset="0"/>
              </a:pPr>
              <a:t>First time</a:t>
            </a:fld>
            <a:endParaRPr lang="de-DE" sz="600" dirty="0">
              <a:latin typeface="Arial" panose="020B0604020202020204" pitchFamily="34" charset="0"/>
              <a:cs typeface="Arial" panose="020B0604020202020204" pitchFamily="34" charset="0"/>
              <a:sym typeface="Arial" panose="020B0604020202020204" pitchFamily="34" charset="0"/>
            </a:endParaRPr>
          </a:p>
        </p:txBody>
      </p:sp>
      <p:sp>
        <p:nvSpPr>
          <p:cNvPr id="22" name="Text Placeholder">
            <a:extLst>
              <a:ext uri="{FF2B5EF4-FFF2-40B4-BE49-F238E27FC236}">
                <a16:creationId xmlns:a16="http://schemas.microsoft.com/office/drawing/2014/main" id="{11C401C4-42DF-27DF-F257-865773C6FC18}"/>
              </a:ext>
            </a:extLst>
          </p:cNvPr>
          <p:cNvSpPr>
            <a:spLocks noGrp="1"/>
          </p:cNvSpPr>
          <p:nvPr>
            <p:custDataLst>
              <p:tags r:id="rId19"/>
            </p:custDataLst>
          </p:nvPr>
        </p:nvSpPr>
        <p:spPr bwMode="gray">
          <a:xfrm>
            <a:off x="3795713" y="3130429"/>
            <a:ext cx="107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125AABDA-C60A-40B2-BB26-0264CA09DAD0}" type="datetime'''''''''''''''5'''''''''''''''''''">
              <a:rPr lang="en-US" altLang="en-US" sz="700" b="1"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5</a:t>
            </a:fld>
            <a:endParaRPr lang="de-DE" sz="700" b="1" dirty="0">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a:extLst>
              <a:ext uri="{FF2B5EF4-FFF2-40B4-BE49-F238E27FC236}">
                <a16:creationId xmlns:a16="http://schemas.microsoft.com/office/drawing/2014/main" id="{EDA13E00-6329-57B7-DA81-4C5C7A576C42}"/>
              </a:ext>
            </a:extLst>
          </p:cNvPr>
          <p:cNvSpPr>
            <a:spLocks noGrp="1"/>
          </p:cNvSpPr>
          <p:nvPr>
            <p:custDataLst>
              <p:tags r:id="rId20"/>
            </p:custDataLst>
          </p:nvPr>
        </p:nvSpPr>
        <p:spPr bwMode="gray">
          <a:xfrm>
            <a:off x="4189413" y="2373192"/>
            <a:ext cx="177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8324A522-4AC2-4A47-9BD5-E654D93A8776}" type="datetime'''''''''''''1''''''''2'">
              <a:rPr lang="en-US" altLang="en-US" sz="700" b="1"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12</a:t>
            </a:fld>
            <a:endParaRPr lang="de-DE" sz="700" b="1" dirty="0">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a:extLst>
              <a:ext uri="{FF2B5EF4-FFF2-40B4-BE49-F238E27FC236}">
                <a16:creationId xmlns:a16="http://schemas.microsoft.com/office/drawing/2014/main" id="{13C0279C-2353-26FF-529E-154D00D75E2D}"/>
              </a:ext>
            </a:extLst>
          </p:cNvPr>
          <p:cNvSpPr>
            <a:spLocks noGrp="1"/>
          </p:cNvSpPr>
          <p:nvPr>
            <p:custDataLst>
              <p:tags r:id="rId21"/>
            </p:custDataLst>
          </p:nvPr>
        </p:nvSpPr>
        <p:spPr bwMode="gray">
          <a:xfrm>
            <a:off x="5081588" y="2582742"/>
            <a:ext cx="107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lnSpc>
                <a:spcPct val="90000"/>
              </a:lnSpc>
              <a:spcBef>
                <a:spcPct val="0"/>
              </a:spcBef>
              <a:spcAft>
                <a:spcPct val="0"/>
              </a:spcAft>
              <a:buSzPct val="100000"/>
              <a:buFont typeface="+mn-lt" pitchFamily="34" charset="0"/>
            </a:pPr>
            <a:fld id="{6F90E64D-0D94-48A6-948E-37EAF151911B}" type="datetime'''''''''''''''''''''''''9'''''''''''">
              <a:rPr lang="en-US" altLang="en-US" sz="700" b="1" smtClean="0">
                <a:latin typeface="Arial" panose="020B0604020202020204" pitchFamily="34" charset="0"/>
                <a:cs typeface="Arial" panose="020B0604020202020204" pitchFamily="34" charset="0"/>
                <a:sym typeface="Arial" panose="020B0604020202020204" pitchFamily="34" charset="0"/>
              </a:rPr>
              <a:pPr algn="ctr" defTabSz="685800" fontAlgn="base">
                <a:lnSpc>
                  <a:spcPct val="90000"/>
                </a:lnSpc>
                <a:spcBef>
                  <a:spcPct val="0"/>
                </a:spcBef>
                <a:spcAft>
                  <a:spcPct val="0"/>
                </a:spcAft>
                <a:buSzPct val="100000"/>
                <a:buFont typeface="+mn-lt" pitchFamily="34" charset="0"/>
              </a:pPr>
              <a:t>9</a:t>
            </a:fld>
            <a:endParaRPr lang="de-DE" sz="700" b="1" dirty="0">
              <a:latin typeface="Arial" panose="020B0604020202020204" pitchFamily="34" charset="0"/>
              <a:cs typeface="Arial" panose="020B0604020202020204" pitchFamily="34" charset="0"/>
              <a:sym typeface="Arial" panose="020B0604020202020204" pitchFamily="34" charset="0"/>
            </a:endParaRPr>
          </a:p>
        </p:txBody>
      </p:sp>
      <p:sp>
        <p:nvSpPr>
          <p:cNvPr id="25" name="Text Placeholder">
            <a:extLst>
              <a:ext uri="{FF2B5EF4-FFF2-40B4-BE49-F238E27FC236}">
                <a16:creationId xmlns:a16="http://schemas.microsoft.com/office/drawing/2014/main" id="{C9FEC4B9-10BB-ADD7-9F12-6B840D8D4676}"/>
              </a:ext>
            </a:extLst>
          </p:cNvPr>
          <p:cNvSpPr>
            <a:spLocks noGrp="1"/>
          </p:cNvSpPr>
          <p:nvPr>
            <p:custDataLst>
              <p:tags r:id="rId22"/>
            </p:custDataLst>
          </p:nvPr>
        </p:nvSpPr>
        <p:spPr bwMode="gray">
          <a:xfrm>
            <a:off x="5508625" y="2898654"/>
            <a:ext cx="107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lnSpc>
                <a:spcPct val="90000"/>
              </a:lnSpc>
              <a:spcBef>
                <a:spcPct val="0"/>
              </a:spcBef>
              <a:buSzPct val="100000"/>
              <a:buFont typeface="+mn-lt" pitchFamily="34" charset="0"/>
            </a:pPr>
            <a:fld id="{9D2EDD79-A126-42FF-A5BF-94EF306EB9A5}" type="datetime'''''''''''''''''''''''6'''''''''''''''''''''''''''''''''''">
              <a:rPr lang="en-US" altLang="en-US" sz="700" b="1" smtClean="0">
                <a:latin typeface="Arial" panose="020B0604020202020204" pitchFamily="34" charset="0"/>
                <a:cs typeface="Arial" panose="020B0604020202020204" pitchFamily="34" charset="0"/>
                <a:sym typeface="Arial" panose="020B0604020202020204" pitchFamily="34" charset="0"/>
              </a:rPr>
              <a:pPr algn="ctr" defTabSz="685800">
                <a:lnSpc>
                  <a:spcPct val="90000"/>
                </a:lnSpc>
                <a:spcBef>
                  <a:spcPct val="0"/>
                </a:spcBef>
                <a:buSzPct val="100000"/>
                <a:buFont typeface="+mn-lt" pitchFamily="34" charset="0"/>
              </a:pPr>
              <a:t>6</a:t>
            </a:fld>
            <a:endParaRPr lang="de-DE" sz="700" b="1" dirty="0">
              <a:latin typeface="Arial" panose="020B0604020202020204" pitchFamily="34" charset="0"/>
              <a:cs typeface="Arial" panose="020B0604020202020204" pitchFamily="34" charset="0"/>
              <a:sym typeface="Arial" panose="020B0604020202020204" pitchFamily="34" charset="0"/>
            </a:endParaRPr>
          </a:p>
        </p:txBody>
      </p:sp>
      <p:sp>
        <p:nvSpPr>
          <p:cNvPr id="26" name="Text Placeholder">
            <a:extLst>
              <a:ext uri="{FF2B5EF4-FFF2-40B4-BE49-F238E27FC236}">
                <a16:creationId xmlns:a16="http://schemas.microsoft.com/office/drawing/2014/main" id="{94E73FC1-4A34-3786-D36D-6E2717CDB067}"/>
              </a:ext>
            </a:extLst>
          </p:cNvPr>
          <p:cNvSpPr>
            <a:spLocks noGrp="1"/>
          </p:cNvSpPr>
          <p:nvPr>
            <p:custDataLst>
              <p:tags r:id="rId23"/>
            </p:custDataLst>
          </p:nvPr>
        </p:nvSpPr>
        <p:spPr bwMode="gray">
          <a:xfrm>
            <a:off x="5881688" y="2815646"/>
            <a:ext cx="2206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1125444" rtl="0" eaLnBrk="1" latinLnBrk="0" hangingPunct="1">
              <a:lnSpc>
                <a:spcPct val="100000"/>
              </a:lnSpc>
              <a:spcBef>
                <a:spcPts val="40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100000"/>
              </a:lnSpc>
              <a:spcBef>
                <a:spcPts val="400"/>
              </a:spcBef>
              <a:buFont typeface="Arial Narrow" pitchFamily="34" charset="0"/>
              <a:buChar char="&gt;"/>
              <a:defRPr lang="en-US" sz="1200" b="0" i="0" kern="1200" baseline="0" dirty="0">
                <a:solidFill>
                  <a:schemeClr val="tx1"/>
                </a:solidFill>
                <a:latin typeface="+mn-lt"/>
                <a:ea typeface="+mn-ea"/>
                <a:cs typeface="+mn-cs"/>
                <a:sym typeface="+mn-lt"/>
              </a:defRPr>
            </a:lvl2pPr>
            <a:lvl3pPr marL="294289"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3pPr>
            <a:lvl4pPr marL="417126" indent="-171450" algn="l" defTabSz="1125444" rtl="0" eaLnBrk="1" latinLnBrk="0" hangingPunct="1">
              <a:lnSpc>
                <a:spcPct val="100000"/>
              </a:lnSpc>
              <a:spcBef>
                <a:spcPts val="400"/>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fontAlgn="base">
              <a:lnSpc>
                <a:spcPct val="90000"/>
              </a:lnSpc>
              <a:spcBef>
                <a:spcPct val="0"/>
              </a:spcBef>
              <a:spcAft>
                <a:spcPct val="0"/>
              </a:spcAft>
              <a:buSzPct val="100000"/>
              <a:buFont typeface="+mn-lt" pitchFamily="34" charset="0"/>
            </a:pPr>
            <a:r>
              <a:rPr lang="de-DE" altLang="en-US" sz="700" b="1">
                <a:latin typeface="Arial" panose="020B0604020202020204" pitchFamily="34" charset="0"/>
                <a:cs typeface="Arial" panose="020B0604020202020204" pitchFamily="34" charset="0"/>
                <a:sym typeface="Arial" panose="020B0604020202020204" pitchFamily="34" charset="0"/>
              </a:rPr>
              <a:t>4-6</a:t>
            </a:r>
            <a:endParaRPr lang="de-DE" sz="700" b="1">
              <a:latin typeface="Arial" panose="020B0604020202020204" pitchFamily="34" charset="0"/>
              <a:cs typeface="Arial" panose="020B0604020202020204" pitchFamily="34" charset="0"/>
              <a:sym typeface="Arial" panose="020B0604020202020204" pitchFamily="34" charset="0"/>
            </a:endParaRPr>
          </a:p>
        </p:txBody>
      </p:sp>
      <p:cxnSp>
        <p:nvCxnSpPr>
          <p:cNvPr id="27" name="Straight Connector 42">
            <a:extLst>
              <a:ext uri="{FF2B5EF4-FFF2-40B4-BE49-F238E27FC236}">
                <a16:creationId xmlns:a16="http://schemas.microsoft.com/office/drawing/2014/main" id="{3C788533-3102-6AA7-FACD-B5926EE888CE}"/>
              </a:ext>
            </a:extLst>
          </p:cNvPr>
          <p:cNvCxnSpPr/>
          <p:nvPr>
            <p:custDataLst>
              <p:tags r:id="rId24"/>
            </p:custDataLst>
          </p:nvPr>
        </p:nvCxnSpPr>
        <p:spPr bwMode="gray">
          <a:xfrm>
            <a:off x="7416800" y="2517654"/>
            <a:ext cx="409575" cy="1085850"/>
          </a:xfrm>
          <a:prstGeom prst="line">
            <a:avLst/>
          </a:prstGeom>
          <a:ln w="6350" cap="flat" cmpd="sng" algn="ctr">
            <a:solidFill>
              <a:schemeClr val="tx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8" name="Chart 15">
            <a:extLst>
              <a:ext uri="{FF2B5EF4-FFF2-40B4-BE49-F238E27FC236}">
                <a16:creationId xmlns:a16="http://schemas.microsoft.com/office/drawing/2014/main" id="{87A342E1-8F7B-91FC-D610-F4F997CD6D14}"/>
              </a:ext>
            </a:extLst>
          </p:cNvPr>
          <p:cNvGraphicFramePr/>
          <p:nvPr>
            <p:custDataLst>
              <p:tags r:id="rId25"/>
            </p:custDataLst>
            <p:extLst>
              <p:ext uri="{D42A27DB-BD31-4B8C-83A1-F6EECF244321}">
                <p14:modId xmlns:p14="http://schemas.microsoft.com/office/powerpoint/2010/main" val="3062664023"/>
              </p:ext>
            </p:extLst>
          </p:nvPr>
        </p:nvGraphicFramePr>
        <p:xfrm>
          <a:off x="6543675" y="2193804"/>
          <a:ext cx="2155825" cy="1994319"/>
        </p:xfrm>
        <a:graphic>
          <a:graphicData uri="http://schemas.openxmlformats.org/drawingml/2006/chart">
            <c:chart xmlns:c="http://schemas.openxmlformats.org/drawingml/2006/chart" xmlns:r="http://schemas.openxmlformats.org/officeDocument/2006/relationships" r:id="rId35"/>
          </a:graphicData>
        </a:graphic>
      </p:graphicFrame>
      <p:sp>
        <p:nvSpPr>
          <p:cNvPr id="29" name="Text Placeholder">
            <a:extLst>
              <a:ext uri="{FF2B5EF4-FFF2-40B4-BE49-F238E27FC236}">
                <a16:creationId xmlns:a16="http://schemas.microsoft.com/office/drawing/2014/main" id="{FCCA0B17-08CA-410F-ECA4-0AFEFD8757D2}"/>
              </a:ext>
            </a:extLst>
          </p:cNvPr>
          <p:cNvSpPr>
            <a:spLocks noGrp="1"/>
          </p:cNvSpPr>
          <p:nvPr>
            <p:custDataLst>
              <p:tags r:id="rId26"/>
            </p:custDataLst>
          </p:nvPr>
        </p:nvSpPr>
        <p:spPr bwMode="auto">
          <a:xfrm>
            <a:off x="6945313" y="4151192"/>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3EF89ABA-FDFB-467E-9061-2DC1C6385CA8}" type="datetime'2''''''''''''''''0''''1''''0''''''''''''''''''s'''''''">
              <a:rPr lang="en-US" altLang="en-US" sz="7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2010s</a:t>
            </a:fld>
            <a:endParaRPr lang="de-DE" sz="700">
              <a:latin typeface="Arial" panose="020B0604020202020204" pitchFamily="34" charset="0"/>
              <a:cs typeface="Arial" panose="020B0604020202020204" pitchFamily="34" charset="0"/>
              <a:sym typeface="Arial" panose="020B0604020202020204" pitchFamily="34" charset="0"/>
            </a:endParaRPr>
          </a:p>
        </p:txBody>
      </p:sp>
      <p:sp>
        <p:nvSpPr>
          <p:cNvPr id="30" name="Text Placeholder">
            <a:extLst>
              <a:ext uri="{FF2B5EF4-FFF2-40B4-BE49-F238E27FC236}">
                <a16:creationId xmlns:a16="http://schemas.microsoft.com/office/drawing/2014/main" id="{52A6A825-2534-B972-6B4F-09DE48A5EAFB}"/>
              </a:ext>
            </a:extLst>
          </p:cNvPr>
          <p:cNvSpPr>
            <a:spLocks noGrp="1"/>
          </p:cNvSpPr>
          <p:nvPr>
            <p:custDataLst>
              <p:tags r:id="rId27"/>
            </p:custDataLst>
          </p:nvPr>
        </p:nvSpPr>
        <p:spPr bwMode="auto">
          <a:xfrm>
            <a:off x="7900988" y="4151192"/>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algn="ctr" defTabSz="685800">
              <a:spcBef>
                <a:spcPct val="0"/>
              </a:spcBef>
              <a:buSzPct val="100000"/>
              <a:buFont typeface="+mn-lt" pitchFamily="34" charset="0"/>
            </a:pPr>
            <a:fld id="{E492C703-41EB-42D8-84D1-2D5AD0B12F4E}" type="datetime'''''''''''''''C''''''u''''r''''''''r''e''''''''''nt'">
              <a:rPr lang="de-DE" altLang="en-US" sz="700" smtClean="0">
                <a:latin typeface="Arial" panose="020B0604020202020204" pitchFamily="34" charset="0"/>
                <a:cs typeface="Arial" panose="020B0604020202020204" pitchFamily="34" charset="0"/>
                <a:sym typeface="Arial" panose="020B0604020202020204" pitchFamily="34" charset="0"/>
              </a:rPr>
              <a:pPr algn="ctr" defTabSz="685800">
                <a:spcBef>
                  <a:spcPct val="0"/>
                </a:spcBef>
                <a:buSzPct val="100000"/>
                <a:buFont typeface="+mn-lt" pitchFamily="34" charset="0"/>
              </a:pPr>
              <a:t>Current</a:t>
            </a:fld>
            <a:endParaRPr lang="de-DE" sz="700">
              <a:latin typeface="Arial" panose="020B0604020202020204" pitchFamily="34" charset="0"/>
              <a:cs typeface="Arial" panose="020B0604020202020204" pitchFamily="34" charset="0"/>
              <a:sym typeface="Arial" panose="020B0604020202020204" pitchFamily="34" charset="0"/>
            </a:endParaRPr>
          </a:p>
        </p:txBody>
      </p:sp>
      <p:sp>
        <p:nvSpPr>
          <p:cNvPr id="31" name="Speech Bubble: Rectangle 46">
            <a:extLst>
              <a:ext uri="{FF2B5EF4-FFF2-40B4-BE49-F238E27FC236}">
                <a16:creationId xmlns:a16="http://schemas.microsoft.com/office/drawing/2014/main" id="{402ED970-E7A9-F454-E330-4B674CD98770}"/>
              </a:ext>
            </a:extLst>
          </p:cNvPr>
          <p:cNvSpPr/>
          <p:nvPr/>
        </p:nvSpPr>
        <p:spPr>
          <a:xfrm>
            <a:off x="7727849" y="2409706"/>
            <a:ext cx="1260000" cy="303536"/>
          </a:xfrm>
          <a:prstGeom prst="wedgeRectCallout">
            <a:avLst>
              <a:gd name="adj1" fmla="val 68"/>
              <a:gd name="adj2" fmla="val 91789"/>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spAutoFit/>
          </a:bodyPr>
          <a:lstStyle/>
          <a:p>
            <a:pPr>
              <a:spcBef>
                <a:spcPts val="300"/>
              </a:spcBef>
              <a:buSzPct val="100000"/>
              <a:buFont typeface=""/>
            </a:pPr>
            <a:r>
              <a:rPr lang="en-US" sz="500" dirty="0">
                <a:solidFill>
                  <a:schemeClr val="tx1"/>
                </a:solidFill>
                <a:latin typeface="Arial" panose="020B0604020202020204" pitchFamily="34" charset="0"/>
                <a:cs typeface="Arial" panose="020B0604020202020204" pitchFamily="34" charset="0"/>
                <a:sym typeface="+mn-lt"/>
              </a:rPr>
              <a:t>Significant cost </a:t>
            </a:r>
            <a:r>
              <a:rPr lang="en-US" sz="500" dirty="0" err="1">
                <a:solidFill>
                  <a:schemeClr val="tx1"/>
                </a:solidFill>
                <a:latin typeface="Arial" panose="020B0604020202020204" pitchFamily="34" charset="0"/>
                <a:cs typeface="Arial" panose="020B0604020202020204" pitchFamily="34" charset="0"/>
                <a:sym typeface="+mn-lt"/>
              </a:rPr>
              <a:t>reduc-tion</a:t>
            </a:r>
            <a:r>
              <a:rPr lang="en-US" sz="500" dirty="0">
                <a:solidFill>
                  <a:schemeClr val="tx1"/>
                </a:solidFill>
                <a:latin typeface="Arial" panose="020B0604020202020204" pitchFamily="34" charset="0"/>
                <a:cs typeface="Arial" panose="020B0604020202020204" pitchFamily="34" charset="0"/>
                <a:sym typeface="+mn-lt"/>
              </a:rPr>
              <a:t> in vessel production significantly reduced breakeven price</a:t>
            </a:r>
          </a:p>
        </p:txBody>
      </p:sp>
      <p:sp>
        <p:nvSpPr>
          <p:cNvPr id="32" name="Notes">
            <a:extLst>
              <a:ext uri="{FF2B5EF4-FFF2-40B4-BE49-F238E27FC236}">
                <a16:creationId xmlns:a16="http://schemas.microsoft.com/office/drawing/2014/main" id="{FD33732B-72F9-47FD-1A87-8E20E3F0A681}"/>
              </a:ext>
            </a:extLst>
          </p:cNvPr>
          <p:cNvSpPr txBox="1"/>
          <p:nvPr/>
        </p:nvSpPr>
        <p:spPr>
          <a:xfrm>
            <a:off x="342040" y="4343706"/>
            <a:ext cx="774251" cy="46166"/>
          </a:xfrm>
          <a:prstGeom prst="rect">
            <a:avLst/>
          </a:prstGeom>
          <a:noFill/>
          <a:ln w="9525">
            <a:noFill/>
          </a:ln>
        </p:spPr>
        <p:txBody>
          <a:bodyPr vert="horz" wrap="none" lIns="0" tIns="0" rIns="0" bIns="0" rtlCol="0" anchor="b" anchorCtr="0">
            <a:spAutoFit/>
          </a:bodyPr>
          <a:lstStyle>
            <a:defPPr>
              <a:defRPr lang="en-EN"/>
            </a:defPPr>
            <a:lvl1pPr lvl="0">
              <a:lnSpc>
                <a:spcPct val="100000"/>
              </a:lnSpc>
              <a:spcBef>
                <a:spcPts val="0"/>
              </a:spcBef>
              <a:spcAft>
                <a:spcPts val="0"/>
              </a:spcAft>
              <a:buSzPct val="100000"/>
              <a:defRPr sz="800" b="0">
                <a:solidFill>
                  <a:schemeClr val="tx2"/>
                </a:solidFill>
                <a:latin typeface="+mn-lt"/>
              </a:defRPr>
            </a:lvl1pPr>
          </a:lstStyle>
          <a:p>
            <a:r>
              <a:rPr lang="en-US" sz="300">
                <a:latin typeface="Arial" panose="020B0604020202020204" pitchFamily="34" charset="0"/>
                <a:cs typeface="Arial" panose="020B0604020202020204" pitchFamily="34" charset="0"/>
                <a:sym typeface="+mn-lt"/>
              </a:rPr>
              <a:t>1) Floating Production Storage and Offloading</a:t>
            </a:r>
          </a:p>
        </p:txBody>
      </p:sp>
      <p:grpSp>
        <p:nvGrpSpPr>
          <p:cNvPr id="33" name="Gruppieren 62">
            <a:extLst>
              <a:ext uri="{FF2B5EF4-FFF2-40B4-BE49-F238E27FC236}">
                <a16:creationId xmlns:a16="http://schemas.microsoft.com/office/drawing/2014/main" id="{667830DC-BE1B-3D0D-A276-5B6D5B04C88B}"/>
              </a:ext>
            </a:extLst>
          </p:cNvPr>
          <p:cNvGrpSpPr/>
          <p:nvPr/>
        </p:nvGrpSpPr>
        <p:grpSpPr>
          <a:xfrm>
            <a:off x="6456363" y="1840916"/>
            <a:ext cx="2601912" cy="207621"/>
            <a:chOff x="5653175" y="1247312"/>
            <a:chExt cx="3346161" cy="207621"/>
          </a:xfrm>
        </p:grpSpPr>
        <p:cxnSp>
          <p:nvCxnSpPr>
            <p:cNvPr id="34" name="HorizontalLine7">
              <a:extLst>
                <a:ext uri="{FF2B5EF4-FFF2-40B4-BE49-F238E27FC236}">
                  <a16:creationId xmlns:a16="http://schemas.microsoft.com/office/drawing/2014/main" id="{1297BCCE-576C-B788-0CD2-C63A80B44A24}"/>
                </a:ext>
              </a:extLst>
            </p:cNvPr>
            <p:cNvCxnSpPr>
              <a:cxnSpLocks/>
            </p:cNvCxnSpPr>
            <p:nvPr/>
          </p:nvCxnSpPr>
          <p:spPr>
            <a:xfrm>
              <a:off x="5653175" y="1454932"/>
              <a:ext cx="3240000"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itle66">
              <a:extLst>
                <a:ext uri="{FF2B5EF4-FFF2-40B4-BE49-F238E27FC236}">
                  <a16:creationId xmlns:a16="http://schemas.microsoft.com/office/drawing/2014/main" id="{4630ECC9-4D59-A327-3BEF-4F62AC94B1ED}"/>
                </a:ext>
              </a:extLst>
            </p:cNvPr>
            <p:cNvSpPr txBox="1">
              <a:spLocks/>
            </p:cNvSpPr>
            <p:nvPr/>
          </p:nvSpPr>
          <p:spPr>
            <a:xfrm>
              <a:off x="5653175" y="1247312"/>
              <a:ext cx="3346161" cy="207621"/>
            </a:xfrm>
            <a:prstGeom prst="rect">
              <a:avLst/>
            </a:prstGeom>
            <a:noFill/>
            <a:ln w="9525">
              <a:noFill/>
            </a:ln>
          </p:spPr>
          <p:txBody>
            <a:bodyPr vert="horz" wrap="square" lIns="0" tIns="0" rIns="0" bIns="53213" rtlCol="0" anchor="b">
              <a:spAutoFit/>
            </a:bodyPr>
            <a:lstStyle/>
            <a:p>
              <a:pPr fontAlgn="base">
                <a:buSzPct val="100000"/>
              </a:pPr>
              <a:r>
                <a:rPr lang="en-US" sz="1000" b="1">
                  <a:latin typeface="Arial" panose="020B0604020202020204" pitchFamily="34" charset="0"/>
                  <a:cs typeface="Arial" panose="020B0604020202020204" pitchFamily="34" charset="0"/>
                  <a:sym typeface="+mn-lt"/>
                </a:rPr>
                <a:t>Breakeven oil price </a:t>
              </a:r>
              <a:r>
                <a:rPr lang="en-US" sz="1000">
                  <a:latin typeface="Arial" panose="020B0604020202020204" pitchFamily="34" charset="0"/>
                  <a:cs typeface="Arial" panose="020B0604020202020204" pitchFamily="34" charset="0"/>
                  <a:sym typeface="+mn-lt"/>
                </a:rPr>
                <a:t>[USD per barrel]</a:t>
              </a:r>
            </a:p>
          </p:txBody>
        </p:sp>
      </p:grpSp>
      <p:grpSp>
        <p:nvGrpSpPr>
          <p:cNvPr id="36" name="Gruppieren 65">
            <a:extLst>
              <a:ext uri="{FF2B5EF4-FFF2-40B4-BE49-F238E27FC236}">
                <a16:creationId xmlns:a16="http://schemas.microsoft.com/office/drawing/2014/main" id="{8C84AB8A-16A5-8EEE-3365-B6337FFA5AC8}"/>
              </a:ext>
            </a:extLst>
          </p:cNvPr>
          <p:cNvGrpSpPr/>
          <p:nvPr/>
        </p:nvGrpSpPr>
        <p:grpSpPr>
          <a:xfrm>
            <a:off x="3074988" y="1840916"/>
            <a:ext cx="3132138" cy="207621"/>
            <a:chOff x="5653175" y="1247312"/>
            <a:chExt cx="3240000" cy="207621"/>
          </a:xfrm>
        </p:grpSpPr>
        <p:cxnSp>
          <p:nvCxnSpPr>
            <p:cNvPr id="37" name="HorizontalLine7">
              <a:extLst>
                <a:ext uri="{FF2B5EF4-FFF2-40B4-BE49-F238E27FC236}">
                  <a16:creationId xmlns:a16="http://schemas.microsoft.com/office/drawing/2014/main" id="{99EA9826-E057-C09A-8FD4-D2E3D2E1FAE8}"/>
                </a:ext>
              </a:extLst>
            </p:cNvPr>
            <p:cNvCxnSpPr>
              <a:cxnSpLocks/>
            </p:cNvCxnSpPr>
            <p:nvPr/>
          </p:nvCxnSpPr>
          <p:spPr>
            <a:xfrm>
              <a:off x="5653175" y="1454932"/>
              <a:ext cx="3240000"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Title66">
              <a:extLst>
                <a:ext uri="{FF2B5EF4-FFF2-40B4-BE49-F238E27FC236}">
                  <a16:creationId xmlns:a16="http://schemas.microsoft.com/office/drawing/2014/main" id="{E0D00F09-A624-6C18-F3BC-EC74B2CA1428}"/>
                </a:ext>
              </a:extLst>
            </p:cNvPr>
            <p:cNvSpPr txBox="1">
              <a:spLocks/>
            </p:cNvSpPr>
            <p:nvPr/>
          </p:nvSpPr>
          <p:spPr>
            <a:xfrm>
              <a:off x="5653175" y="1247312"/>
              <a:ext cx="3240000" cy="207621"/>
            </a:xfrm>
            <a:prstGeom prst="rect">
              <a:avLst/>
            </a:prstGeom>
            <a:noFill/>
            <a:ln w="9525">
              <a:noFill/>
            </a:ln>
          </p:spPr>
          <p:txBody>
            <a:bodyPr vert="horz" wrap="square" lIns="0" tIns="0" rIns="0" bIns="53213" rtlCol="0" anchor="b">
              <a:spAutoFit/>
            </a:bodyPr>
            <a:lstStyle/>
            <a:p>
              <a:pPr fontAlgn="base">
                <a:buSzPct val="100000"/>
              </a:pPr>
              <a:r>
                <a:rPr lang="en-US" sz="1000" b="1">
                  <a:latin typeface="Arial" panose="020B0604020202020204" pitchFamily="34" charset="0"/>
                  <a:cs typeface="Arial" panose="020B0604020202020204" pitchFamily="34" charset="0"/>
                  <a:sym typeface="+mn-lt"/>
                </a:rPr>
                <a:t>FPSO Ordering History</a:t>
              </a:r>
              <a:r>
                <a:rPr lang="en-US" sz="1000">
                  <a:latin typeface="Arial" panose="020B0604020202020204" pitchFamily="34" charset="0"/>
                  <a:cs typeface="Arial" panose="020B0604020202020204" pitchFamily="34" charset="0"/>
                  <a:sym typeface="+mn-lt"/>
                </a:rPr>
                <a:t> [#]</a:t>
              </a:r>
              <a:endParaRPr lang="en-US" sz="1000" b="1">
                <a:latin typeface="Arial" panose="020B0604020202020204" pitchFamily="34" charset="0"/>
                <a:cs typeface="Arial" panose="020B0604020202020204" pitchFamily="34" charset="0"/>
                <a:sym typeface="+mn-lt"/>
              </a:endParaRPr>
            </a:p>
          </p:txBody>
        </p:sp>
      </p:grpSp>
      <p:grpSp>
        <p:nvGrpSpPr>
          <p:cNvPr id="39" name="Gruppieren 68">
            <a:extLst>
              <a:ext uri="{FF2B5EF4-FFF2-40B4-BE49-F238E27FC236}">
                <a16:creationId xmlns:a16="http://schemas.microsoft.com/office/drawing/2014/main" id="{D057E567-B9D8-BB82-D970-04421154F4CA}"/>
              </a:ext>
            </a:extLst>
          </p:cNvPr>
          <p:cNvGrpSpPr/>
          <p:nvPr/>
        </p:nvGrpSpPr>
        <p:grpSpPr>
          <a:xfrm>
            <a:off x="340887" y="1840916"/>
            <a:ext cx="2484000" cy="207621"/>
            <a:chOff x="5653175" y="1247312"/>
            <a:chExt cx="3240000" cy="207621"/>
          </a:xfrm>
        </p:grpSpPr>
        <p:cxnSp>
          <p:nvCxnSpPr>
            <p:cNvPr id="40" name="HorizontalLine7">
              <a:extLst>
                <a:ext uri="{FF2B5EF4-FFF2-40B4-BE49-F238E27FC236}">
                  <a16:creationId xmlns:a16="http://schemas.microsoft.com/office/drawing/2014/main" id="{BFF2838B-50DE-590E-AF6F-0D41E696A7BD}"/>
                </a:ext>
              </a:extLst>
            </p:cNvPr>
            <p:cNvCxnSpPr>
              <a:cxnSpLocks/>
            </p:cNvCxnSpPr>
            <p:nvPr/>
          </p:nvCxnSpPr>
          <p:spPr>
            <a:xfrm>
              <a:off x="5653175" y="1454932"/>
              <a:ext cx="3240000" cy="0"/>
            </a:xfrm>
            <a:prstGeom prst="line">
              <a:avLst/>
            </a:prstGeom>
            <a:ln w="19050" cmpd="sng">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Title66">
              <a:extLst>
                <a:ext uri="{FF2B5EF4-FFF2-40B4-BE49-F238E27FC236}">
                  <a16:creationId xmlns:a16="http://schemas.microsoft.com/office/drawing/2014/main" id="{1CC21A67-AB5F-E37C-2CF8-A5A9EC74204D}"/>
                </a:ext>
              </a:extLst>
            </p:cNvPr>
            <p:cNvSpPr txBox="1">
              <a:spLocks/>
            </p:cNvSpPr>
            <p:nvPr/>
          </p:nvSpPr>
          <p:spPr>
            <a:xfrm>
              <a:off x="5653175" y="1247312"/>
              <a:ext cx="3240000" cy="207621"/>
            </a:xfrm>
            <a:prstGeom prst="rect">
              <a:avLst/>
            </a:prstGeom>
            <a:noFill/>
            <a:ln w="9525">
              <a:noFill/>
            </a:ln>
          </p:spPr>
          <p:txBody>
            <a:bodyPr vert="horz" wrap="square" lIns="0" tIns="0" rIns="0" bIns="53213" rtlCol="0" anchor="b">
              <a:spAutoFit/>
            </a:bodyPr>
            <a:lstStyle/>
            <a:p>
              <a:pPr fontAlgn="base">
                <a:buSzPct val="100000"/>
              </a:pPr>
              <a:r>
                <a:rPr lang="en-US" sz="1000" b="1">
                  <a:latin typeface="Arial" panose="020B0604020202020204" pitchFamily="34" charset="0"/>
                  <a:cs typeface="Arial" panose="020B0604020202020204" pitchFamily="34" charset="0"/>
                  <a:sym typeface="+mn-lt"/>
                </a:rPr>
                <a:t>Number of FPSOs</a:t>
              </a:r>
              <a:r>
                <a:rPr lang="en-US" sz="1000" b="1" baseline="30000">
                  <a:latin typeface="Arial" panose="020B0604020202020204" pitchFamily="34" charset="0"/>
                  <a:cs typeface="Arial" panose="020B0604020202020204" pitchFamily="34" charset="0"/>
                  <a:sym typeface="+mn-lt"/>
                </a:rPr>
                <a:t>1)</a:t>
              </a:r>
              <a:r>
                <a:rPr lang="en-US" sz="1000" b="1">
                  <a:latin typeface="Arial" panose="020B0604020202020204" pitchFamily="34" charset="0"/>
                  <a:cs typeface="Arial" panose="020B0604020202020204" pitchFamily="34" charset="0"/>
                  <a:sym typeface="+mn-lt"/>
                </a:rPr>
                <a:t> in Service </a:t>
              </a:r>
              <a:r>
                <a:rPr lang="en-US" sz="1000">
                  <a:latin typeface="Arial" panose="020B0604020202020204" pitchFamily="34" charset="0"/>
                  <a:cs typeface="Arial" panose="020B0604020202020204" pitchFamily="34" charset="0"/>
                  <a:sym typeface="+mn-lt"/>
                </a:rPr>
                <a:t>[#]</a:t>
              </a:r>
            </a:p>
          </p:txBody>
        </p:sp>
      </p:grpSp>
      <p:cxnSp>
        <p:nvCxnSpPr>
          <p:cNvPr id="42" name="Gerader Verbinder 146">
            <a:extLst>
              <a:ext uri="{FF2B5EF4-FFF2-40B4-BE49-F238E27FC236}">
                <a16:creationId xmlns:a16="http://schemas.microsoft.com/office/drawing/2014/main" id="{5B7F3C57-C87A-D0C7-07CB-7553C9138E50}"/>
              </a:ext>
            </a:extLst>
          </p:cNvPr>
          <p:cNvCxnSpPr/>
          <p:nvPr>
            <p:custDataLst>
              <p:tags r:id="rId28"/>
            </p:custDataLst>
          </p:nvPr>
        </p:nvCxnSpPr>
        <p:spPr bwMode="gray">
          <a:xfrm>
            <a:off x="361950" y="2193804"/>
            <a:ext cx="184150" cy="0"/>
          </a:xfrm>
          <a:prstGeom prst="line">
            <a:avLst/>
          </a:prstGeom>
          <a:ln w="25400"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3" name="Raute 147">
            <a:extLst>
              <a:ext uri="{FF2B5EF4-FFF2-40B4-BE49-F238E27FC236}">
                <a16:creationId xmlns:a16="http://schemas.microsoft.com/office/drawing/2014/main" id="{FDECB3C6-76AC-815D-6F76-C305FB459445}"/>
              </a:ext>
            </a:extLst>
          </p:cNvPr>
          <p:cNvSpPr/>
          <p:nvPr>
            <p:custDataLst>
              <p:tags r:id="rId29"/>
            </p:custDataLst>
          </p:nvPr>
        </p:nvSpPr>
        <p:spPr bwMode="auto">
          <a:xfrm>
            <a:off x="415925" y="2155704"/>
            <a:ext cx="76200" cy="76200"/>
          </a:xfrm>
          <a:prstGeom prst="diamond">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44" name="Text Placeholder">
            <a:extLst>
              <a:ext uri="{FF2B5EF4-FFF2-40B4-BE49-F238E27FC236}">
                <a16:creationId xmlns:a16="http://schemas.microsoft.com/office/drawing/2014/main" id="{BAB94BCC-37B6-6844-5C89-DA1695BF6AA1}"/>
              </a:ext>
            </a:extLst>
          </p:cNvPr>
          <p:cNvSpPr>
            <a:spLocks noGrp="1"/>
          </p:cNvSpPr>
          <p:nvPr>
            <p:custDataLst>
              <p:tags r:id="rId30"/>
            </p:custDataLst>
          </p:nvPr>
        </p:nvSpPr>
        <p:spPr bwMode="auto">
          <a:xfrm>
            <a:off x="609600" y="2139829"/>
            <a:ext cx="13620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defTabSz="685800">
              <a:spcBef>
                <a:spcPct val="0"/>
              </a:spcBef>
              <a:buSzPct val="100000"/>
              <a:buFont typeface="+mn-lt" pitchFamily="34" charset="0"/>
            </a:pPr>
            <a:fld id="{A4FD096A-8249-46EC-9DC8-22A8A2FC5329}" type="datetime'Gro''wth ''I''n''''''de''x'''''' (''2''''''''0''11 = ''100)'''">
              <a:rPr lang="de-DE" altLang="en-US" sz="600" smtClean="0">
                <a:solidFill>
                  <a:schemeClr val="accent3"/>
                </a:solidFill>
                <a:latin typeface="Arial" panose="020B0604020202020204" pitchFamily="34" charset="0"/>
                <a:cs typeface="Arial" panose="020B0604020202020204" pitchFamily="34" charset="0"/>
              </a:rPr>
              <a:pPr defTabSz="685800">
                <a:spcBef>
                  <a:spcPct val="0"/>
                </a:spcBef>
                <a:buSzPct val="100000"/>
                <a:buFont typeface="+mn-lt" pitchFamily="34" charset="0"/>
              </a:pPr>
              <a:t>Growth Index (2011 = 100)</a:t>
            </a:fld>
            <a:endParaRPr lang="de-DE" sz="60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
        <p:nvSpPr>
          <p:cNvPr id="45" name="TextBox 1">
            <a:extLst>
              <a:ext uri="{FF2B5EF4-FFF2-40B4-BE49-F238E27FC236}">
                <a16:creationId xmlns:a16="http://schemas.microsoft.com/office/drawing/2014/main" id="{081D20E8-7E30-1509-4617-837100D21D98}"/>
              </a:ext>
            </a:extLst>
          </p:cNvPr>
          <p:cNvSpPr txBox="1"/>
          <p:nvPr/>
        </p:nvSpPr>
        <p:spPr>
          <a:xfrm>
            <a:off x="250825" y="1461700"/>
            <a:ext cx="7579731" cy="246221"/>
          </a:xfrm>
          <a:prstGeom prst="rect">
            <a:avLst/>
          </a:prstGeom>
          <a:noFill/>
        </p:spPr>
        <p:txBody>
          <a:bodyPr wrap="square">
            <a:spAutoFit/>
          </a:bodyPr>
          <a:lstStyle/>
          <a:p>
            <a:r>
              <a:rPr lang="en-US" sz="1000">
                <a:solidFill>
                  <a:schemeClr val="tx2"/>
                </a:solidFill>
                <a:latin typeface="Arial" panose="020B0604020202020204" pitchFamily="34" charset="0"/>
                <a:cs typeface="Arial" panose="020B0604020202020204" pitchFamily="34" charset="0"/>
                <a:sym typeface="+mn-lt"/>
              </a:rPr>
              <a:t>FPSOs in service and ordering history</a:t>
            </a:r>
            <a:endParaRPr lang="en-GB" sz="100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13785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u9FDq0o4oew83eW3g919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53hWVYstG8a53n_XImLin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tk8DF3WME69uHUr9903n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VQImShTp0EiPDd9yOX.U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s.VV16PMO5g996AbClnm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cYqTKTLwnqrdWbtRCWyqy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dgcfXoEZgJBAdlNuYyPk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c7rN87k6dlRzz7Fzm.6i7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rTHie.v4W3YZZpdRM_va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1sAddAkFzghDYTOWVrrP7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CE5YTy5fBBy677iX_UFz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J7nacZJEZRUrciTKAgVM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qyLKq0jq1wV7iFC0xjQ9m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zmAHGt0RuA9XZ1r3Vmkc3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7k_wkT31ov2D55DcPSi4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yW7Wln33JoeQNLurWk63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IVGTC5At.XLyPZ3UT.a6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6CSS2mVcvOfs4V.DzZvTZ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vbtKswpqt9.xGRM6cq3l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s8bpZQ7yAgU31RaPmitGR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nKiWP9EsIBU3v2njtxXTi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87K5M.Is2bEMlhnuQTkr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aYJNc.6Z8bXQdVje8AKi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kaHhVsILuCtdcgSsr92I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A_4P.DE1_soOYSURj_QF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vbSWhoPMbifwbewxnUnrK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0DWXFltKv2uGcff43iWHP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leGeXnr8yUx12rMjWP17B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dwC5njn87EgC5bfLP163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5qqjr8zXbzD1W_kDnfW1D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wPOlUn8wN69G8XR3qFb.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2HllPxNqbRcSiM.IBeGF5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keGTpJvi8WjSKuDC5upy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Sg9eWsg04xqCHXfd_i_o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jL8VnCPNQvf9KOHKFn7Kk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QkM47b75ExASb9lmgOfqp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PZ1lpWdstV28_65b8.2b9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WNg0EJKdhrHB.CIUcKFP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J9gT1IoxgRXvVsUlDgFs0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7OVjs3fh6oKKKlVfrCjJs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9dA.CO1.JzPwR7z9S6Q4u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YgP9AUcGhlKvvbdIWTZzr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Zo6E7Y5y0JVuD8NhNlFMy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Wnx2EOkNfhnr514Qfvs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lW2P6PCUvV_tTc6ELRLW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PYS5JYN7E2HRwuftwHbm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0a4E5O45mpDQzHiefnmYl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u74Ejx_NeMRPxzik7OJF1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85Gej_B5Pk6i0iNVHPhl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wCti7j2zeZnGvyEQPIZjQ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eQt5QRvcwtbpD9LZ5dki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EfBjjUl6CONUSAs1qezHa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3lqaWRtkLtyfaKknoFAg4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q.PpS9HVRK41GRDW9I4wc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n3rcuL3dU9k.hlmyEY1b4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aiEBc5_1s2DE1yuljQBT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4idusPfZqKOb1CEeOvc0U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nD8oTbRJPNydtXNqVxN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LdsM1sx2ahMQii5t9siXA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hpwThiGPNJlriXqD4ZUN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M57M2ldNehluCUNpMntI8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CifIZS4J.rHA8D6Xpgbmd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53hWVYstG8a53n_XImLin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Utk8DF3WME69uHUr9903n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tVQImShTp0EiPDd9yOX.U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Rs.VV16PMO5g996AbCln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9ZDV8AjVZMm_2QqGjVjYo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cYqTKTLwnqrdWbtRCWyqy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sdgcfXoEZgJBAdlNuYyPk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c7rN87k6dlRzz7Fzm.6i7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MrTHie.v4W3YZZpdRM_va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1sAddAkFzghDYTOWVrrP7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CE5YTy5fBBy677iX_UFzG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qyLKq0jq1wV7iFC0xjQ9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zmAHGt0RuA9XZ1r3Vmkc3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WnD8oTbRJPNydtXNqVxNj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c7rN87k6dlRzz7Fzm.6i7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_X8ad6n6iQciXJsyX5yF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5qqjr8zXbzD1W_kDnfW1D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5qqjr8zXbzD1W_kDnfW1D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5qqjr8zXbzD1W_kDnfW1D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rQdC36wuMvgbbcrsip3b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7yGFYihGniHNrOV9hKJtU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1EsdZiJjkNin9xHhSdsZ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T_ur.lUQmAHTh07DQmLW_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RLxXH5uEf1DmAxpnRRkVW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Bjk0kGxFKzW8WOGoaQIZd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CTwqxt0.mDEkdnRla4F95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g.gxK9n0V19LZGvRcoxc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5IoLtl1Y7nXQu_f9DgPC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jQMVKAlgKktLxxvnUf1B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D2mL4r2ue92qIzmsRMn_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UtZx7ZzozDMGvRgf4WyEM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r3UQQmhn6e44t7Kgb1O8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ROVG9m5W4UImVORcFB8PG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cBGYQ7StcpZ4QRt__imD.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o.sGIrcyg3OejyRzCrE3k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RwDaJB4nF5SltfXhc8qwQ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5AaTay.noQxyaMNuwhW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RibrHxi1JPecAtn2MP3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bysw67dAlW6enpu32QHwE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AJRHIbBYWk7FmPesZap.2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Qbf1S4bAjDT81qvw8VFuZ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5zC5g15yn6Ikn_IccuZMG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ik8QSx0s6FGJxsdU4wP7L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rt4w6b8.3oUDS1zMsof7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jSxrQ6GsokcxG.EBpbkuN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qBGRZniN14Ma_T6m9fS38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MZMPu4qa38wrRYYGvSORV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uO6_eoaTkQR8yazRM3_i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hBxloWdkubHIGhjgOCb8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8fO43_1.4vXi9q3tAzuU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DD9q_iYMRxnXGYzhbl1w_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3E876GOx3qk7mUXpuoaM9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gIr6fsDV5AM2V8e8NB97j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BmQiEKXqHn1G7vwKTN7Ui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4._iYFSW20bdnDW6jy9m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wYy3gbkhkuNYrHnc2spDF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VaQpLO7RIBVintU5KjJWp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iuET_U7mU8rP6GDwVOmW2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uOK2ntnu97sJhqjl9xeJ7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JaaaUgVmEofFCyqAMhb8m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lfnzEuCMLkBMx_JXfIrv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QUffIIpOFuAJXoEBXGqe8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ybrnpbs2zNA04cRKXAdLe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DSOdn6_6yb4w3.yM3RUy7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tbptXXxCQVX6wyA28PGJ5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Yzs2H6aejLvImya4pUANq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I.ZAas_wvFUsvpJvDdu6d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8Omb0yUiIHIQf9WW5eVhl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Ki6l6edY0ZM3Pe3TUVNPF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7aIdksfxEVtxfAOpw0Wee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WnoFP9YdrsxuP8zMNhFVk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YDN8kO8pMdaRv.gJARCe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981cjHLIUSmkNLXEXcu58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8Rp0ff6lj6XwX3YZPEaOI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PqEQDxKHjS6Yy5IWuCFpx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DiS45ke19OYKGB6H7WJBU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eHlxE7vFuOgw_B52EizUU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EUVl9h1g5mgipNpMxMDf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qzH.hok14yo2HpImDJe3v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Cz8CFXwogwyz_th6LamCs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qejsfSu9HOVb9gMK9P9d6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EMy0Jr5_aMrLpO7ybmZDJ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8tzmB.0mFsQfoPeda7cZo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EX8a9PdB6RnlLigbxF6J5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QdXZt6GSds19Y2xP5Ss8.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PXtEB7vQmPBiO5tqwzQBN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d1ISrcLPKKCVBofEg6vTJ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FmG_xE2VItr7PIzCNY0HI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lTw3NTFBH2rzr.c0n94vv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deYbux.wRFzFYyL49mdqz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aQGz9pJjE2MKZ0hAcJ.cQ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0Bi8YwsSq0OIbrGyhWeKT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aONssUQZSyMjyj7nsASt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9agdd3KN.tHvB7FbNNRQL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Bu1nKoP2sLJ3T_bc_EUZf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Kp1oZKUPVkncmsKUgVC_j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viAAtgV_PAFkvtP6VetWp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6wXv8BPdOASq3M_Lqr9ka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ZDUEgp_AUWVV8iniwaHRG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1tGXBVCH6QI7uIsgJ1.FC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NhOfvEQYZMHAhzQbH712g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FGiAWu8W8CQnJAGlbFNc8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caai0uH3gzxgW7m28Tn95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rTBMZ.KP4B72UZdS7ZlW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CvRevuXqQcWy9caLGTBN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T68LgnjEsL3hJ2Q5FHHDG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gtOYFXvcInrS3hQKGSDv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QouVXgdYZLZd9fOhSu_ZN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2a0cbYzSvATzsoN26r9E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_NGUetals2KIL7Dwb7DLi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6iMg5lEHaSgwxGAQ8XMqi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foj0Xm1ONV.IJZPbziote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fS6.TtuQyiwkUxXxeUYg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doLasZMC_x_df6A1Hm8Kn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Gm1bV5gxwr0MBDjdzXCi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pXHfeF9JPdnGqWyYXLxm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QdXZt6GSds19Y2xP5Ss8.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PXtEB7vQmPBiO5tqwzQBN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1ISrcLPKKCVBofEg6vTJ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FmG_xE2VItr7PIzCNY0HI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lTw3NTFBH2rzr.c0n94vv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deYbux.wRFzFYyL49mdqz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aQGz9pJjE2MKZ0hAcJ.cQ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0Bi8YwsSq0OIbrGyhWeKT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aONssUQZSyMjyj7nsAStd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Bu1nKoP2sLJ3T_bc_EUZ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CppNxeZ8xVzUbOtulQVq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Kp1oZKUPVkncmsKUgVC_j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viAAtgV_PAFkvtP6VetWp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6wXv8BPdOASq3M_Lqr9k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ZDUEgp_AUWVV8iniwaHRG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1tGXBVCH6QI7uIsgJ1.FC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NhOfvEQYZMHAhzQbH712g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FGiAWu8W8CQnJAGlbFNc8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caai0uH3gzxgW7m28Tn9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rTBMZ.KP4B72UZdS7ZlWp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T68LgnjEsL3hJ2Q5FHHDG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bucRrQAAGr6QV6184ygh2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gtOYFXvcInrS3hQKGSDv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QouVXgdYZLZd9fOhSu_ZN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2a0cbYzSvATzsoN26r9Ey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_NGUetals2KIL7Dwb7DLi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6iMg5lEHaSgwxGAQ8XMqi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foj0Xm1ONV.IJZPbziote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fS6.TtuQyiwkUxXxeUYg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doLasZMC_x_df6A1Hm8Kn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Gm1bV5gxwr0MBDjdzXCi5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rdcJZJjVE9JiaCMjyKJgc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_PVKB3nhg4QKFScN8fyw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28qJ5BQLuJP_0c89dmOlQ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RQg.1_W8AYPw7Ll5TGHj4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EANidht9M20fooXh4.rrn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eaOcDRDrW8ExXsg7D3emJ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o0P4KZmHTpb1tm3Z1ZudK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QdLCWEf.nK6bKAVwIZH4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ftxw.D9wYUR5XhcBmWgo_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5EfUg3wva4SRZUiN3lcp3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8gaXCZqRkG0xW6MmOYf1S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aY_6E1hWpqIfhlv7FZ7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vjjKImk.j1m5k3vjfLB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vlXvXGhabKOWc5pjl3cP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yi23lUufpUzQdEK_G0fWT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XfCltAJDcRWEhcV.BcHhq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K8hD2Ep_631d6HgE53FrQ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U2wCHTKRySQ4en3CO6y9q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78u3SfrM4WLcLJeSAHPO7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o1U9EAUScn96bsd9NqBtk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NoAxdoXh6iLjkPpQ66MH2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TIydKg94YMGCWjBThGTE5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dYtGnIeOPAZNNtxVpMpFq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PL9VGjp1qD0xEodTTRti_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nBEmeXiQbtbKw8oblwQX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gOMD3IDvM_kqVE4M0dnO9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IIIN7jur3aUwSr4tmFYZd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K8UgR64ZNJYoDkSvGIp5S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qlRGl322OXssZOxkX37Il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Zd542uujhfbqs2EvAm.eJ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pbVaTF.A3N9ynoftssHZ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vcF7HS9BjJieb3WeJOtpu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GKYwlb059tOC_E3F_oj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UUJxVSth2pYSJ58npiSCJ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m_p2d5fM3EKJVqCdmp1bS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dUWWkjB582KBPWNy3mgR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gSFEFvZkQXrw.cjBqHRUj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8IHkBw99mjw3S4FzYhS0_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Zndo0jush02Um78q8xW1j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22NW7zBtStZmBe9kmpNm7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qgN1RzHjyOhSz1_CKZ8Tb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z.i1JtKg8c2RnnYigkvsW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B0TJdBj.cPEjCfEQxL7v2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G7D2uXyIzyO4rt5u3h1s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uDIWB5Oxf8VNApe98HlKF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Ldkia3xE_ZDQUU8wRPy1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kns.dOMk.weiCT5wM8IT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908scaauPTMK3v5k5SIaj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TRU2Q7YRoC_zflQAP6Ted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IvggzWVKSdjjl5KupWT9V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KVq5ln2z5dEGtuPyUxHnn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iFZcdbojvI73_V7zrczJ9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mLJHjaCgGW74R017gN6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8H3XX03u.ECsLx6U6DEJ.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G4grLWoVczl48p4.WR3E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0kDwcXujOXJNtSUTvLJk9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3YogqYuaY1a5xm0Hbs.8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FsUPU7x3.5.tQV2anaub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AwrsIFth85nLj9G3L4eUe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JNE9PH.OwbRi24lnmj4H0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8s0f2T6yu.DSyRDqXY5r.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V8Y1OrG13qUDd8O19vwDd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7JWWUwf9K2NIfFZ9pGsJH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LUvsL94z0mV5_qKYGGLkb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o9PUwBb2dIjjp2PIWS8UC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lz6SEZHxHJ9QifdCCMEaN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Yp98eilUZvYQa3mg5NUD4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_qbx4vOVEvc.rXLTCGNQ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QNZJa36squMJy8zexvjX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4J8Nqpi_46rTO.32fehE0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VV7lRKyKlo7LHheTm7cTJ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ZNQND3lRZrunG7_BauTiw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cLQaV7FDI0Q1YBOHJuQO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dsz.wxu7fKXBYzuP2MJ4P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pVN8yRdMIFDmD6gw85e9h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ABhHyX_i33ZbnaVfcfGKl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_cySe7A_eq8jBgpYA0SLM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aAliXtciFOvXI3GsK.CiF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kWSfFQ_mEvHXgT.cj.pSY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DJTHT3COcZzHrcavAcXE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C6b8N38gmHxRQQm0Qlncq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iDeFIUTCphVBhmZInFaVN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NqyMOGsREzINdptGSjE3r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Dz8jUKoN2b9hNnMVvgiZd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d0HgPgpk0izsfsj0SMwkz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MW2LQSiDoz7q40x4t9s60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AMwwBtwDWFE.nR835n033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skBQ200myYK1CMYlFQOt3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tEsdYQ.IAb8YqJsDlDdHl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vQRCmW1f70b1mqehVmAp5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mLjy.SAkFphNUuXYQCkq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MQotseVIlFdq2eyEFUhup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3a2LC4gpyYrG9DaPWAijT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6dk2.PYopkg5tJ5kGb0TE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X9Tn2grFQ3oW0pv.Aix6n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cpWNd5pJO0LcukCdzrKuW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D1tvLjkA22AhB7teg8tcx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Tn4uplitaIfw3jC.KRpBp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0lXIrzbcF_xSO1TyAd680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G5FlTVqgsf_hVOdIsqE0y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9FuPuhmuVzEC_L8FY7KS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xNKleoGFYqIJyCRhMOjL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Uoyseh6JdlzbDh6E7CrBa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nlQL58VhyuUqan0fclcmQ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ui65iuYyPpqnducaa1dfw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TE5h9490vgiT72gVNc6_E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pCn2cQqnaHbD_BJgjqfwM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pe.Z5oAkpclnKYAafNw_e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Lw6SqnXshtDHrrfsWZyPd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AjNU_fWi2ffAXWcM5gU7D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yg0hHuDj9T1Pdl.pWZl.8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XcXwVzYtXUtlzTCzTZM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zTHff4J63STMRrEA9SGO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gHAAw6XJhOVGiwFTdye1b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RpdhAHHb9AaW_ShnOiIH_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Du92x6blHhRUckSrBXYEI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4dANdqMtyWBco1uW7dh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qZ.KMxx9ftOftDbP7ouI5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OgidylynhhV5Lby1RIAb_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NjCajdKZyzKYsvI6F0C8Q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5Iu4DP3nXw7PfU5d7thA3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bdR.pNhTFwg8_LJ6fux8F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N3uLCbqrNvMOhCjJXA2y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7mFLLkm5UvMRKFILviod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Rcqu1NFM48vutXYLyh45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eChhuQCuub_Ixp3TN5As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V9byleEnuRwemNmHu0MRW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WcK6_deQGGWM_iw9MmSy0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z_fIiE4JshlfcZKnwF.vc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D0y3q16BTcb.GupHbhxg5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9RaWJlNOSJJd760ULFTpu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Ab6aYUKD51oRL4enfUOzn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DC9AxmGcNCJpLNfyi1OnQ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AcMBwyrEEcUAA.jpfBQyg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wSfkWvRXY3..PUi2BuJYs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n3ydbCHKGPUJiBOgA6YG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in9.EKx4nWwa4.VsKWofJ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nwzfuwpdEzQoERZWpWSoj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7_Jn96QFPLFVlqnjwJMcM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Um.Et8fti.PlYzziUiKXP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aKushK5Vn__g2qSyKfIVV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frah6yF6oh5hyjo7g6S9n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bW7wKwwCmO7wISXsl6OcD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gTYBOOZcBT6HZXoB25NC8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DoWJUoQh9NVDOJQJKWG.g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SdTLN2tjikDGVrtewfCQ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6M02moUgV3kgJ.ercsoY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vGE36xYNm.PATxsdQK3_H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QSeuLikQM.49z2280zB7y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WbCDVZzqb7Wch6u.APEe6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Tr2VRMhYzgomR0tDOtE04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n4JGvPR9dn5UUT6uVMXn3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8_igj6hmqzFl_GjwDz3t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Ga6pc.7LIHmX6aRi1xAiT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Y0Cq6C6EFLU78ZVHjwz7l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KHdELjDPkzoQmSDfn4hsW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ghyrfuY9Cu5L9GHfmnoB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24xBAzk4AtF1xQZXmJPf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duHr2NaU_Yx0y70zbe2KI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SIHdKF.FR9Rbk8DagDn47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guyLJu2rHoNHNppamrtpY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xx3G5bUoJ65jsU3.lTFAx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IX0hoNMjdwZHMc0cLkutw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UjFA3TvHKPLPkt0yg65xl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DU66qSZScSFJX8Ma9TFZC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9uMPf6jYQZF.6Z316rw0A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1_C0_4nots7O8CBYp29Qv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0Pdgwv1c5aLwCoI8qeO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7waeNYmFwIhlYuZklITsR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0RarE0bWzFixqqab29SBx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CK8AWUr6S0ZHMpHfdWoeV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sPjoVGeXB5KwSuys0kE5Q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VLHQGgN0vU8HzYEHAaffj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TMwrBYabjRq6rDLa2tVoC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pKdpHKRciQjsqg2JJwcEr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xuliiMxWuFXick8tdLRr7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mQAuP.aW26TRCbaZ8WVTY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mngtneHWgtB9iN3rGaMmr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D9Rvsd2m0yeHR.TdIldau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eZDAS4_UEbCUSrwDXeZI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zC56EB0ITF8QB2Zaimf7r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FP3O9VIUDoU0TTsw.T3_s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iQnkm._NR8jWTI7Ti93Wu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yWv1VfkkyvTLjiItsyaVC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jPRPTmt5UrFhwVg19DGdB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Ww3xyT9Uj7aa3IrlqHOr8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x5eNxPVMP.0iwfXgyD6Np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r6NVC0FQaQ2826_uSDVt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IFpZ_U95Qo7BOFwHy5rv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wkcq3J6Avb94X4m8x0znr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0xYl.MrQ0bUVWBlyAfHt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DtP8.AcwfNz.SOhVGEr8R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dyBTG8kHlVTzjyesGztte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KEF7.xQjiHf22FJB_28eG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4fGEiS0MPpdNN1o1I7W1k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9O05HJajM0GgZu8odSWh1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Xmqen5p_hFcJYLCJ5hOC3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9O05HJajM0GgZu8odSWh1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9O05HJajM0GgZu8odSWh1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9O05HJajM0GgZu8odSWh1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9O05HJajM0GgZu8odSWh1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loND3P9ufRHhK80DSOiF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9O05HJajM0GgZu8odSWh1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9O05HJajM0GgZu8odSWh1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3Remr8_OxscB8MZoBbCO3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Nkl0gnBxbmZq47dEcNXdV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TYP3GWDgCPN8dUgRBkA2T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zN0IxNgje3isn4ls3ujPT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B_O1dkJKNY549QPAPKFO2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yBIKS.dxoCWNGJixChumo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X6qbANGEZCHjHgmslj01z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EkD_lC3vbXh0kS7PE6k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0jU73Q0.FBNf0XIm5_28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yE1usgjCNzAO7H7C2j2lm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No28WRY7zw7l2Ei7G1SIB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jOZxQ1lau49eeWcrTIvbt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XEupQKMN8UMyjhm0rK8e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3QkVDcuqE6GO6mVyfwPFM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47uJ3D6Xhb3gTe_NMpaAA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3En3wmP0pK2laCR97VhsN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qm4bNAnj_cgDefyfMoN95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Kr8_u8l8i.5vj.a8j4T9y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CXrWwQtDkYicpxAJjIe1h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4zYmqVJyeyh6oQqvLUHny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VsGjeZKkCG7204xcxB8bH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ZzOh4_WOAhFjqmgLc7hJr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WL6NNKVPq16koFV4N4cpd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7At_iE_o0eEWsfhB4liNi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UJFCQdXTC_mkq4mMaagEF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BQW9MJtG1SMtadflzkOum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QbaJq5WXPnHnU_4m7V_U3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F3cg4WVn8bSmcly0G5Hg0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Lm2UmmUptDvwPXcKkT59i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r1g_IFGYkcj8GBeRxOxf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sQObx_RfjuqQfmhHhII5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kNlJNVw6xI6hEHoKhA9A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vqTsaUgnH.Ya23IZ5aUpc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Ak17ulGkI1DZbP.WStaQ0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7oOeakVuhLGprqJLD2tpY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d3b8MEpF.VsRSx5oncR4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0snQEMI5wZs144NFMxI6X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Y.2Y6t9I8R0i567Hb9oyD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zffAPza34SccyoPdSbKso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lhSD8fZgT9bW_oDVmEhSp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i8jLYGZ80wjx6OfXuX7ae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njr4p8wgbW_uIMeyJf2SA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Audz2eVRpviCWd_YgZOXF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rfWDP.W7wT9kIRhPz2C8Q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bJ.0yQWEzpb4pJvmMcPfZ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flgW9Yr3p6TLTmWs4UzT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ersEofQOR_WRriD6.wwkb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4fK0PZbqih1dYarJ1nKn_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MoUCL50SgiJAk7iNZKhZ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zRLANal_2ppcAk1rry2W1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g7vbtl6JsYtjW48bI9XUB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0XyEfS60GdOjdY7ev_VQb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xI63TYL4AikFuQVlEUeeG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C0p__NHTq4B7rR8r6IXX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3NzRb8SLVXi294LfRkIIO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NLPOGinYpHl3eRDqT2dSK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7VRptlOjI1v.cCRWSswwC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syOWgHapaDNHXqhcEQJx1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nPG7GDJxnCcqMQvMQ_ZVe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CHJjI8FdQFnxxQOjDTOer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_GVE57nlPacNC98cX7FfV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weGII3YlKyNyWibbmlYfr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3QoNwnvfkAdv4d6F.SRvG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RH70289ZA11nyVA.N55j.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7k_wkT31ov2D55DcPSi4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SqCc0FG89ExGaljOCn44q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6sSd0kDFzrw26Ul4tdr2P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7i6O2pymUi_VGYpmH57zc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nc_8Z5wUyvSe7yp.ZXuaQ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iZgBSpXgHZ5LWu9fkku4L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BuZW3v1rGfBJgVxFrrJt_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Ipy_pMyWqT3_1nH1UmMoe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RRcGV3JkNz7prsDGPmEOc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4cHRz9gzYU0x2OUXvfAYk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f.bMHeQFoa0kJPYFHWLe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yW7Wln33JoeQNLurWk63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778UgmGuqjWXjhnVrYGBM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A2T_IMufO.Irto6SbmYfr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c24LDhwxvGKHrCPM.TJoj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BJQ3Wtrh9upRyj.BGan.h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8c7rXTP8Ju5BCvAtyehWR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vYHSnDI6LIw5GHr7gXESH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aPIxlffKi90RfDylb2PTM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LNFyJe2rIkfrYA0hKpJNw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34J5YRAIKEOzqdhmTPxou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TBLCj6EbQl.bZz1LjWrZb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S.ao5OsBScqVZZyQBGwJ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3yRH1YUINElgt.G7H6xXb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w3h9ss6R17jxS4Fh2J6Ty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Z.jGp1ryNZdR2vBpzh352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Qn9e0wmuivCNxn.xV99aa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CpsTl_YCKDk8GnqnMm3E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30DpywcJnm3c7Nqodl8dJ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WL_WMmBoL0I1f.H5m85xA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gJMT81N_wH.ab0Lz51ILi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wiEdK005uEFht.aWtXuHv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8CvwGqbjmmU.Y4x6poadK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IVGTC5At.XLyPZ3UT.a6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N2XNYbrFKdEKZbRB5O8yc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3e5AawdRkurT5Aj_B_64j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S9C9CtIJDMHH9xSfrOYCJ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5rN8rWoRLOZw4ceBF9GAZ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MNHAvlq1N_oOmnbJ8HTr4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1z9U6q9gRwvz.ttDX6Hqm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X9eAOX0MMusGrBHtXUURm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RWZZxUM93M9FavAabMiOv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8ewTy45kG1_0hzE0xyIEW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eqnSW6UgBk7YItUygL9Ed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6CSS2mVcvOfs4V.DzZvTZ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aQxC47kWZ71Gw.CidP1vU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SzXyQ6SVXFhsHyGcWHZJWQ"/>
</p:tagLst>
</file>

<file path=ppt/tags/tag572.xml><?xml version="1.0" encoding="utf-8"?>
<p:tagLst xmlns:a="http://schemas.openxmlformats.org/drawingml/2006/main" xmlns:r="http://schemas.openxmlformats.org/officeDocument/2006/relationships" xmlns:p="http://schemas.openxmlformats.org/presentationml/2006/main">
  <p:tag name="NULLSTATE" val="0"/>
</p:tagLst>
</file>

<file path=ppt/tags/tag573.xml><?xml version="1.0" encoding="utf-8"?>
<p:tagLst xmlns:a="http://schemas.openxmlformats.org/drawingml/2006/main" xmlns:r="http://schemas.openxmlformats.org/officeDocument/2006/relationships" xmlns:p="http://schemas.openxmlformats.org/presentationml/2006/main">
  <p:tag name="NULLSTATE" val="0"/>
</p:tagLst>
</file>

<file path=ppt/tags/tag574.xml><?xml version="1.0" encoding="utf-8"?>
<p:tagLst xmlns:a="http://schemas.openxmlformats.org/drawingml/2006/main" xmlns:r="http://schemas.openxmlformats.org/officeDocument/2006/relationships" xmlns:p="http://schemas.openxmlformats.org/presentationml/2006/main">
  <p:tag name="NULLSTATE" val="0"/>
</p:tagLst>
</file>

<file path=ppt/tags/tag575.xml><?xml version="1.0" encoding="utf-8"?>
<p:tagLst xmlns:a="http://schemas.openxmlformats.org/drawingml/2006/main" xmlns:r="http://schemas.openxmlformats.org/officeDocument/2006/relationships" xmlns:p="http://schemas.openxmlformats.org/presentationml/2006/main">
  <p:tag name="NULLSTATE" val="0"/>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2aR.QX7sqCol9ZTseBV9B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Ss9IdWDYDs.0XyqhQH5AT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FPQSFutGOTpsHbDThVj6Q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bRu7G0IJsHcEQuewkbwF2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vbtKswpqt9.xGRM6cq3l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FP_JvaF1meKZ6ptI7pIbL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q518D3wy1tNv8nbNCDV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DTsRixwXcM_LPTlzpAuGM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fgnhGPZM3V6E8f93lOKu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moRtI20tGaUgiu8q3VzdE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FDRez18_I1qHdvZfj9Y9Q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MIOR_KoGzntQT_03vosuS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AckzA6mbuvY.IqtIZFYhU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n90fZg2Py4a7VQMzyHQt_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VXRFKBUyd24fBUaY.Wr1_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s8bpZQ7yAgU31RaPmitGR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nQbfSkd9amNTnQ_Jrwq45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LkzYGpIQN_77bqLw4EqD4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TtW3fnLODZNOPrDpxANqj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ubXQEJ9LUwjvLoWr_..vQ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lrglcaKb61yaQwqA5Mfo_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0EcJl8AhC0lo.JuT0Cklf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Yft16oSt5CckN05ClfM80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pdHt1dhcR80eqwAe835bd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TxXsNExuoMqBrUjanmEZy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2YM3M4yxo3ASxGI08mqs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J4liQEfWoQd3__lT.Phs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KiWP9EsIBU3v2njtxXTi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b5ZKaXAKTbs5XHm65zkK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fN98fzqtVNMNmy2SROwSP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TChcvJrwO.N0_bnirp46s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2zBoUI2a7C_.zDV5_f.Sv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K96K1CAey_h7WxJ1jqCrH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87K5M.Is2bEMlhnuQTkr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kaHhVsILuCtdcgSsr92I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_4P.DE1_soOYSURj_QF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bSWhoPMbifwbewxnUnrK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0DWXFltKv2uGcff43iWHP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eGeXnr8yUx12rMjWP17B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dwC5njn87EgC5bfLP163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5qqjr8zXbzD1W_kDnfW1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swPOlUn8wN69G8XR3qFb.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oyBjMVUr5ZAlvO.ugJL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2HllPxNqbRcSiM.IBeGF5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eGTpJvi8WjSKuDC5upy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L8VnCPNQvf9KOHKFn7Kk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kM47b75ExASb9lmgOfq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Z1lpWdstV28_65b8.2b9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WNg0EJKdhrHB.CIUcKFP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J9gT1IoxgRXvVsUlDgFs0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7OVjs3fh6oKKKlVfrCjJs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dA.CO1.JzPwR7z9S6Q4u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gP9AUcGhlKvvbdIWTZz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KszTU7SyBgh2goFEOseR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o6E7Y5y0JVuD8NhNlFMy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PWnx2EOkNfhnr514Qfvsn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zNpEXAuRmP2ycKrz.FnY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PYS5JYN7E2HRwuftwHbm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a4E5O45mpDQzHiefnmYl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u74Ejx_NeMRPxzik7OJF1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p85Gej_B5Pk6i0iNVHPhl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wCti7j2zeZnGvyEQPIZjQ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ceQt5QRvcwtbpD9LZ5dki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fBjjUl6CONUSAs1qezHa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5dAfR4Q4m_A1OrtQujTD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3lqaWRtkLtyfaKknoFAg4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PpS9HVRK41GRDW9I4wc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3rcuL3dU9k.hlmyEY1b4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4idusPfZqKOb1CEeOvc0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s_FR7haFNPi4QQCkfSo0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nD8oTbRJPNydtXNqVxN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LdsM1sx2ahMQii5t9siXA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hpwThiGPNJlriXqD4ZUN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M57M2ldNehluCUNpMntI8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ifIZS4J.rHA8D6XpgbmdQ"/>
</p:tagLst>
</file>

<file path=ppt/theme/theme1.xml><?xml version="1.0" encoding="utf-8"?>
<a:theme xmlns:a="http://schemas.openxmlformats.org/drawingml/2006/main" name="Tema di Office">
  <a:themeElements>
    <a:clrScheme name="IVS">
      <a:dk1>
        <a:srgbClr val="000000"/>
      </a:dk1>
      <a:lt1>
        <a:srgbClr val="FFFFFF"/>
      </a:lt1>
      <a:dk2>
        <a:srgbClr val="787878"/>
      </a:dk2>
      <a:lt2>
        <a:srgbClr val="C8C8C8"/>
      </a:lt2>
      <a:accent1>
        <a:srgbClr val="B3E7FF"/>
      </a:accent1>
      <a:accent2>
        <a:srgbClr val="77CDFF"/>
      </a:accent2>
      <a:accent3>
        <a:srgbClr val="0096FF"/>
      </a:accent3>
      <a:accent4>
        <a:srgbClr val="004AC2"/>
      </a:accent4>
      <a:accent5>
        <a:srgbClr val="000082"/>
      </a:accent5>
      <a:accent6>
        <a:srgbClr val="000050"/>
      </a:accent6>
      <a:hlink>
        <a:srgbClr val="787878"/>
      </a:hlink>
      <a:folHlink>
        <a:srgbClr val="787878"/>
      </a:folHlink>
    </a:clrScheme>
    <a:fontScheme name="Tema di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 2013 - 2022</Template>
  <TotalTime>192</TotalTime>
  <Words>4675</Words>
  <Application>Microsoft Office PowerPoint</Application>
  <PresentationFormat>Presentazione su schermo (16:9)</PresentationFormat>
  <Paragraphs>1263</Paragraphs>
  <Slides>37</Slides>
  <Notes>12</Notes>
  <HiddenSlides>0</HiddenSlides>
  <MMClips>0</MMClips>
  <ScaleCrop>false</ScaleCrop>
  <HeadingPairs>
    <vt:vector size="6" baseType="variant">
      <vt:variant>
        <vt:lpstr>Caratteri utilizzati</vt:lpstr>
      </vt:variant>
      <vt:variant>
        <vt:i4>6</vt:i4>
      </vt:variant>
      <vt:variant>
        <vt:lpstr>Tema</vt:lpstr>
      </vt:variant>
      <vt:variant>
        <vt:i4>1</vt:i4>
      </vt:variant>
      <vt:variant>
        <vt:lpstr>Titoli diapositive</vt:lpstr>
      </vt:variant>
      <vt:variant>
        <vt:i4>37</vt:i4>
      </vt:variant>
    </vt:vector>
  </HeadingPairs>
  <TitlesOfParts>
    <vt:vector size="44" baseType="lpstr">
      <vt:lpstr>Arial</vt:lpstr>
      <vt:lpstr>Arial Narrow</vt:lpstr>
      <vt:lpstr>Arial Nova Cond</vt:lpstr>
      <vt:lpstr>DM Sans</vt:lpstr>
      <vt:lpstr>Helvetica Neue</vt:lpstr>
      <vt:lpstr>RB Office</vt:lpstr>
      <vt:lpstr>Tema di Office</vt:lpstr>
      <vt:lpstr>Presentazione standard di PowerPoint</vt:lpstr>
      <vt:lpstr>Perspective and strategic options ahead for industrial valves players</vt:lpstr>
      <vt:lpstr>Contents</vt:lpstr>
      <vt:lpstr>Perspectives on core  Oil &amp; Gas markets</vt:lpstr>
      <vt:lpstr>Despite price volatility, investments by major players have been steadily recovering over the past three years</vt:lpstr>
      <vt:lpstr>Recovery is driven primarily by North America and Middle East</vt:lpstr>
      <vt:lpstr>Recovery is driven primarily by North America and Middle East</vt:lpstr>
      <vt:lpstr>In the upstream segment, Off-shore is outperforming On-shore – Middle East and South America key investment regions</vt:lpstr>
      <vt:lpstr>FPSOs a steady market over the past years – Positive outlook supported by a lower breakeven level on oil prices</vt:lpstr>
      <vt:lpstr>LNG investment peak in 2030 offers short-term opportunities for manufacturers – Largest projects in US and Africa</vt:lpstr>
      <vt:lpstr>LNG investment peak in 2030 offers short-term opportunities for manufacturers – Largest projects in US and Africa</vt:lpstr>
      <vt:lpstr>Downstream, refineries investments are growing, yet mostly focused in APAC and Middle East</vt:lpstr>
      <vt:lpstr>B. Outlook on growing markets</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C. Key takeaways and implications</vt:lpstr>
      <vt:lpstr>Presentazione standard di PowerPoint</vt:lpstr>
      <vt:lpstr>D. Priorities ahead</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 Semperboni</dc:creator>
  <cp:lastModifiedBy>Veniero Facchetti</cp:lastModifiedBy>
  <cp:revision>89</cp:revision>
  <dcterms:created xsi:type="dcterms:W3CDTF">2023-01-25T08:25:49Z</dcterms:created>
  <dcterms:modified xsi:type="dcterms:W3CDTF">2024-05-10T16:16:06Z</dcterms:modified>
</cp:coreProperties>
</file>